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1.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2.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3.xml" ContentType="application/vnd.openxmlformats-officedocument.theme+xml"/>
  <Override PartName="/ppt/tags/tag10.xml" ContentType="application/vnd.openxmlformats-officedocument.presentationml.tags+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4.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5.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6.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7.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8.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9.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20.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21.xml" ContentType="application/vnd.openxmlformats-officedocument.theme+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22.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1.xml" ContentType="application/vnd.openxmlformats-officedocument.drawingml.chartshapes+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2.xml" ContentType="application/vnd.openxmlformats-officedocument.drawingml.chartshape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4.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3.xml" ContentType="application/vnd.openxmlformats-officedocument.drawingml.chartshapes+xml"/>
  <Override PartName="/ppt/tags/tag20.xml" ContentType="application/vnd.openxmlformats-officedocument.presentationml.tags+xml"/>
  <Override PartName="/ppt/notesSlides/notesSlide12.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5.xml" ContentType="application/vnd.openxmlformats-officedocument.themeOverride+xml"/>
  <Override PartName="/ppt/notesSlides/notesSlide2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6.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7.xml" ContentType="application/vnd.openxmlformats-officedocument.presentationml.notesSlide+xml"/>
  <Override PartName="/ppt/tags/tag24.xml" ContentType="application/vnd.openxmlformats-officedocument.presentationml.tags+xml"/>
  <Override PartName="/ppt/notesSlides/notesSlide38.xml" ContentType="application/vnd.openxmlformats-officedocument.presentationml.notesSlide+xml"/>
  <Override PartName="/ppt/tags/tag25.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49"/>
    <p:sldMasterId id="2147484591" r:id="rId50"/>
    <p:sldMasterId id="2147484617" r:id="rId51"/>
    <p:sldMasterId id="2147484734" r:id="rId52"/>
    <p:sldMasterId id="2147484778" r:id="rId53"/>
    <p:sldMasterId id="2147484804" r:id="rId54"/>
    <p:sldMasterId id="2147484836" r:id="rId55"/>
    <p:sldMasterId id="2147485032" r:id="rId56"/>
    <p:sldMasterId id="2147485058" r:id="rId57"/>
    <p:sldMasterId id="2147485183" r:id="rId58"/>
    <p:sldMasterId id="2147485197" r:id="rId59"/>
    <p:sldMasterId id="2147485251" r:id="rId60"/>
    <p:sldMasterId id="2147485264" r:id="rId61"/>
    <p:sldMasterId id="2147485289" r:id="rId62"/>
    <p:sldMasterId id="2147485404" r:id="rId63"/>
    <p:sldMasterId id="2147485429" r:id="rId64"/>
    <p:sldMasterId id="2147485435" r:id="rId65"/>
    <p:sldMasterId id="2147485448" r:id="rId66"/>
    <p:sldMasterId id="2147485452" r:id="rId67"/>
    <p:sldMasterId id="2147485470" r:id="rId68"/>
    <p:sldMasterId id="2147485483" r:id="rId69"/>
    <p:sldMasterId id="2147485495" r:id="rId70"/>
    <p:sldMasterId id="2147485507" r:id="rId71"/>
  </p:sldMasterIdLst>
  <p:notesMasterIdLst>
    <p:notesMasterId r:id="rId214"/>
  </p:notesMasterIdLst>
  <p:handoutMasterIdLst>
    <p:handoutMasterId r:id="rId215"/>
  </p:handoutMasterIdLst>
  <p:sldIdLst>
    <p:sldId id="256" r:id="rId72"/>
    <p:sldId id="2147480008" r:id="rId73"/>
    <p:sldId id="2147483573" r:id="rId74"/>
    <p:sldId id="261" r:id="rId75"/>
    <p:sldId id="260" r:id="rId76"/>
    <p:sldId id="2147483572" r:id="rId77"/>
    <p:sldId id="283" r:id="rId78"/>
    <p:sldId id="2147471659" r:id="rId79"/>
    <p:sldId id="13407" r:id="rId80"/>
    <p:sldId id="2147483567" r:id="rId81"/>
    <p:sldId id="2147472720" r:id="rId82"/>
    <p:sldId id="2147483539" r:id="rId83"/>
    <p:sldId id="2147483594" r:id="rId84"/>
    <p:sldId id="2147480097" r:id="rId85"/>
    <p:sldId id="262" r:id="rId86"/>
    <p:sldId id="275" r:id="rId87"/>
    <p:sldId id="2147483642" r:id="rId88"/>
    <p:sldId id="259" r:id="rId89"/>
    <p:sldId id="2147376048" r:id="rId90"/>
    <p:sldId id="2147480769" r:id="rId91"/>
    <p:sldId id="2147483564" r:id="rId92"/>
    <p:sldId id="2147480773" r:id="rId93"/>
    <p:sldId id="2147480770" r:id="rId94"/>
    <p:sldId id="2147480771" r:id="rId95"/>
    <p:sldId id="2147480833" r:id="rId96"/>
    <p:sldId id="2147480832" r:id="rId97"/>
    <p:sldId id="2147480776" r:id="rId98"/>
    <p:sldId id="2147480744" r:id="rId99"/>
    <p:sldId id="2147480754" r:id="rId100"/>
    <p:sldId id="267" r:id="rId101"/>
    <p:sldId id="2147480821" r:id="rId102"/>
    <p:sldId id="2147480755" r:id="rId103"/>
    <p:sldId id="2147480826" r:id="rId104"/>
    <p:sldId id="2147480756" r:id="rId105"/>
    <p:sldId id="2147480740" r:id="rId106"/>
    <p:sldId id="2147480741" r:id="rId107"/>
    <p:sldId id="2147480818" r:id="rId108"/>
    <p:sldId id="2147478566" r:id="rId109"/>
    <p:sldId id="2147480782" r:id="rId110"/>
    <p:sldId id="2147483593" r:id="rId111"/>
    <p:sldId id="2147483596" r:id="rId112"/>
    <p:sldId id="2147483595" r:id="rId113"/>
    <p:sldId id="268" r:id="rId114"/>
    <p:sldId id="2147483592" r:id="rId115"/>
    <p:sldId id="2147483585" r:id="rId116"/>
    <p:sldId id="276" r:id="rId117"/>
    <p:sldId id="2147483571" r:id="rId118"/>
    <p:sldId id="273" r:id="rId119"/>
    <p:sldId id="257" r:id="rId120"/>
    <p:sldId id="412" r:id="rId121"/>
    <p:sldId id="413" r:id="rId122"/>
    <p:sldId id="424" r:id="rId123"/>
    <p:sldId id="426" r:id="rId124"/>
    <p:sldId id="425" r:id="rId125"/>
    <p:sldId id="438" r:id="rId126"/>
    <p:sldId id="427" r:id="rId127"/>
    <p:sldId id="440" r:id="rId128"/>
    <p:sldId id="446" r:id="rId129"/>
    <p:sldId id="445" r:id="rId130"/>
    <p:sldId id="435" r:id="rId131"/>
    <p:sldId id="442" r:id="rId132"/>
    <p:sldId id="436" r:id="rId133"/>
    <p:sldId id="444" r:id="rId134"/>
    <p:sldId id="429" r:id="rId135"/>
    <p:sldId id="428" r:id="rId136"/>
    <p:sldId id="434" r:id="rId137"/>
    <p:sldId id="430" r:id="rId138"/>
    <p:sldId id="433" r:id="rId139"/>
    <p:sldId id="431" r:id="rId140"/>
    <p:sldId id="432" r:id="rId141"/>
    <p:sldId id="2147483586" r:id="rId142"/>
    <p:sldId id="277" r:id="rId143"/>
    <p:sldId id="264" r:id="rId144"/>
    <p:sldId id="269" r:id="rId145"/>
    <p:sldId id="2145706211" r:id="rId146"/>
    <p:sldId id="2147480219" r:id="rId147"/>
    <p:sldId id="2147480228" r:id="rId148"/>
    <p:sldId id="2147480221" r:id="rId149"/>
    <p:sldId id="2147480225" r:id="rId150"/>
    <p:sldId id="2147480229" r:id="rId151"/>
    <p:sldId id="2147480217" r:id="rId152"/>
    <p:sldId id="2147480252" r:id="rId153"/>
    <p:sldId id="2147480253" r:id="rId154"/>
    <p:sldId id="2147480251" r:id="rId155"/>
    <p:sldId id="2147480255" r:id="rId156"/>
    <p:sldId id="2147480256" r:id="rId157"/>
    <p:sldId id="2147480257" r:id="rId158"/>
    <p:sldId id="2147480250" r:id="rId159"/>
    <p:sldId id="2147474301" r:id="rId160"/>
    <p:sldId id="2147480237" r:id="rId161"/>
    <p:sldId id="2147480238" r:id="rId162"/>
    <p:sldId id="2147480239" r:id="rId163"/>
    <p:sldId id="2147480240" r:id="rId164"/>
    <p:sldId id="2147480243" r:id="rId165"/>
    <p:sldId id="2147483553" r:id="rId166"/>
    <p:sldId id="2147483557" r:id="rId167"/>
    <p:sldId id="2147483561" r:id="rId168"/>
    <p:sldId id="265" r:id="rId169"/>
    <p:sldId id="294" r:id="rId170"/>
    <p:sldId id="407" r:id="rId171"/>
    <p:sldId id="270" r:id="rId172"/>
    <p:sldId id="408" r:id="rId173"/>
    <p:sldId id="409" r:id="rId174"/>
    <p:sldId id="410" r:id="rId175"/>
    <p:sldId id="271" r:id="rId176"/>
    <p:sldId id="411" r:id="rId177"/>
    <p:sldId id="2147474369" r:id="rId178"/>
    <p:sldId id="2147474344" r:id="rId179"/>
    <p:sldId id="2147474355" r:id="rId180"/>
    <p:sldId id="2147471503" r:id="rId181"/>
    <p:sldId id="2147474363" r:id="rId182"/>
    <p:sldId id="2147471569" r:id="rId183"/>
    <p:sldId id="2147474356" r:id="rId184"/>
    <p:sldId id="2147474367" r:id="rId185"/>
    <p:sldId id="2147474368" r:id="rId186"/>
    <p:sldId id="2147474366" r:id="rId187"/>
    <p:sldId id="2147474365" r:id="rId188"/>
    <p:sldId id="2147483597" r:id="rId189"/>
    <p:sldId id="2147483560" r:id="rId190"/>
    <p:sldId id="266" r:id="rId191"/>
    <p:sldId id="310" r:id="rId192"/>
    <p:sldId id="2147481385" r:id="rId193"/>
    <p:sldId id="2147481384" r:id="rId194"/>
    <p:sldId id="2147481393" r:id="rId195"/>
    <p:sldId id="272" r:id="rId196"/>
    <p:sldId id="2147481392" r:id="rId197"/>
    <p:sldId id="2147481386" r:id="rId198"/>
    <p:sldId id="274" r:id="rId199"/>
    <p:sldId id="2147483555" r:id="rId200"/>
    <p:sldId id="2147481389" r:id="rId201"/>
    <p:sldId id="2147481387" r:id="rId202"/>
    <p:sldId id="2147481388" r:id="rId203"/>
    <p:sldId id="2147483552" r:id="rId204"/>
    <p:sldId id="2147481390" r:id="rId205"/>
    <p:sldId id="2147473853" r:id="rId206"/>
    <p:sldId id="2147483589" r:id="rId207"/>
    <p:sldId id="2147483563" r:id="rId208"/>
    <p:sldId id="278" r:id="rId209"/>
    <p:sldId id="2147483647" r:id="rId210"/>
    <p:sldId id="258" r:id="rId211"/>
    <p:sldId id="263" r:id="rId212"/>
    <p:sldId id="2147483646" r:id="rId213"/>
  </p:sldIdLst>
  <p:sldSz cx="12192000" cy="6858000"/>
  <p:notesSz cx="7772400" cy="10058400"/>
  <p:custDataLst>
    <p:tags r:id="rId216"/>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02AFA"/>
    <a:srgbClr val="0432FF"/>
    <a:srgbClr val="2D2DB2"/>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98" autoAdjust="0"/>
    <p:restoredTop sz="96301" autoAdjust="0"/>
  </p:normalViewPr>
  <p:slideViewPr>
    <p:cSldViewPr>
      <p:cViewPr varScale="1">
        <p:scale>
          <a:sx n="177" d="100"/>
          <a:sy n="177" d="100"/>
        </p:scale>
        <p:origin x="208" y="248"/>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46.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slideMaster" Target="slideMasters/slideMaster15.xml"/><Relationship Id="rId84" Type="http://schemas.openxmlformats.org/officeDocument/2006/relationships/slide" Target="slides/slide13.xml"/><Relationship Id="rId138" Type="http://schemas.openxmlformats.org/officeDocument/2006/relationships/slide" Target="slides/slide67.xml"/><Relationship Id="rId159" Type="http://schemas.openxmlformats.org/officeDocument/2006/relationships/slide" Target="slides/slide88.xml"/><Relationship Id="rId170" Type="http://schemas.openxmlformats.org/officeDocument/2006/relationships/slide" Target="slides/slide99.xml"/><Relationship Id="rId191" Type="http://schemas.openxmlformats.org/officeDocument/2006/relationships/slide" Target="slides/slide120.xml"/><Relationship Id="rId205" Type="http://schemas.openxmlformats.org/officeDocument/2006/relationships/slide" Target="slides/slide134.xml"/><Relationship Id="rId107" Type="http://schemas.openxmlformats.org/officeDocument/2006/relationships/slide" Target="slides/slide36.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slideMaster" Target="slideMasters/slideMaster5.xml"/><Relationship Id="rId74" Type="http://schemas.openxmlformats.org/officeDocument/2006/relationships/slide" Target="slides/slide3.xml"/><Relationship Id="rId128" Type="http://schemas.openxmlformats.org/officeDocument/2006/relationships/slide" Target="slides/slide57.xml"/><Relationship Id="rId149" Type="http://schemas.openxmlformats.org/officeDocument/2006/relationships/slide" Target="slides/slide78.xml"/><Relationship Id="rId5" Type="http://schemas.openxmlformats.org/officeDocument/2006/relationships/customXml" Target="../customXml/item5.xml"/><Relationship Id="rId95" Type="http://schemas.openxmlformats.org/officeDocument/2006/relationships/slide" Target="slides/slide24.xml"/><Relationship Id="rId160" Type="http://schemas.openxmlformats.org/officeDocument/2006/relationships/slide" Target="slides/slide89.xml"/><Relationship Id="rId181" Type="http://schemas.openxmlformats.org/officeDocument/2006/relationships/slide" Target="slides/slide110.xml"/><Relationship Id="rId216" Type="http://schemas.openxmlformats.org/officeDocument/2006/relationships/tags" Target="tags/tag1.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slideMaster" Target="slideMasters/slideMaster16.xml"/><Relationship Id="rId118" Type="http://schemas.openxmlformats.org/officeDocument/2006/relationships/slide" Target="slides/slide47.xml"/><Relationship Id="rId139" Type="http://schemas.openxmlformats.org/officeDocument/2006/relationships/slide" Target="slides/slide68.xml"/><Relationship Id="rId85" Type="http://schemas.openxmlformats.org/officeDocument/2006/relationships/slide" Target="slides/slide14.xml"/><Relationship Id="rId150" Type="http://schemas.openxmlformats.org/officeDocument/2006/relationships/slide" Target="slides/slide79.xml"/><Relationship Id="rId171" Type="http://schemas.openxmlformats.org/officeDocument/2006/relationships/slide" Target="slides/slide100.xml"/><Relationship Id="rId192" Type="http://schemas.openxmlformats.org/officeDocument/2006/relationships/slide" Target="slides/slide121.xml"/><Relationship Id="rId206" Type="http://schemas.openxmlformats.org/officeDocument/2006/relationships/slide" Target="slides/slide135.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37.xml"/><Relationship Id="rId129" Type="http://schemas.openxmlformats.org/officeDocument/2006/relationships/slide" Target="slides/slide58.xml"/><Relationship Id="rId54" Type="http://schemas.openxmlformats.org/officeDocument/2006/relationships/slideMaster" Target="slideMasters/slideMaster6.xml"/><Relationship Id="rId75" Type="http://schemas.openxmlformats.org/officeDocument/2006/relationships/slide" Target="slides/slide4.xml"/><Relationship Id="rId96" Type="http://schemas.openxmlformats.org/officeDocument/2006/relationships/slide" Target="slides/slide25.xml"/><Relationship Id="rId140" Type="http://schemas.openxmlformats.org/officeDocument/2006/relationships/slide" Target="slides/slide69.xml"/><Relationship Id="rId161" Type="http://schemas.openxmlformats.org/officeDocument/2006/relationships/slide" Target="slides/slide90.xml"/><Relationship Id="rId182" Type="http://schemas.openxmlformats.org/officeDocument/2006/relationships/slide" Target="slides/slide111.xml"/><Relationship Id="rId217" Type="http://schemas.openxmlformats.org/officeDocument/2006/relationships/commentAuthors" Target="commentAuthors.xml"/><Relationship Id="rId6" Type="http://schemas.openxmlformats.org/officeDocument/2006/relationships/customXml" Target="../customXml/item6.xml"/><Relationship Id="rId23" Type="http://schemas.openxmlformats.org/officeDocument/2006/relationships/customXml" Target="../customXml/item23.xml"/><Relationship Id="rId119" Type="http://schemas.openxmlformats.org/officeDocument/2006/relationships/slide" Target="slides/slide48.xml"/><Relationship Id="rId44" Type="http://schemas.openxmlformats.org/officeDocument/2006/relationships/customXml" Target="../customXml/item44.xml"/><Relationship Id="rId65" Type="http://schemas.openxmlformats.org/officeDocument/2006/relationships/slideMaster" Target="slideMasters/slideMaster17.xml"/><Relationship Id="rId86" Type="http://schemas.openxmlformats.org/officeDocument/2006/relationships/slide" Target="slides/slide15.xml"/><Relationship Id="rId130" Type="http://schemas.openxmlformats.org/officeDocument/2006/relationships/slide" Target="slides/slide59.xml"/><Relationship Id="rId151" Type="http://schemas.openxmlformats.org/officeDocument/2006/relationships/slide" Target="slides/slide80.xml"/><Relationship Id="rId172" Type="http://schemas.openxmlformats.org/officeDocument/2006/relationships/slide" Target="slides/slide101.xml"/><Relationship Id="rId193" Type="http://schemas.openxmlformats.org/officeDocument/2006/relationships/slide" Target="slides/slide122.xml"/><Relationship Id="rId207" Type="http://schemas.openxmlformats.org/officeDocument/2006/relationships/slide" Target="slides/slide136.xml"/><Relationship Id="rId13" Type="http://schemas.openxmlformats.org/officeDocument/2006/relationships/customXml" Target="../customXml/item13.xml"/><Relationship Id="rId109" Type="http://schemas.openxmlformats.org/officeDocument/2006/relationships/slide" Target="slides/slide38.xml"/><Relationship Id="rId34" Type="http://schemas.openxmlformats.org/officeDocument/2006/relationships/customXml" Target="../customXml/item34.xml"/><Relationship Id="rId55" Type="http://schemas.openxmlformats.org/officeDocument/2006/relationships/slideMaster" Target="slideMasters/slideMaster7.xml"/><Relationship Id="rId76" Type="http://schemas.openxmlformats.org/officeDocument/2006/relationships/slide" Target="slides/slide5.xml"/><Relationship Id="rId97" Type="http://schemas.openxmlformats.org/officeDocument/2006/relationships/slide" Target="slides/slide26.xml"/><Relationship Id="rId120" Type="http://schemas.openxmlformats.org/officeDocument/2006/relationships/slide" Target="slides/slide49.xml"/><Relationship Id="rId141" Type="http://schemas.openxmlformats.org/officeDocument/2006/relationships/slide" Target="slides/slide70.xml"/><Relationship Id="rId7" Type="http://schemas.openxmlformats.org/officeDocument/2006/relationships/customXml" Target="../customXml/item7.xml"/><Relationship Id="rId162" Type="http://schemas.openxmlformats.org/officeDocument/2006/relationships/slide" Target="slides/slide91.xml"/><Relationship Id="rId183" Type="http://schemas.openxmlformats.org/officeDocument/2006/relationships/slide" Target="slides/slide112.xml"/><Relationship Id="rId218" Type="http://schemas.openxmlformats.org/officeDocument/2006/relationships/presProps" Target="presProps.xml"/><Relationship Id="rId24" Type="http://schemas.openxmlformats.org/officeDocument/2006/relationships/customXml" Target="../customXml/item24.xml"/><Relationship Id="rId45" Type="http://schemas.openxmlformats.org/officeDocument/2006/relationships/customXml" Target="../customXml/item45.xml"/><Relationship Id="rId66" Type="http://schemas.openxmlformats.org/officeDocument/2006/relationships/slideMaster" Target="slideMasters/slideMaster18.xml"/><Relationship Id="rId87" Type="http://schemas.openxmlformats.org/officeDocument/2006/relationships/slide" Target="slides/slide16.xml"/><Relationship Id="rId110" Type="http://schemas.openxmlformats.org/officeDocument/2006/relationships/slide" Target="slides/slide39.xml"/><Relationship Id="rId131" Type="http://schemas.openxmlformats.org/officeDocument/2006/relationships/slide" Target="slides/slide60.xml"/><Relationship Id="rId152" Type="http://schemas.openxmlformats.org/officeDocument/2006/relationships/slide" Target="slides/slide81.xml"/><Relationship Id="rId173" Type="http://schemas.openxmlformats.org/officeDocument/2006/relationships/slide" Target="slides/slide102.xml"/><Relationship Id="rId194" Type="http://schemas.openxmlformats.org/officeDocument/2006/relationships/slide" Target="slides/slide123.xml"/><Relationship Id="rId208" Type="http://schemas.openxmlformats.org/officeDocument/2006/relationships/slide" Target="slides/slide137.xml"/><Relationship Id="rId14" Type="http://schemas.openxmlformats.org/officeDocument/2006/relationships/customXml" Target="../customXml/item14.xml"/><Relationship Id="rId35" Type="http://schemas.openxmlformats.org/officeDocument/2006/relationships/customXml" Target="../customXml/item35.xml"/><Relationship Id="rId56" Type="http://schemas.openxmlformats.org/officeDocument/2006/relationships/slideMaster" Target="slideMasters/slideMaster8.xml"/><Relationship Id="rId77" Type="http://schemas.openxmlformats.org/officeDocument/2006/relationships/slide" Target="slides/slide6.xml"/><Relationship Id="rId100" Type="http://schemas.openxmlformats.org/officeDocument/2006/relationships/slide" Target="slides/slide29.xml"/><Relationship Id="rId8" Type="http://schemas.openxmlformats.org/officeDocument/2006/relationships/customXml" Target="../customXml/item8.xml"/><Relationship Id="rId51" Type="http://schemas.openxmlformats.org/officeDocument/2006/relationships/slideMaster" Target="slideMasters/slideMaster3.xml"/><Relationship Id="rId72" Type="http://schemas.openxmlformats.org/officeDocument/2006/relationships/slide" Target="slides/slide1.xml"/><Relationship Id="rId93" Type="http://schemas.openxmlformats.org/officeDocument/2006/relationships/slide" Target="slides/slide22.xml"/><Relationship Id="rId98" Type="http://schemas.openxmlformats.org/officeDocument/2006/relationships/slide" Target="slides/slide27.xml"/><Relationship Id="rId121" Type="http://schemas.openxmlformats.org/officeDocument/2006/relationships/slide" Target="slides/slide50.xml"/><Relationship Id="rId142" Type="http://schemas.openxmlformats.org/officeDocument/2006/relationships/slide" Target="slides/slide71.xml"/><Relationship Id="rId163" Type="http://schemas.openxmlformats.org/officeDocument/2006/relationships/slide" Target="slides/slide92.xml"/><Relationship Id="rId184" Type="http://schemas.openxmlformats.org/officeDocument/2006/relationships/slide" Target="slides/slide113.xml"/><Relationship Id="rId189" Type="http://schemas.openxmlformats.org/officeDocument/2006/relationships/slide" Target="slides/slide118.xml"/><Relationship Id="rId219" Type="http://schemas.openxmlformats.org/officeDocument/2006/relationships/viewProps" Target="viewProps.xml"/><Relationship Id="rId3" Type="http://schemas.openxmlformats.org/officeDocument/2006/relationships/customXml" Target="../customXml/item3.xml"/><Relationship Id="rId214" Type="http://schemas.openxmlformats.org/officeDocument/2006/relationships/notesMaster" Target="notesMasters/notesMaster1.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Master" Target="slideMasters/slideMaster19.xml"/><Relationship Id="rId116" Type="http://schemas.openxmlformats.org/officeDocument/2006/relationships/slide" Target="slides/slide45.xml"/><Relationship Id="rId137" Type="http://schemas.openxmlformats.org/officeDocument/2006/relationships/slide" Target="slides/slide66.xml"/><Relationship Id="rId158" Type="http://schemas.openxmlformats.org/officeDocument/2006/relationships/slide" Target="slides/slide87.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Master" Target="slideMasters/slideMaster14.xml"/><Relationship Id="rId83" Type="http://schemas.openxmlformats.org/officeDocument/2006/relationships/slide" Target="slides/slide12.xml"/><Relationship Id="rId88" Type="http://schemas.openxmlformats.org/officeDocument/2006/relationships/slide" Target="slides/slide17.xml"/><Relationship Id="rId111" Type="http://schemas.openxmlformats.org/officeDocument/2006/relationships/slide" Target="slides/slide40.xml"/><Relationship Id="rId132" Type="http://schemas.openxmlformats.org/officeDocument/2006/relationships/slide" Target="slides/slide61.xml"/><Relationship Id="rId153" Type="http://schemas.openxmlformats.org/officeDocument/2006/relationships/slide" Target="slides/slide82.xml"/><Relationship Id="rId174" Type="http://schemas.openxmlformats.org/officeDocument/2006/relationships/slide" Target="slides/slide103.xml"/><Relationship Id="rId179" Type="http://schemas.openxmlformats.org/officeDocument/2006/relationships/slide" Target="slides/slide108.xml"/><Relationship Id="rId195" Type="http://schemas.openxmlformats.org/officeDocument/2006/relationships/slide" Target="slides/slide124.xml"/><Relationship Id="rId209" Type="http://schemas.openxmlformats.org/officeDocument/2006/relationships/slide" Target="slides/slide138.xml"/><Relationship Id="rId190" Type="http://schemas.openxmlformats.org/officeDocument/2006/relationships/slide" Target="slides/slide119.xml"/><Relationship Id="rId204" Type="http://schemas.openxmlformats.org/officeDocument/2006/relationships/slide" Target="slides/slide133.xml"/><Relationship Id="rId220" Type="http://schemas.openxmlformats.org/officeDocument/2006/relationships/theme" Target="theme/theme1.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slideMaster" Target="slideMasters/slideMaster9.xml"/><Relationship Id="rId106" Type="http://schemas.openxmlformats.org/officeDocument/2006/relationships/slide" Target="slides/slide35.xml"/><Relationship Id="rId127" Type="http://schemas.openxmlformats.org/officeDocument/2006/relationships/slide" Target="slides/slide56.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Master" Target="slideMasters/slideMaster4.xml"/><Relationship Id="rId73" Type="http://schemas.openxmlformats.org/officeDocument/2006/relationships/slide" Target="slides/slide2.xml"/><Relationship Id="rId78" Type="http://schemas.openxmlformats.org/officeDocument/2006/relationships/slide" Target="slides/slide7.xml"/><Relationship Id="rId94" Type="http://schemas.openxmlformats.org/officeDocument/2006/relationships/slide" Target="slides/slide23.xml"/><Relationship Id="rId99" Type="http://schemas.openxmlformats.org/officeDocument/2006/relationships/slide" Target="slides/slide28.xml"/><Relationship Id="rId101" Type="http://schemas.openxmlformats.org/officeDocument/2006/relationships/slide" Target="slides/slide30.xml"/><Relationship Id="rId122" Type="http://schemas.openxmlformats.org/officeDocument/2006/relationships/slide" Target="slides/slide51.xml"/><Relationship Id="rId143" Type="http://schemas.openxmlformats.org/officeDocument/2006/relationships/slide" Target="slides/slide72.xml"/><Relationship Id="rId148" Type="http://schemas.openxmlformats.org/officeDocument/2006/relationships/slide" Target="slides/slide77.xml"/><Relationship Id="rId164" Type="http://schemas.openxmlformats.org/officeDocument/2006/relationships/slide" Target="slides/slide93.xml"/><Relationship Id="rId169" Type="http://schemas.openxmlformats.org/officeDocument/2006/relationships/slide" Target="slides/slide98.xml"/><Relationship Id="rId185" Type="http://schemas.openxmlformats.org/officeDocument/2006/relationships/slide" Target="slides/slide114.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09.xml"/><Relationship Id="rId210" Type="http://schemas.openxmlformats.org/officeDocument/2006/relationships/slide" Target="slides/slide139.xml"/><Relationship Id="rId215" Type="http://schemas.openxmlformats.org/officeDocument/2006/relationships/handoutMaster" Target="handoutMasters/handoutMaster1.xml"/><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slideMaster" Target="slideMasters/slideMaster20.xml"/><Relationship Id="rId89" Type="http://schemas.openxmlformats.org/officeDocument/2006/relationships/slide" Target="slides/slide18.xml"/><Relationship Id="rId112" Type="http://schemas.openxmlformats.org/officeDocument/2006/relationships/slide" Target="slides/slide41.xml"/><Relationship Id="rId133" Type="http://schemas.openxmlformats.org/officeDocument/2006/relationships/slide" Target="slides/slide62.xml"/><Relationship Id="rId154" Type="http://schemas.openxmlformats.org/officeDocument/2006/relationships/slide" Target="slides/slide83.xml"/><Relationship Id="rId175" Type="http://schemas.openxmlformats.org/officeDocument/2006/relationships/slide" Target="slides/slide104.xml"/><Relationship Id="rId196" Type="http://schemas.openxmlformats.org/officeDocument/2006/relationships/slide" Target="slides/slide125.xml"/><Relationship Id="rId200" Type="http://schemas.openxmlformats.org/officeDocument/2006/relationships/slide" Target="slides/slide129.xml"/><Relationship Id="rId16" Type="http://schemas.openxmlformats.org/officeDocument/2006/relationships/customXml" Target="../customXml/item16.xml"/><Relationship Id="rId221" Type="http://schemas.openxmlformats.org/officeDocument/2006/relationships/tableStyles" Target="tableStyles.xml"/><Relationship Id="rId37" Type="http://schemas.openxmlformats.org/officeDocument/2006/relationships/customXml" Target="../customXml/item37.xml"/><Relationship Id="rId58" Type="http://schemas.openxmlformats.org/officeDocument/2006/relationships/slideMaster" Target="slideMasters/slideMaster10.xml"/><Relationship Id="rId79" Type="http://schemas.openxmlformats.org/officeDocument/2006/relationships/slide" Target="slides/slide8.xml"/><Relationship Id="rId102" Type="http://schemas.openxmlformats.org/officeDocument/2006/relationships/slide" Target="slides/slide31.xml"/><Relationship Id="rId123" Type="http://schemas.openxmlformats.org/officeDocument/2006/relationships/slide" Target="slides/slide52.xml"/><Relationship Id="rId144" Type="http://schemas.openxmlformats.org/officeDocument/2006/relationships/slide" Target="slides/slide73.xml"/><Relationship Id="rId90" Type="http://schemas.openxmlformats.org/officeDocument/2006/relationships/slide" Target="slides/slide19.xml"/><Relationship Id="rId165" Type="http://schemas.openxmlformats.org/officeDocument/2006/relationships/slide" Target="slides/slide94.xml"/><Relationship Id="rId186" Type="http://schemas.openxmlformats.org/officeDocument/2006/relationships/slide" Target="slides/slide115.xml"/><Relationship Id="rId211" Type="http://schemas.openxmlformats.org/officeDocument/2006/relationships/slide" Target="slides/slide140.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slideMaster" Target="slideMasters/slideMaster21.xml"/><Relationship Id="rId113" Type="http://schemas.openxmlformats.org/officeDocument/2006/relationships/slide" Target="slides/slide42.xml"/><Relationship Id="rId134" Type="http://schemas.openxmlformats.org/officeDocument/2006/relationships/slide" Target="slides/slide63.xml"/><Relationship Id="rId80" Type="http://schemas.openxmlformats.org/officeDocument/2006/relationships/slide" Target="slides/slide9.xml"/><Relationship Id="rId155" Type="http://schemas.openxmlformats.org/officeDocument/2006/relationships/slide" Target="slides/slide84.xml"/><Relationship Id="rId176" Type="http://schemas.openxmlformats.org/officeDocument/2006/relationships/slide" Target="slides/slide105.xml"/><Relationship Id="rId197" Type="http://schemas.openxmlformats.org/officeDocument/2006/relationships/slide" Target="slides/slide126.xml"/><Relationship Id="rId201" Type="http://schemas.openxmlformats.org/officeDocument/2006/relationships/slide" Target="slides/slide130.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slideMaster" Target="slideMasters/slideMaster11.xml"/><Relationship Id="rId103" Type="http://schemas.openxmlformats.org/officeDocument/2006/relationships/slide" Target="slides/slide32.xml"/><Relationship Id="rId124" Type="http://schemas.openxmlformats.org/officeDocument/2006/relationships/slide" Target="slides/slide53.xml"/><Relationship Id="rId70" Type="http://schemas.openxmlformats.org/officeDocument/2006/relationships/slideMaster" Target="slideMasters/slideMaster22.xml"/><Relationship Id="rId91" Type="http://schemas.openxmlformats.org/officeDocument/2006/relationships/slide" Target="slides/slide20.xml"/><Relationship Id="rId145" Type="http://schemas.openxmlformats.org/officeDocument/2006/relationships/slide" Target="slides/slide74.xml"/><Relationship Id="rId166" Type="http://schemas.openxmlformats.org/officeDocument/2006/relationships/slide" Target="slides/slide95.xml"/><Relationship Id="rId187" Type="http://schemas.openxmlformats.org/officeDocument/2006/relationships/slide" Target="slides/slide116.xml"/><Relationship Id="rId1" Type="http://schemas.openxmlformats.org/officeDocument/2006/relationships/customXml" Target="../customXml/item1.xml"/><Relationship Id="rId212" Type="http://schemas.openxmlformats.org/officeDocument/2006/relationships/slide" Target="slides/slide141.xml"/><Relationship Id="rId28" Type="http://schemas.openxmlformats.org/officeDocument/2006/relationships/customXml" Target="../customXml/item28.xml"/><Relationship Id="rId49" Type="http://schemas.openxmlformats.org/officeDocument/2006/relationships/slideMaster" Target="slideMasters/slideMaster1.xml"/><Relationship Id="rId114" Type="http://schemas.openxmlformats.org/officeDocument/2006/relationships/slide" Target="slides/slide43.xml"/><Relationship Id="rId60" Type="http://schemas.openxmlformats.org/officeDocument/2006/relationships/slideMaster" Target="slideMasters/slideMaster12.xml"/><Relationship Id="rId81" Type="http://schemas.openxmlformats.org/officeDocument/2006/relationships/slide" Target="slides/slide10.xml"/><Relationship Id="rId135" Type="http://schemas.openxmlformats.org/officeDocument/2006/relationships/slide" Target="slides/slide64.xml"/><Relationship Id="rId156" Type="http://schemas.openxmlformats.org/officeDocument/2006/relationships/slide" Target="slides/slide85.xml"/><Relationship Id="rId177" Type="http://schemas.openxmlformats.org/officeDocument/2006/relationships/slide" Target="slides/slide106.xml"/><Relationship Id="rId198" Type="http://schemas.openxmlformats.org/officeDocument/2006/relationships/slide" Target="slides/slide127.xml"/><Relationship Id="rId202" Type="http://schemas.openxmlformats.org/officeDocument/2006/relationships/slide" Target="slides/slide131.xml"/><Relationship Id="rId18" Type="http://schemas.openxmlformats.org/officeDocument/2006/relationships/customXml" Target="../customXml/item18.xml"/><Relationship Id="rId39" Type="http://schemas.openxmlformats.org/officeDocument/2006/relationships/customXml" Target="../customXml/item39.xml"/><Relationship Id="rId50" Type="http://schemas.openxmlformats.org/officeDocument/2006/relationships/slideMaster" Target="slideMasters/slideMaster2.xml"/><Relationship Id="rId104" Type="http://schemas.openxmlformats.org/officeDocument/2006/relationships/slide" Target="slides/slide33.xml"/><Relationship Id="rId125" Type="http://schemas.openxmlformats.org/officeDocument/2006/relationships/slide" Target="slides/slide54.xml"/><Relationship Id="rId146" Type="http://schemas.openxmlformats.org/officeDocument/2006/relationships/slide" Target="slides/slide75.xml"/><Relationship Id="rId167" Type="http://schemas.openxmlformats.org/officeDocument/2006/relationships/slide" Target="slides/slide96.xml"/><Relationship Id="rId188" Type="http://schemas.openxmlformats.org/officeDocument/2006/relationships/slide" Target="slides/slide117.xml"/><Relationship Id="rId71" Type="http://schemas.openxmlformats.org/officeDocument/2006/relationships/slideMaster" Target="slideMasters/slideMaster23.xml"/><Relationship Id="rId92" Type="http://schemas.openxmlformats.org/officeDocument/2006/relationships/slide" Target="slides/slide21.xml"/><Relationship Id="rId213" Type="http://schemas.openxmlformats.org/officeDocument/2006/relationships/slide" Target="slides/slide142.xml"/><Relationship Id="rId2" Type="http://schemas.openxmlformats.org/officeDocument/2006/relationships/customXml" Target="../customXml/item2.xml"/><Relationship Id="rId29" Type="http://schemas.openxmlformats.org/officeDocument/2006/relationships/customXml" Target="../customXml/item29.xml"/><Relationship Id="rId40" Type="http://schemas.openxmlformats.org/officeDocument/2006/relationships/customXml" Target="../customXml/item40.xml"/><Relationship Id="rId115" Type="http://schemas.openxmlformats.org/officeDocument/2006/relationships/slide" Target="slides/slide44.xml"/><Relationship Id="rId136" Type="http://schemas.openxmlformats.org/officeDocument/2006/relationships/slide" Target="slides/slide65.xml"/><Relationship Id="rId157" Type="http://schemas.openxmlformats.org/officeDocument/2006/relationships/slide" Target="slides/slide86.xml"/><Relationship Id="rId178" Type="http://schemas.openxmlformats.org/officeDocument/2006/relationships/slide" Target="slides/slide107.xml"/><Relationship Id="rId61" Type="http://schemas.openxmlformats.org/officeDocument/2006/relationships/slideMaster" Target="slideMasters/slideMaster13.xml"/><Relationship Id="rId82" Type="http://schemas.openxmlformats.org/officeDocument/2006/relationships/slide" Target="slides/slide11.xml"/><Relationship Id="rId199" Type="http://schemas.openxmlformats.org/officeDocument/2006/relationships/slide" Target="slides/slide128.xml"/><Relationship Id="rId203" Type="http://schemas.openxmlformats.org/officeDocument/2006/relationships/slide" Target="slides/slide132.xml"/><Relationship Id="rId19" Type="http://schemas.openxmlformats.org/officeDocument/2006/relationships/customXml" Target="../customXml/item19.xml"/><Relationship Id="rId30" Type="http://schemas.openxmlformats.org/officeDocument/2006/relationships/customXml" Target="../customXml/item30.xml"/><Relationship Id="rId105" Type="http://schemas.openxmlformats.org/officeDocument/2006/relationships/slide" Target="slides/slide34.xml"/><Relationship Id="rId126" Type="http://schemas.openxmlformats.org/officeDocument/2006/relationships/slide" Target="slides/slide55.xml"/><Relationship Id="rId147" Type="http://schemas.openxmlformats.org/officeDocument/2006/relationships/slide" Target="slides/slide76.xml"/><Relationship Id="rId168" Type="http://schemas.openxmlformats.org/officeDocument/2006/relationships/slide" Target="slides/slide9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2.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3.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B01100"/>
              </a:solidFill>
              <a:ln w="19050">
                <a:noFill/>
              </a:ln>
              <a:effectLst/>
            </c:spPr>
            <c:extLst>
              <c:ext xmlns:c16="http://schemas.microsoft.com/office/drawing/2014/chart" uri="{C3380CC4-5D6E-409C-BE32-E72D297353CC}">
                <c16:uniqueId val="{00000002-F647-4CF5-B77E-B81BAF91ABA3}"/>
              </c:ext>
            </c:extLst>
          </c:dPt>
          <c:dPt>
            <c:idx val="1"/>
            <c:bubble3D val="0"/>
            <c:spPr>
              <a:noFill/>
              <a:ln w="19050">
                <a:noFill/>
              </a:ln>
              <a:effectLst/>
            </c:spPr>
            <c:extLst>
              <c:ext xmlns:c16="http://schemas.microsoft.com/office/drawing/2014/chart" uri="{C3380CC4-5D6E-409C-BE32-E72D297353CC}">
                <c16:uniqueId val="{00000001-F647-4CF5-B77E-B81BAF91ABA3}"/>
              </c:ext>
            </c:extLst>
          </c:dPt>
          <c:cat>
            <c:strRef>
              <c:f>Sheet1!$A$2:$A$3</c:f>
              <c:strCache>
                <c:ptCount val="2"/>
                <c:pt idx="0">
                  <c:v>1st Qtr</c:v>
                </c:pt>
                <c:pt idx="1">
                  <c:v>2nd Qtr</c:v>
                </c:pt>
              </c:strCache>
            </c:strRef>
          </c:cat>
          <c:val>
            <c:numRef>
              <c:f>Sheet1!$B$2:$B$3</c:f>
              <c:numCache>
                <c:formatCode>0</c:formatCode>
                <c:ptCount val="2"/>
                <c:pt idx="0">
                  <c:v>63</c:v>
                </c:pt>
                <c:pt idx="1">
                  <c:v>37</c:v>
                </c:pt>
              </c:numCache>
            </c:numRef>
          </c:val>
          <c:extLst>
            <c:ext xmlns:c16="http://schemas.microsoft.com/office/drawing/2014/chart" uri="{C3380CC4-5D6E-409C-BE32-E72D297353CC}">
              <c16:uniqueId val="{00000000-F647-4CF5-B77E-B81BAF91ABA3}"/>
            </c:ext>
          </c:extLst>
        </c:ser>
        <c:dLbls>
          <c:showLegendKey val="0"/>
          <c:showVal val="0"/>
          <c:showCatName val="0"/>
          <c:showSerName val="0"/>
          <c:showPercent val="0"/>
          <c:showBubbleSize val="0"/>
          <c:showLeaderLines val="1"/>
        </c:dLbls>
        <c:firstSliceAng val="0"/>
        <c:holeSize val="68"/>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877630998604511"/>
          <c:y val="2.8687528133080561E-2"/>
          <c:w val="0.5875536563439212"/>
          <c:h val="0.86529901562967171"/>
        </c:manualLayout>
      </c:layout>
      <c:barChart>
        <c:barDir val="bar"/>
        <c:grouping val="stacked"/>
        <c:varyColors val="0"/>
        <c:ser>
          <c:idx val="0"/>
          <c:order val="0"/>
          <c:tx>
            <c:strRef>
              <c:f>Sheet1!$B$1</c:f>
              <c:strCache>
                <c:ptCount val="1"/>
                <c:pt idx="0">
                  <c:v>Crade 1–2</c:v>
                </c:pt>
              </c:strCache>
            </c:strRef>
          </c:tx>
          <c:spPr>
            <a:solidFill>
              <a:schemeClr val="accent4">
                <a:lumMod val="60000"/>
                <a:lumOff val="40000"/>
              </a:schemeClr>
            </a:solidFill>
            <a:ln>
              <a:noFill/>
            </a:ln>
            <a:effectLst/>
          </c:spPr>
          <c:invertIfNegative val="0"/>
          <c:dPt>
            <c:idx val="0"/>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1-506E-40CC-A4CD-4BD30392B839}"/>
              </c:ext>
            </c:extLst>
          </c:dPt>
          <c:dPt>
            <c:idx val="1"/>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3-506E-40CC-A4CD-4BD30392B839}"/>
              </c:ext>
            </c:extLst>
          </c:dPt>
          <c:dPt>
            <c:idx val="2"/>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5-506E-40CC-A4CD-4BD30392B839}"/>
              </c:ext>
            </c:extLst>
          </c:dPt>
          <c:dPt>
            <c:idx val="3"/>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7-506E-40CC-A4CD-4BD30392B839}"/>
              </c:ext>
            </c:extLst>
          </c:dPt>
          <c:dPt>
            <c:idx val="4"/>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9-506E-40CC-A4CD-4BD30392B839}"/>
              </c:ext>
            </c:extLst>
          </c:dPt>
          <c:dPt>
            <c:idx val="5"/>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B-506E-40CC-A4CD-4BD30392B839}"/>
              </c:ext>
            </c:extLst>
          </c:dPt>
          <c:dPt>
            <c:idx val="6"/>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D-506E-40CC-A4CD-4BD30392B839}"/>
              </c:ext>
            </c:extLst>
          </c:dPt>
          <c:dPt>
            <c:idx val="7"/>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F-506E-40CC-A4CD-4BD30392B839}"/>
              </c:ext>
            </c:extLst>
          </c:dPt>
          <c:dPt>
            <c:idx val="8"/>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11-506E-40CC-A4CD-4BD30392B839}"/>
              </c:ext>
            </c:extLst>
          </c:dPt>
          <c:dPt>
            <c:idx val="9"/>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13-506E-40CC-A4CD-4BD30392B839}"/>
              </c:ext>
            </c:extLst>
          </c:dPt>
          <c:dPt>
            <c:idx val="10"/>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15-506E-40CC-A4CD-4BD30392B839}"/>
              </c:ext>
            </c:extLst>
          </c:dPt>
          <c:dPt>
            <c:idx val="11"/>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17-506E-40CC-A4CD-4BD30392B839}"/>
              </c:ext>
            </c:extLst>
          </c:dPt>
          <c:dPt>
            <c:idx val="12"/>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19-506E-40CC-A4CD-4BD30392B839}"/>
              </c:ext>
            </c:extLst>
          </c:dPt>
          <c:dPt>
            <c:idx val="13"/>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1B-506E-40CC-A4CD-4BD30392B839}"/>
              </c:ext>
            </c:extLst>
          </c:dPt>
          <c:dPt>
            <c:idx val="14"/>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1D-506E-40CC-A4CD-4BD30392B839}"/>
              </c:ext>
            </c:extLst>
          </c:dPt>
          <c:dLbls>
            <c:dLbl>
              <c:idx val="0"/>
              <c:tx>
                <c:rich>
                  <a:bodyPr/>
                  <a:lstStyle/>
                  <a:p>
                    <a:r>
                      <a:rPr lang="en-US"/>
                      <a:t>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06E-40CC-A4CD-4BD30392B839}"/>
                </c:ext>
              </c:extLst>
            </c:dLbl>
            <c:dLbl>
              <c:idx val="1"/>
              <c:tx>
                <c:rich>
                  <a:bodyPr/>
                  <a:lstStyle/>
                  <a:p>
                    <a:r>
                      <a:rPr lang="en-US"/>
                      <a:t>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06E-40CC-A4CD-4BD30392B839}"/>
                </c:ext>
              </c:extLst>
            </c:dLbl>
            <c:dLbl>
              <c:idx val="2"/>
              <c:tx>
                <c:rich>
                  <a:bodyPr/>
                  <a:lstStyle/>
                  <a:p>
                    <a:r>
                      <a:rPr lang="en-US"/>
                      <a:t>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06E-40CC-A4CD-4BD30392B839}"/>
                </c:ext>
              </c:extLst>
            </c:dLbl>
            <c:dLbl>
              <c:idx val="3"/>
              <c:tx>
                <c:rich>
                  <a:bodyPr/>
                  <a:lstStyle/>
                  <a:p>
                    <a:r>
                      <a:rPr lang="en-US"/>
                      <a:t>1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06E-40CC-A4CD-4BD30392B839}"/>
                </c:ext>
              </c:extLst>
            </c:dLbl>
            <c:dLbl>
              <c:idx val="4"/>
              <c:tx>
                <c:rich>
                  <a:bodyPr/>
                  <a:lstStyle/>
                  <a:p>
                    <a:r>
                      <a:rPr lang="en-US"/>
                      <a:t>2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06E-40CC-A4CD-4BD30392B839}"/>
                </c:ext>
              </c:extLst>
            </c:dLbl>
            <c:dLbl>
              <c:idx val="5"/>
              <c:tx>
                <c:rich>
                  <a:bodyPr/>
                  <a:lstStyle/>
                  <a:p>
                    <a:r>
                      <a:rPr lang="en-US"/>
                      <a:t>2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06E-40CC-A4CD-4BD30392B839}"/>
                </c:ext>
              </c:extLst>
            </c:dLbl>
            <c:dLbl>
              <c:idx val="6"/>
              <c:tx>
                <c:rich>
                  <a:bodyPr/>
                  <a:lstStyle/>
                  <a:p>
                    <a:r>
                      <a:rPr lang="en-US"/>
                      <a:t>2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06E-40CC-A4CD-4BD30392B839}"/>
                </c:ext>
              </c:extLst>
            </c:dLbl>
            <c:dLbl>
              <c:idx val="7"/>
              <c:tx>
                <c:rich>
                  <a:bodyPr/>
                  <a:lstStyle/>
                  <a:p>
                    <a:r>
                      <a:rPr lang="en-US"/>
                      <a:t>2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506E-40CC-A4CD-4BD30392B839}"/>
                </c:ext>
              </c:extLst>
            </c:dLbl>
            <c:dLbl>
              <c:idx val="8"/>
              <c:tx>
                <c:rich>
                  <a:bodyPr/>
                  <a:lstStyle/>
                  <a:p>
                    <a:r>
                      <a:rPr lang="en-US"/>
                      <a:t>2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506E-40CC-A4CD-4BD30392B839}"/>
                </c:ext>
              </c:extLst>
            </c:dLbl>
            <c:dLbl>
              <c:idx val="9"/>
              <c:tx>
                <c:rich>
                  <a:bodyPr/>
                  <a:lstStyle/>
                  <a:p>
                    <a:r>
                      <a:rPr lang="en-US"/>
                      <a:t>2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506E-40CC-A4CD-4BD30392B839}"/>
                </c:ext>
              </c:extLst>
            </c:dLbl>
            <c:dLbl>
              <c:idx val="10"/>
              <c:tx>
                <c:rich>
                  <a:bodyPr/>
                  <a:lstStyle/>
                  <a:p>
                    <a:r>
                      <a:rPr lang="en-US"/>
                      <a:t>3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506E-40CC-A4CD-4BD30392B839}"/>
                </c:ext>
              </c:extLst>
            </c:dLbl>
            <c:dLbl>
              <c:idx val="11"/>
              <c:tx>
                <c:rich>
                  <a:bodyPr/>
                  <a:lstStyle/>
                  <a:p>
                    <a:r>
                      <a:rPr lang="en-US"/>
                      <a:t>2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506E-40CC-A4CD-4BD30392B839}"/>
                </c:ext>
              </c:extLst>
            </c:dLbl>
            <c:dLbl>
              <c:idx val="12"/>
              <c:tx>
                <c:rich>
                  <a:bodyPr/>
                  <a:lstStyle/>
                  <a:p>
                    <a:r>
                      <a:rPr lang="en-US" dirty="0"/>
                      <a:t>4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506E-40CC-A4CD-4BD30392B839}"/>
                </c:ext>
              </c:extLst>
            </c:dLbl>
            <c:dLbl>
              <c:idx val="13"/>
              <c:tx>
                <c:rich>
                  <a:bodyPr/>
                  <a:lstStyle/>
                  <a:p>
                    <a:r>
                      <a:rPr lang="en-US"/>
                      <a:t>43</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06E-40CC-A4CD-4BD30392B839}"/>
                </c:ext>
              </c:extLst>
            </c:dLbl>
            <c:dLbl>
              <c:idx val="14"/>
              <c:tx>
                <c:rich>
                  <a:bodyPr/>
                  <a:lstStyle/>
                  <a:p>
                    <a:r>
                      <a:rPr lang="en-US"/>
                      <a:t>28</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06E-40CC-A4CD-4BD30392B839}"/>
                </c:ext>
              </c:extLst>
            </c:dLbl>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16</c:f>
              <c:numCache>
                <c:formatCode>General</c:formatCode>
                <c:ptCount val="15"/>
                <c:pt idx="0">
                  <c:v>-20</c:v>
                </c:pt>
                <c:pt idx="1">
                  <c:v>-19</c:v>
                </c:pt>
                <c:pt idx="2">
                  <c:v>-12</c:v>
                </c:pt>
                <c:pt idx="3">
                  <c:v>-11</c:v>
                </c:pt>
                <c:pt idx="4">
                  <c:v>-25</c:v>
                </c:pt>
                <c:pt idx="5">
                  <c:v>-25</c:v>
                </c:pt>
                <c:pt idx="6">
                  <c:v>-25</c:v>
                </c:pt>
                <c:pt idx="7">
                  <c:v>-28</c:v>
                </c:pt>
                <c:pt idx="8">
                  <c:v>-26</c:v>
                </c:pt>
                <c:pt idx="9">
                  <c:v>-29</c:v>
                </c:pt>
                <c:pt idx="10">
                  <c:v>-32</c:v>
                </c:pt>
                <c:pt idx="11">
                  <c:v>-29</c:v>
                </c:pt>
                <c:pt idx="12">
                  <c:v>-42</c:v>
                </c:pt>
                <c:pt idx="13">
                  <c:v>-43</c:v>
                </c:pt>
                <c:pt idx="14">
                  <c:v>-28</c:v>
                </c:pt>
              </c:numCache>
            </c:numRef>
          </c:val>
          <c:extLst>
            <c:ext xmlns:c15="http://schemas.microsoft.com/office/drawing/2012/chart" uri="{02D57815-91ED-43cb-92C2-25804820EDAC}">
              <c15:filteredCategoryTitle>
                <c15:cat>
                  <c:multiLvlStrRef>
                    <c:extLst>
                      <c:ext uri="{02D57815-91ED-43cb-92C2-25804820EDAC}">
                        <c15:formulaRef>
                          <c15:sqref>Sheet1!$A$2:$A$16</c15:sqref>
                        </c15:formulaRef>
                      </c:ext>
                    </c:extLst>
                  </c:multiLvlStrRef>
                </c15:cat>
              </c15:filteredCategoryTitle>
            </c:ext>
            <c:ext xmlns:c16="http://schemas.microsoft.com/office/drawing/2014/chart" uri="{C3380CC4-5D6E-409C-BE32-E72D297353CC}">
              <c16:uniqueId val="{0000001E-506E-40CC-A4CD-4BD30392B839}"/>
            </c:ext>
          </c:extLst>
        </c:ser>
        <c:ser>
          <c:idx val="1"/>
          <c:order val="1"/>
          <c:tx>
            <c:strRef>
              <c:f>Sheet1!$C$1</c:f>
              <c:strCache>
                <c:ptCount val="1"/>
                <c:pt idx="0">
                  <c:v>Grade 3</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F-506E-40CC-A4CD-4BD30392B839}"/>
                </c:ext>
              </c:extLst>
            </c:dLbl>
            <c:dLbl>
              <c:idx val="1"/>
              <c:tx>
                <c:rich>
                  <a:bodyPr/>
                  <a:lstStyle/>
                  <a:p>
                    <a:r>
                      <a:rPr lang="en-US"/>
                      <a:t>2</a:t>
                    </a:r>
                  </a:p>
                </c:rich>
              </c:tx>
              <c:dLblPos val="inEnd"/>
              <c:showLegendKey val="0"/>
              <c:showVal val="1"/>
              <c:showCatName val="0"/>
              <c:showSerName val="0"/>
              <c:showPercent val="0"/>
              <c:showBubbleSize val="0"/>
              <c:extLst>
                <c:ext xmlns:c15="http://schemas.microsoft.com/office/drawing/2012/chart" uri="{CE6537A1-D6FC-4f65-9D91-7224C49458BB}">
                  <c15:layout>
                    <c:manualLayout>
                      <c:w val="4.7405756031029117E-2"/>
                      <c:h val="4.8010485651214123E-2"/>
                    </c:manualLayout>
                  </c15:layout>
                  <c15:showDataLabelsRange val="0"/>
                </c:ext>
                <c:ext xmlns:c16="http://schemas.microsoft.com/office/drawing/2014/chart" uri="{C3380CC4-5D6E-409C-BE32-E72D297353CC}">
                  <c16:uniqueId val="{00000020-506E-40CC-A4CD-4BD30392B839}"/>
                </c:ext>
              </c:extLst>
            </c:dLbl>
            <c:dLbl>
              <c:idx val="2"/>
              <c:tx>
                <c:rich>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r>
                      <a:rPr lang="en-US" dirty="0">
                        <a:solidFill>
                          <a:schemeClr val="bg1"/>
                        </a:solidFill>
                        <a:latin typeface="Arial" panose="020B0604020202020204" pitchFamily="34" charset="0"/>
                        <a:cs typeface="Arial" panose="020B0604020202020204" pitchFamily="34" charset="0"/>
                      </a:rPr>
                      <a:t>9</a:t>
                    </a:r>
                  </a:p>
                </c:rich>
              </c:tx>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06E-40CC-A4CD-4BD30392B839}"/>
                </c:ext>
              </c:extLst>
            </c:dLbl>
            <c:dLbl>
              <c:idx val="3"/>
              <c:tx>
                <c:rich>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r>
                      <a:rPr lang="en-US" dirty="0">
                        <a:solidFill>
                          <a:schemeClr val="bg1"/>
                        </a:solidFill>
                        <a:latin typeface="Arial" panose="020B0604020202020204" pitchFamily="34" charset="0"/>
                        <a:cs typeface="Arial" panose="020B0604020202020204" pitchFamily="34" charset="0"/>
                      </a:rPr>
                      <a:t>11</a:t>
                    </a:r>
                  </a:p>
                </c:rich>
              </c:tx>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06E-40CC-A4CD-4BD30392B839}"/>
                </c:ext>
              </c:extLst>
            </c:dLbl>
            <c:dLbl>
              <c:idx val="4"/>
              <c:tx>
                <c:rich>
                  <a:bodyPr/>
                  <a:lstStyle/>
                  <a:p>
                    <a:r>
                      <a:rPr lang="en-US"/>
                      <a:t>1</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06E-40CC-A4CD-4BD30392B839}"/>
                </c:ext>
              </c:extLst>
            </c:dLbl>
            <c:dLbl>
              <c:idx val="5"/>
              <c:layout>
                <c:manualLayout>
                  <c:x val="-2.6670674718626497E-2"/>
                  <c:y val="9.5493427961319434E-17"/>
                </c:manualLayout>
              </c:layout>
              <c:tx>
                <c:rich>
                  <a:bodyPr/>
                  <a:lstStyle/>
                  <a:p>
                    <a:r>
                      <a:rPr lang="en-US" dirty="0"/>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06E-40CC-A4CD-4BD30392B839}"/>
                </c:ext>
              </c:extLst>
            </c:dLbl>
            <c:dLbl>
              <c:idx val="6"/>
              <c:layout>
                <c:manualLayout>
                  <c:x val="-2.0055706636140605E-2"/>
                  <c:y val="2.2956841138659321E-7"/>
                </c:manualLayout>
              </c:layout>
              <c:tx>
                <c:rich>
                  <a:bodyPr/>
                  <a:lstStyle/>
                  <a:p>
                    <a:r>
                      <a:rPr lang="en-US" dirty="0"/>
                      <a: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06E-40CC-A4CD-4BD30392B839}"/>
                </c:ext>
              </c:extLst>
            </c:dLbl>
            <c:dLbl>
              <c:idx val="7"/>
              <c:tx>
                <c:rich>
                  <a:bodyPr/>
                  <a:lstStyle/>
                  <a:p>
                    <a:r>
                      <a:rPr lang="en-US"/>
                      <a:t>1</a:t>
                    </a:r>
                    <a:endParaRPr lang="en-US" dirty="0"/>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06E-40CC-A4CD-4BD30392B839}"/>
                </c:ext>
              </c:extLst>
            </c:dLbl>
            <c:dLbl>
              <c:idx val="8"/>
              <c:delete val="1"/>
              <c:extLst>
                <c:ext xmlns:c15="http://schemas.microsoft.com/office/drawing/2012/chart" uri="{CE6537A1-D6FC-4f65-9D91-7224C49458BB}"/>
                <c:ext xmlns:c16="http://schemas.microsoft.com/office/drawing/2014/chart" uri="{C3380CC4-5D6E-409C-BE32-E72D297353CC}">
                  <c16:uniqueId val="{00000027-506E-40CC-A4CD-4BD30392B839}"/>
                </c:ext>
              </c:extLst>
            </c:dLbl>
            <c:dLbl>
              <c:idx val="9"/>
              <c:layout>
                <c:manualLayout>
                  <c:x val="-1.6370452665428033E-2"/>
                  <c:y val="-3.5642016187838412E-6"/>
                </c:manualLayout>
              </c:layout>
              <c:tx>
                <c:rich>
                  <a:bodyPr/>
                  <a:lstStyle/>
                  <a:p>
                    <a:r>
                      <a:rPr lang="en-US" dirty="0">
                        <a:solidFill>
                          <a:schemeClr val="accent4"/>
                        </a:solidFill>
                      </a:rPr>
                      <a:t>1</a:t>
                    </a:r>
                  </a:p>
                </c:rich>
              </c:tx>
              <c:dLblPos val="ctr"/>
              <c:showLegendKey val="0"/>
              <c:showVal val="1"/>
              <c:showCatName val="0"/>
              <c:showSerName val="0"/>
              <c:showPercent val="0"/>
              <c:showBubbleSize val="0"/>
              <c:extLst>
                <c:ext xmlns:c15="http://schemas.microsoft.com/office/drawing/2012/chart" uri="{CE6537A1-D6FC-4f65-9D91-7224C49458BB}">
                  <c15:layout>
                    <c:manualLayout>
                      <c:w val="7.8485810458604366E-2"/>
                      <c:h val="5.3851177336276666E-2"/>
                    </c:manualLayout>
                  </c15:layout>
                  <c15:showDataLabelsRange val="0"/>
                </c:ext>
                <c:ext xmlns:c16="http://schemas.microsoft.com/office/drawing/2014/chart" uri="{C3380CC4-5D6E-409C-BE32-E72D297353CC}">
                  <c16:uniqueId val="{00000028-506E-40CC-A4CD-4BD30392B839}"/>
                </c:ext>
              </c:extLst>
            </c:dLbl>
            <c:dLbl>
              <c:idx val="10"/>
              <c:layout>
                <c:manualLayout>
                  <c:x val="-2.7755308698604708E-2"/>
                  <c:y val="-3.4694469519536142E-18"/>
                </c:manualLayout>
              </c:layout>
              <c:tx>
                <c:rich>
                  <a:bodyPr/>
                  <a:lstStyle/>
                  <a:p>
                    <a:r>
                      <a:rPr lang="en-US" dirty="0"/>
                      <a:t>&lt;1</a:t>
                    </a:r>
                  </a:p>
                </c:rich>
              </c:tx>
              <c:dLblPos val="ctr"/>
              <c:showLegendKey val="0"/>
              <c:showVal val="1"/>
              <c:showCatName val="0"/>
              <c:showSerName val="0"/>
              <c:showPercent val="0"/>
              <c:showBubbleSize val="0"/>
              <c:extLst>
                <c:ext xmlns:c15="http://schemas.microsoft.com/office/drawing/2012/chart" uri="{CE6537A1-D6FC-4f65-9D91-7224C49458BB}">
                  <c15:layout>
                    <c:manualLayout>
                      <c:w val="4.7109933032486215E-2"/>
                      <c:h val="5.3851177336276666E-2"/>
                    </c:manualLayout>
                  </c15:layout>
                  <c15:showDataLabelsRange val="0"/>
                </c:ext>
                <c:ext xmlns:c16="http://schemas.microsoft.com/office/drawing/2014/chart" uri="{C3380CC4-5D6E-409C-BE32-E72D297353CC}">
                  <c16:uniqueId val="{00000029-506E-40CC-A4CD-4BD30392B839}"/>
                </c:ext>
              </c:extLst>
            </c:dLbl>
            <c:dLbl>
              <c:idx val="11"/>
              <c:layout>
                <c:manualLayout>
                  <c:x val="-3.4045193912698779E-2"/>
                  <c:y val="6.887052341865049E-7"/>
                </c:manualLayout>
              </c:layout>
              <c:tx>
                <c:rich>
                  <a:bodyPr/>
                  <a:lstStyle/>
                  <a:p>
                    <a:r>
                      <a:rPr lang="en-US" dirty="0">
                        <a:solidFill>
                          <a:schemeClr val="accent4"/>
                        </a:solidFill>
                      </a:rPr>
                      <a:t>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06E-40CC-A4CD-4BD30392B839}"/>
                </c:ext>
              </c:extLst>
            </c:dLbl>
            <c:dLbl>
              <c:idx val="12"/>
              <c:tx>
                <c:rich>
                  <a:bodyPr/>
                  <a:lstStyle/>
                  <a:p>
                    <a:r>
                      <a:rPr lang="en-US"/>
                      <a:t>1</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06E-40CC-A4CD-4BD30392B839}"/>
                </c:ext>
              </c:extLst>
            </c:dLbl>
            <c:dLbl>
              <c:idx val="13"/>
              <c:layout>
                <c:manualLayout>
                  <c:x val="-3.3877446799899902E-2"/>
                  <c:y val="2.1023517326952276E-7"/>
                </c:manualLayout>
              </c:layout>
              <c:tx>
                <c:rich>
                  <a:bodyPr/>
                  <a:lstStyle/>
                  <a:p>
                    <a:r>
                      <a:rPr lang="en-US" dirty="0"/>
                      <a:t>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06E-40CC-A4CD-4BD30392B839}"/>
                </c:ext>
              </c:extLst>
            </c:dLbl>
            <c:dLbl>
              <c:idx val="14"/>
              <c:layout>
                <c:manualLayout>
                  <c:x val="3.9094913387011039E-4"/>
                  <c:y val="0"/>
                </c:manualLayout>
              </c:layout>
              <c:tx>
                <c:rich>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r>
                      <a:rPr lang="en-US">
                        <a:solidFill>
                          <a:schemeClr val="bg1"/>
                        </a:solidFill>
                        <a:latin typeface="Arial" panose="020B0604020202020204" pitchFamily="34" charset="0"/>
                        <a:cs typeface="Arial" panose="020B0604020202020204" pitchFamily="34" charset="0"/>
                      </a:rPr>
                      <a:t>20</a:t>
                    </a:r>
                    <a:endParaRPr lang="en-US" dirty="0">
                      <a:solidFill>
                        <a:schemeClr val="bg1"/>
                      </a:solidFill>
                      <a:latin typeface="Arial" panose="020B0604020202020204" pitchFamily="34" charset="0"/>
                      <a:cs typeface="Arial" panose="020B0604020202020204" pitchFamily="34" charset="0"/>
                    </a:endParaRPr>
                  </a:p>
                </c:rich>
              </c:tx>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06E-40CC-A4CD-4BD30392B839}"/>
                </c:ext>
              </c:extLst>
            </c:dLbl>
            <c:spPr>
              <a:noFill/>
              <a:ln>
                <a:noFill/>
              </a:ln>
              <a:effectLst/>
            </c:spPr>
            <c:txPr>
              <a:bodyPr rot="0" spcFirstLastPara="1" vertOverflow="ellipsis" vert="horz" wrap="square" anchor="ctr" anchorCtr="1"/>
              <a:lstStyle/>
              <a:p>
                <a:pPr>
                  <a:defRPr sz="1197" b="1" i="0" u="none" strike="noStrike" kern="1200" baseline="0">
                    <a:solidFill>
                      <a:schemeClr val="accent4"/>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2:$C$16</c:f>
              <c:numCache>
                <c:formatCode>General</c:formatCode>
                <c:ptCount val="15"/>
                <c:pt idx="0">
                  <c:v>0</c:v>
                </c:pt>
                <c:pt idx="1">
                  <c:v>-2</c:v>
                </c:pt>
                <c:pt idx="2">
                  <c:v>-9</c:v>
                </c:pt>
                <c:pt idx="3">
                  <c:v>-11</c:v>
                </c:pt>
                <c:pt idx="4">
                  <c:v>-1</c:v>
                </c:pt>
                <c:pt idx="5">
                  <c:v>-1</c:v>
                </c:pt>
                <c:pt idx="6">
                  <c:v>-1</c:v>
                </c:pt>
                <c:pt idx="7">
                  <c:v>-1</c:v>
                </c:pt>
                <c:pt idx="8">
                  <c:v>-3</c:v>
                </c:pt>
                <c:pt idx="9">
                  <c:v>-1</c:v>
                </c:pt>
                <c:pt idx="10">
                  <c:v>-1</c:v>
                </c:pt>
                <c:pt idx="11">
                  <c:v>-3</c:v>
                </c:pt>
                <c:pt idx="12">
                  <c:v>-1</c:v>
                </c:pt>
                <c:pt idx="13">
                  <c:v>-3</c:v>
                </c:pt>
                <c:pt idx="14">
                  <c:v>-20</c:v>
                </c:pt>
              </c:numCache>
            </c:numRef>
          </c:val>
          <c:extLst>
            <c:ext xmlns:c15="http://schemas.microsoft.com/office/drawing/2012/chart" uri="{02D57815-91ED-43cb-92C2-25804820EDAC}">
              <c15:filteredCategoryTitle>
                <c15:cat>
                  <c:multiLvlStrRef>
                    <c:extLst>
                      <c:ext uri="{02D57815-91ED-43cb-92C2-25804820EDAC}">
                        <c15:formulaRef>
                          <c15:sqref>Sheet1!$A$2:$A$16</c15:sqref>
                        </c15:formulaRef>
                      </c:ext>
                    </c:extLst>
                  </c:multiLvlStrRef>
                </c15:cat>
              </c15:filteredCategoryTitle>
            </c:ext>
            <c:ext xmlns:c16="http://schemas.microsoft.com/office/drawing/2014/chart" uri="{C3380CC4-5D6E-409C-BE32-E72D297353CC}">
              <c16:uniqueId val="{0000002E-506E-40CC-A4CD-4BD30392B839}"/>
            </c:ext>
          </c:extLst>
        </c:ser>
        <c:ser>
          <c:idx val="2"/>
          <c:order val="2"/>
          <c:tx>
            <c:strRef>
              <c:f>Sheet1!$D$1</c:f>
              <c:strCache>
                <c:ptCount val="1"/>
                <c:pt idx="0">
                  <c:v>Grade 4</c:v>
                </c:pt>
              </c:strCache>
            </c:strRef>
          </c:tx>
          <c:spPr>
            <a:solidFill>
              <a:schemeClr val="accent4">
                <a:lumMod val="50000"/>
              </a:schemeClr>
            </a:solidFill>
            <a:ln>
              <a:noFill/>
            </a:ln>
            <a:effectLst/>
          </c:spPr>
          <c:invertIfNegative val="0"/>
          <c:dLbls>
            <c:dLbl>
              <c:idx val="2"/>
              <c:tx>
                <c:rich>
                  <a:bodyPr/>
                  <a:lstStyle/>
                  <a:p>
                    <a:r>
                      <a:rPr lang="en-US" dirty="0"/>
                      <a:t>3</a:t>
                    </a:r>
                  </a:p>
                </c:rich>
              </c:tx>
              <c:dLblPos val="ctr"/>
              <c:showLegendKey val="0"/>
              <c:showVal val="1"/>
              <c:showCatName val="0"/>
              <c:showSerName val="0"/>
              <c:showPercent val="0"/>
              <c:showBubbleSize val="0"/>
              <c:extLst>
                <c:ext xmlns:c15="http://schemas.microsoft.com/office/drawing/2012/chart" uri="{CE6537A1-D6FC-4f65-9D91-7224C49458BB}">
                  <c15:layout>
                    <c:manualLayout>
                      <c:w val="9.1219857709298365E-3"/>
                      <c:h val="5.3851177336276666E-2"/>
                    </c:manualLayout>
                  </c15:layout>
                  <c15:showDataLabelsRange val="0"/>
                </c:ext>
                <c:ext xmlns:c16="http://schemas.microsoft.com/office/drawing/2014/chart" uri="{C3380CC4-5D6E-409C-BE32-E72D297353CC}">
                  <c16:uniqueId val="{0000002F-506E-40CC-A4CD-4BD30392B839}"/>
                </c:ext>
              </c:extLst>
            </c:dLbl>
            <c:dLbl>
              <c:idx val="3"/>
              <c:tx>
                <c:rich>
                  <a:bodyPr/>
                  <a:lstStyle/>
                  <a:p>
                    <a:r>
                      <a:rPr lang="en-US"/>
                      <a:t>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06E-40CC-A4CD-4BD30392B83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D$16</c:f>
              <c:numCache>
                <c:formatCode>General</c:formatCode>
                <c:ptCount val="15"/>
                <c:pt idx="2">
                  <c:v>-3</c:v>
                </c:pt>
                <c:pt idx="3">
                  <c:v>-3</c:v>
                </c:pt>
              </c:numCache>
            </c:numRef>
          </c:val>
          <c:extLst>
            <c:ext xmlns:c15="http://schemas.microsoft.com/office/drawing/2012/chart" uri="{02D57815-91ED-43cb-92C2-25804820EDAC}">
              <c15:filteredCategoryTitle>
                <c15:cat>
                  <c:multiLvlStrRef>
                    <c:extLst>
                      <c:ext uri="{02D57815-91ED-43cb-92C2-25804820EDAC}">
                        <c15:formulaRef>
                          <c15:sqref>Sheet1!$A$2:$A$16</c15:sqref>
                        </c15:formulaRef>
                      </c:ext>
                    </c:extLst>
                  </c:multiLvlStrRef>
                </c15:cat>
              </c15:filteredCategoryTitle>
            </c:ext>
            <c:ext xmlns:c16="http://schemas.microsoft.com/office/drawing/2014/chart" uri="{C3380CC4-5D6E-409C-BE32-E72D297353CC}">
              <c16:uniqueId val="{00000031-506E-40CC-A4CD-4BD30392B839}"/>
            </c:ext>
          </c:extLst>
        </c:ser>
        <c:dLbls>
          <c:dLblPos val="ctr"/>
          <c:showLegendKey val="0"/>
          <c:showVal val="1"/>
          <c:showCatName val="0"/>
          <c:showSerName val="0"/>
          <c:showPercent val="0"/>
          <c:showBubbleSize val="0"/>
        </c:dLbls>
        <c:gapWidth val="30"/>
        <c:overlap val="100"/>
        <c:axId val="638255872"/>
        <c:axId val="638255512"/>
      </c:barChart>
      <c:catAx>
        <c:axId val="638255872"/>
        <c:scaling>
          <c:orientation val="minMax"/>
        </c:scaling>
        <c:delete val="0"/>
        <c:axPos val="l"/>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en-US"/>
          </a:p>
        </c:txPr>
        <c:crossAx val="638255512"/>
        <c:crosses val="autoZero"/>
        <c:auto val="1"/>
        <c:lblAlgn val="ctr"/>
        <c:lblOffset val="0"/>
        <c:noMultiLvlLbl val="0"/>
      </c:catAx>
      <c:valAx>
        <c:axId val="638255512"/>
        <c:scaling>
          <c:orientation val="minMax"/>
          <c:max val="0"/>
          <c:min val="-100"/>
        </c:scaling>
        <c:delete val="0"/>
        <c:axPos val="b"/>
        <c:numFmt formatCode="General" sourceLinked="1"/>
        <c:majorTickMark val="out"/>
        <c:minorTickMark val="none"/>
        <c:tickLblPos val="none"/>
        <c:spPr>
          <a:noFill/>
          <a:ln w="12700">
            <a:noFill/>
          </a:ln>
          <a:effectLst/>
        </c:spPr>
        <c:txPr>
          <a:bodyPr rot="-6000000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en-US"/>
          </a:p>
        </c:txPr>
        <c:crossAx val="638255872"/>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accent2"/>
          </a:solidFill>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5">
                <a:lumMod val="50000"/>
              </a:schemeClr>
            </a:solidFill>
            <a:ln>
              <a:noFill/>
            </a:ln>
            <a:effectLst/>
            <a:scene3d>
              <a:camera prst="orthographicFront"/>
              <a:lightRig rig="threePt" dir="t"/>
            </a:scene3d>
            <a:sp3d/>
          </c:spPr>
          <c:invertIfNegative val="0"/>
          <c:dLbls>
            <c:dLbl>
              <c:idx val="2"/>
              <c:tx>
                <c:rich>
                  <a:bodyPr/>
                  <a:lstStyle/>
                  <a:p>
                    <a:r>
                      <a:rPr lang="en-US"/>
                      <a:t>24.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0B5-4323-930E-842E07E2BCE2}"/>
                </c:ext>
              </c:extLst>
            </c:dLbl>
            <c:spPr>
              <a:noFill/>
              <a:ln>
                <a:noFill/>
              </a:ln>
              <a:effectLst/>
            </c:spPr>
            <c:txPr>
              <a:bodyPr rot="0" spcFirstLastPara="1" vertOverflow="ellipsis" vert="horz" wrap="square" anchor="ctr" anchorCtr="1"/>
              <a:lstStyle/>
              <a:p>
                <a:pPr>
                  <a:defRPr sz="1197" b="1" i="0" u="none" strike="noStrike" kern="1200" baseline="0">
                    <a:solidFill>
                      <a:srgbClr val="0586C0"/>
                    </a:solidFill>
                    <a:latin typeface="Arial "/>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1">
                  <c:v>History of brain metatsases</c:v>
                </c:pt>
                <c:pt idx="3">
                  <c:v>Liver metastases at baseline</c:v>
                </c:pt>
                <c:pt idx="5">
                  <c:v>TP53 co-mutations</c:v>
                </c:pt>
                <c:pt idx="7">
                  <c:v>Detectable baseline EGFRm ctDNA</c:v>
                </c:pt>
              </c:strCache>
            </c:strRef>
          </c:cat>
          <c:val>
            <c:numRef>
              <c:f>Sheet1!$B$2:$B$9</c:f>
              <c:numCache>
                <c:formatCode>General</c:formatCode>
                <c:ptCount val="8"/>
                <c:pt idx="0">
                  <c:v>27.5</c:v>
                </c:pt>
                <c:pt idx="1">
                  <c:v>18.3</c:v>
                </c:pt>
                <c:pt idx="2">
                  <c:v>24</c:v>
                </c:pt>
                <c:pt idx="3">
                  <c:v>18.2</c:v>
                </c:pt>
                <c:pt idx="4">
                  <c:v>22.1</c:v>
                </c:pt>
                <c:pt idx="5">
                  <c:v>18.2</c:v>
                </c:pt>
                <c:pt idx="6">
                  <c:v>27.7</c:v>
                </c:pt>
                <c:pt idx="7">
                  <c:v>20.3</c:v>
                </c:pt>
              </c:numCache>
            </c:numRef>
          </c:val>
          <c:extLst>
            <c:ext xmlns:c16="http://schemas.microsoft.com/office/drawing/2014/chart" uri="{C3380CC4-5D6E-409C-BE32-E72D297353CC}">
              <c16:uniqueId val="{00000001-20B5-4323-930E-842E07E2BCE2}"/>
            </c:ext>
          </c:extLst>
        </c:ser>
        <c:ser>
          <c:idx val="1"/>
          <c:order val="1"/>
          <c:tx>
            <c:strRef>
              <c:f>Sheet1!$C$1</c:f>
              <c:strCache>
                <c:ptCount val="1"/>
                <c:pt idx="0">
                  <c:v>Series 2</c:v>
                </c:pt>
              </c:strCache>
            </c:strRef>
          </c:tx>
          <c:spPr>
            <a:solidFill>
              <a:schemeClr val="accent6"/>
            </a:solidFill>
            <a:ln>
              <a:noFill/>
            </a:ln>
            <a:effectLst/>
            <a:scene3d>
              <a:camera prst="orthographicFront"/>
              <a:lightRig rig="threePt" dir="t"/>
            </a:scene3d>
            <a:sp3d/>
          </c:spPr>
          <c:invertIfNegative val="0"/>
          <c:dLbls>
            <c:dLbl>
              <c:idx val="1"/>
              <c:tx>
                <c:rich>
                  <a:bodyPr/>
                  <a:lstStyle/>
                  <a:p>
                    <a:r>
                      <a:rPr lang="en-US"/>
                      <a:t>1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0B5-4323-930E-842E07E2BCE2}"/>
                </c:ext>
              </c:extLst>
            </c:dLbl>
            <c:dLbl>
              <c:idx val="3"/>
              <c:tx>
                <c:rich>
                  <a:bodyPr/>
                  <a:lstStyle/>
                  <a:p>
                    <a:fld id="{4FBE402D-6B4C-49A7-BC80-54A198BFC8E7}"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0B5-4323-930E-842E07E2BCE2}"/>
                </c:ext>
              </c:extLst>
            </c:dLbl>
            <c:spPr>
              <a:noFill/>
              <a:ln>
                <a:noFill/>
              </a:ln>
              <a:effectLst/>
            </c:spPr>
            <c:txPr>
              <a:bodyPr rot="0" spcFirstLastPara="1" vertOverflow="ellipsis" vert="horz" wrap="square" anchor="ctr" anchorCtr="1"/>
              <a:lstStyle/>
              <a:p>
                <a:pPr>
                  <a:defRPr sz="1197" b="1" i="0" u="none" strike="noStrike" kern="1200" baseline="0">
                    <a:solidFill>
                      <a:srgbClr val="5C1F8A"/>
                    </a:solidFill>
                    <a:latin typeface="Arial "/>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1">
                  <c:v>History of brain metatsases</c:v>
                </c:pt>
                <c:pt idx="3">
                  <c:v>Liver metastases at baseline</c:v>
                </c:pt>
                <c:pt idx="5">
                  <c:v>TP53 co-mutations</c:v>
                </c:pt>
                <c:pt idx="7">
                  <c:v>Detectable baseline EGFRm ctDNA</c:v>
                </c:pt>
              </c:strCache>
            </c:strRef>
          </c:cat>
          <c:val>
            <c:numRef>
              <c:f>Sheet1!$C$2:$C$9</c:f>
              <c:numCache>
                <c:formatCode>General</c:formatCode>
                <c:ptCount val="8"/>
                <c:pt idx="0">
                  <c:v>19.899999999999999</c:v>
                </c:pt>
                <c:pt idx="1">
                  <c:v>13</c:v>
                </c:pt>
                <c:pt idx="2">
                  <c:v>18.3</c:v>
                </c:pt>
                <c:pt idx="3">
                  <c:v>11</c:v>
                </c:pt>
                <c:pt idx="4">
                  <c:v>19.899999999999999</c:v>
                </c:pt>
                <c:pt idx="5">
                  <c:v>12.9</c:v>
                </c:pt>
                <c:pt idx="6">
                  <c:v>21.9</c:v>
                </c:pt>
                <c:pt idx="7">
                  <c:v>14.8</c:v>
                </c:pt>
              </c:numCache>
            </c:numRef>
          </c:val>
          <c:extLst>
            <c:ext xmlns:c16="http://schemas.microsoft.com/office/drawing/2014/chart" uri="{C3380CC4-5D6E-409C-BE32-E72D297353CC}">
              <c16:uniqueId val="{00000004-20B5-4323-930E-842E07E2BCE2}"/>
            </c:ext>
          </c:extLst>
        </c:ser>
        <c:dLbls>
          <c:showLegendKey val="0"/>
          <c:showVal val="0"/>
          <c:showCatName val="0"/>
          <c:showSerName val="0"/>
          <c:showPercent val="0"/>
          <c:showBubbleSize val="0"/>
        </c:dLbls>
        <c:gapWidth val="219"/>
        <c:overlap val="-27"/>
        <c:axId val="1011800992"/>
        <c:axId val="1011814912"/>
      </c:barChart>
      <c:catAx>
        <c:axId val="1011800992"/>
        <c:scaling>
          <c:orientation val="minMax"/>
        </c:scaling>
        <c:delete val="1"/>
        <c:axPos val="b"/>
        <c:numFmt formatCode="General" sourceLinked="1"/>
        <c:majorTickMark val="none"/>
        <c:minorTickMark val="none"/>
        <c:tickLblPos val="nextTo"/>
        <c:crossAx val="1011814912"/>
        <c:crosses val="autoZero"/>
        <c:auto val="1"/>
        <c:lblAlgn val="ctr"/>
        <c:lblOffset val="100"/>
        <c:noMultiLvlLbl val="0"/>
      </c:catAx>
      <c:valAx>
        <c:axId val="1011814912"/>
        <c:scaling>
          <c:orientation val="minMax"/>
        </c:scaling>
        <c:delete val="1"/>
        <c:axPos val="l"/>
        <c:numFmt formatCode="General" sourceLinked="1"/>
        <c:majorTickMark val="none"/>
        <c:minorTickMark val="none"/>
        <c:tickLblPos val="nextTo"/>
        <c:crossAx val="101180099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679971126579791E-2"/>
          <c:y val="6.0984175822001503E-2"/>
          <c:w val="0.89316311865073028"/>
          <c:h val="0.7691071024667393"/>
        </c:manualLayout>
      </c:layout>
      <c:scatterChart>
        <c:scatterStyle val="lineMarker"/>
        <c:varyColors val="0"/>
        <c:ser>
          <c:idx val="0"/>
          <c:order val="0"/>
          <c:tx>
            <c:strRef>
              <c:f>Sheet1!$B$1</c:f>
              <c:strCache>
                <c:ptCount val="1"/>
                <c:pt idx="0">
                  <c:v>KM marker</c:v>
                </c:pt>
              </c:strCache>
            </c:strRef>
          </c:tx>
          <c:spPr>
            <a:ln w="25400" cap="rnd">
              <a:noFill/>
              <a:round/>
            </a:ln>
            <a:effectLst/>
          </c:spPr>
          <c:marker>
            <c:symbol val="plus"/>
            <c:size val="5"/>
            <c:spPr>
              <a:noFill/>
              <a:ln w="9525">
                <a:solidFill>
                  <a:srgbClr val="6797C5"/>
                </a:solidFill>
              </a:ln>
              <a:effectLst/>
            </c:spPr>
          </c:marker>
          <c:xVal>
            <c:numRef>
              <c:f>Sheet1!$A$2:$A$17</c:f>
              <c:numCache>
                <c:formatCode>General</c:formatCode>
                <c:ptCount val="16"/>
                <c:pt idx="0">
                  <c:v>0</c:v>
                </c:pt>
                <c:pt idx="1">
                  <c:v>12</c:v>
                </c:pt>
                <c:pt idx="2">
                  <c:v>24.5</c:v>
                </c:pt>
                <c:pt idx="3">
                  <c:v>35.700000000000003</c:v>
                </c:pt>
                <c:pt idx="4">
                  <c:v>45.4</c:v>
                </c:pt>
                <c:pt idx="5">
                  <c:v>60</c:v>
                </c:pt>
                <c:pt idx="6">
                  <c:v>12</c:v>
                </c:pt>
                <c:pt idx="7">
                  <c:v>12</c:v>
                </c:pt>
                <c:pt idx="8">
                  <c:v>24</c:v>
                </c:pt>
                <c:pt idx="9">
                  <c:v>24</c:v>
                </c:pt>
                <c:pt idx="10">
                  <c:v>36</c:v>
                </c:pt>
                <c:pt idx="11">
                  <c:v>36</c:v>
                </c:pt>
                <c:pt idx="12">
                  <c:v>48</c:v>
                </c:pt>
                <c:pt idx="13">
                  <c:v>48</c:v>
                </c:pt>
                <c:pt idx="14">
                  <c:v>60</c:v>
                </c:pt>
                <c:pt idx="15">
                  <c:v>60</c:v>
                </c:pt>
              </c:numCache>
            </c:numRef>
          </c:xVal>
          <c:yVal>
            <c:numRef>
              <c:f>Sheet1!$B$2:$B$17</c:f>
              <c:numCache>
                <c:formatCode>General</c:formatCode>
                <c:ptCount val="16"/>
              </c:numCache>
            </c:numRef>
          </c:yVal>
          <c:smooth val="0"/>
          <c:extLst>
            <c:ext xmlns:c16="http://schemas.microsoft.com/office/drawing/2014/chart" uri="{C3380CC4-5D6E-409C-BE32-E72D297353CC}">
              <c16:uniqueId val="{00000000-A31A-45E2-AFD2-CC34D4AC1080}"/>
            </c:ext>
          </c:extLst>
        </c:ser>
        <c:dLbls>
          <c:showLegendKey val="0"/>
          <c:showVal val="0"/>
          <c:showCatName val="0"/>
          <c:showSerName val="0"/>
          <c:showPercent val="0"/>
          <c:showBubbleSize val="0"/>
        </c:dLbls>
        <c:axId val="214240207"/>
        <c:axId val="214241167"/>
      </c:scatterChart>
      <c:valAx>
        <c:axId val="214240207"/>
        <c:scaling>
          <c:orientation val="minMax"/>
          <c:max val="51"/>
          <c:min val="0"/>
        </c:scaling>
        <c:delete val="0"/>
        <c:axPos val="b"/>
        <c:numFmt formatCode="General" sourceLinked="1"/>
        <c:majorTickMark val="out"/>
        <c:minorTickMark val="none"/>
        <c:tickLblPos val="nextTo"/>
        <c:spPr>
          <a:noFill/>
          <a:ln w="12700" cap="sq" cmpd="sng" algn="ctr">
            <a:solidFill>
              <a:srgbClr val="000000"/>
            </a:solidFill>
            <a:miter lim="800000"/>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4241167"/>
        <c:crosses val="autoZero"/>
        <c:crossBetween val="midCat"/>
        <c:majorUnit val="3"/>
        <c:minorUnit val="3"/>
      </c:valAx>
      <c:valAx>
        <c:axId val="214241167"/>
        <c:scaling>
          <c:orientation val="minMax"/>
          <c:max val="100"/>
          <c:min val="0"/>
        </c:scaling>
        <c:delete val="0"/>
        <c:axPos val="l"/>
        <c:numFmt formatCode="#,##0" sourceLinked="0"/>
        <c:majorTickMark val="out"/>
        <c:minorTickMark val="none"/>
        <c:tickLblPos val="nextTo"/>
        <c:spPr>
          <a:noFill/>
          <a:ln w="12700" cap="sq" cmpd="sng" algn="ctr">
            <a:solidFill>
              <a:srgbClr val="000000"/>
            </a:solidFill>
            <a:miter lim="800000"/>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4240207"/>
        <c:crosses val="autoZero"/>
        <c:crossBetween val="midCat"/>
        <c:majorUnit val="20"/>
        <c:minorUnit val="0.1"/>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68000294814942E-2"/>
          <c:y val="6.5471467439724276E-2"/>
          <c:w val="0.71480543920567652"/>
          <c:h val="0.7691071024667393"/>
        </c:manualLayout>
      </c:layout>
      <c:scatterChart>
        <c:scatterStyle val="lineMarker"/>
        <c:varyColors val="0"/>
        <c:ser>
          <c:idx val="0"/>
          <c:order val="0"/>
          <c:tx>
            <c:strRef>
              <c:f>Sheet1!$B$1</c:f>
              <c:strCache>
                <c:ptCount val="1"/>
                <c:pt idx="0">
                  <c:v>KM marker</c:v>
                </c:pt>
              </c:strCache>
            </c:strRef>
          </c:tx>
          <c:spPr>
            <a:ln w="25400" cap="rnd">
              <a:noFill/>
              <a:round/>
            </a:ln>
            <a:effectLst/>
          </c:spPr>
          <c:marker>
            <c:symbol val="plus"/>
            <c:size val="5"/>
            <c:spPr>
              <a:noFill/>
              <a:ln w="9525">
                <a:solidFill>
                  <a:srgbClr val="6797C5"/>
                </a:solidFill>
              </a:ln>
              <a:effectLst/>
            </c:spPr>
          </c:marker>
          <c:xVal>
            <c:numRef>
              <c:f>Sheet1!$A$2:$A$17</c:f>
              <c:numCache>
                <c:formatCode>General</c:formatCode>
                <c:ptCount val="16"/>
                <c:pt idx="0">
                  <c:v>0</c:v>
                </c:pt>
                <c:pt idx="1">
                  <c:v>12</c:v>
                </c:pt>
                <c:pt idx="2">
                  <c:v>24.5</c:v>
                </c:pt>
                <c:pt idx="3">
                  <c:v>35.700000000000003</c:v>
                </c:pt>
                <c:pt idx="4">
                  <c:v>45.4</c:v>
                </c:pt>
                <c:pt idx="5">
                  <c:v>60</c:v>
                </c:pt>
                <c:pt idx="6">
                  <c:v>12</c:v>
                </c:pt>
                <c:pt idx="7">
                  <c:v>12</c:v>
                </c:pt>
                <c:pt idx="8">
                  <c:v>24</c:v>
                </c:pt>
                <c:pt idx="9">
                  <c:v>24</c:v>
                </c:pt>
                <c:pt idx="10">
                  <c:v>36</c:v>
                </c:pt>
                <c:pt idx="11">
                  <c:v>36</c:v>
                </c:pt>
                <c:pt idx="12">
                  <c:v>48</c:v>
                </c:pt>
                <c:pt idx="13">
                  <c:v>48</c:v>
                </c:pt>
                <c:pt idx="14">
                  <c:v>60</c:v>
                </c:pt>
                <c:pt idx="15">
                  <c:v>60</c:v>
                </c:pt>
              </c:numCache>
            </c:numRef>
          </c:xVal>
          <c:yVal>
            <c:numRef>
              <c:f>Sheet1!$B$2:$B$17</c:f>
              <c:numCache>
                <c:formatCode>General</c:formatCode>
                <c:ptCount val="16"/>
              </c:numCache>
            </c:numRef>
          </c:yVal>
          <c:smooth val="0"/>
          <c:extLst>
            <c:ext xmlns:c16="http://schemas.microsoft.com/office/drawing/2014/chart" uri="{C3380CC4-5D6E-409C-BE32-E72D297353CC}">
              <c16:uniqueId val="{00000000-339A-4922-850E-7B49B0155A41}"/>
            </c:ext>
          </c:extLst>
        </c:ser>
        <c:dLbls>
          <c:showLegendKey val="0"/>
          <c:showVal val="0"/>
          <c:showCatName val="0"/>
          <c:showSerName val="0"/>
          <c:showPercent val="0"/>
          <c:showBubbleSize val="0"/>
        </c:dLbls>
        <c:axId val="214240207"/>
        <c:axId val="214241167"/>
      </c:scatterChart>
      <c:valAx>
        <c:axId val="214240207"/>
        <c:scaling>
          <c:orientation val="minMax"/>
          <c:max val="48"/>
          <c:min val="0"/>
        </c:scaling>
        <c:delete val="0"/>
        <c:axPos val="b"/>
        <c:numFmt formatCode="General" sourceLinked="1"/>
        <c:majorTickMark val="out"/>
        <c:minorTickMark val="none"/>
        <c:tickLblPos val="nextTo"/>
        <c:spPr>
          <a:noFill/>
          <a:ln w="12700" cap="sq" cmpd="sng" algn="ctr">
            <a:solidFill>
              <a:srgbClr val="000000"/>
            </a:solidFill>
            <a:miter lim="800000"/>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4241167"/>
        <c:crosses val="autoZero"/>
        <c:crossBetween val="midCat"/>
        <c:majorUnit val="3"/>
        <c:minorUnit val="3"/>
      </c:valAx>
      <c:valAx>
        <c:axId val="214241167"/>
        <c:scaling>
          <c:orientation val="minMax"/>
          <c:max val="100"/>
          <c:min val="0"/>
        </c:scaling>
        <c:delete val="0"/>
        <c:axPos val="l"/>
        <c:numFmt formatCode="#,##0" sourceLinked="0"/>
        <c:majorTickMark val="out"/>
        <c:minorTickMark val="none"/>
        <c:tickLblPos val="nextTo"/>
        <c:spPr>
          <a:noFill/>
          <a:ln w="12700" cap="sq" cmpd="sng" algn="ctr">
            <a:solidFill>
              <a:srgbClr val="000000"/>
            </a:solidFill>
            <a:miter lim="800000"/>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4240207"/>
        <c:crosses val="autoZero"/>
        <c:crossBetween val="midCat"/>
        <c:majorUnit val="20"/>
        <c:minorUnit val="0.1"/>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GB"/>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GB"/>
        </a:p>
      </c:txPr>
    </c:title>
    <c:autoTitleDeleted val="0"/>
    <c:plotArea>
      <c:layout>
        <c:manualLayout>
          <c:layoutTarget val="inner"/>
          <c:xMode val="edge"/>
          <c:yMode val="edge"/>
          <c:x val="7.3984973640183582E-2"/>
          <c:y val="0.15063619017185279"/>
          <c:w val="0.9223710052250208"/>
          <c:h val="0.67794859623280468"/>
        </c:manualLayout>
      </c:layout>
      <c:barChart>
        <c:barDir val="col"/>
        <c:grouping val="clustered"/>
        <c:varyColors val="0"/>
        <c:ser>
          <c:idx val="0"/>
          <c:order val="0"/>
          <c:tx>
            <c:strRef>
              <c:f>Sheet1!$B$1</c:f>
              <c:strCache>
                <c:ptCount val="1"/>
                <c:pt idx="0">
                  <c:v>osimertinib (n=140) </c:v>
                </c:pt>
              </c:strCache>
            </c:strRef>
          </c:tx>
          <c:spPr>
            <a:solidFill>
              <a:schemeClr val="accent6"/>
            </a:solidFill>
            <a:ln>
              <a:noFill/>
            </a:ln>
            <a:effectLst/>
            <a:scene3d>
              <a:camera prst="orthographicFront"/>
              <a:lightRig rig="threePt" dir="t"/>
            </a:scene3d>
            <a:sp3d/>
          </c:spPr>
          <c:invertIfNegative val="0"/>
          <c:dLbls>
            <c:dLbl>
              <c:idx val="0"/>
              <c:tx>
                <c:rich>
                  <a:bodyPr/>
                  <a:lstStyle/>
                  <a:p>
                    <a:fld id="{6FD4A2A2-EEF1-4A60-AAEC-95A782C8A1EE}"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AE8-40F5-94B2-66CB19FCF7F0}"/>
                </c:ext>
              </c:extLst>
            </c:dLbl>
            <c:dLbl>
              <c:idx val="1"/>
              <c:tx>
                <c:rich>
                  <a:bodyPr/>
                  <a:lstStyle/>
                  <a:p>
                    <a:fld id="{FAA6B4F8-BAF2-45EE-9372-55E2C115B677}"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AE8-40F5-94B2-66CB19FCF7F0}"/>
                </c:ext>
              </c:extLst>
            </c:dLbl>
            <c:spPr>
              <a:noFill/>
              <a:ln>
                <a:noFill/>
              </a:ln>
              <a:effectLst/>
            </c:spPr>
            <c:txPr>
              <a:bodyPr rot="0" spcFirstLastPara="1" vertOverflow="ellipsis" vert="horz" wrap="square" anchor="ctr" anchorCtr="1"/>
              <a:lstStyle/>
              <a:p>
                <a:pPr>
                  <a:defRPr sz="1200" b="1" i="0" u="none" strike="noStrike" kern="1200" baseline="0">
                    <a:solidFill>
                      <a:srgbClr val="5C1F8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ET amplification</c:v>
                </c:pt>
                <c:pt idx="1">
                  <c:v>Secondary EGFR resistance mechanisms (C797S, L718X, G724X)</c:v>
                </c:pt>
              </c:strCache>
            </c:strRef>
          </c:cat>
          <c:val>
            <c:numRef>
              <c:f>Sheet1!$B$2:$B$3</c:f>
              <c:numCache>
                <c:formatCode>General</c:formatCode>
                <c:ptCount val="2"/>
                <c:pt idx="0">
                  <c:v>13.1</c:v>
                </c:pt>
                <c:pt idx="1">
                  <c:v>7.6</c:v>
                </c:pt>
              </c:numCache>
            </c:numRef>
          </c:val>
          <c:extLst>
            <c:ext xmlns:c16="http://schemas.microsoft.com/office/drawing/2014/chart" uri="{C3380CC4-5D6E-409C-BE32-E72D297353CC}">
              <c16:uniqueId val="{00000002-2AE8-40F5-94B2-66CB19FCF7F0}"/>
            </c:ext>
          </c:extLst>
        </c:ser>
        <c:ser>
          <c:idx val="1"/>
          <c:order val="1"/>
          <c:tx>
            <c:strRef>
              <c:f>Sheet1!$C$1</c:f>
              <c:strCache>
                <c:ptCount val="1"/>
                <c:pt idx="0">
                  <c:v>amivantamab + lazertinib (n=113)</c:v>
                </c:pt>
              </c:strCache>
            </c:strRef>
          </c:tx>
          <c:spPr>
            <a:solidFill>
              <a:schemeClr val="accent5">
                <a:lumMod val="50000"/>
              </a:schemeClr>
            </a:solidFill>
            <a:ln>
              <a:noFill/>
            </a:ln>
            <a:effectLst/>
            <a:scene3d>
              <a:camera prst="orthographicFront"/>
              <a:lightRig rig="threePt" dir="t"/>
            </a:scene3d>
            <a:sp3d/>
          </c:spPr>
          <c:invertIfNegative val="0"/>
          <c:dLbls>
            <c:dLbl>
              <c:idx val="0"/>
              <c:layout>
                <c:manualLayout>
                  <c:x val="2.8372045537356488E-3"/>
                  <c:y val="6.5187005430379093E-17"/>
                </c:manualLayout>
              </c:layout>
              <c:tx>
                <c:rich>
                  <a:bodyPr/>
                  <a:lstStyle/>
                  <a:p>
                    <a:fld id="{DB1E10A2-7DF1-42AD-9118-71D2C8C89A9B}"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AE8-40F5-94B2-66CB19FCF7F0}"/>
                </c:ext>
              </c:extLst>
            </c:dLbl>
            <c:dLbl>
              <c:idx val="1"/>
              <c:tx>
                <c:rich>
                  <a:bodyPr/>
                  <a:lstStyle/>
                  <a:p>
                    <a:fld id="{4444F8CF-4A3E-48A8-9916-2B9279EF6BF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AE8-40F5-94B2-66CB19FCF7F0}"/>
                </c:ext>
              </c:extLst>
            </c:dLbl>
            <c:spPr>
              <a:noFill/>
              <a:ln>
                <a:noFill/>
              </a:ln>
              <a:effectLst/>
            </c:spPr>
            <c:txPr>
              <a:bodyPr rot="0" spcFirstLastPara="1" vertOverflow="ellipsis" vert="horz" wrap="square" anchor="ctr" anchorCtr="1"/>
              <a:lstStyle/>
              <a:p>
                <a:pPr>
                  <a:defRPr sz="1197" b="1" i="0" u="none" strike="noStrike" kern="1200" baseline="0">
                    <a:solidFill>
                      <a:srgbClr val="0586C0"/>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ET amplification</c:v>
                </c:pt>
                <c:pt idx="1">
                  <c:v>Secondary EGFR resistance mechanisms (C797S, L718X, G724X)</c:v>
                </c:pt>
              </c:strCache>
            </c:strRef>
          </c:cat>
          <c:val>
            <c:numRef>
              <c:f>Sheet1!$C$2:$C$3</c:f>
              <c:numCache>
                <c:formatCode>General</c:formatCode>
                <c:ptCount val="2"/>
                <c:pt idx="0">
                  <c:v>3.4</c:v>
                </c:pt>
                <c:pt idx="1">
                  <c:v>1.4</c:v>
                </c:pt>
              </c:numCache>
            </c:numRef>
          </c:val>
          <c:extLst>
            <c:ext xmlns:c16="http://schemas.microsoft.com/office/drawing/2014/chart" uri="{C3380CC4-5D6E-409C-BE32-E72D297353CC}">
              <c16:uniqueId val="{00000005-2AE8-40F5-94B2-66CB19FCF7F0}"/>
            </c:ext>
          </c:extLst>
        </c:ser>
        <c:dLbls>
          <c:dLblPos val="outEnd"/>
          <c:showLegendKey val="0"/>
          <c:showVal val="1"/>
          <c:showCatName val="0"/>
          <c:showSerName val="0"/>
          <c:showPercent val="0"/>
          <c:showBubbleSize val="0"/>
        </c:dLbls>
        <c:gapWidth val="219"/>
        <c:overlap val="-27"/>
        <c:axId val="686314864"/>
        <c:axId val="686311984"/>
      </c:barChart>
      <c:catAx>
        <c:axId val="686314864"/>
        <c:scaling>
          <c:orientation val="minMax"/>
        </c:scaling>
        <c:delete val="1"/>
        <c:axPos val="b"/>
        <c:numFmt formatCode="General" sourceLinked="1"/>
        <c:majorTickMark val="none"/>
        <c:minorTickMark val="none"/>
        <c:tickLblPos val="nextTo"/>
        <c:crossAx val="686311984"/>
        <c:crosses val="autoZero"/>
        <c:auto val="1"/>
        <c:lblAlgn val="ctr"/>
        <c:lblOffset val="100"/>
        <c:noMultiLvlLbl val="0"/>
      </c:catAx>
      <c:valAx>
        <c:axId val="686311984"/>
        <c:scaling>
          <c:orientation val="minMax"/>
          <c:max val="2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6314864"/>
        <c:crosses val="autoZero"/>
        <c:crossBetween val="between"/>
        <c:majorUnit val="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877630998604511"/>
          <c:y val="3.1291924115684412E-2"/>
          <c:w val="0.5875536563439212"/>
          <c:h val="0.86269458634188956"/>
        </c:manualLayout>
      </c:layout>
      <c:barChart>
        <c:barDir val="bar"/>
        <c:grouping val="stacked"/>
        <c:varyColors val="0"/>
        <c:ser>
          <c:idx val="0"/>
          <c:order val="0"/>
          <c:tx>
            <c:strRef>
              <c:f>Sheet1!$B$1</c:f>
              <c:strCache>
                <c:ptCount val="1"/>
                <c:pt idx="0">
                  <c:v>Crade 1-2</c:v>
                </c:pt>
              </c:strCache>
            </c:strRef>
          </c:tx>
          <c:spPr>
            <a:solidFill>
              <a:srgbClr val="541980">
                <a:lumMod val="60000"/>
                <a:lumOff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Thrmobocytopenia</c:v>
                </c:pt>
                <c:pt idx="1">
                  <c:v>Muscle spasms</c:v>
                </c:pt>
                <c:pt idx="2">
                  <c:v>Asthenia</c:v>
                </c:pt>
                <c:pt idx="3">
                  <c:v>Hypocalcaemia</c:v>
                </c:pt>
                <c:pt idx="4">
                  <c:v>Nausea</c:v>
                </c:pt>
                <c:pt idx="5">
                  <c:v>Decreased appetite</c:v>
                </c:pt>
                <c:pt idx="6">
                  <c:v>Anaemia</c:v>
                </c:pt>
                <c:pt idx="7">
                  <c:v>COVID-19</c:v>
                </c:pt>
                <c:pt idx="8">
                  <c:v>Constipation</c:v>
                </c:pt>
                <c:pt idx="9">
                  <c:v>AST increase</c:v>
                </c:pt>
                <c:pt idx="10">
                  <c:v>ALT increase</c:v>
                </c:pt>
                <c:pt idx="11">
                  <c:v>IRR</c:v>
                </c:pt>
                <c:pt idx="12">
                  <c:v>Peripheral oedema</c:v>
                </c:pt>
                <c:pt idx="13">
                  <c:v>Hypoalbuminaemia</c:v>
                </c:pt>
                <c:pt idx="14">
                  <c:v>Pruritis</c:v>
                </c:pt>
                <c:pt idx="15">
                  <c:v>Stomatitis</c:v>
                </c:pt>
                <c:pt idx="16">
                  <c:v>Dermatitis acneiform</c:v>
                </c:pt>
                <c:pt idx="17">
                  <c:v>Diarrhoea</c:v>
                </c:pt>
                <c:pt idx="18">
                  <c:v>Rash</c:v>
                </c:pt>
                <c:pt idx="19">
                  <c:v>Paronychia</c:v>
                </c:pt>
              </c:strCache>
            </c:strRef>
          </c:cat>
          <c:val>
            <c:numRef>
              <c:f>Sheet1!$B$2:$B$21</c:f>
              <c:numCache>
                <c:formatCode>General</c:formatCode>
                <c:ptCount val="20"/>
                <c:pt idx="0">
                  <c:v>20</c:v>
                </c:pt>
                <c:pt idx="1">
                  <c:v>8</c:v>
                </c:pt>
                <c:pt idx="2">
                  <c:v>11</c:v>
                </c:pt>
                <c:pt idx="3">
                  <c:v>9</c:v>
                </c:pt>
                <c:pt idx="4">
                  <c:v>15</c:v>
                </c:pt>
                <c:pt idx="5">
                  <c:v>18</c:v>
                </c:pt>
                <c:pt idx="6">
                  <c:v>24</c:v>
                </c:pt>
                <c:pt idx="7">
                  <c:v>24</c:v>
                </c:pt>
                <c:pt idx="8">
                  <c:v>16</c:v>
                </c:pt>
                <c:pt idx="9">
                  <c:v>15</c:v>
                </c:pt>
                <c:pt idx="10">
                  <c:v>13</c:v>
                </c:pt>
                <c:pt idx="11">
                  <c:v>0</c:v>
                </c:pt>
                <c:pt idx="12">
                  <c:v>7</c:v>
                </c:pt>
                <c:pt idx="13">
                  <c:v>7</c:v>
                </c:pt>
                <c:pt idx="14">
                  <c:v>18</c:v>
                </c:pt>
                <c:pt idx="15">
                  <c:v>21</c:v>
                </c:pt>
                <c:pt idx="16">
                  <c:v>13</c:v>
                </c:pt>
                <c:pt idx="17">
                  <c:v>46</c:v>
                </c:pt>
                <c:pt idx="18">
                  <c:v>31</c:v>
                </c:pt>
                <c:pt idx="19">
                  <c:v>29</c:v>
                </c:pt>
              </c:numCache>
            </c:numRef>
          </c:val>
          <c:extLst>
            <c:ext xmlns:c16="http://schemas.microsoft.com/office/drawing/2014/chart" uri="{C3380CC4-5D6E-409C-BE32-E72D297353CC}">
              <c16:uniqueId val="{00000000-48E9-4724-BFD7-11E42EB0F9FC}"/>
            </c:ext>
          </c:extLst>
        </c:ser>
        <c:ser>
          <c:idx val="1"/>
          <c:order val="1"/>
          <c:tx>
            <c:strRef>
              <c:f>Sheet1!$C$1</c:f>
              <c:strCache>
                <c:ptCount val="1"/>
                <c:pt idx="0">
                  <c:v>Grade 3-4</c:v>
                </c:pt>
              </c:strCache>
            </c:strRef>
          </c:tx>
          <c:spPr>
            <a:solidFill>
              <a:srgbClr val="541980"/>
            </a:solidFill>
            <a:ln>
              <a:noFill/>
            </a:ln>
            <a:effectLst/>
          </c:spPr>
          <c:invertIfNegative val="0"/>
          <c:dLbls>
            <c:dLbl>
              <c:idx val="0"/>
              <c:layout>
                <c:manualLayout>
                  <c:x val="2.028876612084915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8E9-4724-BFD7-11E42EB0F9FC}"/>
                </c:ext>
              </c:extLst>
            </c:dLbl>
            <c:dLbl>
              <c:idx val="1"/>
              <c:layout>
                <c:manualLayout>
                  <c:x val="2.3670227140990621E-2"/>
                  <c:y val="-9.549342796131943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8E9-4724-BFD7-11E42EB0F9FC}"/>
                </c:ext>
              </c:extLst>
            </c:dLbl>
            <c:dLbl>
              <c:idx val="2"/>
              <c:layout>
                <c:manualLayout>
                  <c:x val="4.395899326183983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8E9-4724-BFD7-11E42EB0F9FC}"/>
                </c:ext>
              </c:extLst>
            </c:dLbl>
            <c:dLbl>
              <c:idx val="3"/>
              <c:layout>
                <c:manualLayout>
                  <c:x val="2.3670227140990558E-2"/>
                  <c:y val="-9.549342796131943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8E9-4724-BFD7-11E42EB0F9FC}"/>
                </c:ext>
              </c:extLst>
            </c:dLbl>
            <c:dLbl>
              <c:idx val="4"/>
              <c:layout>
                <c:manualLayout>
                  <c:x val="3.7196071221556846E-2"/>
                  <c:y val="0"/>
                </c:manualLayout>
              </c:layout>
              <c:tx>
                <c:rich>
                  <a:bodyPr/>
                  <a:lstStyle/>
                  <a:p>
                    <a:r>
                      <a:rPr lang="en-US"/>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8E9-4724-BFD7-11E42EB0F9FC}"/>
                </c:ext>
              </c:extLst>
            </c:dLbl>
            <c:dLbl>
              <c:idx val="5"/>
              <c:layout>
                <c:manualLayout>
                  <c:x val="2.705168816113214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8E9-4724-BFD7-11E42EB0F9FC}"/>
                </c:ext>
              </c:extLst>
            </c:dLbl>
            <c:dLbl>
              <c:idx val="6"/>
              <c:layout>
                <c:manualLayout>
                  <c:x val="2.14263850627486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8E9-4724-BFD7-11E42EB0F9FC}"/>
                </c:ext>
              </c:extLst>
            </c:dLbl>
            <c:dLbl>
              <c:idx val="7"/>
              <c:layout>
                <c:manualLayout>
                  <c:x val="2.14263850627486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8E9-4724-BFD7-11E42EB0F9FC}"/>
                </c:ext>
              </c:extLst>
            </c:dLbl>
            <c:dLbl>
              <c:idx val="8"/>
              <c:layout>
                <c:manualLayout>
                  <c:x val="2.367022714099068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8E9-4724-BFD7-11E42EB0F9FC}"/>
                </c:ext>
              </c:extLst>
            </c:dLbl>
            <c:dLbl>
              <c:idx val="9"/>
              <c:layout>
                <c:manualLayout>
                  <c:x val="2.4487297214569943E-2"/>
                  <c:y val="-9.5623989120452962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8E9-4724-BFD7-11E42EB0F9FC}"/>
                </c:ext>
              </c:extLst>
            </c:dLbl>
            <c:dLbl>
              <c:idx val="10"/>
              <c:layout>
                <c:manualLayout>
                  <c:x val="2.865442080764732E-2"/>
                  <c:y val="-1.3021981514939321E-3"/>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5.7856798054621503E-2"/>
                      <c:h val="4.7282917416028733E-2"/>
                    </c:manualLayout>
                  </c15:layout>
                </c:ext>
                <c:ext xmlns:c16="http://schemas.microsoft.com/office/drawing/2014/chart" uri="{C3380CC4-5D6E-409C-BE32-E72D297353CC}">
                  <c16:uniqueId val="{0000000B-48E9-4724-BFD7-11E42EB0F9FC}"/>
                </c:ext>
              </c:extLst>
            </c:dLbl>
            <c:dLbl>
              <c:idx val="11"/>
              <c:layout>
                <c:manualLayout>
                  <c:x val="3.0433149181273735E-2"/>
                  <c:y val="-4.774671398065971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8E9-4724-BFD7-11E42EB0F9FC}"/>
                </c:ext>
              </c:extLst>
            </c:dLbl>
            <c:dLbl>
              <c:idx val="12"/>
              <c:layout>
                <c:manualLayout>
                  <c:x val="3.4631752238487259E-2"/>
                  <c:y val="-4.7746713980659717E-17"/>
                </c:manualLayout>
              </c:layout>
              <c:tx>
                <c:rich>
                  <a:bodyPr/>
                  <a:lstStyle/>
                  <a:p>
                    <a:r>
                      <a:rPr lang="en-US"/>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8E9-4724-BFD7-11E42EB0F9FC}"/>
                </c:ext>
              </c:extLst>
            </c:dLbl>
            <c:dLbl>
              <c:idx val="13"/>
              <c:layout>
                <c:manualLayout>
                  <c:x val="4.057753224169825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8E9-4724-BFD7-11E42EB0F9FC}"/>
                </c:ext>
              </c:extLst>
            </c:dLbl>
            <c:dLbl>
              <c:idx val="14"/>
              <c:layout>
                <c:manualLayout>
                  <c:x val="3.3814610201415324E-2"/>
                  <c:y val="0"/>
                </c:manualLayout>
              </c:layout>
              <c:tx>
                <c:rich>
                  <a:bodyPr/>
                  <a:lstStyle/>
                  <a:p>
                    <a:r>
                      <a:rPr lang="en-US"/>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48E9-4724-BFD7-11E42EB0F9FC}"/>
                </c:ext>
              </c:extLst>
            </c:dLbl>
            <c:dLbl>
              <c:idx val="15"/>
              <c:layout>
                <c:manualLayout>
                  <c:x val="3.3670033670033669E-2"/>
                  <c:y val="0"/>
                </c:manualLayout>
              </c:layout>
              <c:tx>
                <c:rich>
                  <a:bodyPr/>
                  <a:lstStyle/>
                  <a:p>
                    <a:r>
                      <a:rPr lang="en-US"/>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48E9-4724-BFD7-11E42EB0F9FC}"/>
                </c:ext>
              </c:extLst>
            </c:dLbl>
            <c:dLbl>
              <c:idx val="16"/>
              <c:layout>
                <c:manualLayout>
                  <c:x val="2.448729721456994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8E9-4724-BFD7-11E42EB0F9FC}"/>
                </c:ext>
              </c:extLst>
            </c:dLbl>
            <c:dLbl>
              <c:idx val="17"/>
              <c:layout>
                <c:manualLayout>
                  <c:x val="3.3814610201415136E-2"/>
                  <c:y val="2.6043963029876733E-3"/>
                </c:manualLayout>
              </c:layout>
              <c:tx>
                <c:rich>
                  <a:bodyPr/>
                  <a:lstStyle/>
                  <a:p>
                    <a:r>
                      <a:rPr lang="en-US"/>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48E9-4724-BFD7-11E42EB0F9FC}"/>
                </c:ext>
              </c:extLst>
            </c:dLbl>
            <c:dLbl>
              <c:idx val="18"/>
              <c:layout>
                <c:manualLayout>
                  <c:x val="4.0577532241698314E-2"/>
                  <c:y val="0"/>
                </c:manualLayout>
              </c:layout>
              <c:tx>
                <c:rich>
                  <a:bodyPr/>
                  <a:lstStyle/>
                  <a:p>
                    <a:r>
                      <a:rPr lang="en-US"/>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48E9-4724-BFD7-11E42EB0F9FC}"/>
                </c:ext>
              </c:extLst>
            </c:dLbl>
            <c:dLbl>
              <c:idx val="19"/>
              <c:layout>
                <c:manualLayout>
                  <c:x val="3.043314918127361E-2"/>
                  <c:y val="-5.9683392475824646E-18"/>
                </c:manualLayout>
              </c:layout>
              <c:tx>
                <c:rich>
                  <a:bodyPr/>
                  <a:lstStyle/>
                  <a:p>
                    <a:r>
                      <a:rPr lang="en-US"/>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48E9-4724-BFD7-11E42EB0F9FC}"/>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1</c:f>
              <c:strCache>
                <c:ptCount val="20"/>
                <c:pt idx="0">
                  <c:v>Thrmobocytopenia</c:v>
                </c:pt>
                <c:pt idx="1">
                  <c:v>Muscle spasms</c:v>
                </c:pt>
                <c:pt idx="2">
                  <c:v>Asthenia</c:v>
                </c:pt>
                <c:pt idx="3">
                  <c:v>Hypocalcaemia</c:v>
                </c:pt>
                <c:pt idx="4">
                  <c:v>Nausea</c:v>
                </c:pt>
                <c:pt idx="5">
                  <c:v>Decreased appetite</c:v>
                </c:pt>
                <c:pt idx="6">
                  <c:v>Anaemia</c:v>
                </c:pt>
                <c:pt idx="7">
                  <c:v>COVID-19</c:v>
                </c:pt>
                <c:pt idx="8">
                  <c:v>Constipation</c:v>
                </c:pt>
                <c:pt idx="9">
                  <c:v>AST increase</c:v>
                </c:pt>
                <c:pt idx="10">
                  <c:v>ALT increase</c:v>
                </c:pt>
                <c:pt idx="11">
                  <c:v>IRR</c:v>
                </c:pt>
                <c:pt idx="12">
                  <c:v>Peripheral oedema</c:v>
                </c:pt>
                <c:pt idx="13">
                  <c:v>Hypoalbuminaemia</c:v>
                </c:pt>
                <c:pt idx="14">
                  <c:v>Pruritis</c:v>
                </c:pt>
                <c:pt idx="15">
                  <c:v>Stomatitis</c:v>
                </c:pt>
                <c:pt idx="16">
                  <c:v>Dermatitis acneiform</c:v>
                </c:pt>
                <c:pt idx="17">
                  <c:v>Diarrhoea</c:v>
                </c:pt>
                <c:pt idx="18">
                  <c:v>Rash</c:v>
                </c:pt>
                <c:pt idx="19">
                  <c:v>Paronychia</c:v>
                </c:pt>
              </c:strCache>
            </c:strRef>
          </c:cat>
          <c:val>
            <c:numRef>
              <c:f>Sheet1!$C$2:$C$21</c:f>
              <c:numCache>
                <c:formatCode>General</c:formatCode>
                <c:ptCount val="20"/>
                <c:pt idx="0">
                  <c:v>1</c:v>
                </c:pt>
                <c:pt idx="1">
                  <c:v>0</c:v>
                </c:pt>
                <c:pt idx="2">
                  <c:v>2</c:v>
                </c:pt>
                <c:pt idx="3">
                  <c:v>0</c:v>
                </c:pt>
                <c:pt idx="4">
                  <c:v>1</c:v>
                </c:pt>
                <c:pt idx="5">
                  <c:v>2</c:v>
                </c:pt>
                <c:pt idx="6">
                  <c:v>2</c:v>
                </c:pt>
                <c:pt idx="7">
                  <c:v>2</c:v>
                </c:pt>
                <c:pt idx="8">
                  <c:v>0</c:v>
                </c:pt>
                <c:pt idx="9">
                  <c:v>1</c:v>
                </c:pt>
                <c:pt idx="10">
                  <c:v>2</c:v>
                </c:pt>
                <c:pt idx="11">
                  <c:v>0</c:v>
                </c:pt>
                <c:pt idx="12">
                  <c:v>0.2</c:v>
                </c:pt>
                <c:pt idx="13">
                  <c:v>0</c:v>
                </c:pt>
                <c:pt idx="14">
                  <c:v>0.2</c:v>
                </c:pt>
                <c:pt idx="15">
                  <c:v>0.2</c:v>
                </c:pt>
                <c:pt idx="16">
                  <c:v>0</c:v>
                </c:pt>
                <c:pt idx="17">
                  <c:v>1</c:v>
                </c:pt>
                <c:pt idx="18">
                  <c:v>0.7</c:v>
                </c:pt>
                <c:pt idx="19">
                  <c:v>0.5</c:v>
                </c:pt>
              </c:numCache>
            </c:numRef>
          </c:val>
          <c:extLst>
            <c:ext xmlns:c16="http://schemas.microsoft.com/office/drawing/2014/chart" uri="{C3380CC4-5D6E-409C-BE32-E72D297353CC}">
              <c16:uniqueId val="{00000015-48E9-4724-BFD7-11E42EB0F9FC}"/>
            </c:ext>
          </c:extLst>
        </c:ser>
        <c:dLbls>
          <c:dLblPos val="ctr"/>
          <c:showLegendKey val="0"/>
          <c:showVal val="1"/>
          <c:showCatName val="0"/>
          <c:showSerName val="0"/>
          <c:showPercent val="0"/>
          <c:showBubbleSize val="0"/>
        </c:dLbls>
        <c:gapWidth val="30"/>
        <c:overlap val="100"/>
        <c:axId val="638255872"/>
        <c:axId val="638255512"/>
      </c:barChart>
      <c:catAx>
        <c:axId val="638255872"/>
        <c:scaling>
          <c:orientation val="minMax"/>
        </c:scaling>
        <c:delete val="0"/>
        <c:axPos val="l"/>
        <c:numFmt formatCode="General" sourceLinked="1"/>
        <c:majorTickMark val="none"/>
        <c:minorTickMark val="none"/>
        <c:tickLblPos val="none"/>
        <c:spPr>
          <a:noFill/>
          <a:ln w="12700" cap="flat" cmpd="sng" algn="ctr">
            <a:no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38255512"/>
        <c:crosses val="autoZero"/>
        <c:auto val="1"/>
        <c:lblAlgn val="ctr"/>
        <c:lblOffset val="0"/>
        <c:noMultiLvlLbl val="0"/>
      </c:catAx>
      <c:valAx>
        <c:axId val="638255512"/>
        <c:scaling>
          <c:orientation val="minMax"/>
          <c:max val="100"/>
          <c:min val="0"/>
        </c:scaling>
        <c:delete val="0"/>
        <c:axPos val="b"/>
        <c:numFmt formatCode="General" sourceLinked="1"/>
        <c:majorTickMark val="out"/>
        <c:minorTickMark val="none"/>
        <c:tickLblPos val="none"/>
        <c:spPr>
          <a:noFill/>
          <a:ln w="12700">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8255872"/>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877630998604511"/>
          <c:y val="2.8687528133080561E-2"/>
          <c:w val="0.5875536563439212"/>
          <c:h val="0.86529901562967171"/>
        </c:manualLayout>
      </c:layout>
      <c:barChart>
        <c:barDir val="bar"/>
        <c:grouping val="stacked"/>
        <c:varyColors val="0"/>
        <c:ser>
          <c:idx val="0"/>
          <c:order val="0"/>
          <c:tx>
            <c:strRef>
              <c:f>Sheet1!$B$1</c:f>
              <c:strCache>
                <c:ptCount val="1"/>
                <c:pt idx="0">
                  <c:v>Crade 1–2</c:v>
                </c:pt>
              </c:strCache>
            </c:strRef>
          </c:tx>
          <c:spPr>
            <a:solidFill>
              <a:schemeClr val="accent1"/>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1-2014-4E43-B77A-2C66FB5EC0DB}"/>
              </c:ext>
            </c:extLst>
          </c:dPt>
          <c:dPt>
            <c:idx val="1"/>
            <c:invertIfNegative val="0"/>
            <c:bubble3D val="0"/>
            <c:spPr>
              <a:solidFill>
                <a:schemeClr val="accent5">
                  <a:lumMod val="75000"/>
                </a:schemeClr>
              </a:solidFill>
              <a:ln>
                <a:noFill/>
              </a:ln>
              <a:effectLst/>
            </c:spPr>
            <c:extLst>
              <c:ext xmlns:c16="http://schemas.microsoft.com/office/drawing/2014/chart" uri="{C3380CC4-5D6E-409C-BE32-E72D297353CC}">
                <c16:uniqueId val="{00000003-2014-4E43-B77A-2C66FB5EC0DB}"/>
              </c:ext>
            </c:extLst>
          </c:dPt>
          <c:dPt>
            <c:idx val="2"/>
            <c:invertIfNegative val="0"/>
            <c:bubble3D val="0"/>
            <c:spPr>
              <a:solidFill>
                <a:srgbClr val="0FB4FF"/>
              </a:solidFill>
              <a:ln>
                <a:noFill/>
              </a:ln>
              <a:effectLst/>
            </c:spPr>
            <c:extLst>
              <c:ext xmlns:c16="http://schemas.microsoft.com/office/drawing/2014/chart" uri="{C3380CC4-5D6E-409C-BE32-E72D297353CC}">
                <c16:uniqueId val="{00000005-2014-4E43-B77A-2C66FB5EC0DB}"/>
              </c:ext>
            </c:extLst>
          </c:dPt>
          <c:dPt>
            <c:idx val="3"/>
            <c:invertIfNegative val="0"/>
            <c:bubble3D val="0"/>
            <c:spPr>
              <a:solidFill>
                <a:srgbClr val="0FB4FF"/>
              </a:solidFill>
              <a:ln>
                <a:noFill/>
              </a:ln>
              <a:effectLst/>
            </c:spPr>
            <c:extLst>
              <c:ext xmlns:c16="http://schemas.microsoft.com/office/drawing/2014/chart" uri="{C3380CC4-5D6E-409C-BE32-E72D297353CC}">
                <c16:uniqueId val="{00000007-2014-4E43-B77A-2C66FB5EC0DB}"/>
              </c:ext>
            </c:extLst>
          </c:dPt>
          <c:dPt>
            <c:idx val="4"/>
            <c:invertIfNegative val="0"/>
            <c:bubble3D val="0"/>
            <c:spPr>
              <a:solidFill>
                <a:srgbClr val="0FB4FF"/>
              </a:solidFill>
              <a:ln>
                <a:noFill/>
              </a:ln>
              <a:effectLst/>
            </c:spPr>
            <c:extLst>
              <c:ext xmlns:c16="http://schemas.microsoft.com/office/drawing/2014/chart" uri="{C3380CC4-5D6E-409C-BE32-E72D297353CC}">
                <c16:uniqueId val="{00000009-2014-4E43-B77A-2C66FB5EC0DB}"/>
              </c:ext>
            </c:extLst>
          </c:dPt>
          <c:dPt>
            <c:idx val="5"/>
            <c:invertIfNegative val="0"/>
            <c:bubble3D val="0"/>
            <c:spPr>
              <a:solidFill>
                <a:srgbClr val="0FB4FF"/>
              </a:solidFill>
              <a:ln>
                <a:noFill/>
              </a:ln>
              <a:effectLst/>
            </c:spPr>
            <c:extLst>
              <c:ext xmlns:c16="http://schemas.microsoft.com/office/drawing/2014/chart" uri="{C3380CC4-5D6E-409C-BE32-E72D297353CC}">
                <c16:uniqueId val="{0000000B-2014-4E43-B77A-2C66FB5EC0DB}"/>
              </c:ext>
            </c:extLst>
          </c:dPt>
          <c:dPt>
            <c:idx val="6"/>
            <c:invertIfNegative val="0"/>
            <c:bubble3D val="0"/>
            <c:spPr>
              <a:solidFill>
                <a:srgbClr val="0FB4FF"/>
              </a:solidFill>
              <a:ln>
                <a:noFill/>
              </a:ln>
              <a:effectLst/>
            </c:spPr>
            <c:extLst>
              <c:ext xmlns:c16="http://schemas.microsoft.com/office/drawing/2014/chart" uri="{C3380CC4-5D6E-409C-BE32-E72D297353CC}">
                <c16:uniqueId val="{0000000D-2014-4E43-B77A-2C66FB5EC0DB}"/>
              </c:ext>
            </c:extLst>
          </c:dPt>
          <c:dPt>
            <c:idx val="7"/>
            <c:invertIfNegative val="0"/>
            <c:bubble3D val="0"/>
            <c:spPr>
              <a:solidFill>
                <a:srgbClr val="0FB4FF"/>
              </a:solidFill>
              <a:ln>
                <a:noFill/>
              </a:ln>
              <a:effectLst/>
            </c:spPr>
            <c:extLst>
              <c:ext xmlns:c16="http://schemas.microsoft.com/office/drawing/2014/chart" uri="{C3380CC4-5D6E-409C-BE32-E72D297353CC}">
                <c16:uniqueId val="{0000000F-2014-4E43-B77A-2C66FB5EC0DB}"/>
              </c:ext>
            </c:extLst>
          </c:dPt>
          <c:dPt>
            <c:idx val="8"/>
            <c:invertIfNegative val="0"/>
            <c:bubble3D val="0"/>
            <c:spPr>
              <a:solidFill>
                <a:srgbClr val="0FB4FF"/>
              </a:solidFill>
              <a:ln>
                <a:noFill/>
              </a:ln>
              <a:effectLst/>
            </c:spPr>
            <c:extLst>
              <c:ext xmlns:c16="http://schemas.microsoft.com/office/drawing/2014/chart" uri="{C3380CC4-5D6E-409C-BE32-E72D297353CC}">
                <c16:uniqueId val="{00000011-2014-4E43-B77A-2C66FB5EC0DB}"/>
              </c:ext>
            </c:extLst>
          </c:dPt>
          <c:dPt>
            <c:idx val="9"/>
            <c:invertIfNegative val="0"/>
            <c:bubble3D val="0"/>
            <c:spPr>
              <a:solidFill>
                <a:srgbClr val="0FB4FF"/>
              </a:solidFill>
              <a:ln>
                <a:noFill/>
              </a:ln>
              <a:effectLst/>
            </c:spPr>
            <c:extLst>
              <c:ext xmlns:c16="http://schemas.microsoft.com/office/drawing/2014/chart" uri="{C3380CC4-5D6E-409C-BE32-E72D297353CC}">
                <c16:uniqueId val="{00000013-2014-4E43-B77A-2C66FB5EC0DB}"/>
              </c:ext>
            </c:extLst>
          </c:dPt>
          <c:dPt>
            <c:idx val="10"/>
            <c:invertIfNegative val="0"/>
            <c:bubble3D val="0"/>
            <c:spPr>
              <a:solidFill>
                <a:srgbClr val="0FB4FF"/>
              </a:solidFill>
              <a:ln>
                <a:noFill/>
              </a:ln>
              <a:effectLst/>
            </c:spPr>
            <c:extLst>
              <c:ext xmlns:c16="http://schemas.microsoft.com/office/drawing/2014/chart" uri="{C3380CC4-5D6E-409C-BE32-E72D297353CC}">
                <c16:uniqueId val="{00000015-2014-4E43-B77A-2C66FB5EC0DB}"/>
              </c:ext>
            </c:extLst>
          </c:dPt>
          <c:dPt>
            <c:idx val="11"/>
            <c:invertIfNegative val="0"/>
            <c:bubble3D val="0"/>
            <c:spPr>
              <a:solidFill>
                <a:srgbClr val="0FB4FF"/>
              </a:solidFill>
              <a:ln>
                <a:noFill/>
              </a:ln>
              <a:effectLst/>
            </c:spPr>
            <c:extLst>
              <c:ext xmlns:c16="http://schemas.microsoft.com/office/drawing/2014/chart" uri="{C3380CC4-5D6E-409C-BE32-E72D297353CC}">
                <c16:uniqueId val="{00000017-2014-4E43-B77A-2C66FB5EC0DB}"/>
              </c:ext>
            </c:extLst>
          </c:dPt>
          <c:dPt>
            <c:idx val="12"/>
            <c:invertIfNegative val="0"/>
            <c:bubble3D val="0"/>
            <c:spPr>
              <a:solidFill>
                <a:srgbClr val="0FB4FF"/>
              </a:solidFill>
              <a:ln>
                <a:noFill/>
              </a:ln>
              <a:effectLst/>
            </c:spPr>
            <c:extLst>
              <c:ext xmlns:c16="http://schemas.microsoft.com/office/drawing/2014/chart" uri="{C3380CC4-5D6E-409C-BE32-E72D297353CC}">
                <c16:uniqueId val="{00000019-2014-4E43-B77A-2C66FB5EC0DB}"/>
              </c:ext>
            </c:extLst>
          </c:dPt>
          <c:dPt>
            <c:idx val="13"/>
            <c:invertIfNegative val="0"/>
            <c:bubble3D val="0"/>
            <c:spPr>
              <a:solidFill>
                <a:srgbClr val="0FB4FF"/>
              </a:solidFill>
              <a:ln>
                <a:noFill/>
              </a:ln>
              <a:effectLst/>
            </c:spPr>
            <c:extLst>
              <c:ext xmlns:c16="http://schemas.microsoft.com/office/drawing/2014/chart" uri="{C3380CC4-5D6E-409C-BE32-E72D297353CC}">
                <c16:uniqueId val="{0000001B-2014-4E43-B77A-2C66FB5EC0DB}"/>
              </c:ext>
            </c:extLst>
          </c:dPt>
          <c:dPt>
            <c:idx val="14"/>
            <c:invertIfNegative val="0"/>
            <c:bubble3D val="0"/>
            <c:spPr>
              <a:solidFill>
                <a:srgbClr val="0FB4FF"/>
              </a:solidFill>
              <a:ln>
                <a:noFill/>
              </a:ln>
              <a:effectLst/>
            </c:spPr>
            <c:extLst>
              <c:ext xmlns:c16="http://schemas.microsoft.com/office/drawing/2014/chart" uri="{C3380CC4-5D6E-409C-BE32-E72D297353CC}">
                <c16:uniqueId val="{0000001D-2014-4E43-B77A-2C66FB5EC0DB}"/>
              </c:ext>
            </c:extLst>
          </c:dPt>
          <c:dPt>
            <c:idx val="15"/>
            <c:invertIfNegative val="0"/>
            <c:bubble3D val="0"/>
            <c:spPr>
              <a:solidFill>
                <a:srgbClr val="0FB4FF"/>
              </a:solidFill>
              <a:ln>
                <a:noFill/>
              </a:ln>
              <a:effectLst/>
            </c:spPr>
            <c:extLst>
              <c:ext xmlns:c16="http://schemas.microsoft.com/office/drawing/2014/chart" uri="{C3380CC4-5D6E-409C-BE32-E72D297353CC}">
                <c16:uniqueId val="{0000001F-2014-4E43-B77A-2C66FB5EC0DB}"/>
              </c:ext>
            </c:extLst>
          </c:dPt>
          <c:dPt>
            <c:idx val="16"/>
            <c:invertIfNegative val="0"/>
            <c:bubble3D val="0"/>
            <c:spPr>
              <a:solidFill>
                <a:srgbClr val="0FB4FF"/>
              </a:solidFill>
              <a:ln>
                <a:noFill/>
              </a:ln>
              <a:effectLst/>
            </c:spPr>
            <c:extLst>
              <c:ext xmlns:c16="http://schemas.microsoft.com/office/drawing/2014/chart" uri="{C3380CC4-5D6E-409C-BE32-E72D297353CC}">
                <c16:uniqueId val="{00000021-2014-4E43-B77A-2C66FB5EC0DB}"/>
              </c:ext>
            </c:extLst>
          </c:dPt>
          <c:dPt>
            <c:idx val="17"/>
            <c:invertIfNegative val="0"/>
            <c:bubble3D val="0"/>
            <c:spPr>
              <a:solidFill>
                <a:srgbClr val="0FB4FF"/>
              </a:solidFill>
              <a:ln>
                <a:noFill/>
              </a:ln>
              <a:effectLst/>
            </c:spPr>
            <c:extLst>
              <c:ext xmlns:c16="http://schemas.microsoft.com/office/drawing/2014/chart" uri="{C3380CC4-5D6E-409C-BE32-E72D297353CC}">
                <c16:uniqueId val="{00000023-2014-4E43-B77A-2C66FB5EC0DB}"/>
              </c:ext>
            </c:extLst>
          </c:dPt>
          <c:dPt>
            <c:idx val="18"/>
            <c:invertIfNegative val="0"/>
            <c:bubble3D val="0"/>
            <c:spPr>
              <a:solidFill>
                <a:srgbClr val="0FB4FF"/>
              </a:solidFill>
              <a:ln>
                <a:noFill/>
              </a:ln>
              <a:effectLst/>
            </c:spPr>
            <c:extLst>
              <c:ext xmlns:c16="http://schemas.microsoft.com/office/drawing/2014/chart" uri="{C3380CC4-5D6E-409C-BE32-E72D297353CC}">
                <c16:uniqueId val="{00000025-2014-4E43-B77A-2C66FB5EC0DB}"/>
              </c:ext>
            </c:extLst>
          </c:dPt>
          <c:dPt>
            <c:idx val="19"/>
            <c:invertIfNegative val="0"/>
            <c:bubble3D val="0"/>
            <c:spPr>
              <a:solidFill>
                <a:srgbClr val="0FB4FF"/>
              </a:solidFill>
              <a:ln>
                <a:noFill/>
              </a:ln>
              <a:effectLst/>
            </c:spPr>
            <c:extLst>
              <c:ext xmlns:c16="http://schemas.microsoft.com/office/drawing/2014/chart" uri="{C3380CC4-5D6E-409C-BE32-E72D297353CC}">
                <c16:uniqueId val="{00000027-2014-4E43-B77A-2C66FB5EC0DB}"/>
              </c:ext>
            </c:extLst>
          </c:dPt>
          <c:dLbls>
            <c:dLbl>
              <c:idx val="0"/>
              <c:tx>
                <c:rich>
                  <a:bodyPr/>
                  <a:lstStyle/>
                  <a:p>
                    <a:r>
                      <a:rPr lang="en-US"/>
                      <a:t>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014-4E43-B77A-2C66FB5EC0DB}"/>
                </c:ext>
              </c:extLst>
            </c:dLbl>
            <c:dLbl>
              <c:idx val="1"/>
              <c:tx>
                <c:rich>
                  <a:bodyPr/>
                  <a:lstStyle/>
                  <a:p>
                    <a:r>
                      <a:rPr lang="en-US"/>
                      <a:t>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014-4E43-B77A-2C66FB5EC0DB}"/>
                </c:ext>
              </c:extLst>
            </c:dLbl>
            <c:dLbl>
              <c:idx val="2"/>
              <c:tx>
                <c:rich>
                  <a:bodyPr/>
                  <a:lstStyle/>
                  <a:p>
                    <a:r>
                      <a:rPr lang="en-US"/>
                      <a:t>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014-4E43-B77A-2C66FB5EC0DB}"/>
                </c:ext>
              </c:extLst>
            </c:dLbl>
            <c:dLbl>
              <c:idx val="3"/>
              <c:tx>
                <c:rich>
                  <a:bodyPr/>
                  <a:lstStyle/>
                  <a:p>
                    <a:r>
                      <a:rPr lang="en-US"/>
                      <a:t>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014-4E43-B77A-2C66FB5EC0DB}"/>
                </c:ext>
              </c:extLst>
            </c:dLbl>
            <c:dLbl>
              <c:idx val="4"/>
              <c:tx>
                <c:rich>
                  <a:bodyPr/>
                  <a:lstStyle/>
                  <a:p>
                    <a:r>
                      <a:rPr lang="en-US"/>
                      <a:t>2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014-4E43-B77A-2C66FB5EC0DB}"/>
                </c:ext>
              </c:extLst>
            </c:dLbl>
            <c:dLbl>
              <c:idx val="5"/>
              <c:tx>
                <c:rich>
                  <a:bodyPr/>
                  <a:lstStyle/>
                  <a:p>
                    <a:r>
                      <a:rPr lang="en-US"/>
                      <a:t>2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014-4E43-B77A-2C66FB5EC0DB}"/>
                </c:ext>
              </c:extLst>
            </c:dLbl>
            <c:dLbl>
              <c:idx val="6"/>
              <c:tx>
                <c:rich>
                  <a:bodyPr/>
                  <a:lstStyle/>
                  <a:p>
                    <a:r>
                      <a:rPr lang="en-US"/>
                      <a:t>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014-4E43-B77A-2C66FB5EC0DB}"/>
                </c:ext>
              </c:extLst>
            </c:dLbl>
            <c:dLbl>
              <c:idx val="7"/>
              <c:tx>
                <c:rich>
                  <a:bodyPr/>
                  <a:lstStyle/>
                  <a:p>
                    <a:r>
                      <a:rPr lang="en-US"/>
                      <a:t>2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014-4E43-B77A-2C66FB5EC0DB}"/>
                </c:ext>
              </c:extLst>
            </c:dLbl>
            <c:dLbl>
              <c:idx val="8"/>
              <c:tx>
                <c:rich>
                  <a:bodyPr/>
                  <a:lstStyle/>
                  <a:p>
                    <a:r>
                      <a:rPr lang="en-US"/>
                      <a:t>3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2014-4E43-B77A-2C66FB5EC0DB}"/>
                </c:ext>
              </c:extLst>
            </c:dLbl>
            <c:dLbl>
              <c:idx val="9"/>
              <c:tx>
                <c:rich>
                  <a:bodyPr/>
                  <a:lstStyle/>
                  <a:p>
                    <a:r>
                      <a:rPr lang="en-US"/>
                      <a:t>2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2014-4E43-B77A-2C66FB5EC0DB}"/>
                </c:ext>
              </c:extLst>
            </c:dLbl>
            <c:dLbl>
              <c:idx val="10"/>
              <c:tx>
                <c:rich>
                  <a:bodyPr/>
                  <a:lstStyle/>
                  <a:p>
                    <a:r>
                      <a:rPr lang="en-US"/>
                      <a:t>3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2014-4E43-B77A-2C66FB5EC0DB}"/>
                </c:ext>
              </c:extLst>
            </c:dLbl>
            <c:dLbl>
              <c:idx val="11"/>
              <c:tx>
                <c:rich>
                  <a:bodyPr/>
                  <a:lstStyle/>
                  <a:p>
                    <a:r>
                      <a:rPr lang="en-US"/>
                      <a:t>5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2014-4E43-B77A-2C66FB5EC0DB}"/>
                </c:ext>
              </c:extLst>
            </c:dLbl>
            <c:dLbl>
              <c:idx val="12"/>
              <c:tx>
                <c:rich>
                  <a:bodyPr/>
                  <a:lstStyle/>
                  <a:p>
                    <a:r>
                      <a:rPr lang="en-US"/>
                      <a:t>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2014-4E43-B77A-2C66FB5EC0DB}"/>
                </c:ext>
              </c:extLst>
            </c:dLbl>
            <c:dLbl>
              <c:idx val="13"/>
              <c:tx>
                <c:rich>
                  <a:bodyPr/>
                  <a:lstStyle/>
                  <a:p>
                    <a:r>
                      <a:rPr lang="en-US"/>
                      <a:t>4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2014-4E43-B77A-2C66FB5EC0DB}"/>
                </c:ext>
              </c:extLst>
            </c:dLbl>
            <c:dLbl>
              <c:idx val="14"/>
              <c:tx>
                <c:rich>
                  <a:bodyPr/>
                  <a:lstStyle/>
                  <a:p>
                    <a:r>
                      <a:rPr lang="en-US"/>
                      <a:t>2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2014-4E43-B77A-2C66FB5EC0DB}"/>
                </c:ext>
              </c:extLst>
            </c:dLbl>
            <c:dLbl>
              <c:idx val="15"/>
              <c:tx>
                <c:rich>
                  <a:bodyPr/>
                  <a:lstStyle/>
                  <a:p>
                    <a:r>
                      <a:rPr lang="en-US"/>
                      <a:t>2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014-4E43-B77A-2C66FB5EC0DB}"/>
                </c:ext>
              </c:extLst>
            </c:dLbl>
            <c:dLbl>
              <c:idx val="16"/>
              <c:tx>
                <c:rich>
                  <a:bodyPr/>
                  <a:lstStyle/>
                  <a:p>
                    <a:r>
                      <a:rPr lang="en-US"/>
                      <a:t>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014-4E43-B77A-2C66FB5EC0DB}"/>
                </c:ext>
              </c:extLst>
            </c:dLbl>
            <c:dLbl>
              <c:idx val="17"/>
              <c:tx>
                <c:rich>
                  <a:bodyPr/>
                  <a:lstStyle/>
                  <a:p>
                    <a:r>
                      <a:rPr lang="en-US"/>
                      <a:t>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014-4E43-B77A-2C66FB5EC0DB}"/>
                </c:ext>
              </c:extLst>
            </c:dLbl>
            <c:dLbl>
              <c:idx val="18"/>
              <c:tx>
                <c:rich>
                  <a:bodyPr/>
                  <a:lstStyle/>
                  <a:p>
                    <a:r>
                      <a:rPr lang="en-US" b="1">
                        <a:solidFill>
                          <a:schemeClr val="bg1"/>
                        </a:solidFill>
                      </a:rPr>
                      <a:t>4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014-4E43-B77A-2C66FB5EC0DB}"/>
                </c:ext>
              </c:extLst>
            </c:dLbl>
            <c:dLbl>
              <c:idx val="19"/>
              <c:tx>
                <c:rich>
                  <a:bodyPr/>
                  <a:lstStyle/>
                  <a:p>
                    <a:r>
                      <a:rPr lang="en-US" b="1" dirty="0">
                        <a:solidFill>
                          <a:schemeClr val="bg1"/>
                        </a:solidFill>
                      </a:rPr>
                      <a:t>5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014-4E43-B77A-2C66FB5EC0DB}"/>
                </c:ext>
              </c:extLst>
            </c:dLbl>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Thrombocytopenia</c:v>
                </c:pt>
                <c:pt idx="1">
                  <c:v>Muscle spasms</c:v>
                </c:pt>
                <c:pt idx="2">
                  <c:v>Asthenia</c:v>
                </c:pt>
                <c:pt idx="3">
                  <c:v>Hypocalcaemia</c:v>
                </c:pt>
                <c:pt idx="4">
                  <c:v>Nausea</c:v>
                </c:pt>
                <c:pt idx="5">
                  <c:v>Decreased appetite</c:v>
                </c:pt>
                <c:pt idx="6">
                  <c:v>Anaemia</c:v>
                </c:pt>
                <c:pt idx="7">
                  <c:v>COVID-19</c:v>
                </c:pt>
                <c:pt idx="8">
                  <c:v>Constipation</c:v>
                </c:pt>
                <c:pt idx="9">
                  <c:v>AST increase</c:v>
                </c:pt>
                <c:pt idx="10">
                  <c:v>ALT increase</c:v>
                </c:pt>
                <c:pt idx="11">
                  <c:v>IRR</c:v>
                </c:pt>
                <c:pt idx="12">
                  <c:v>Peripheral oedema</c:v>
                </c:pt>
                <c:pt idx="13">
                  <c:v>Hypoalbuminaemia</c:v>
                </c:pt>
                <c:pt idx="14">
                  <c:v>Pruritis</c:v>
                </c:pt>
                <c:pt idx="15">
                  <c:v>Stomatitis</c:v>
                </c:pt>
                <c:pt idx="16">
                  <c:v>Dermatitis acneiform</c:v>
                </c:pt>
                <c:pt idx="17">
                  <c:v>Diarrhoea</c:v>
                </c:pt>
                <c:pt idx="18">
                  <c:v>Rash</c:v>
                </c:pt>
                <c:pt idx="19">
                  <c:v>Paronychia</c:v>
                </c:pt>
              </c:strCache>
            </c:strRef>
          </c:cat>
          <c:val>
            <c:numRef>
              <c:f>Sheet1!$B$2:$B$21</c:f>
              <c:numCache>
                <c:formatCode>General</c:formatCode>
                <c:ptCount val="20"/>
                <c:pt idx="0">
                  <c:v>-17</c:v>
                </c:pt>
                <c:pt idx="1">
                  <c:v>-19</c:v>
                </c:pt>
                <c:pt idx="2">
                  <c:v>-17</c:v>
                </c:pt>
                <c:pt idx="3">
                  <c:v>-20</c:v>
                </c:pt>
                <c:pt idx="4">
                  <c:v>-23</c:v>
                </c:pt>
                <c:pt idx="5">
                  <c:v>-26</c:v>
                </c:pt>
                <c:pt idx="6">
                  <c:v>-22</c:v>
                </c:pt>
                <c:pt idx="7">
                  <c:v>-28</c:v>
                </c:pt>
                <c:pt idx="8">
                  <c:v>-31</c:v>
                </c:pt>
                <c:pt idx="9">
                  <c:v>-29</c:v>
                </c:pt>
                <c:pt idx="10">
                  <c:v>-33</c:v>
                </c:pt>
                <c:pt idx="11">
                  <c:v>-59</c:v>
                </c:pt>
                <c:pt idx="12">
                  <c:v>-36</c:v>
                </c:pt>
                <c:pt idx="13">
                  <c:v>-45</c:v>
                </c:pt>
                <c:pt idx="14">
                  <c:v>-24</c:v>
                </c:pt>
                <c:pt idx="15">
                  <c:v>-29</c:v>
                </c:pt>
                <c:pt idx="16">
                  <c:v>-21</c:v>
                </c:pt>
                <c:pt idx="17">
                  <c:v>-30</c:v>
                </c:pt>
                <c:pt idx="18">
                  <c:v>-47</c:v>
                </c:pt>
                <c:pt idx="19">
                  <c:v>-57</c:v>
                </c:pt>
              </c:numCache>
            </c:numRef>
          </c:val>
          <c:extLst>
            <c:ext xmlns:c16="http://schemas.microsoft.com/office/drawing/2014/chart" uri="{C3380CC4-5D6E-409C-BE32-E72D297353CC}">
              <c16:uniqueId val="{00000028-2014-4E43-B77A-2C66FB5EC0DB}"/>
            </c:ext>
          </c:extLst>
        </c:ser>
        <c:ser>
          <c:idx val="1"/>
          <c:order val="1"/>
          <c:tx>
            <c:strRef>
              <c:f>Sheet1!$C$1</c:f>
              <c:strCache>
                <c:ptCount val="1"/>
                <c:pt idx="0">
                  <c:v>Grade 3–4</c:v>
                </c:pt>
              </c:strCache>
            </c:strRef>
          </c:tx>
          <c:spPr>
            <a:solidFill>
              <a:srgbClr val="007CB4"/>
            </a:solidFill>
            <a:ln>
              <a:noFill/>
            </a:ln>
            <a:effectLst/>
          </c:spPr>
          <c:invertIfNegative val="0"/>
          <c:dLbls>
            <c:dLbl>
              <c:idx val="0"/>
              <c:tx>
                <c:rich>
                  <a:bodyPr/>
                  <a:lstStyle/>
                  <a:p>
                    <a:r>
                      <a:rPr lang="en-US"/>
                      <a:t>1</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014-4E43-B77A-2C66FB5EC0DB}"/>
                </c:ext>
              </c:extLst>
            </c:dLbl>
            <c:dLbl>
              <c:idx val="1"/>
              <c:tx>
                <c:rich>
                  <a:bodyPr/>
                  <a:lstStyle/>
                  <a:p>
                    <a:r>
                      <a:rPr lang="en-US"/>
                      <a:t>&lt;1</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014-4E43-B77A-2C66FB5EC0DB}"/>
                </c:ext>
              </c:extLst>
            </c:dLbl>
            <c:dLbl>
              <c:idx val="2"/>
              <c:tx>
                <c:rich>
                  <a:bodyPr/>
                  <a:lstStyle/>
                  <a:p>
                    <a:r>
                      <a:rPr lang="en-US"/>
                      <a:t>3</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014-4E43-B77A-2C66FB5EC0DB}"/>
                </c:ext>
              </c:extLst>
            </c:dLbl>
            <c:dLbl>
              <c:idx val="3"/>
              <c:tx>
                <c:rich>
                  <a:bodyPr/>
                  <a:lstStyle/>
                  <a:p>
                    <a:r>
                      <a:rPr lang="en-US"/>
                      <a:t>3</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014-4E43-B77A-2C66FB5EC0DB}"/>
                </c:ext>
              </c:extLst>
            </c:dLbl>
            <c:dLbl>
              <c:idx val="4"/>
              <c:tx>
                <c:rich>
                  <a:bodyPr/>
                  <a:lstStyle/>
                  <a:p>
                    <a:r>
                      <a:rPr lang="en-US"/>
                      <a:t>1</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014-4E43-B77A-2C66FB5EC0DB}"/>
                </c:ext>
              </c:extLst>
            </c:dLbl>
            <c:dLbl>
              <c:idx val="5"/>
              <c:layout>
                <c:manualLayout>
                  <c:x val="-2.6670674718626497E-2"/>
                  <c:y val="9.5493427961319434E-17"/>
                </c:manualLayout>
              </c:layout>
              <c:tx>
                <c:rich>
                  <a:bodyPr/>
                  <a:lstStyle/>
                  <a:p>
                    <a:r>
                      <a:rPr lang="en-US"/>
                      <a: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014-4E43-B77A-2C66FB5EC0DB}"/>
                </c:ext>
              </c:extLst>
            </c:dLbl>
            <c:dLbl>
              <c:idx val="6"/>
              <c:layout>
                <c:manualLayout>
                  <c:x val="-4.0462775572432094E-2"/>
                  <c:y val="9.789838142205158E-17"/>
                </c:manualLayout>
              </c:layout>
              <c:tx>
                <c:rich>
                  <a:bodyPr/>
                  <a:lstStyle/>
                  <a:p>
                    <a:r>
                      <a:rPr lang="en-US"/>
                      <a:t>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014-4E43-B77A-2C66FB5EC0DB}"/>
                </c:ext>
              </c:extLst>
            </c:dLbl>
            <c:dLbl>
              <c:idx val="7"/>
              <c:tx>
                <c:rich>
                  <a:bodyPr/>
                  <a:lstStyle/>
                  <a:p>
                    <a:r>
                      <a:rPr lang="en-US"/>
                      <a:t>2</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014-4E43-B77A-2C66FB5EC0DB}"/>
                </c:ext>
              </c:extLst>
            </c:dLbl>
            <c:dLbl>
              <c:idx val="8"/>
              <c:delete val="1"/>
              <c:extLst>
                <c:ext xmlns:c15="http://schemas.microsoft.com/office/drawing/2012/chart" uri="{CE6537A1-D6FC-4f65-9D91-7224C49458BB}"/>
                <c:ext xmlns:c16="http://schemas.microsoft.com/office/drawing/2014/chart" uri="{C3380CC4-5D6E-409C-BE32-E72D297353CC}">
                  <c16:uniqueId val="{00000031-2014-4E43-B77A-2C66FB5EC0DB}"/>
                </c:ext>
              </c:extLst>
            </c:dLbl>
            <c:dLbl>
              <c:idx val="9"/>
              <c:layout>
                <c:manualLayout>
                  <c:x val="-2.8614881676821257E-2"/>
                  <c:y val="0"/>
                </c:manualLayout>
              </c:layout>
              <c:tx>
                <c:rich>
                  <a:bodyPr/>
                  <a:lstStyle/>
                  <a:p>
                    <a:r>
                      <a:rPr lang="en-US"/>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014-4E43-B77A-2C66FB5EC0DB}"/>
                </c:ext>
              </c:extLst>
            </c:dLbl>
            <c:dLbl>
              <c:idx val="10"/>
              <c:layout>
                <c:manualLayout>
                  <c:x val="-3.3877446799899902E-2"/>
                  <c:y val="0"/>
                </c:manualLayout>
              </c:layout>
              <c:tx>
                <c:rich>
                  <a:bodyPr/>
                  <a:lstStyle/>
                  <a:p>
                    <a:r>
                      <a:rPr lang="en-US"/>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014-4E43-B77A-2C66FB5EC0DB}"/>
                </c:ext>
              </c:extLst>
            </c:dLbl>
            <c:dLbl>
              <c:idx val="11"/>
              <c:layout>
                <c:manualLayout>
                  <c:x val="-1.3938542079087314E-3"/>
                  <c:y val="2.0507057503839946E-7"/>
                </c:manualLayout>
              </c:layout>
              <c:tx>
                <c:rich>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r>
                      <a:rPr lang="en-US">
                        <a:solidFill>
                          <a:schemeClr val="bg1"/>
                        </a:solidFill>
                        <a:latin typeface="Arial" panose="020B0604020202020204" pitchFamily="34" charset="0"/>
                        <a:cs typeface="Arial" panose="020B0604020202020204" pitchFamily="34" charset="0"/>
                      </a:rPr>
                      <a:t>6</a:t>
                    </a:r>
                  </a:p>
                </c:rich>
              </c:tx>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014-4E43-B77A-2C66FB5EC0DB}"/>
                </c:ext>
              </c:extLst>
            </c:dLbl>
            <c:dLbl>
              <c:idx val="12"/>
              <c:tx>
                <c:rich>
                  <a:bodyPr/>
                  <a:lstStyle/>
                  <a:p>
                    <a:r>
                      <a:rPr lang="en-US"/>
                      <a:t>2</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014-4E43-B77A-2C66FB5EC0DB}"/>
                </c:ext>
              </c:extLst>
            </c:dLbl>
            <c:dLbl>
              <c:idx val="13"/>
              <c:layout>
                <c:manualLayout>
                  <c:x val="-3.3877446799899902E-2"/>
                  <c:y val="2.1023517326952276E-7"/>
                </c:manualLayout>
              </c:layout>
              <c:tx>
                <c:rich>
                  <a:bodyPr/>
                  <a:lstStyle/>
                  <a:p>
                    <a:r>
                      <a:rPr lang="en-US"/>
                      <a:t>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2014-4E43-B77A-2C66FB5EC0DB}"/>
                </c:ext>
              </c:extLst>
            </c:dLbl>
            <c:dLbl>
              <c:idx val="14"/>
              <c:tx>
                <c:rich>
                  <a:bodyPr/>
                  <a:lstStyle/>
                  <a:p>
                    <a:r>
                      <a:rPr lang="en-US"/>
                      <a:t>&lt;1</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2014-4E43-B77A-2C66FB5EC0DB}"/>
                </c:ext>
              </c:extLst>
            </c:dLbl>
            <c:dLbl>
              <c:idx val="15"/>
              <c:tx>
                <c:rich>
                  <a:bodyPr/>
                  <a:lstStyle/>
                  <a:p>
                    <a:r>
                      <a:rPr lang="en-US"/>
                      <a:t>1</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2014-4E43-B77A-2C66FB5EC0DB}"/>
                </c:ext>
              </c:extLst>
            </c:dLbl>
            <c:dLbl>
              <c:idx val="16"/>
              <c:layout>
                <c:manualLayout>
                  <c:x val="-1.3938542079087314E-3"/>
                  <c:y val="0"/>
                </c:manualLayout>
              </c:layout>
              <c:tx>
                <c:rich>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r>
                      <a:rPr lang="en-US">
                        <a:solidFill>
                          <a:schemeClr val="bg1"/>
                        </a:solidFill>
                        <a:latin typeface="Arial" panose="020B0604020202020204" pitchFamily="34" charset="0"/>
                        <a:cs typeface="Arial" panose="020B0604020202020204" pitchFamily="34" charset="0"/>
                      </a:rPr>
                      <a:t>9</a:t>
                    </a:r>
                  </a:p>
                </c:rich>
              </c:tx>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2014-4E43-B77A-2C66FB5EC0DB}"/>
                </c:ext>
              </c:extLst>
            </c:dLbl>
            <c:dLbl>
              <c:idx val="17"/>
              <c:tx>
                <c:rich>
                  <a:bodyPr/>
                  <a:lstStyle/>
                  <a:p>
                    <a:r>
                      <a:rPr lang="en-US"/>
                      <a:t>2</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2014-4E43-B77A-2C66FB5EC0DB}"/>
                </c:ext>
              </c:extLst>
            </c:dLbl>
            <c:dLbl>
              <c:idx val="18"/>
              <c:layout>
                <c:manualLayout>
                  <c:x val="-2.344124631600472E-3"/>
                  <c:y val="0"/>
                </c:manualLayout>
              </c:layout>
              <c:tx>
                <c:rich>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r>
                      <a:rPr lang="en-US">
                        <a:solidFill>
                          <a:schemeClr val="bg1"/>
                        </a:solidFill>
                        <a:latin typeface="Arial" panose="020B0604020202020204" pitchFamily="34" charset="0"/>
                        <a:cs typeface="Arial" panose="020B0604020202020204" pitchFamily="34" charset="0"/>
                      </a:rPr>
                      <a:t>17</a:t>
                    </a:r>
                  </a:p>
                </c:rich>
              </c:tx>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2014-4E43-B77A-2C66FB5EC0DB}"/>
                </c:ext>
              </c:extLst>
            </c:dLbl>
            <c:dLbl>
              <c:idx val="19"/>
              <c:layout>
                <c:manualLayout>
                  <c:x val="-1.870986345553898E-3"/>
                  <c:y val="0"/>
                </c:manualLayout>
              </c:layout>
              <c:tx>
                <c:rich>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r>
                      <a:rPr lang="en-US">
                        <a:solidFill>
                          <a:schemeClr val="bg1"/>
                        </a:solidFill>
                        <a:latin typeface="Arial" panose="020B0604020202020204" pitchFamily="34" charset="0"/>
                        <a:cs typeface="Arial" panose="020B0604020202020204" pitchFamily="34" charset="0"/>
                      </a:rPr>
                      <a:t>12</a:t>
                    </a:r>
                  </a:p>
                </c:rich>
              </c:tx>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2014-4E43-B77A-2C66FB5EC0DB}"/>
                </c:ext>
              </c:extLst>
            </c:dLbl>
            <c:spPr>
              <a:noFill/>
              <a:ln>
                <a:noFill/>
              </a:ln>
              <a:effectLst/>
            </c:spPr>
            <c:txPr>
              <a:bodyPr rot="0" spcFirstLastPara="1" vertOverflow="ellipsis" vert="horz" wrap="square" anchor="ctr" anchorCtr="1"/>
              <a:lstStyle/>
              <a:p>
                <a:pPr>
                  <a:defRPr sz="1197" b="1" i="0" u="none" strike="noStrike" kern="1200" baseline="0">
                    <a:solidFill>
                      <a:srgbClr val="333333"/>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Thrombocytopenia</c:v>
                </c:pt>
                <c:pt idx="1">
                  <c:v>Muscle spasms</c:v>
                </c:pt>
                <c:pt idx="2">
                  <c:v>Asthenia</c:v>
                </c:pt>
                <c:pt idx="3">
                  <c:v>Hypocalcaemia</c:v>
                </c:pt>
                <c:pt idx="4">
                  <c:v>Nausea</c:v>
                </c:pt>
                <c:pt idx="5">
                  <c:v>Decreased appetite</c:v>
                </c:pt>
                <c:pt idx="6">
                  <c:v>Anaemia</c:v>
                </c:pt>
                <c:pt idx="7">
                  <c:v>COVID-19</c:v>
                </c:pt>
                <c:pt idx="8">
                  <c:v>Constipation</c:v>
                </c:pt>
                <c:pt idx="9">
                  <c:v>AST increase</c:v>
                </c:pt>
                <c:pt idx="10">
                  <c:v>ALT increase</c:v>
                </c:pt>
                <c:pt idx="11">
                  <c:v>IRR</c:v>
                </c:pt>
                <c:pt idx="12">
                  <c:v>Peripheral oedema</c:v>
                </c:pt>
                <c:pt idx="13">
                  <c:v>Hypoalbuminaemia</c:v>
                </c:pt>
                <c:pt idx="14">
                  <c:v>Pruritis</c:v>
                </c:pt>
                <c:pt idx="15">
                  <c:v>Stomatitis</c:v>
                </c:pt>
                <c:pt idx="16">
                  <c:v>Dermatitis acneiform</c:v>
                </c:pt>
                <c:pt idx="17">
                  <c:v>Diarrhoea</c:v>
                </c:pt>
                <c:pt idx="18">
                  <c:v>Rash</c:v>
                </c:pt>
                <c:pt idx="19">
                  <c:v>Paronychia</c:v>
                </c:pt>
              </c:strCache>
            </c:strRef>
          </c:cat>
          <c:val>
            <c:numRef>
              <c:f>Sheet1!$C$2:$C$21</c:f>
              <c:numCache>
                <c:formatCode>General</c:formatCode>
                <c:ptCount val="20"/>
                <c:pt idx="0">
                  <c:v>-1</c:v>
                </c:pt>
                <c:pt idx="1">
                  <c:v>-1</c:v>
                </c:pt>
                <c:pt idx="2">
                  <c:v>-3</c:v>
                </c:pt>
                <c:pt idx="3">
                  <c:v>-3</c:v>
                </c:pt>
                <c:pt idx="4">
                  <c:v>-1</c:v>
                </c:pt>
                <c:pt idx="5">
                  <c:v>-1</c:v>
                </c:pt>
                <c:pt idx="6">
                  <c:v>-5</c:v>
                </c:pt>
                <c:pt idx="7">
                  <c:v>-2</c:v>
                </c:pt>
                <c:pt idx="8">
                  <c:v>0</c:v>
                </c:pt>
                <c:pt idx="9">
                  <c:v>-4</c:v>
                </c:pt>
                <c:pt idx="10">
                  <c:v>-7</c:v>
                </c:pt>
                <c:pt idx="11">
                  <c:v>-6</c:v>
                </c:pt>
                <c:pt idx="12">
                  <c:v>-2</c:v>
                </c:pt>
                <c:pt idx="13">
                  <c:v>-6</c:v>
                </c:pt>
                <c:pt idx="14">
                  <c:v>-1</c:v>
                </c:pt>
                <c:pt idx="15">
                  <c:v>-1</c:v>
                </c:pt>
                <c:pt idx="16">
                  <c:v>-9</c:v>
                </c:pt>
                <c:pt idx="17">
                  <c:v>-2</c:v>
                </c:pt>
                <c:pt idx="18">
                  <c:v>-17</c:v>
                </c:pt>
                <c:pt idx="19">
                  <c:v>-12</c:v>
                </c:pt>
              </c:numCache>
            </c:numRef>
          </c:val>
          <c:extLst>
            <c:ext xmlns:c16="http://schemas.microsoft.com/office/drawing/2014/chart" uri="{C3380CC4-5D6E-409C-BE32-E72D297353CC}">
              <c16:uniqueId val="{0000003D-2014-4E43-B77A-2C66FB5EC0DB}"/>
            </c:ext>
          </c:extLst>
        </c:ser>
        <c:dLbls>
          <c:dLblPos val="ctr"/>
          <c:showLegendKey val="0"/>
          <c:showVal val="1"/>
          <c:showCatName val="0"/>
          <c:showSerName val="0"/>
          <c:showPercent val="0"/>
          <c:showBubbleSize val="0"/>
        </c:dLbls>
        <c:gapWidth val="30"/>
        <c:overlap val="100"/>
        <c:axId val="638255872"/>
        <c:axId val="638255512"/>
      </c:barChart>
      <c:catAx>
        <c:axId val="638255872"/>
        <c:scaling>
          <c:orientation val="minMax"/>
        </c:scaling>
        <c:delete val="0"/>
        <c:axPos val="l"/>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crossAx val="638255512"/>
        <c:crosses val="autoZero"/>
        <c:auto val="1"/>
        <c:lblAlgn val="ctr"/>
        <c:lblOffset val="0"/>
        <c:noMultiLvlLbl val="0"/>
      </c:catAx>
      <c:valAx>
        <c:axId val="638255512"/>
        <c:scaling>
          <c:orientation val="minMax"/>
          <c:max val="0"/>
          <c:min val="-100"/>
        </c:scaling>
        <c:delete val="0"/>
        <c:axPos val="b"/>
        <c:numFmt formatCode="General" sourceLinked="1"/>
        <c:majorTickMark val="out"/>
        <c:minorTickMark val="none"/>
        <c:tickLblPos val="none"/>
        <c:spPr>
          <a:noFill/>
          <a:ln w="12700">
            <a:noFill/>
          </a:ln>
          <a:effectLst/>
        </c:spPr>
        <c:txPr>
          <a:bodyPr rot="-6000000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en-US"/>
          </a:p>
        </c:txPr>
        <c:crossAx val="638255872"/>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accent2"/>
          </a:solidFill>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73184739964845E-2"/>
          <c:y val="2.9662231305810912E-2"/>
          <c:w val="0.85764722815545802"/>
          <c:h val="0.83119819952403673"/>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none"/>
          </c:marker>
          <c:xVal>
            <c:numRef>
              <c:f>Sheet1!$A$2:$A$4</c:f>
              <c:numCache>
                <c:formatCode>General</c:formatCode>
                <c:ptCount val="3"/>
                <c:pt idx="0">
                  <c:v>0</c:v>
                </c:pt>
              </c:numCache>
            </c:numRef>
          </c:xVal>
          <c:yVal>
            <c:numRef>
              <c:f>Sheet1!$B$2:$B$4</c:f>
              <c:numCache>
                <c:formatCode>General</c:formatCode>
                <c:ptCount val="3"/>
                <c:pt idx="0">
                  <c:v>100</c:v>
                </c:pt>
                <c:pt idx="2">
                  <c:v>0.8</c:v>
                </c:pt>
              </c:numCache>
            </c:numRef>
          </c:yVal>
          <c:smooth val="0"/>
          <c:extLst>
            <c:ext xmlns:c16="http://schemas.microsoft.com/office/drawing/2014/chart" uri="{C3380CC4-5D6E-409C-BE32-E72D297353CC}">
              <c16:uniqueId val="{00000000-D063-47EB-AE9E-4099BBD67AA0}"/>
            </c:ext>
          </c:extLst>
        </c:ser>
        <c:dLbls>
          <c:showLegendKey val="0"/>
          <c:showVal val="0"/>
          <c:showCatName val="0"/>
          <c:showSerName val="0"/>
          <c:showPercent val="0"/>
          <c:showBubbleSize val="0"/>
        </c:dLbls>
        <c:axId val="222353424"/>
        <c:axId val="107815904"/>
      </c:scatterChart>
      <c:valAx>
        <c:axId val="222353424"/>
        <c:scaling>
          <c:orientation val="minMax"/>
          <c:max val="28"/>
        </c:scaling>
        <c:delete val="0"/>
        <c:axPos val="b"/>
        <c:numFmt formatCode="General" sourceLinked="1"/>
        <c:majorTickMark val="out"/>
        <c:minorTickMark val="none"/>
        <c:tickLblPos val="nextTo"/>
        <c:spPr>
          <a:noFill/>
          <a:ln w="12700" cap="sq" cmpd="sng" algn="ctr">
            <a:solidFill>
              <a:schemeClr val="tx1"/>
            </a:solidFill>
            <a:miter lim="800000"/>
          </a:ln>
          <a:effectLst/>
        </c:spPr>
        <c:txPr>
          <a:bodyPr rot="-60000000" spcFirstLastPara="1" vertOverflow="ellipsis" vert="horz" wrap="square" anchor="ctr" anchorCtr="1"/>
          <a:lstStyle/>
          <a:p>
            <a:pPr>
              <a:defRPr sz="1000" b="0" i="0" u="none" strike="noStrike" kern="1200" baseline="0">
                <a:solidFill>
                  <a:schemeClr val="tx1"/>
                </a:solidFill>
                <a:latin typeface="Arial Narrow" panose="020B0606020202030204" pitchFamily="34" charset="0"/>
                <a:ea typeface="+mn-ea"/>
                <a:cs typeface="+mn-cs"/>
              </a:defRPr>
            </a:pPr>
            <a:endParaRPr lang="en-US"/>
          </a:p>
        </c:txPr>
        <c:crossAx val="107815904"/>
        <c:crosses val="autoZero"/>
        <c:crossBetween val="midCat"/>
        <c:majorUnit val="4"/>
      </c:valAx>
      <c:valAx>
        <c:axId val="107815904"/>
        <c:scaling>
          <c:orientation val="minMax"/>
          <c:max val="103"/>
          <c:min val="0"/>
        </c:scaling>
        <c:delete val="0"/>
        <c:axPos val="l"/>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Narrow" panose="020B0606020202030204" pitchFamily="34" charset="0"/>
                <a:ea typeface="+mn-ea"/>
                <a:cs typeface="+mn-cs"/>
              </a:defRPr>
            </a:pPr>
            <a:endParaRPr lang="en-US"/>
          </a:p>
        </c:txPr>
        <c:crossAx val="222353424"/>
        <c:crosses val="autoZero"/>
        <c:crossBetween val="midCat"/>
        <c:majorUnit val="25"/>
        <c:minorUnit val="1"/>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12700">
      <a:noFill/>
    </a:ln>
    <a:effectLst/>
  </c:spPr>
  <c:txPr>
    <a:bodyPr/>
    <a:lstStyle/>
    <a:p>
      <a:pPr>
        <a:defRPr sz="1050">
          <a:latin typeface="Arial Narrow" panose="020B060602020203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7995893686053"/>
          <c:y val="3.2829627065847536E-2"/>
          <c:w val="0.83329164670692868"/>
          <c:h val="0.8341695941853422"/>
        </c:manualLayout>
      </c:layout>
      <c:scatterChart>
        <c:scatterStyle val="lineMarker"/>
        <c:varyColors val="0"/>
        <c:ser>
          <c:idx val="0"/>
          <c:order val="0"/>
          <c:tx>
            <c:v>Ivonescimab+chemo</c:v>
          </c:tx>
          <c:spPr>
            <a:ln w="28575" cap="rnd">
              <a:solidFill>
                <a:schemeClr val="tx2"/>
              </a:solidFill>
              <a:round/>
            </a:ln>
            <a:effectLst/>
          </c:spPr>
          <c:marker>
            <c:symbol val="none"/>
          </c:marker>
          <c:xVal>
            <c:numRef>
              <c:f>PFS_KM!$T$2:$T$241</c:f>
              <c:numCache>
                <c:formatCode>.0000</c:formatCode>
                <c:ptCount val="240"/>
                <c:pt idx="0">
                  <c:v>0</c:v>
                </c:pt>
                <c:pt idx="1">
                  <c:v>3.2854209445589998E-2</c:v>
                </c:pt>
                <c:pt idx="2">
                  <c:v>0.72279260780287002</c:v>
                </c:pt>
                <c:pt idx="3">
                  <c:v>0.72279260780287002</c:v>
                </c:pt>
                <c:pt idx="4">
                  <c:v>0.82135523613963002</c:v>
                </c:pt>
                <c:pt idx="5">
                  <c:v>0.82135523613963002</c:v>
                </c:pt>
                <c:pt idx="6">
                  <c:v>1.1170431211498999</c:v>
                </c:pt>
                <c:pt idx="7">
                  <c:v>1.18275154004107</c:v>
                </c:pt>
                <c:pt idx="8">
                  <c:v>1.18275154004107</c:v>
                </c:pt>
                <c:pt idx="9">
                  <c:v>1.24845995893224</c:v>
                </c:pt>
                <c:pt idx="10">
                  <c:v>1.28131416837782</c:v>
                </c:pt>
                <c:pt idx="11">
                  <c:v>1.28131416837782</c:v>
                </c:pt>
                <c:pt idx="12">
                  <c:v>1.3141683778234099</c:v>
                </c:pt>
                <c:pt idx="13">
                  <c:v>1.34702258726899</c:v>
                </c:pt>
                <c:pt idx="14">
                  <c:v>1.34702258726899</c:v>
                </c:pt>
                <c:pt idx="15">
                  <c:v>1.37987679671458</c:v>
                </c:pt>
                <c:pt idx="16">
                  <c:v>1.37987679671458</c:v>
                </c:pt>
                <c:pt idx="17">
                  <c:v>1.4127310061601599</c:v>
                </c:pt>
                <c:pt idx="18">
                  <c:v>1.4127310061601599</c:v>
                </c:pt>
                <c:pt idx="19">
                  <c:v>1.44558521560575</c:v>
                </c:pt>
                <c:pt idx="20">
                  <c:v>1.47843942505133</c:v>
                </c:pt>
                <c:pt idx="21">
                  <c:v>1.47843942505133</c:v>
                </c:pt>
                <c:pt idx="22">
                  <c:v>1.5112936344969199</c:v>
                </c:pt>
                <c:pt idx="23">
                  <c:v>1.6098562628336801</c:v>
                </c:pt>
                <c:pt idx="24">
                  <c:v>1.6098562628336801</c:v>
                </c:pt>
                <c:pt idx="25">
                  <c:v>1.74127310061602</c:v>
                </c:pt>
                <c:pt idx="26">
                  <c:v>1.74127310061602</c:v>
                </c:pt>
                <c:pt idx="27">
                  <c:v>2.0369609856262798</c:v>
                </c:pt>
                <c:pt idx="28">
                  <c:v>2.0369609856262798</c:v>
                </c:pt>
                <c:pt idx="29">
                  <c:v>2.23408624229979</c:v>
                </c:pt>
                <c:pt idx="30">
                  <c:v>2.6611909650924002</c:v>
                </c:pt>
                <c:pt idx="31">
                  <c:v>2.7268993839835698</c:v>
                </c:pt>
                <c:pt idx="32">
                  <c:v>2.8583162217659099</c:v>
                </c:pt>
                <c:pt idx="33">
                  <c:v>2.9568788501026702</c:v>
                </c:pt>
                <c:pt idx="34">
                  <c:v>2.9568788501026702</c:v>
                </c:pt>
                <c:pt idx="35">
                  <c:v>2.9897330595482501</c:v>
                </c:pt>
                <c:pt idx="36">
                  <c:v>3.0225872689938398</c:v>
                </c:pt>
                <c:pt idx="37">
                  <c:v>3.1540041067761799</c:v>
                </c:pt>
                <c:pt idx="38">
                  <c:v>3.1540041067761799</c:v>
                </c:pt>
                <c:pt idx="39">
                  <c:v>3.3182751540041102</c:v>
                </c:pt>
                <c:pt idx="40">
                  <c:v>3.3182751540041102</c:v>
                </c:pt>
                <c:pt idx="41">
                  <c:v>3.3839835728952798</c:v>
                </c:pt>
                <c:pt idx="42">
                  <c:v>3.3839835728952798</c:v>
                </c:pt>
                <c:pt idx="43">
                  <c:v>3.4825462012320298</c:v>
                </c:pt>
                <c:pt idx="44">
                  <c:v>3.4825462012320298</c:v>
                </c:pt>
                <c:pt idx="45">
                  <c:v>3.7125256673511302</c:v>
                </c:pt>
                <c:pt idx="46">
                  <c:v>3.7125256673511302</c:v>
                </c:pt>
                <c:pt idx="47">
                  <c:v>3.90965092402464</c:v>
                </c:pt>
                <c:pt idx="48">
                  <c:v>3.90965092402464</c:v>
                </c:pt>
                <c:pt idx="49">
                  <c:v>3.9425051334702301</c:v>
                </c:pt>
                <c:pt idx="50">
                  <c:v>3.9425051334702301</c:v>
                </c:pt>
                <c:pt idx="51">
                  <c:v>3.9753593429158101</c:v>
                </c:pt>
                <c:pt idx="52">
                  <c:v>3.9753593429158101</c:v>
                </c:pt>
                <c:pt idx="53">
                  <c:v>4.0082135523613998</c:v>
                </c:pt>
                <c:pt idx="54">
                  <c:v>4.0082135523613998</c:v>
                </c:pt>
                <c:pt idx="55">
                  <c:v>4.0739219712525703</c:v>
                </c:pt>
                <c:pt idx="56">
                  <c:v>4.0739219712525703</c:v>
                </c:pt>
                <c:pt idx="57">
                  <c:v>4.1067761806981498</c:v>
                </c:pt>
                <c:pt idx="58">
                  <c:v>4.1067761806981498</c:v>
                </c:pt>
                <c:pt idx="59">
                  <c:v>4.1396303901437399</c:v>
                </c:pt>
                <c:pt idx="60">
                  <c:v>4.1396303901437399</c:v>
                </c:pt>
                <c:pt idx="61">
                  <c:v>4.1724845995893203</c:v>
                </c:pt>
                <c:pt idx="62">
                  <c:v>4.1724845995893203</c:v>
                </c:pt>
                <c:pt idx="63">
                  <c:v>4.2381930184804899</c:v>
                </c:pt>
                <c:pt idx="64">
                  <c:v>4.2381930184804899</c:v>
                </c:pt>
                <c:pt idx="65">
                  <c:v>4.27104722792608</c:v>
                </c:pt>
                <c:pt idx="66">
                  <c:v>4.3039014373716604</c:v>
                </c:pt>
                <c:pt idx="67">
                  <c:v>4.3039014373716604</c:v>
                </c:pt>
                <c:pt idx="68">
                  <c:v>4.3367556468172497</c:v>
                </c:pt>
                <c:pt idx="69">
                  <c:v>4.3367556468172497</c:v>
                </c:pt>
                <c:pt idx="70">
                  <c:v>4.36960985626283</c:v>
                </c:pt>
                <c:pt idx="71">
                  <c:v>4.36960985626283</c:v>
                </c:pt>
                <c:pt idx="72">
                  <c:v>4.4353182751540103</c:v>
                </c:pt>
                <c:pt idx="73">
                  <c:v>4.4353182751540103</c:v>
                </c:pt>
                <c:pt idx="74">
                  <c:v>4.50102669404518</c:v>
                </c:pt>
                <c:pt idx="75">
                  <c:v>4.50102669404518</c:v>
                </c:pt>
                <c:pt idx="76">
                  <c:v>4.5667351129363496</c:v>
                </c:pt>
                <c:pt idx="77">
                  <c:v>4.5667351129363496</c:v>
                </c:pt>
                <c:pt idx="78">
                  <c:v>4.6652977412730996</c:v>
                </c:pt>
                <c:pt idx="79">
                  <c:v>4.6652977412730996</c:v>
                </c:pt>
                <c:pt idx="80">
                  <c:v>4.7967145790554397</c:v>
                </c:pt>
                <c:pt idx="81">
                  <c:v>4.7967145790554397</c:v>
                </c:pt>
                <c:pt idx="82">
                  <c:v>4.9281314168377799</c:v>
                </c:pt>
                <c:pt idx="83">
                  <c:v>4.9281314168377799</c:v>
                </c:pt>
                <c:pt idx="84">
                  <c:v>5.1581108829568798</c:v>
                </c:pt>
                <c:pt idx="85">
                  <c:v>5.1581108829568798</c:v>
                </c:pt>
                <c:pt idx="86">
                  <c:v>5.3223819301848101</c:v>
                </c:pt>
                <c:pt idx="87">
                  <c:v>5.3223819301848101</c:v>
                </c:pt>
                <c:pt idx="88">
                  <c:v>5.3552361396303896</c:v>
                </c:pt>
                <c:pt idx="89">
                  <c:v>5.3552361396303896</c:v>
                </c:pt>
                <c:pt idx="90">
                  <c:v>5.4537987679671502</c:v>
                </c:pt>
                <c:pt idx="91">
                  <c:v>5.4537987679671502</c:v>
                </c:pt>
                <c:pt idx="92">
                  <c:v>5.5195071868583199</c:v>
                </c:pt>
                <c:pt idx="93">
                  <c:v>5.5195071868583199</c:v>
                </c:pt>
                <c:pt idx="94">
                  <c:v>5.5523613963039002</c:v>
                </c:pt>
                <c:pt idx="95">
                  <c:v>5.5523613963039002</c:v>
                </c:pt>
                <c:pt idx="96">
                  <c:v>5.5852156057494904</c:v>
                </c:pt>
                <c:pt idx="97">
                  <c:v>5.5852156057494904</c:v>
                </c:pt>
                <c:pt idx="98">
                  <c:v>5.65092402464066</c:v>
                </c:pt>
                <c:pt idx="99">
                  <c:v>5.65092402464066</c:v>
                </c:pt>
                <c:pt idx="100">
                  <c:v>5.6837782340862404</c:v>
                </c:pt>
                <c:pt idx="101">
                  <c:v>5.6837782340862404</c:v>
                </c:pt>
                <c:pt idx="102">
                  <c:v>5.74948665297741</c:v>
                </c:pt>
                <c:pt idx="103">
                  <c:v>5.74948665297741</c:v>
                </c:pt>
                <c:pt idx="104">
                  <c:v>5.7823408624230002</c:v>
                </c:pt>
                <c:pt idx="105">
                  <c:v>5.7823408624230002</c:v>
                </c:pt>
                <c:pt idx="106">
                  <c:v>5.8809034907597502</c:v>
                </c:pt>
                <c:pt idx="107">
                  <c:v>5.8809034907597502</c:v>
                </c:pt>
                <c:pt idx="108">
                  <c:v>5.9137577002053403</c:v>
                </c:pt>
                <c:pt idx="109">
                  <c:v>5.9137577002053403</c:v>
                </c:pt>
                <c:pt idx="110">
                  <c:v>5.9794661190965099</c:v>
                </c:pt>
                <c:pt idx="111">
                  <c:v>5.9794661190965099</c:v>
                </c:pt>
                <c:pt idx="112">
                  <c:v>6.0123203285421001</c:v>
                </c:pt>
                <c:pt idx="113">
                  <c:v>6.0123203285421001</c:v>
                </c:pt>
                <c:pt idx="114">
                  <c:v>6.1437371663244402</c:v>
                </c:pt>
                <c:pt idx="115">
                  <c:v>6.1437371663244402</c:v>
                </c:pt>
                <c:pt idx="116">
                  <c:v>6.2094455852156099</c:v>
                </c:pt>
                <c:pt idx="117">
                  <c:v>6.2094455852156099</c:v>
                </c:pt>
                <c:pt idx="118">
                  <c:v>6.4722792607802901</c:v>
                </c:pt>
                <c:pt idx="119">
                  <c:v>6.4722792607802901</c:v>
                </c:pt>
                <c:pt idx="120">
                  <c:v>6.6365503080082204</c:v>
                </c:pt>
                <c:pt idx="121">
                  <c:v>6.6365503080082204</c:v>
                </c:pt>
                <c:pt idx="122">
                  <c:v>6.7679671457905597</c:v>
                </c:pt>
                <c:pt idx="123">
                  <c:v>6.7679671457905597</c:v>
                </c:pt>
                <c:pt idx="124">
                  <c:v>6.8008213552361401</c:v>
                </c:pt>
                <c:pt idx="125">
                  <c:v>6.8008213552361401</c:v>
                </c:pt>
                <c:pt idx="126">
                  <c:v>6.8336755646817302</c:v>
                </c:pt>
                <c:pt idx="127">
                  <c:v>6.8336755646817302</c:v>
                </c:pt>
                <c:pt idx="128">
                  <c:v>6.8665297741273097</c:v>
                </c:pt>
                <c:pt idx="129">
                  <c:v>6.8665297741273097</c:v>
                </c:pt>
                <c:pt idx="130">
                  <c:v>6.9322381930184802</c:v>
                </c:pt>
                <c:pt idx="131">
                  <c:v>6.9322381930184802</c:v>
                </c:pt>
                <c:pt idx="132">
                  <c:v>6.9650924024640704</c:v>
                </c:pt>
                <c:pt idx="133">
                  <c:v>6.9650924024640704</c:v>
                </c:pt>
                <c:pt idx="134">
                  <c:v>7.03080082135524</c:v>
                </c:pt>
                <c:pt idx="135">
                  <c:v>7.03080082135524</c:v>
                </c:pt>
                <c:pt idx="136">
                  <c:v>7.0636550308008204</c:v>
                </c:pt>
                <c:pt idx="137">
                  <c:v>7.0636550308008204</c:v>
                </c:pt>
                <c:pt idx="138">
                  <c:v>7.0965092402464096</c:v>
                </c:pt>
                <c:pt idx="139">
                  <c:v>7.0965092402464096</c:v>
                </c:pt>
                <c:pt idx="140">
                  <c:v>7.12936344969199</c:v>
                </c:pt>
                <c:pt idx="141">
                  <c:v>7.12936344969199</c:v>
                </c:pt>
                <c:pt idx="142">
                  <c:v>7.6550308008213603</c:v>
                </c:pt>
                <c:pt idx="143">
                  <c:v>7.6550308008213603</c:v>
                </c:pt>
                <c:pt idx="144">
                  <c:v>8.0164271047227906</c:v>
                </c:pt>
                <c:pt idx="145">
                  <c:v>8.0164271047227906</c:v>
                </c:pt>
                <c:pt idx="146">
                  <c:v>8.0821355236139691</c:v>
                </c:pt>
                <c:pt idx="147">
                  <c:v>8.0821355236139691</c:v>
                </c:pt>
                <c:pt idx="148">
                  <c:v>8.2135523613963102</c:v>
                </c:pt>
                <c:pt idx="149">
                  <c:v>8.2135523613963102</c:v>
                </c:pt>
                <c:pt idx="150">
                  <c:v>8.3121149897330593</c:v>
                </c:pt>
                <c:pt idx="151">
                  <c:v>8.3121149897330593</c:v>
                </c:pt>
                <c:pt idx="152">
                  <c:v>8.5420944558521601</c:v>
                </c:pt>
                <c:pt idx="153">
                  <c:v>8.5420944558521601</c:v>
                </c:pt>
                <c:pt idx="154">
                  <c:v>8.7392197125256708</c:v>
                </c:pt>
                <c:pt idx="155">
                  <c:v>8.7392197125256708</c:v>
                </c:pt>
                <c:pt idx="156">
                  <c:v>8.7720739219712502</c:v>
                </c:pt>
                <c:pt idx="157">
                  <c:v>8.7720739219712502</c:v>
                </c:pt>
                <c:pt idx="158">
                  <c:v>9.3634496919917893</c:v>
                </c:pt>
                <c:pt idx="159">
                  <c:v>9.3634496919917893</c:v>
                </c:pt>
                <c:pt idx="160">
                  <c:v>9.4620123203285402</c:v>
                </c:pt>
                <c:pt idx="161">
                  <c:v>9.4620123203285402</c:v>
                </c:pt>
                <c:pt idx="162">
                  <c:v>9.5277207392197205</c:v>
                </c:pt>
                <c:pt idx="163">
                  <c:v>9.5277207392197205</c:v>
                </c:pt>
                <c:pt idx="164">
                  <c:v>9.5934291581108901</c:v>
                </c:pt>
                <c:pt idx="165">
                  <c:v>9.5934291581108901</c:v>
                </c:pt>
                <c:pt idx="166">
                  <c:v>10.0862422997947</c:v>
                </c:pt>
                <c:pt idx="167">
                  <c:v>10.0862422997947</c:v>
                </c:pt>
                <c:pt idx="168">
                  <c:v>10.1519507186858</c:v>
                </c:pt>
                <c:pt idx="169">
                  <c:v>10.1519507186858</c:v>
                </c:pt>
                <c:pt idx="170">
                  <c:v>10.4804928131417</c:v>
                </c:pt>
                <c:pt idx="171">
                  <c:v>10.4804928131417</c:v>
                </c:pt>
                <c:pt idx="172">
                  <c:v>10.611909650924</c:v>
                </c:pt>
                <c:pt idx="173">
                  <c:v>10.611909650924</c:v>
                </c:pt>
                <c:pt idx="174">
                  <c:v>11.3018480492813</c:v>
                </c:pt>
                <c:pt idx="175">
                  <c:v>11.3018480492813</c:v>
                </c:pt>
                <c:pt idx="176">
                  <c:v>11.4661190965092</c:v>
                </c:pt>
                <c:pt idx="177">
                  <c:v>11.4661190965092</c:v>
                </c:pt>
                <c:pt idx="178">
                  <c:v>11.597535934291599</c:v>
                </c:pt>
                <c:pt idx="179">
                  <c:v>11.597535934291599</c:v>
                </c:pt>
                <c:pt idx="180">
                  <c:v>11.860369609856299</c:v>
                </c:pt>
                <c:pt idx="181">
                  <c:v>11.860369609856299</c:v>
                </c:pt>
                <c:pt idx="182">
                  <c:v>11.958932238193</c:v>
                </c:pt>
                <c:pt idx="183">
                  <c:v>11.958932238193</c:v>
                </c:pt>
                <c:pt idx="184">
                  <c:v>12.1560574948665</c:v>
                </c:pt>
                <c:pt idx="185">
                  <c:v>12.1560574948665</c:v>
                </c:pt>
                <c:pt idx="186">
                  <c:v>12.2217659137577</c:v>
                </c:pt>
                <c:pt idx="187">
                  <c:v>12.2217659137577</c:v>
                </c:pt>
                <c:pt idx="188">
                  <c:v>12.386036960985599</c:v>
                </c:pt>
                <c:pt idx="189">
                  <c:v>12.386036960985599</c:v>
                </c:pt>
                <c:pt idx="190">
                  <c:v>12.517453798768001</c:v>
                </c:pt>
                <c:pt idx="191">
                  <c:v>12.517453798768001</c:v>
                </c:pt>
                <c:pt idx="192">
                  <c:v>13.1416837782341</c:v>
                </c:pt>
                <c:pt idx="193">
                  <c:v>13.1416837782341</c:v>
                </c:pt>
                <c:pt idx="194">
                  <c:v>13.6016427104723</c:v>
                </c:pt>
                <c:pt idx="195">
                  <c:v>13.6016427104723</c:v>
                </c:pt>
                <c:pt idx="196">
                  <c:v>13.6344969199179</c:v>
                </c:pt>
                <c:pt idx="197">
                  <c:v>14.2915811088296</c:v>
                </c:pt>
                <c:pt idx="198">
                  <c:v>14.2915811088296</c:v>
                </c:pt>
                <c:pt idx="199">
                  <c:v>14.324435318275199</c:v>
                </c:pt>
                <c:pt idx="200">
                  <c:v>14.324435318275199</c:v>
                </c:pt>
                <c:pt idx="201">
                  <c:v>14.915811088295699</c:v>
                </c:pt>
                <c:pt idx="202">
                  <c:v>14.915811088295699</c:v>
                </c:pt>
                <c:pt idx="203">
                  <c:v>15.112936344969199</c:v>
                </c:pt>
                <c:pt idx="204">
                  <c:v>15.112936344969199</c:v>
                </c:pt>
                <c:pt idx="205">
                  <c:v>15.178644763860399</c:v>
                </c:pt>
                <c:pt idx="206">
                  <c:v>15.178644763860399</c:v>
                </c:pt>
                <c:pt idx="207">
                  <c:v>15.4743326488706</c:v>
                </c:pt>
                <c:pt idx="208">
                  <c:v>15.4743326488706</c:v>
                </c:pt>
                <c:pt idx="209">
                  <c:v>16.065708418891202</c:v>
                </c:pt>
                <c:pt idx="210">
                  <c:v>16.065708418891202</c:v>
                </c:pt>
                <c:pt idx="211">
                  <c:v>17.117043121149901</c:v>
                </c:pt>
                <c:pt idx="212">
                  <c:v>17.117043121149901</c:v>
                </c:pt>
                <c:pt idx="213">
                  <c:v>17.774127310061601</c:v>
                </c:pt>
                <c:pt idx="214">
                  <c:v>17.839835728952799</c:v>
                </c:pt>
                <c:pt idx="215">
                  <c:v>17.839835728952799</c:v>
                </c:pt>
                <c:pt idx="216">
                  <c:v>17.9383983572895</c:v>
                </c:pt>
                <c:pt idx="217">
                  <c:v>17.9383983572895</c:v>
                </c:pt>
                <c:pt idx="218">
                  <c:v>19.3839835728953</c:v>
                </c:pt>
                <c:pt idx="219">
                  <c:v>19.3839835728953</c:v>
                </c:pt>
                <c:pt idx="220">
                  <c:v>19.942505133470199</c:v>
                </c:pt>
                <c:pt idx="221">
                  <c:v>19.942505133470199</c:v>
                </c:pt>
                <c:pt idx="222">
                  <c:v>20.008213552361401</c:v>
                </c:pt>
                <c:pt idx="223">
                  <c:v>20.008213552361401</c:v>
                </c:pt>
                <c:pt idx="224">
                  <c:v>20.501026694045201</c:v>
                </c:pt>
                <c:pt idx="225">
                  <c:v>20.6981519507187</c:v>
                </c:pt>
                <c:pt idx="226">
                  <c:v>20.862422997946599</c:v>
                </c:pt>
                <c:pt idx="227">
                  <c:v>22.078028747433301</c:v>
                </c:pt>
                <c:pt idx="228">
                  <c:v>22.078028747433301</c:v>
                </c:pt>
                <c:pt idx="229">
                  <c:v>22.669404517453799</c:v>
                </c:pt>
                <c:pt idx="230">
                  <c:v>23.6550308008214</c:v>
                </c:pt>
                <c:pt idx="231">
                  <c:v>23.753593429158101</c:v>
                </c:pt>
                <c:pt idx="232">
                  <c:v>23.753593429158101</c:v>
                </c:pt>
                <c:pt idx="233">
                  <c:v>25.067761806981501</c:v>
                </c:pt>
                <c:pt idx="234">
                  <c:v>25.067761806981501</c:v>
                </c:pt>
                <c:pt idx="235">
                  <c:v>26.0205338809035</c:v>
                </c:pt>
                <c:pt idx="236">
                  <c:v>26.184804928131399</c:v>
                </c:pt>
                <c:pt idx="237">
                  <c:v>26.184804928131399</c:v>
                </c:pt>
                <c:pt idx="238">
                  <c:v>26.184804928131399</c:v>
                </c:pt>
                <c:pt idx="239">
                  <c:v>26.316221765913799</c:v>
                </c:pt>
              </c:numCache>
            </c:numRef>
          </c:xVal>
          <c:yVal>
            <c:numRef>
              <c:f>PFS_KM!$U$2:$U$241</c:f>
              <c:numCache>
                <c:formatCode>.000</c:formatCode>
                <c:ptCount val="240"/>
                <c:pt idx="0">
                  <c:v>100</c:v>
                </c:pt>
                <c:pt idx="1">
                  <c:v>100</c:v>
                </c:pt>
                <c:pt idx="2">
                  <c:v>100</c:v>
                </c:pt>
                <c:pt idx="3">
                  <c:v>99.378881987577699</c:v>
                </c:pt>
                <c:pt idx="4">
                  <c:v>99.378881987577699</c:v>
                </c:pt>
                <c:pt idx="5">
                  <c:v>98.757763975155299</c:v>
                </c:pt>
                <c:pt idx="6">
                  <c:v>98.757763975155299</c:v>
                </c:pt>
                <c:pt idx="7">
                  <c:v>98.757763975155299</c:v>
                </c:pt>
                <c:pt idx="8">
                  <c:v>98.132714836071997</c:v>
                </c:pt>
                <c:pt idx="9">
                  <c:v>98.132714836071997</c:v>
                </c:pt>
                <c:pt idx="10">
                  <c:v>98.132714836071997</c:v>
                </c:pt>
                <c:pt idx="11">
                  <c:v>97.503658971738304</c:v>
                </c:pt>
                <c:pt idx="12">
                  <c:v>97.503658971738304</c:v>
                </c:pt>
                <c:pt idx="13">
                  <c:v>97.503658971738304</c:v>
                </c:pt>
                <c:pt idx="14">
                  <c:v>96.866380154929502</c:v>
                </c:pt>
                <c:pt idx="15">
                  <c:v>96.866380154929502</c:v>
                </c:pt>
                <c:pt idx="16">
                  <c:v>96.229101338120799</c:v>
                </c:pt>
                <c:pt idx="17">
                  <c:v>96.229101338120799</c:v>
                </c:pt>
                <c:pt idx="18">
                  <c:v>94.946046653612498</c:v>
                </c:pt>
                <c:pt idx="19">
                  <c:v>94.946046653612498</c:v>
                </c:pt>
                <c:pt idx="20">
                  <c:v>94.946046653612498</c:v>
                </c:pt>
                <c:pt idx="21">
                  <c:v>94.295731265574005</c:v>
                </c:pt>
                <c:pt idx="22">
                  <c:v>94.295731265574005</c:v>
                </c:pt>
                <c:pt idx="23">
                  <c:v>94.295731265574005</c:v>
                </c:pt>
                <c:pt idx="24">
                  <c:v>93.636320557423204</c:v>
                </c:pt>
                <c:pt idx="25">
                  <c:v>93.636320557423204</c:v>
                </c:pt>
                <c:pt idx="26">
                  <c:v>92.976909849272303</c:v>
                </c:pt>
                <c:pt idx="27">
                  <c:v>92.976909849272303</c:v>
                </c:pt>
                <c:pt idx="28">
                  <c:v>92.317499141121402</c:v>
                </c:pt>
                <c:pt idx="29">
                  <c:v>92.317499141121402</c:v>
                </c:pt>
                <c:pt idx="30">
                  <c:v>92.317499141121402</c:v>
                </c:pt>
                <c:pt idx="31">
                  <c:v>92.317499141121402</c:v>
                </c:pt>
                <c:pt idx="32">
                  <c:v>92.317499141121402</c:v>
                </c:pt>
                <c:pt idx="33">
                  <c:v>92.317499141121402</c:v>
                </c:pt>
                <c:pt idx="34">
                  <c:v>91.638694000377896</c:v>
                </c:pt>
                <c:pt idx="35">
                  <c:v>91.638694000377896</c:v>
                </c:pt>
                <c:pt idx="36">
                  <c:v>91.638694000377896</c:v>
                </c:pt>
                <c:pt idx="37">
                  <c:v>91.638694000377896</c:v>
                </c:pt>
                <c:pt idx="38">
                  <c:v>90.949681263532995</c:v>
                </c:pt>
                <c:pt idx="39">
                  <c:v>90.949681263532995</c:v>
                </c:pt>
                <c:pt idx="40">
                  <c:v>90.260668526687994</c:v>
                </c:pt>
                <c:pt idx="41">
                  <c:v>90.260668526687994</c:v>
                </c:pt>
                <c:pt idx="42">
                  <c:v>89.571655789843106</c:v>
                </c:pt>
                <c:pt idx="43">
                  <c:v>89.571655789843106</c:v>
                </c:pt>
                <c:pt idx="44">
                  <c:v>88.882643052998105</c:v>
                </c:pt>
                <c:pt idx="45">
                  <c:v>88.882643052998105</c:v>
                </c:pt>
                <c:pt idx="46">
                  <c:v>88.193630316153204</c:v>
                </c:pt>
                <c:pt idx="47">
                  <c:v>88.193630316153204</c:v>
                </c:pt>
                <c:pt idx="48">
                  <c:v>87.504617579308203</c:v>
                </c:pt>
                <c:pt idx="49">
                  <c:v>87.504617579308203</c:v>
                </c:pt>
                <c:pt idx="50">
                  <c:v>86.815604842463301</c:v>
                </c:pt>
                <c:pt idx="51">
                  <c:v>86.815604842463301</c:v>
                </c:pt>
                <c:pt idx="52">
                  <c:v>86.1265921056183</c:v>
                </c:pt>
                <c:pt idx="53">
                  <c:v>86.1265921056183</c:v>
                </c:pt>
                <c:pt idx="54">
                  <c:v>84.748566631928398</c:v>
                </c:pt>
                <c:pt idx="55">
                  <c:v>84.748566631928398</c:v>
                </c:pt>
                <c:pt idx="56">
                  <c:v>82.681528421393594</c:v>
                </c:pt>
                <c:pt idx="57">
                  <c:v>82.681528421393594</c:v>
                </c:pt>
                <c:pt idx="58">
                  <c:v>81.303502947703706</c:v>
                </c:pt>
                <c:pt idx="59">
                  <c:v>81.303502947703706</c:v>
                </c:pt>
                <c:pt idx="60">
                  <c:v>80.614490210858804</c:v>
                </c:pt>
                <c:pt idx="61">
                  <c:v>80.614490210858804</c:v>
                </c:pt>
                <c:pt idx="62">
                  <c:v>78.547452000323901</c:v>
                </c:pt>
                <c:pt idx="63">
                  <c:v>78.547452000323901</c:v>
                </c:pt>
                <c:pt idx="64">
                  <c:v>77.858439263478999</c:v>
                </c:pt>
                <c:pt idx="65">
                  <c:v>77.858439263478999</c:v>
                </c:pt>
                <c:pt idx="66">
                  <c:v>77.858439263478999</c:v>
                </c:pt>
                <c:pt idx="67">
                  <c:v>76.468109990916801</c:v>
                </c:pt>
                <c:pt idx="68">
                  <c:v>76.468109990916801</c:v>
                </c:pt>
                <c:pt idx="69">
                  <c:v>75.772945354635795</c:v>
                </c:pt>
                <c:pt idx="70">
                  <c:v>75.772945354635795</c:v>
                </c:pt>
                <c:pt idx="71">
                  <c:v>74.382616082073696</c:v>
                </c:pt>
                <c:pt idx="72">
                  <c:v>74.382616082073696</c:v>
                </c:pt>
                <c:pt idx="73">
                  <c:v>72.992286809511498</c:v>
                </c:pt>
                <c:pt idx="74">
                  <c:v>72.992286809511498</c:v>
                </c:pt>
                <c:pt idx="75">
                  <c:v>72.297122173230505</c:v>
                </c:pt>
                <c:pt idx="76">
                  <c:v>72.297122173230505</c:v>
                </c:pt>
                <c:pt idx="77">
                  <c:v>71.601957536949399</c:v>
                </c:pt>
                <c:pt idx="78">
                  <c:v>71.601957536949399</c:v>
                </c:pt>
                <c:pt idx="79">
                  <c:v>70.211628264387301</c:v>
                </c:pt>
                <c:pt idx="80">
                  <c:v>70.211628264387301</c:v>
                </c:pt>
                <c:pt idx="81">
                  <c:v>68.821298991825202</c:v>
                </c:pt>
                <c:pt idx="82">
                  <c:v>68.821298991825202</c:v>
                </c:pt>
                <c:pt idx="83">
                  <c:v>68.126134355544096</c:v>
                </c:pt>
                <c:pt idx="84">
                  <c:v>68.126134355544096</c:v>
                </c:pt>
                <c:pt idx="85">
                  <c:v>67.430969719263004</c:v>
                </c:pt>
                <c:pt idx="86">
                  <c:v>67.430969719263004</c:v>
                </c:pt>
                <c:pt idx="87">
                  <c:v>66.728563784687395</c:v>
                </c:pt>
                <c:pt idx="88">
                  <c:v>66.728563784687395</c:v>
                </c:pt>
                <c:pt idx="89">
                  <c:v>65.323751915536107</c:v>
                </c:pt>
                <c:pt idx="90">
                  <c:v>65.323751915536107</c:v>
                </c:pt>
                <c:pt idx="91">
                  <c:v>63.903670352154798</c:v>
                </c:pt>
                <c:pt idx="92">
                  <c:v>63.903670352154798</c:v>
                </c:pt>
                <c:pt idx="93">
                  <c:v>62.483588788773602</c:v>
                </c:pt>
                <c:pt idx="94">
                  <c:v>62.483588788773602</c:v>
                </c:pt>
                <c:pt idx="95">
                  <c:v>61.063507225392399</c:v>
                </c:pt>
                <c:pt idx="96">
                  <c:v>61.063507225392399</c:v>
                </c:pt>
                <c:pt idx="97">
                  <c:v>60.353466443701798</c:v>
                </c:pt>
                <c:pt idx="98">
                  <c:v>60.353466443701798</c:v>
                </c:pt>
                <c:pt idx="99">
                  <c:v>58.933384880320602</c:v>
                </c:pt>
                <c:pt idx="100">
                  <c:v>58.933384880320602</c:v>
                </c:pt>
                <c:pt idx="101">
                  <c:v>57.5133033169394</c:v>
                </c:pt>
                <c:pt idx="102">
                  <c:v>57.5133033169394</c:v>
                </c:pt>
                <c:pt idx="103">
                  <c:v>56.803262535248699</c:v>
                </c:pt>
                <c:pt idx="104">
                  <c:v>56.803262535248699</c:v>
                </c:pt>
                <c:pt idx="105">
                  <c:v>56.093221753558097</c:v>
                </c:pt>
                <c:pt idx="106">
                  <c:v>56.093221753558097</c:v>
                </c:pt>
                <c:pt idx="107">
                  <c:v>55.383180971867503</c:v>
                </c:pt>
                <c:pt idx="108">
                  <c:v>55.383180971867503</c:v>
                </c:pt>
                <c:pt idx="109">
                  <c:v>54.673140190176902</c:v>
                </c:pt>
                <c:pt idx="110">
                  <c:v>54.673140190176902</c:v>
                </c:pt>
                <c:pt idx="111">
                  <c:v>53.9630994084863</c:v>
                </c:pt>
                <c:pt idx="112">
                  <c:v>53.9630994084863</c:v>
                </c:pt>
                <c:pt idx="113">
                  <c:v>53.253058626795699</c:v>
                </c:pt>
                <c:pt idx="114">
                  <c:v>53.253058626795699</c:v>
                </c:pt>
                <c:pt idx="115">
                  <c:v>52.543017845105098</c:v>
                </c:pt>
                <c:pt idx="116">
                  <c:v>52.543017845105098</c:v>
                </c:pt>
                <c:pt idx="117">
                  <c:v>51.832977063414504</c:v>
                </c:pt>
                <c:pt idx="118">
                  <c:v>51.832977063414504</c:v>
                </c:pt>
                <c:pt idx="119">
                  <c:v>51.122936281723902</c:v>
                </c:pt>
                <c:pt idx="120">
                  <c:v>51.122936281723902</c:v>
                </c:pt>
                <c:pt idx="121">
                  <c:v>50.412895500033301</c:v>
                </c:pt>
                <c:pt idx="122">
                  <c:v>50.412895500033301</c:v>
                </c:pt>
                <c:pt idx="123">
                  <c:v>49.702854718342699</c:v>
                </c:pt>
                <c:pt idx="124">
                  <c:v>49.702854718342699</c:v>
                </c:pt>
                <c:pt idx="125">
                  <c:v>48.982523490540601</c:v>
                </c:pt>
                <c:pt idx="126">
                  <c:v>48.982523490540601</c:v>
                </c:pt>
                <c:pt idx="127">
                  <c:v>48.262192262738502</c:v>
                </c:pt>
                <c:pt idx="128">
                  <c:v>48.262192262738502</c:v>
                </c:pt>
                <c:pt idx="129">
                  <c:v>47.541861034936503</c:v>
                </c:pt>
                <c:pt idx="130">
                  <c:v>47.541861034936503</c:v>
                </c:pt>
                <c:pt idx="131">
                  <c:v>46.821529807134397</c:v>
                </c:pt>
                <c:pt idx="132">
                  <c:v>46.821529807134397</c:v>
                </c:pt>
                <c:pt idx="133">
                  <c:v>46.089943403897898</c:v>
                </c:pt>
                <c:pt idx="134">
                  <c:v>46.089943403897898</c:v>
                </c:pt>
                <c:pt idx="135">
                  <c:v>45.3583570006614</c:v>
                </c:pt>
                <c:pt idx="136">
                  <c:v>45.3583570006614</c:v>
                </c:pt>
                <c:pt idx="137">
                  <c:v>44.626770597425001</c:v>
                </c:pt>
                <c:pt idx="138">
                  <c:v>44.626770597425001</c:v>
                </c:pt>
                <c:pt idx="139">
                  <c:v>43.163597790951997</c:v>
                </c:pt>
                <c:pt idx="140">
                  <c:v>43.163597790951997</c:v>
                </c:pt>
                <c:pt idx="141">
                  <c:v>41.700424984479099</c:v>
                </c:pt>
                <c:pt idx="142">
                  <c:v>41.700424984479099</c:v>
                </c:pt>
                <c:pt idx="143">
                  <c:v>40.968838581242601</c:v>
                </c:pt>
                <c:pt idx="144">
                  <c:v>40.968838581242601</c:v>
                </c:pt>
                <c:pt idx="145">
                  <c:v>40.237252178006102</c:v>
                </c:pt>
                <c:pt idx="146">
                  <c:v>40.237252178006102</c:v>
                </c:pt>
                <c:pt idx="147">
                  <c:v>39.505665774769597</c:v>
                </c:pt>
                <c:pt idx="148">
                  <c:v>39.505665774769597</c:v>
                </c:pt>
                <c:pt idx="149">
                  <c:v>38.042492968296699</c:v>
                </c:pt>
                <c:pt idx="150">
                  <c:v>38.042492968296699</c:v>
                </c:pt>
                <c:pt idx="151">
                  <c:v>37.310906565060201</c:v>
                </c:pt>
                <c:pt idx="152">
                  <c:v>37.310906565060201</c:v>
                </c:pt>
                <c:pt idx="153">
                  <c:v>36.579320161823702</c:v>
                </c:pt>
                <c:pt idx="154">
                  <c:v>36.579320161823702</c:v>
                </c:pt>
                <c:pt idx="155">
                  <c:v>35.847733758587303</c:v>
                </c:pt>
                <c:pt idx="156">
                  <c:v>35.847733758587303</c:v>
                </c:pt>
                <c:pt idx="157">
                  <c:v>35.116147355350797</c:v>
                </c:pt>
                <c:pt idx="158">
                  <c:v>35.116147355350797</c:v>
                </c:pt>
                <c:pt idx="159">
                  <c:v>34.384560952114299</c:v>
                </c:pt>
                <c:pt idx="160">
                  <c:v>34.384560952114299</c:v>
                </c:pt>
                <c:pt idx="161">
                  <c:v>33.6529745488778</c:v>
                </c:pt>
                <c:pt idx="162">
                  <c:v>33.6529745488778</c:v>
                </c:pt>
                <c:pt idx="163">
                  <c:v>32.905130670013897</c:v>
                </c:pt>
                <c:pt idx="164">
                  <c:v>32.905130670013897</c:v>
                </c:pt>
                <c:pt idx="165">
                  <c:v>32.1572867911499</c:v>
                </c:pt>
                <c:pt idx="166">
                  <c:v>32.1572867911499</c:v>
                </c:pt>
                <c:pt idx="167">
                  <c:v>31.409442912286</c:v>
                </c:pt>
                <c:pt idx="168">
                  <c:v>31.409442912286</c:v>
                </c:pt>
                <c:pt idx="169">
                  <c:v>30.661599033422</c:v>
                </c:pt>
                <c:pt idx="170">
                  <c:v>30.661599033422</c:v>
                </c:pt>
                <c:pt idx="171">
                  <c:v>29.9137551545581</c:v>
                </c:pt>
                <c:pt idx="172">
                  <c:v>29.9137551545581</c:v>
                </c:pt>
                <c:pt idx="173">
                  <c:v>29.1659112756941</c:v>
                </c:pt>
                <c:pt idx="174">
                  <c:v>29.1659112756941</c:v>
                </c:pt>
                <c:pt idx="175">
                  <c:v>28.4180673968302</c:v>
                </c:pt>
                <c:pt idx="176">
                  <c:v>28.4180673968302</c:v>
                </c:pt>
                <c:pt idx="177">
                  <c:v>27.6702235179662</c:v>
                </c:pt>
                <c:pt idx="178">
                  <c:v>27.6702235179662</c:v>
                </c:pt>
                <c:pt idx="179">
                  <c:v>26.922379639102299</c:v>
                </c:pt>
                <c:pt idx="180">
                  <c:v>26.922379639102299</c:v>
                </c:pt>
                <c:pt idx="181">
                  <c:v>26.1745357602383</c:v>
                </c:pt>
                <c:pt idx="182">
                  <c:v>26.1745357602383</c:v>
                </c:pt>
                <c:pt idx="183">
                  <c:v>25.426691881374399</c:v>
                </c:pt>
                <c:pt idx="184">
                  <c:v>25.426691881374399</c:v>
                </c:pt>
                <c:pt idx="185">
                  <c:v>24.678848002510399</c:v>
                </c:pt>
                <c:pt idx="186">
                  <c:v>24.678848002510399</c:v>
                </c:pt>
                <c:pt idx="187">
                  <c:v>23.931004123646499</c:v>
                </c:pt>
                <c:pt idx="188">
                  <c:v>23.931004123646499</c:v>
                </c:pt>
                <c:pt idx="189">
                  <c:v>23.183160244782499</c:v>
                </c:pt>
                <c:pt idx="190">
                  <c:v>23.183160244782499</c:v>
                </c:pt>
                <c:pt idx="191">
                  <c:v>22.435316365918599</c:v>
                </c:pt>
                <c:pt idx="192">
                  <c:v>22.435316365918599</c:v>
                </c:pt>
                <c:pt idx="193">
                  <c:v>21.687472487054599</c:v>
                </c:pt>
                <c:pt idx="194">
                  <c:v>21.687472487054599</c:v>
                </c:pt>
                <c:pt idx="195">
                  <c:v>20.939628608190599</c:v>
                </c:pt>
                <c:pt idx="196">
                  <c:v>20.939628608190599</c:v>
                </c:pt>
                <c:pt idx="197">
                  <c:v>20.939628608190599</c:v>
                </c:pt>
                <c:pt idx="198">
                  <c:v>20.164086807887301</c:v>
                </c:pt>
                <c:pt idx="199">
                  <c:v>20.164086807887301</c:v>
                </c:pt>
                <c:pt idx="200">
                  <c:v>19.3885450075839</c:v>
                </c:pt>
                <c:pt idx="201">
                  <c:v>19.3885450075839</c:v>
                </c:pt>
                <c:pt idx="202">
                  <c:v>18.613003207280599</c:v>
                </c:pt>
                <c:pt idx="203">
                  <c:v>18.613003207280599</c:v>
                </c:pt>
                <c:pt idx="204">
                  <c:v>17.837461406977202</c:v>
                </c:pt>
                <c:pt idx="205">
                  <c:v>17.837461406977202</c:v>
                </c:pt>
                <c:pt idx="206">
                  <c:v>17.0619196066739</c:v>
                </c:pt>
                <c:pt idx="207">
                  <c:v>17.0619196066739</c:v>
                </c:pt>
                <c:pt idx="208">
                  <c:v>16.286377806370499</c:v>
                </c:pt>
                <c:pt idx="209">
                  <c:v>16.286377806370499</c:v>
                </c:pt>
                <c:pt idx="210">
                  <c:v>15.5108360060671</c:v>
                </c:pt>
                <c:pt idx="211">
                  <c:v>15.5108360060671</c:v>
                </c:pt>
                <c:pt idx="212">
                  <c:v>14.7352942057638</c:v>
                </c:pt>
                <c:pt idx="213">
                  <c:v>14.7352942057638</c:v>
                </c:pt>
                <c:pt idx="214">
                  <c:v>14.7352942057638</c:v>
                </c:pt>
                <c:pt idx="215">
                  <c:v>13.916666749888</c:v>
                </c:pt>
                <c:pt idx="216">
                  <c:v>13.916666749888</c:v>
                </c:pt>
                <c:pt idx="217">
                  <c:v>13.098039294012301</c:v>
                </c:pt>
                <c:pt idx="218">
                  <c:v>13.098039294012301</c:v>
                </c:pt>
                <c:pt idx="219">
                  <c:v>12.2794118381365</c:v>
                </c:pt>
                <c:pt idx="220">
                  <c:v>12.2794118381365</c:v>
                </c:pt>
                <c:pt idx="221">
                  <c:v>11.4607843822607</c:v>
                </c:pt>
                <c:pt idx="222">
                  <c:v>11.4607843822607</c:v>
                </c:pt>
                <c:pt idx="223">
                  <c:v>10.642156926385001</c:v>
                </c:pt>
                <c:pt idx="224">
                  <c:v>10.642156926385001</c:v>
                </c:pt>
                <c:pt idx="225">
                  <c:v>10.642156926385001</c:v>
                </c:pt>
                <c:pt idx="226">
                  <c:v>10.642156926385001</c:v>
                </c:pt>
                <c:pt idx="227">
                  <c:v>10.642156926385001</c:v>
                </c:pt>
                <c:pt idx="228">
                  <c:v>9.5779412337464596</c:v>
                </c:pt>
                <c:pt idx="229">
                  <c:v>9.5779412337464596</c:v>
                </c:pt>
                <c:pt idx="230">
                  <c:v>9.5779412337464596</c:v>
                </c:pt>
                <c:pt idx="231">
                  <c:v>9.5779412337464596</c:v>
                </c:pt>
                <c:pt idx="232">
                  <c:v>7.9816176947887199</c:v>
                </c:pt>
                <c:pt idx="233">
                  <c:v>7.9816176947887199</c:v>
                </c:pt>
                <c:pt idx="234">
                  <c:v>6.3852941558309801</c:v>
                </c:pt>
                <c:pt idx="235">
                  <c:v>6.3852941558309801</c:v>
                </c:pt>
                <c:pt idx="236">
                  <c:v>6.3852941558309801</c:v>
                </c:pt>
                <c:pt idx="237">
                  <c:v>4.2568627705539797</c:v>
                </c:pt>
                <c:pt idx="238">
                  <c:v>4.2568627705539797</c:v>
                </c:pt>
                <c:pt idx="239">
                  <c:v>4.2568627705539797</c:v>
                </c:pt>
              </c:numCache>
            </c:numRef>
          </c:yVal>
          <c:smooth val="0"/>
          <c:extLst>
            <c:ext xmlns:c16="http://schemas.microsoft.com/office/drawing/2014/chart" uri="{C3380CC4-5D6E-409C-BE32-E72D297353CC}">
              <c16:uniqueId val="{00000000-D450-4CE1-9568-8BBB4CC41BAF}"/>
            </c:ext>
          </c:extLst>
        </c:ser>
        <c:ser>
          <c:idx val="1"/>
          <c:order val="1"/>
          <c:spPr>
            <a:ln w="19050" cap="rnd">
              <a:noFill/>
              <a:round/>
            </a:ln>
            <a:effectLst/>
          </c:spPr>
          <c:marker>
            <c:symbol val="plus"/>
            <c:size val="8"/>
            <c:spPr>
              <a:noFill/>
              <a:ln w="12700">
                <a:solidFill>
                  <a:schemeClr val="tx2"/>
                </a:solidFill>
              </a:ln>
              <a:effectLst/>
            </c:spPr>
          </c:marker>
          <c:xVal>
            <c:numRef>
              <c:f>PFS_KM!$V$2:$V$87</c:f>
              <c:numCache>
                <c:formatCode>.0000</c:formatCode>
                <c:ptCount val="86"/>
                <c:pt idx="0">
                  <c:v>3.2854209445589998E-2</c:v>
                </c:pt>
                <c:pt idx="1">
                  <c:v>3.2854209445589998E-2</c:v>
                </c:pt>
                <c:pt idx="2">
                  <c:v>3.2854209445589998E-2</c:v>
                </c:pt>
                <c:pt idx="3">
                  <c:v>3.2854209445589998E-2</c:v>
                </c:pt>
                <c:pt idx="4">
                  <c:v>3.2854209445589998E-2</c:v>
                </c:pt>
                <c:pt idx="5">
                  <c:v>3.2854209445589998E-2</c:v>
                </c:pt>
                <c:pt idx="6">
                  <c:v>3.2854209445589998E-2</c:v>
                </c:pt>
                <c:pt idx="7">
                  <c:v>3.2854209445589998E-2</c:v>
                </c:pt>
                <c:pt idx="8">
                  <c:v>3.2854209445589998E-2</c:v>
                </c:pt>
                <c:pt idx="9">
                  <c:v>3.2854209445589998E-2</c:v>
                </c:pt>
                <c:pt idx="10">
                  <c:v>3.2854209445589998E-2</c:v>
                </c:pt>
                <c:pt idx="11">
                  <c:v>3.2854209445589998E-2</c:v>
                </c:pt>
                <c:pt idx="12">
                  <c:v>3.2854209445589998E-2</c:v>
                </c:pt>
                <c:pt idx="13">
                  <c:v>3.2854209445589998E-2</c:v>
                </c:pt>
                <c:pt idx="14">
                  <c:v>3.2854209445589998E-2</c:v>
                </c:pt>
                <c:pt idx="15">
                  <c:v>3.2854209445589998E-2</c:v>
                </c:pt>
                <c:pt idx="16">
                  <c:v>3.2854209445589998E-2</c:v>
                </c:pt>
                <c:pt idx="17">
                  <c:v>3.2854209445589998E-2</c:v>
                </c:pt>
                <c:pt idx="18">
                  <c:v>3.2854209445589998E-2</c:v>
                </c:pt>
                <c:pt idx="19">
                  <c:v>3.2854209445589998E-2</c:v>
                </c:pt>
                <c:pt idx="20">
                  <c:v>3.2854209445589998E-2</c:v>
                </c:pt>
                <c:pt idx="21">
                  <c:v>3.2854209445589998E-2</c:v>
                </c:pt>
                <c:pt idx="22">
                  <c:v>1.1170431211498999</c:v>
                </c:pt>
                <c:pt idx="23" formatCode="General">
                  <c:v>1.1170431211498999</c:v>
                </c:pt>
                <c:pt idx="24" formatCode="General">
                  <c:v>1.24845995893224</c:v>
                </c:pt>
                <c:pt idx="25" formatCode="General">
                  <c:v>1.24845995893224</c:v>
                </c:pt>
                <c:pt idx="26" formatCode="General">
                  <c:v>1.3141683778234099</c:v>
                </c:pt>
                <c:pt idx="27" formatCode="General">
                  <c:v>1.3141683778234099</c:v>
                </c:pt>
                <c:pt idx="28" formatCode="General">
                  <c:v>1.3141683778234099</c:v>
                </c:pt>
                <c:pt idx="29" formatCode="General">
                  <c:v>1.3141683778234099</c:v>
                </c:pt>
                <c:pt idx="30" formatCode="General">
                  <c:v>1.37987679671458</c:v>
                </c:pt>
                <c:pt idx="31" formatCode="General">
                  <c:v>1.37987679671458</c:v>
                </c:pt>
                <c:pt idx="32" formatCode="General">
                  <c:v>1.4127310061601599</c:v>
                </c:pt>
                <c:pt idx="33" formatCode="General">
                  <c:v>1.4127310061601599</c:v>
                </c:pt>
                <c:pt idx="34" formatCode="General">
                  <c:v>1.44558521560575</c:v>
                </c:pt>
                <c:pt idx="35" formatCode="General">
                  <c:v>1.44558521560575</c:v>
                </c:pt>
                <c:pt idx="36" formatCode="General">
                  <c:v>1.47843942505133</c:v>
                </c:pt>
                <c:pt idx="37" formatCode="General">
                  <c:v>1.47843942505133</c:v>
                </c:pt>
                <c:pt idx="38" formatCode="General">
                  <c:v>1.5112936344969199</c:v>
                </c:pt>
                <c:pt idx="39" formatCode="General">
                  <c:v>1.5112936344969199</c:v>
                </c:pt>
                <c:pt idx="40" formatCode="General">
                  <c:v>2.23408624229979</c:v>
                </c:pt>
                <c:pt idx="41" formatCode="General">
                  <c:v>2.23408624229979</c:v>
                </c:pt>
                <c:pt idx="42" formatCode="General">
                  <c:v>2.6611909650924002</c:v>
                </c:pt>
                <c:pt idx="43" formatCode="General">
                  <c:v>2.6611909650924002</c:v>
                </c:pt>
                <c:pt idx="44" formatCode="General">
                  <c:v>2.7268993839835698</c:v>
                </c:pt>
                <c:pt idx="45" formatCode="General">
                  <c:v>2.7268993839835698</c:v>
                </c:pt>
                <c:pt idx="46" formatCode="General">
                  <c:v>2.8583162217659099</c:v>
                </c:pt>
                <c:pt idx="47" formatCode="General">
                  <c:v>2.8583162217659099</c:v>
                </c:pt>
                <c:pt idx="48" formatCode="General">
                  <c:v>2.9897330595482501</c:v>
                </c:pt>
                <c:pt idx="49" formatCode="General">
                  <c:v>2.9897330595482501</c:v>
                </c:pt>
                <c:pt idx="50" formatCode="General">
                  <c:v>3.0225872689938398</c:v>
                </c:pt>
                <c:pt idx="51" formatCode="General">
                  <c:v>3.0225872689938398</c:v>
                </c:pt>
                <c:pt idx="52" formatCode="General">
                  <c:v>4.27104722792608</c:v>
                </c:pt>
                <c:pt idx="53" formatCode="General">
                  <c:v>4.27104722792608</c:v>
                </c:pt>
                <c:pt idx="54" formatCode="General">
                  <c:v>5.1581108829568798</c:v>
                </c:pt>
                <c:pt idx="55" formatCode="General">
                  <c:v>5.1581108829568798</c:v>
                </c:pt>
                <c:pt idx="56" formatCode="General">
                  <c:v>5.3552361396303896</c:v>
                </c:pt>
                <c:pt idx="57" formatCode="General">
                  <c:v>5.3552361396303896</c:v>
                </c:pt>
                <c:pt idx="58" formatCode="General">
                  <c:v>6.7679671457905597</c:v>
                </c:pt>
                <c:pt idx="59" formatCode="General">
                  <c:v>6.7679671457905597</c:v>
                </c:pt>
                <c:pt idx="60" formatCode="General">
                  <c:v>6.9322381930184802</c:v>
                </c:pt>
                <c:pt idx="61" formatCode="General">
                  <c:v>6.9322381930184802</c:v>
                </c:pt>
                <c:pt idx="62" formatCode="General">
                  <c:v>9.4620123203285402</c:v>
                </c:pt>
                <c:pt idx="63" formatCode="General">
                  <c:v>9.4620123203285402</c:v>
                </c:pt>
                <c:pt idx="64" formatCode="General">
                  <c:v>13.6344969199179</c:v>
                </c:pt>
                <c:pt idx="65" formatCode="General">
                  <c:v>13.6344969199179</c:v>
                </c:pt>
                <c:pt idx="66" formatCode="General">
                  <c:v>17.774127310061601</c:v>
                </c:pt>
                <c:pt idx="67" formatCode="General">
                  <c:v>17.774127310061601</c:v>
                </c:pt>
                <c:pt idx="68" formatCode="General">
                  <c:v>20.501026694045201</c:v>
                </c:pt>
                <c:pt idx="69" formatCode="General">
                  <c:v>20.501026694045201</c:v>
                </c:pt>
                <c:pt idx="70" formatCode="General">
                  <c:v>20.6981519507187</c:v>
                </c:pt>
                <c:pt idx="71" formatCode="General">
                  <c:v>20.6981519507187</c:v>
                </c:pt>
                <c:pt idx="72" formatCode="General">
                  <c:v>20.862422997946599</c:v>
                </c:pt>
                <c:pt idx="73" formatCode="General">
                  <c:v>20.862422997946599</c:v>
                </c:pt>
                <c:pt idx="74" formatCode="General">
                  <c:v>22.669404517453799</c:v>
                </c:pt>
                <c:pt idx="75" formatCode="General">
                  <c:v>22.669404517453799</c:v>
                </c:pt>
                <c:pt idx="76" formatCode="General">
                  <c:v>23.6550308008214</c:v>
                </c:pt>
                <c:pt idx="77" formatCode="General">
                  <c:v>23.6550308008214</c:v>
                </c:pt>
                <c:pt idx="78" formatCode="General">
                  <c:v>23.6550308008214</c:v>
                </c:pt>
                <c:pt idx="79" formatCode="General">
                  <c:v>23.6550308008214</c:v>
                </c:pt>
                <c:pt idx="80" formatCode="General">
                  <c:v>26.0205338809035</c:v>
                </c:pt>
                <c:pt idx="81" formatCode="General">
                  <c:v>26.0205338809035</c:v>
                </c:pt>
                <c:pt idx="82" formatCode="General">
                  <c:v>26.184804928131399</c:v>
                </c:pt>
                <c:pt idx="83" formatCode="General">
                  <c:v>26.184804928131399</c:v>
                </c:pt>
                <c:pt idx="84" formatCode="General">
                  <c:v>26.316221765913799</c:v>
                </c:pt>
                <c:pt idx="85" formatCode="General">
                  <c:v>26.316221765913799</c:v>
                </c:pt>
              </c:numCache>
            </c:numRef>
          </c:xVal>
          <c:yVal>
            <c:numRef>
              <c:f>PFS_KM!$W$2:$W$87</c:f>
              <c:numCache>
                <c:formatCode>.000</c:formatCode>
                <c:ptCount val="86"/>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98.757763975155299</c:v>
                </c:pt>
                <c:pt idx="23" formatCode="General">
                  <c:v>98.757763975155299</c:v>
                </c:pt>
                <c:pt idx="24" formatCode="General">
                  <c:v>98.132714836071997</c:v>
                </c:pt>
                <c:pt idx="25" formatCode="General">
                  <c:v>98.132714836071997</c:v>
                </c:pt>
                <c:pt idx="26" formatCode="General">
                  <c:v>97.503658971738304</c:v>
                </c:pt>
                <c:pt idx="27" formatCode="General">
                  <c:v>97.503658971738304</c:v>
                </c:pt>
                <c:pt idx="28" formatCode="General">
                  <c:v>97.503658971738304</c:v>
                </c:pt>
                <c:pt idx="29" formatCode="General">
                  <c:v>97.503658971738304</c:v>
                </c:pt>
                <c:pt idx="30" formatCode="General">
                  <c:v>96.229101338120799</c:v>
                </c:pt>
                <c:pt idx="31" formatCode="General">
                  <c:v>96.229101338120799</c:v>
                </c:pt>
                <c:pt idx="32" formatCode="General">
                  <c:v>94.946046653612498</c:v>
                </c:pt>
                <c:pt idx="33" formatCode="General">
                  <c:v>94.946046653612498</c:v>
                </c:pt>
                <c:pt idx="34" formatCode="General">
                  <c:v>94.946046653612498</c:v>
                </c:pt>
                <c:pt idx="35" formatCode="General">
                  <c:v>94.946046653612498</c:v>
                </c:pt>
                <c:pt idx="36" formatCode="General">
                  <c:v>94.295731265574005</c:v>
                </c:pt>
                <c:pt idx="37" formatCode="General">
                  <c:v>94.295731265574005</c:v>
                </c:pt>
                <c:pt idx="38" formatCode="General">
                  <c:v>94.295731265574005</c:v>
                </c:pt>
                <c:pt idx="39" formatCode="General">
                  <c:v>94.295731265574005</c:v>
                </c:pt>
                <c:pt idx="40" formatCode="General">
                  <c:v>92.317499141121402</c:v>
                </c:pt>
                <c:pt idx="41" formatCode="General">
                  <c:v>92.317499141121402</c:v>
                </c:pt>
                <c:pt idx="42" formatCode="General">
                  <c:v>92.317499141121402</c:v>
                </c:pt>
                <c:pt idx="43" formatCode="General">
                  <c:v>92.317499141121402</c:v>
                </c:pt>
                <c:pt idx="44" formatCode="General">
                  <c:v>92.317499141121402</c:v>
                </c:pt>
                <c:pt idx="45" formatCode="General">
                  <c:v>92.317499141121402</c:v>
                </c:pt>
                <c:pt idx="46" formatCode="General">
                  <c:v>92.317499141121402</c:v>
                </c:pt>
                <c:pt idx="47" formatCode="General">
                  <c:v>92.317499141121402</c:v>
                </c:pt>
                <c:pt idx="48" formatCode="General">
                  <c:v>91.638694000377896</c:v>
                </c:pt>
                <c:pt idx="49" formatCode="General">
                  <c:v>91.638694000377896</c:v>
                </c:pt>
                <c:pt idx="50" formatCode="General">
                  <c:v>91.638694000377896</c:v>
                </c:pt>
                <c:pt idx="51" formatCode="General">
                  <c:v>91.638694000377896</c:v>
                </c:pt>
                <c:pt idx="52" formatCode="General">
                  <c:v>77.858439263478999</c:v>
                </c:pt>
                <c:pt idx="53" formatCode="General">
                  <c:v>77.858439263478999</c:v>
                </c:pt>
                <c:pt idx="54" formatCode="General">
                  <c:v>67.430969719263004</c:v>
                </c:pt>
                <c:pt idx="55" formatCode="General">
                  <c:v>67.430969719263004</c:v>
                </c:pt>
                <c:pt idx="56" formatCode="General">
                  <c:v>65.323751915536107</c:v>
                </c:pt>
                <c:pt idx="57" formatCode="General">
                  <c:v>65.323751915536107</c:v>
                </c:pt>
                <c:pt idx="58" formatCode="General">
                  <c:v>49.702854718342699</c:v>
                </c:pt>
                <c:pt idx="59" formatCode="General">
                  <c:v>49.702854718342699</c:v>
                </c:pt>
                <c:pt idx="60" formatCode="General">
                  <c:v>46.821529807134397</c:v>
                </c:pt>
                <c:pt idx="61" formatCode="General">
                  <c:v>46.821529807134397</c:v>
                </c:pt>
                <c:pt idx="62" formatCode="General">
                  <c:v>33.6529745488778</c:v>
                </c:pt>
                <c:pt idx="63" formatCode="General">
                  <c:v>33.6529745488778</c:v>
                </c:pt>
                <c:pt idx="64" formatCode="General">
                  <c:v>20.939628608190599</c:v>
                </c:pt>
                <c:pt idx="65" formatCode="General">
                  <c:v>20.939628608190599</c:v>
                </c:pt>
                <c:pt idx="66" formatCode="General">
                  <c:v>14.7352942057638</c:v>
                </c:pt>
                <c:pt idx="67" formatCode="General">
                  <c:v>14.7352942057638</c:v>
                </c:pt>
                <c:pt idx="68" formatCode="General">
                  <c:v>10.642156926385001</c:v>
                </c:pt>
                <c:pt idx="69" formatCode="General">
                  <c:v>10.642156926385001</c:v>
                </c:pt>
                <c:pt idx="70" formatCode="General">
                  <c:v>10.642156926385001</c:v>
                </c:pt>
                <c:pt idx="71" formatCode="General">
                  <c:v>10.642156926385001</c:v>
                </c:pt>
                <c:pt idx="72" formatCode="General">
                  <c:v>10.642156926385001</c:v>
                </c:pt>
                <c:pt idx="73" formatCode="General">
                  <c:v>10.642156926385001</c:v>
                </c:pt>
                <c:pt idx="74" formatCode="General">
                  <c:v>9.5779412337464596</c:v>
                </c:pt>
                <c:pt idx="75" formatCode="General">
                  <c:v>9.5779412337464596</c:v>
                </c:pt>
                <c:pt idx="76" formatCode="General">
                  <c:v>9.5779412337464596</c:v>
                </c:pt>
                <c:pt idx="77" formatCode="General">
                  <c:v>9.5779412337464596</c:v>
                </c:pt>
                <c:pt idx="78" formatCode="General">
                  <c:v>9.5779412337464596</c:v>
                </c:pt>
                <c:pt idx="79" formatCode="General">
                  <c:v>9.5779412337464596</c:v>
                </c:pt>
                <c:pt idx="80" formatCode="General">
                  <c:v>6.3852941558309801</c:v>
                </c:pt>
                <c:pt idx="81" formatCode="General">
                  <c:v>6.3852941558309801</c:v>
                </c:pt>
                <c:pt idx="82" formatCode="General">
                  <c:v>4.2568627705539797</c:v>
                </c:pt>
                <c:pt idx="83" formatCode="General">
                  <c:v>4.2568627705539797</c:v>
                </c:pt>
                <c:pt idx="84" formatCode="General">
                  <c:v>4.2568627705539797</c:v>
                </c:pt>
                <c:pt idx="85" formatCode="General">
                  <c:v>4.2568627705539797</c:v>
                </c:pt>
              </c:numCache>
            </c:numRef>
          </c:yVal>
          <c:smooth val="0"/>
          <c:extLst>
            <c:ext xmlns:c16="http://schemas.microsoft.com/office/drawing/2014/chart" uri="{C3380CC4-5D6E-409C-BE32-E72D297353CC}">
              <c16:uniqueId val="{00000001-D450-4CE1-9568-8BBB4CC41BAF}"/>
            </c:ext>
          </c:extLst>
        </c:ser>
        <c:ser>
          <c:idx val="2"/>
          <c:order val="2"/>
          <c:tx>
            <c:v>Placebo+chemo</c:v>
          </c:tx>
          <c:spPr>
            <a:ln w="22225" cap="rnd">
              <a:solidFill>
                <a:srgbClr val="FFFFFF">
                  <a:lumMod val="50000"/>
                </a:srgbClr>
              </a:solidFill>
              <a:round/>
            </a:ln>
            <a:effectLst/>
          </c:spPr>
          <c:marker>
            <c:symbol val="none"/>
          </c:marker>
          <c:xVal>
            <c:numRef>
              <c:f>PFS_KM!$Z$2:$Z$208</c:f>
              <c:numCache>
                <c:formatCode>.0000</c:formatCode>
                <c:ptCount val="207"/>
                <c:pt idx="0">
                  <c:v>0</c:v>
                </c:pt>
                <c:pt idx="1">
                  <c:v>3.2854209445589998E-2</c:v>
                </c:pt>
                <c:pt idx="2">
                  <c:v>0.45995893223819001</c:v>
                </c:pt>
                <c:pt idx="3">
                  <c:v>0.78850102669404998</c:v>
                </c:pt>
                <c:pt idx="4">
                  <c:v>0.78850102669404998</c:v>
                </c:pt>
                <c:pt idx="5">
                  <c:v>0.95277207392197005</c:v>
                </c:pt>
                <c:pt idx="6">
                  <c:v>0.95277207392197005</c:v>
                </c:pt>
                <c:pt idx="7">
                  <c:v>1.05133470225873</c:v>
                </c:pt>
                <c:pt idx="8">
                  <c:v>1.05133470225873</c:v>
                </c:pt>
                <c:pt idx="9">
                  <c:v>1.18275154004107</c:v>
                </c:pt>
                <c:pt idx="10">
                  <c:v>1.2156057494866499</c:v>
                </c:pt>
                <c:pt idx="11">
                  <c:v>1.2156057494866499</c:v>
                </c:pt>
                <c:pt idx="12">
                  <c:v>1.24845995893224</c:v>
                </c:pt>
                <c:pt idx="13">
                  <c:v>1.24845995893224</c:v>
                </c:pt>
                <c:pt idx="14">
                  <c:v>1.28131416837782</c:v>
                </c:pt>
                <c:pt idx="15">
                  <c:v>1.28131416837782</c:v>
                </c:pt>
                <c:pt idx="16">
                  <c:v>1.3141683778234099</c:v>
                </c:pt>
                <c:pt idx="17">
                  <c:v>1.3141683778234099</c:v>
                </c:pt>
                <c:pt idx="18">
                  <c:v>1.34702258726899</c:v>
                </c:pt>
                <c:pt idx="19">
                  <c:v>1.34702258726899</c:v>
                </c:pt>
                <c:pt idx="20">
                  <c:v>1.37987679671458</c:v>
                </c:pt>
                <c:pt idx="21">
                  <c:v>1.37987679671458</c:v>
                </c:pt>
                <c:pt idx="22">
                  <c:v>1.4127310061601599</c:v>
                </c:pt>
                <c:pt idx="23">
                  <c:v>1.4127310061601599</c:v>
                </c:pt>
                <c:pt idx="24">
                  <c:v>1.44558521560575</c:v>
                </c:pt>
                <c:pt idx="25">
                  <c:v>1.44558521560575</c:v>
                </c:pt>
                <c:pt idx="26">
                  <c:v>1.5112936344969199</c:v>
                </c:pt>
                <c:pt idx="27">
                  <c:v>1.5112936344969199</c:v>
                </c:pt>
                <c:pt idx="28">
                  <c:v>1.54414784394251</c:v>
                </c:pt>
                <c:pt idx="29">
                  <c:v>2.1026694045174499</c:v>
                </c:pt>
                <c:pt idx="30">
                  <c:v>2.1026694045174499</c:v>
                </c:pt>
                <c:pt idx="31">
                  <c:v>2.3655030800821399</c:v>
                </c:pt>
                <c:pt idx="32">
                  <c:v>2.3655030800821399</c:v>
                </c:pt>
                <c:pt idx="33">
                  <c:v>2.4640657084188899</c:v>
                </c:pt>
                <c:pt idx="34">
                  <c:v>2.4640657084188899</c:v>
                </c:pt>
                <c:pt idx="35">
                  <c:v>2.5626283367556502</c:v>
                </c:pt>
                <c:pt idx="36">
                  <c:v>2.5626283367556502</c:v>
                </c:pt>
                <c:pt idx="37">
                  <c:v>2.5954825462012301</c:v>
                </c:pt>
                <c:pt idx="38">
                  <c:v>2.5954825462012301</c:v>
                </c:pt>
                <c:pt idx="39">
                  <c:v>2.6283367556468198</c:v>
                </c:pt>
                <c:pt idx="40">
                  <c:v>2.6611909650924002</c:v>
                </c:pt>
                <c:pt idx="41">
                  <c:v>2.6611909650924002</c:v>
                </c:pt>
                <c:pt idx="42">
                  <c:v>2.6940451745379899</c:v>
                </c:pt>
                <c:pt idx="43">
                  <c:v>2.6940451745379899</c:v>
                </c:pt>
                <c:pt idx="44">
                  <c:v>2.7268993839835698</c:v>
                </c:pt>
                <c:pt idx="45">
                  <c:v>2.7268993839835698</c:v>
                </c:pt>
                <c:pt idx="46">
                  <c:v>2.7597535934291599</c:v>
                </c:pt>
                <c:pt idx="47">
                  <c:v>2.7597535934291599</c:v>
                </c:pt>
                <c:pt idx="48">
                  <c:v>2.7926078028747399</c:v>
                </c:pt>
                <c:pt idx="49">
                  <c:v>2.7926078028747399</c:v>
                </c:pt>
                <c:pt idx="50">
                  <c:v>2.8583162217659099</c:v>
                </c:pt>
                <c:pt idx="51">
                  <c:v>2.8583162217659099</c:v>
                </c:pt>
                <c:pt idx="52">
                  <c:v>2.92402464065708</c:v>
                </c:pt>
                <c:pt idx="53">
                  <c:v>2.92402464065708</c:v>
                </c:pt>
                <c:pt idx="54">
                  <c:v>2.9897330595482501</c:v>
                </c:pt>
                <c:pt idx="55">
                  <c:v>2.9897330595482501</c:v>
                </c:pt>
                <c:pt idx="56">
                  <c:v>3.0225872689938398</c:v>
                </c:pt>
                <c:pt idx="57">
                  <c:v>3.0225872689938398</c:v>
                </c:pt>
                <c:pt idx="58">
                  <c:v>3.1868583162217701</c:v>
                </c:pt>
                <c:pt idx="59">
                  <c:v>3.1868583162217701</c:v>
                </c:pt>
                <c:pt idx="60">
                  <c:v>3.3511293634496901</c:v>
                </c:pt>
                <c:pt idx="61">
                  <c:v>3.3511293634496901</c:v>
                </c:pt>
                <c:pt idx="62">
                  <c:v>3.8439425051334699</c:v>
                </c:pt>
                <c:pt idx="63">
                  <c:v>3.8439425051334699</c:v>
                </c:pt>
                <c:pt idx="64">
                  <c:v>3.90965092402464</c:v>
                </c:pt>
                <c:pt idx="65">
                  <c:v>3.90965092402464</c:v>
                </c:pt>
                <c:pt idx="66">
                  <c:v>4.0082135523613998</c:v>
                </c:pt>
                <c:pt idx="67">
                  <c:v>4.0082135523613998</c:v>
                </c:pt>
                <c:pt idx="68">
                  <c:v>4.0410677618069801</c:v>
                </c:pt>
                <c:pt idx="69">
                  <c:v>4.0410677618069801</c:v>
                </c:pt>
                <c:pt idx="70">
                  <c:v>4.0739219712525703</c:v>
                </c:pt>
                <c:pt idx="71">
                  <c:v>4.0739219712525703</c:v>
                </c:pt>
                <c:pt idx="72">
                  <c:v>4.1067761806981498</c:v>
                </c:pt>
                <c:pt idx="73">
                  <c:v>4.1067761806981498</c:v>
                </c:pt>
                <c:pt idx="74">
                  <c:v>4.1396303901437399</c:v>
                </c:pt>
                <c:pt idx="75">
                  <c:v>4.1396303901437399</c:v>
                </c:pt>
                <c:pt idx="76">
                  <c:v>4.1724845995893203</c:v>
                </c:pt>
                <c:pt idx="77">
                  <c:v>4.1724845995893203</c:v>
                </c:pt>
                <c:pt idx="78">
                  <c:v>4.2053388090349104</c:v>
                </c:pt>
                <c:pt idx="79">
                  <c:v>4.2053388090349104</c:v>
                </c:pt>
                <c:pt idx="80">
                  <c:v>4.27104722792608</c:v>
                </c:pt>
                <c:pt idx="81">
                  <c:v>4.27104722792608</c:v>
                </c:pt>
                <c:pt idx="82">
                  <c:v>4.3039014373716604</c:v>
                </c:pt>
                <c:pt idx="83">
                  <c:v>4.3039014373716604</c:v>
                </c:pt>
                <c:pt idx="84">
                  <c:v>4.36960985626283</c:v>
                </c:pt>
                <c:pt idx="85">
                  <c:v>4.4024640657084202</c:v>
                </c:pt>
                <c:pt idx="86">
                  <c:v>4.4024640657084202</c:v>
                </c:pt>
                <c:pt idx="87">
                  <c:v>4.5667351129363496</c:v>
                </c:pt>
                <c:pt idx="88">
                  <c:v>4.5667351129363496</c:v>
                </c:pt>
                <c:pt idx="89">
                  <c:v>4.6324435318275201</c:v>
                </c:pt>
                <c:pt idx="90">
                  <c:v>4.6324435318275201</c:v>
                </c:pt>
                <c:pt idx="91">
                  <c:v>4.6652977412730996</c:v>
                </c:pt>
                <c:pt idx="92">
                  <c:v>4.6652977412730996</c:v>
                </c:pt>
                <c:pt idx="93">
                  <c:v>4.7967145790554397</c:v>
                </c:pt>
                <c:pt idx="94">
                  <c:v>4.7967145790554397</c:v>
                </c:pt>
                <c:pt idx="95">
                  <c:v>5.05954825462012</c:v>
                </c:pt>
                <c:pt idx="96">
                  <c:v>5.05954825462012</c:v>
                </c:pt>
                <c:pt idx="97">
                  <c:v>5.2238193018480503</c:v>
                </c:pt>
                <c:pt idx="98">
                  <c:v>5.2238193018480503</c:v>
                </c:pt>
                <c:pt idx="99">
                  <c:v>5.3223819301848101</c:v>
                </c:pt>
                <c:pt idx="100">
                  <c:v>5.3223819301848101</c:v>
                </c:pt>
                <c:pt idx="101">
                  <c:v>5.3552361396303896</c:v>
                </c:pt>
                <c:pt idx="102">
                  <c:v>5.3552361396303896</c:v>
                </c:pt>
                <c:pt idx="103">
                  <c:v>5.4209445585215601</c:v>
                </c:pt>
                <c:pt idx="104">
                  <c:v>5.4209445585215601</c:v>
                </c:pt>
                <c:pt idx="105">
                  <c:v>5.4537987679671502</c:v>
                </c:pt>
                <c:pt idx="106">
                  <c:v>5.4537987679671502</c:v>
                </c:pt>
                <c:pt idx="107">
                  <c:v>5.5195071868583199</c:v>
                </c:pt>
                <c:pt idx="108">
                  <c:v>5.5195071868583199</c:v>
                </c:pt>
                <c:pt idx="109">
                  <c:v>5.5523613963039002</c:v>
                </c:pt>
                <c:pt idx="110">
                  <c:v>5.5523613963039002</c:v>
                </c:pt>
                <c:pt idx="111">
                  <c:v>5.5852156057494904</c:v>
                </c:pt>
                <c:pt idx="112">
                  <c:v>5.5852156057494904</c:v>
                </c:pt>
                <c:pt idx="113">
                  <c:v>5.6180698151950699</c:v>
                </c:pt>
                <c:pt idx="114">
                  <c:v>5.6180698151950699</c:v>
                </c:pt>
                <c:pt idx="115">
                  <c:v>5.7823408624230002</c:v>
                </c:pt>
                <c:pt idx="116">
                  <c:v>5.7823408624230002</c:v>
                </c:pt>
                <c:pt idx="117">
                  <c:v>5.8151950718685796</c:v>
                </c:pt>
                <c:pt idx="118">
                  <c:v>5.8151950718685796</c:v>
                </c:pt>
                <c:pt idx="119">
                  <c:v>5.9466119096509296</c:v>
                </c:pt>
                <c:pt idx="120">
                  <c:v>5.9466119096509296</c:v>
                </c:pt>
                <c:pt idx="121">
                  <c:v>6.0123203285421001</c:v>
                </c:pt>
                <c:pt idx="122">
                  <c:v>6.0123203285421001</c:v>
                </c:pt>
                <c:pt idx="123">
                  <c:v>6.0451745379876796</c:v>
                </c:pt>
                <c:pt idx="124">
                  <c:v>6.0451745379876796</c:v>
                </c:pt>
                <c:pt idx="125">
                  <c:v>6.1437371663244402</c:v>
                </c:pt>
                <c:pt idx="126">
                  <c:v>6.1437371663244402</c:v>
                </c:pt>
                <c:pt idx="127">
                  <c:v>6.4065708418891196</c:v>
                </c:pt>
                <c:pt idx="128">
                  <c:v>6.4065708418891196</c:v>
                </c:pt>
                <c:pt idx="129">
                  <c:v>6.8008213552361401</c:v>
                </c:pt>
                <c:pt idx="130">
                  <c:v>6.8008213552361401</c:v>
                </c:pt>
                <c:pt idx="131">
                  <c:v>6.8336755646817302</c:v>
                </c:pt>
                <c:pt idx="132">
                  <c:v>6.8336755646817302</c:v>
                </c:pt>
                <c:pt idx="133">
                  <c:v>6.8665297741273097</c:v>
                </c:pt>
                <c:pt idx="134">
                  <c:v>6.8665297741273097</c:v>
                </c:pt>
                <c:pt idx="135">
                  <c:v>6.8993839835728998</c:v>
                </c:pt>
                <c:pt idx="136">
                  <c:v>6.8993839835728998</c:v>
                </c:pt>
                <c:pt idx="137">
                  <c:v>6.9322381930184802</c:v>
                </c:pt>
                <c:pt idx="138">
                  <c:v>6.9322381930184802</c:v>
                </c:pt>
                <c:pt idx="139">
                  <c:v>6.9650924024640704</c:v>
                </c:pt>
                <c:pt idx="140">
                  <c:v>6.9650924024640704</c:v>
                </c:pt>
                <c:pt idx="141">
                  <c:v>6.9979466119096498</c:v>
                </c:pt>
                <c:pt idx="142">
                  <c:v>6.9979466119096498</c:v>
                </c:pt>
                <c:pt idx="143">
                  <c:v>7.0636550308008204</c:v>
                </c:pt>
                <c:pt idx="144">
                  <c:v>7.0636550308008204</c:v>
                </c:pt>
                <c:pt idx="145">
                  <c:v>7.0965092402464096</c:v>
                </c:pt>
                <c:pt idx="146">
                  <c:v>7.0965092402464096</c:v>
                </c:pt>
                <c:pt idx="147">
                  <c:v>7.1622176591375801</c:v>
                </c:pt>
                <c:pt idx="148">
                  <c:v>7.1622176591375801</c:v>
                </c:pt>
                <c:pt idx="149">
                  <c:v>7.7535934291581103</c:v>
                </c:pt>
                <c:pt idx="150">
                  <c:v>7.7535934291581103</c:v>
                </c:pt>
                <c:pt idx="151">
                  <c:v>7.8850102669404496</c:v>
                </c:pt>
                <c:pt idx="152">
                  <c:v>7.8850102669404496</c:v>
                </c:pt>
                <c:pt idx="153">
                  <c:v>7.9178644763860397</c:v>
                </c:pt>
                <c:pt idx="154">
                  <c:v>7.9178644763860397</c:v>
                </c:pt>
                <c:pt idx="155">
                  <c:v>8.3121149897330593</c:v>
                </c:pt>
                <c:pt idx="156">
                  <c:v>8.3121149897330593</c:v>
                </c:pt>
                <c:pt idx="157">
                  <c:v>8.3449691991786494</c:v>
                </c:pt>
                <c:pt idx="158">
                  <c:v>8.3449691991786494</c:v>
                </c:pt>
                <c:pt idx="159">
                  <c:v>8.50924024640657</c:v>
                </c:pt>
                <c:pt idx="160">
                  <c:v>8.50924024640657</c:v>
                </c:pt>
                <c:pt idx="161">
                  <c:v>8.6078028747433297</c:v>
                </c:pt>
                <c:pt idx="162">
                  <c:v>8.6078028747433297</c:v>
                </c:pt>
                <c:pt idx="163">
                  <c:v>9.5934291581108901</c:v>
                </c:pt>
                <c:pt idx="164">
                  <c:v>9.5934291581108901</c:v>
                </c:pt>
                <c:pt idx="165">
                  <c:v>9.6262833675564696</c:v>
                </c:pt>
                <c:pt idx="166">
                  <c:v>9.6262833675564696</c:v>
                </c:pt>
                <c:pt idx="167">
                  <c:v>9.6919917864476393</c:v>
                </c:pt>
                <c:pt idx="168">
                  <c:v>9.6919917864476393</c:v>
                </c:pt>
                <c:pt idx="169">
                  <c:v>9.7248459958932294</c:v>
                </c:pt>
                <c:pt idx="170">
                  <c:v>9.7248459958932294</c:v>
                </c:pt>
                <c:pt idx="171">
                  <c:v>9.8891170431211499</c:v>
                </c:pt>
                <c:pt idx="172">
                  <c:v>9.8891170431211499</c:v>
                </c:pt>
                <c:pt idx="173">
                  <c:v>10.119096509240199</c:v>
                </c:pt>
                <c:pt idx="174">
                  <c:v>10.119096509240199</c:v>
                </c:pt>
                <c:pt idx="175">
                  <c:v>10.7433264887064</c:v>
                </c:pt>
                <c:pt idx="176">
                  <c:v>10.7433264887064</c:v>
                </c:pt>
                <c:pt idx="177">
                  <c:v>10.9075975359343</c:v>
                </c:pt>
                <c:pt idx="178">
                  <c:v>10.9075975359343</c:v>
                </c:pt>
                <c:pt idx="179">
                  <c:v>11.2689938398357</c:v>
                </c:pt>
                <c:pt idx="180">
                  <c:v>11.2689938398357</c:v>
                </c:pt>
                <c:pt idx="181">
                  <c:v>11.4989733059548</c:v>
                </c:pt>
                <c:pt idx="182">
                  <c:v>11.4989733059548</c:v>
                </c:pt>
                <c:pt idx="183">
                  <c:v>11.893223819301801</c:v>
                </c:pt>
                <c:pt idx="184">
                  <c:v>11.893223819301801</c:v>
                </c:pt>
                <c:pt idx="185">
                  <c:v>12.320328542094501</c:v>
                </c:pt>
                <c:pt idx="186">
                  <c:v>12.320328542094501</c:v>
                </c:pt>
                <c:pt idx="187">
                  <c:v>12.4188911704312</c:v>
                </c:pt>
                <c:pt idx="188">
                  <c:v>12.4188911704312</c:v>
                </c:pt>
                <c:pt idx="189">
                  <c:v>12.517453798768001</c:v>
                </c:pt>
                <c:pt idx="190">
                  <c:v>12.517453798768001</c:v>
                </c:pt>
                <c:pt idx="191">
                  <c:v>15.0800821355236</c:v>
                </c:pt>
                <c:pt idx="192">
                  <c:v>15.0800821355236</c:v>
                </c:pt>
                <c:pt idx="193">
                  <c:v>15.375770020533899</c:v>
                </c:pt>
                <c:pt idx="194">
                  <c:v>15.7371663244353</c:v>
                </c:pt>
                <c:pt idx="195">
                  <c:v>15.7371663244353</c:v>
                </c:pt>
                <c:pt idx="196">
                  <c:v>16.032854209445599</c:v>
                </c:pt>
                <c:pt idx="197">
                  <c:v>16.032854209445599</c:v>
                </c:pt>
                <c:pt idx="198">
                  <c:v>17.839835728952799</c:v>
                </c:pt>
                <c:pt idx="199">
                  <c:v>17.839835728952799</c:v>
                </c:pt>
                <c:pt idx="200">
                  <c:v>20.501026694045201</c:v>
                </c:pt>
                <c:pt idx="201">
                  <c:v>20.501026694045201</c:v>
                </c:pt>
                <c:pt idx="202">
                  <c:v>20.599589322381899</c:v>
                </c:pt>
                <c:pt idx="203">
                  <c:v>20.599589322381899</c:v>
                </c:pt>
                <c:pt idx="204">
                  <c:v>21.5852156057495</c:v>
                </c:pt>
                <c:pt idx="205">
                  <c:v>25.2320328542095</c:v>
                </c:pt>
                <c:pt idx="206">
                  <c:v>25.2320328542095</c:v>
                </c:pt>
              </c:numCache>
            </c:numRef>
          </c:xVal>
          <c:yVal>
            <c:numRef>
              <c:f>PFS_KM!$AA$2:$AA$208</c:f>
              <c:numCache>
                <c:formatCode>.000</c:formatCode>
                <c:ptCount val="207"/>
                <c:pt idx="0">
                  <c:v>100</c:v>
                </c:pt>
                <c:pt idx="1">
                  <c:v>100</c:v>
                </c:pt>
                <c:pt idx="2">
                  <c:v>100</c:v>
                </c:pt>
                <c:pt idx="3">
                  <c:v>100</c:v>
                </c:pt>
                <c:pt idx="4">
                  <c:v>99.375</c:v>
                </c:pt>
                <c:pt idx="5">
                  <c:v>99.375</c:v>
                </c:pt>
                <c:pt idx="6">
                  <c:v>98.75</c:v>
                </c:pt>
                <c:pt idx="7">
                  <c:v>98.75</c:v>
                </c:pt>
                <c:pt idx="8">
                  <c:v>98.125</c:v>
                </c:pt>
                <c:pt idx="9">
                  <c:v>98.125</c:v>
                </c:pt>
                <c:pt idx="10">
                  <c:v>98.125</c:v>
                </c:pt>
                <c:pt idx="11">
                  <c:v>96.866987179487197</c:v>
                </c:pt>
                <c:pt idx="12">
                  <c:v>96.866987179487197</c:v>
                </c:pt>
                <c:pt idx="13">
                  <c:v>94.334516926428705</c:v>
                </c:pt>
                <c:pt idx="14">
                  <c:v>94.334516926428705</c:v>
                </c:pt>
                <c:pt idx="15">
                  <c:v>93.7013993631641</c:v>
                </c:pt>
                <c:pt idx="16">
                  <c:v>93.7013993631641</c:v>
                </c:pt>
                <c:pt idx="17">
                  <c:v>93.068281799899495</c:v>
                </c:pt>
                <c:pt idx="18">
                  <c:v>93.068281799899495</c:v>
                </c:pt>
                <c:pt idx="19">
                  <c:v>91.802046673370199</c:v>
                </c:pt>
                <c:pt idx="20">
                  <c:v>91.802046673370199</c:v>
                </c:pt>
                <c:pt idx="21">
                  <c:v>88.614475608322607</c:v>
                </c:pt>
                <c:pt idx="22">
                  <c:v>88.614475608322607</c:v>
                </c:pt>
                <c:pt idx="23">
                  <c:v>85.4269045432751</c:v>
                </c:pt>
                <c:pt idx="24">
                  <c:v>85.4269045432751</c:v>
                </c:pt>
                <c:pt idx="25">
                  <c:v>82.876847691237003</c:v>
                </c:pt>
                <c:pt idx="26">
                  <c:v>82.876847691237003</c:v>
                </c:pt>
                <c:pt idx="27">
                  <c:v>82.239333478227493</c:v>
                </c:pt>
                <c:pt idx="28">
                  <c:v>82.239333478227493</c:v>
                </c:pt>
                <c:pt idx="29">
                  <c:v>82.239333478227493</c:v>
                </c:pt>
                <c:pt idx="30">
                  <c:v>81.596838685428807</c:v>
                </c:pt>
                <c:pt idx="31">
                  <c:v>81.596838685428807</c:v>
                </c:pt>
                <c:pt idx="32">
                  <c:v>80.954343892630206</c:v>
                </c:pt>
                <c:pt idx="33">
                  <c:v>80.954343892630206</c:v>
                </c:pt>
                <c:pt idx="34">
                  <c:v>80.311849099831505</c:v>
                </c:pt>
                <c:pt idx="35">
                  <c:v>80.311849099831505</c:v>
                </c:pt>
                <c:pt idx="36">
                  <c:v>79.026859514234204</c:v>
                </c:pt>
                <c:pt idx="37">
                  <c:v>79.026859514234204</c:v>
                </c:pt>
                <c:pt idx="38">
                  <c:v>78.384364721435603</c:v>
                </c:pt>
                <c:pt idx="39">
                  <c:v>78.384364721435603</c:v>
                </c:pt>
                <c:pt idx="40">
                  <c:v>78.384364721435603</c:v>
                </c:pt>
                <c:pt idx="41">
                  <c:v>77.731161682090303</c:v>
                </c:pt>
                <c:pt idx="42">
                  <c:v>77.731161682090303</c:v>
                </c:pt>
                <c:pt idx="43">
                  <c:v>75.754945707121905</c:v>
                </c:pt>
                <c:pt idx="44">
                  <c:v>75.754945707121905</c:v>
                </c:pt>
                <c:pt idx="45">
                  <c:v>73.119991073830704</c:v>
                </c:pt>
                <c:pt idx="46">
                  <c:v>73.119991073830704</c:v>
                </c:pt>
                <c:pt idx="47">
                  <c:v>71.790536690670095</c:v>
                </c:pt>
                <c:pt idx="48">
                  <c:v>71.790536690670095</c:v>
                </c:pt>
                <c:pt idx="49">
                  <c:v>69.777717904950407</c:v>
                </c:pt>
                <c:pt idx="50">
                  <c:v>69.777717904950407</c:v>
                </c:pt>
                <c:pt idx="51">
                  <c:v>69.100264333057694</c:v>
                </c:pt>
                <c:pt idx="52">
                  <c:v>69.100264333057694</c:v>
                </c:pt>
                <c:pt idx="53">
                  <c:v>68.422810761164897</c:v>
                </c:pt>
                <c:pt idx="54">
                  <c:v>68.422810761164897</c:v>
                </c:pt>
                <c:pt idx="55">
                  <c:v>67.745357189272198</c:v>
                </c:pt>
                <c:pt idx="56">
                  <c:v>67.745357189272198</c:v>
                </c:pt>
                <c:pt idx="57">
                  <c:v>67.0679036173795</c:v>
                </c:pt>
                <c:pt idx="58">
                  <c:v>67.0679036173795</c:v>
                </c:pt>
                <c:pt idx="59">
                  <c:v>66.390450045486801</c:v>
                </c:pt>
                <c:pt idx="60">
                  <c:v>66.390450045486801</c:v>
                </c:pt>
                <c:pt idx="61">
                  <c:v>65.712996473594103</c:v>
                </c:pt>
                <c:pt idx="62">
                  <c:v>65.712996473594103</c:v>
                </c:pt>
                <c:pt idx="63">
                  <c:v>64.358089329808607</c:v>
                </c:pt>
                <c:pt idx="64">
                  <c:v>64.358089329808607</c:v>
                </c:pt>
                <c:pt idx="65">
                  <c:v>63.680635757915901</c:v>
                </c:pt>
                <c:pt idx="66">
                  <c:v>63.680635757915901</c:v>
                </c:pt>
                <c:pt idx="67">
                  <c:v>63.003182186023203</c:v>
                </c:pt>
                <c:pt idx="68">
                  <c:v>63.003182186023203</c:v>
                </c:pt>
                <c:pt idx="69">
                  <c:v>61.633547790674797</c:v>
                </c:pt>
                <c:pt idx="70">
                  <c:v>61.633547790674797</c:v>
                </c:pt>
                <c:pt idx="71">
                  <c:v>60.263913395326497</c:v>
                </c:pt>
                <c:pt idx="72">
                  <c:v>60.263913395326497</c:v>
                </c:pt>
                <c:pt idx="73">
                  <c:v>58.894278999978198</c:v>
                </c:pt>
                <c:pt idx="74">
                  <c:v>58.894278999978198</c:v>
                </c:pt>
                <c:pt idx="75">
                  <c:v>56.839827406955699</c:v>
                </c:pt>
                <c:pt idx="76">
                  <c:v>56.839827406955699</c:v>
                </c:pt>
                <c:pt idx="77">
                  <c:v>55.4701930116073</c:v>
                </c:pt>
                <c:pt idx="78">
                  <c:v>55.4701930116073</c:v>
                </c:pt>
                <c:pt idx="79">
                  <c:v>54.100558616259001</c:v>
                </c:pt>
                <c:pt idx="80">
                  <c:v>54.100558616259001</c:v>
                </c:pt>
                <c:pt idx="81">
                  <c:v>53.415741418584901</c:v>
                </c:pt>
                <c:pt idx="82">
                  <c:v>53.415741418584901</c:v>
                </c:pt>
                <c:pt idx="83">
                  <c:v>51.361289825562402</c:v>
                </c:pt>
                <c:pt idx="84">
                  <c:v>51.361289825562402</c:v>
                </c:pt>
                <c:pt idx="85">
                  <c:v>51.361289825562402</c:v>
                </c:pt>
                <c:pt idx="86">
                  <c:v>49.973146857303902</c:v>
                </c:pt>
                <c:pt idx="87">
                  <c:v>49.973146857303902</c:v>
                </c:pt>
                <c:pt idx="88">
                  <c:v>49.279075373174699</c:v>
                </c:pt>
                <c:pt idx="89">
                  <c:v>49.279075373174699</c:v>
                </c:pt>
                <c:pt idx="90">
                  <c:v>48.585003889045502</c:v>
                </c:pt>
                <c:pt idx="91">
                  <c:v>48.585003889045502</c:v>
                </c:pt>
                <c:pt idx="92">
                  <c:v>47.890932404916299</c:v>
                </c:pt>
                <c:pt idx="93">
                  <c:v>47.890932404916299</c:v>
                </c:pt>
                <c:pt idx="94">
                  <c:v>47.196860920787103</c:v>
                </c:pt>
                <c:pt idx="95">
                  <c:v>47.196860920787103</c:v>
                </c:pt>
                <c:pt idx="96">
                  <c:v>46.5027894366578</c:v>
                </c:pt>
                <c:pt idx="97">
                  <c:v>46.5027894366578</c:v>
                </c:pt>
                <c:pt idx="98">
                  <c:v>45.808717952528603</c:v>
                </c:pt>
                <c:pt idx="99">
                  <c:v>45.808717952528603</c:v>
                </c:pt>
                <c:pt idx="100">
                  <c:v>44.420574984270203</c:v>
                </c:pt>
                <c:pt idx="101">
                  <c:v>44.420574984270203</c:v>
                </c:pt>
                <c:pt idx="102">
                  <c:v>43.7265035001409</c:v>
                </c:pt>
                <c:pt idx="103">
                  <c:v>43.7265035001409</c:v>
                </c:pt>
                <c:pt idx="104">
                  <c:v>43.032432016011697</c:v>
                </c:pt>
                <c:pt idx="105">
                  <c:v>43.032432016011697</c:v>
                </c:pt>
                <c:pt idx="106">
                  <c:v>41.644289047753297</c:v>
                </c:pt>
                <c:pt idx="107">
                  <c:v>41.644289047753297</c:v>
                </c:pt>
                <c:pt idx="108">
                  <c:v>40.950217563624101</c:v>
                </c:pt>
                <c:pt idx="109">
                  <c:v>40.950217563624101</c:v>
                </c:pt>
                <c:pt idx="110">
                  <c:v>38.868003111236398</c:v>
                </c:pt>
                <c:pt idx="111">
                  <c:v>38.868003111236398</c:v>
                </c:pt>
                <c:pt idx="112">
                  <c:v>38.173931627107201</c:v>
                </c:pt>
                <c:pt idx="113">
                  <c:v>38.173931627107201</c:v>
                </c:pt>
                <c:pt idx="114">
                  <c:v>36.785788658848702</c:v>
                </c:pt>
                <c:pt idx="115">
                  <c:v>36.785788658848702</c:v>
                </c:pt>
                <c:pt idx="116">
                  <c:v>36.091717174719498</c:v>
                </c:pt>
                <c:pt idx="117">
                  <c:v>36.091717174719498</c:v>
                </c:pt>
                <c:pt idx="118">
                  <c:v>35.397645690590302</c:v>
                </c:pt>
                <c:pt idx="119">
                  <c:v>35.397645690590302</c:v>
                </c:pt>
                <c:pt idx="120">
                  <c:v>34.703574206461099</c:v>
                </c:pt>
                <c:pt idx="121">
                  <c:v>34.703574206461099</c:v>
                </c:pt>
                <c:pt idx="122">
                  <c:v>34.009502722331803</c:v>
                </c:pt>
                <c:pt idx="123">
                  <c:v>34.009502722331803</c:v>
                </c:pt>
                <c:pt idx="124">
                  <c:v>33.315431238202599</c:v>
                </c:pt>
                <c:pt idx="125">
                  <c:v>33.315431238202599</c:v>
                </c:pt>
                <c:pt idx="126">
                  <c:v>32.621359754073403</c:v>
                </c:pt>
                <c:pt idx="127">
                  <c:v>32.621359754073403</c:v>
                </c:pt>
                <c:pt idx="128">
                  <c:v>31.927288269944199</c:v>
                </c:pt>
                <c:pt idx="129">
                  <c:v>31.927288269944199</c:v>
                </c:pt>
                <c:pt idx="130">
                  <c:v>30.5391453016857</c:v>
                </c:pt>
                <c:pt idx="131">
                  <c:v>30.5391453016857</c:v>
                </c:pt>
                <c:pt idx="132">
                  <c:v>29.8450738175565</c:v>
                </c:pt>
                <c:pt idx="133">
                  <c:v>29.8450738175565</c:v>
                </c:pt>
                <c:pt idx="134">
                  <c:v>28.4569308492981</c:v>
                </c:pt>
                <c:pt idx="135">
                  <c:v>28.4569308492981</c:v>
                </c:pt>
                <c:pt idx="136">
                  <c:v>27.7628593651689</c:v>
                </c:pt>
                <c:pt idx="137">
                  <c:v>27.7628593651689</c:v>
                </c:pt>
                <c:pt idx="138">
                  <c:v>26.374716396910401</c:v>
                </c:pt>
                <c:pt idx="139">
                  <c:v>26.374716396910401</c:v>
                </c:pt>
                <c:pt idx="140">
                  <c:v>25.680644912781201</c:v>
                </c:pt>
                <c:pt idx="141">
                  <c:v>25.680644912781201</c:v>
                </c:pt>
                <c:pt idx="142">
                  <c:v>24.986573428652001</c:v>
                </c:pt>
                <c:pt idx="143">
                  <c:v>24.986573428652001</c:v>
                </c:pt>
                <c:pt idx="144">
                  <c:v>24.292501944522702</c:v>
                </c:pt>
                <c:pt idx="145">
                  <c:v>24.292501944522702</c:v>
                </c:pt>
                <c:pt idx="146">
                  <c:v>22.210287492135102</c:v>
                </c:pt>
                <c:pt idx="147">
                  <c:v>22.210287492135102</c:v>
                </c:pt>
                <c:pt idx="148">
                  <c:v>21.516216008005902</c:v>
                </c:pt>
                <c:pt idx="149">
                  <c:v>21.516216008005902</c:v>
                </c:pt>
                <c:pt idx="150">
                  <c:v>20.822144523876599</c:v>
                </c:pt>
                <c:pt idx="151">
                  <c:v>20.822144523876599</c:v>
                </c:pt>
                <c:pt idx="152">
                  <c:v>20.128073039747399</c:v>
                </c:pt>
                <c:pt idx="153">
                  <c:v>20.128073039747399</c:v>
                </c:pt>
                <c:pt idx="154">
                  <c:v>19.434001555618199</c:v>
                </c:pt>
                <c:pt idx="155">
                  <c:v>19.434001555618199</c:v>
                </c:pt>
                <c:pt idx="156">
                  <c:v>18.739930071488999</c:v>
                </c:pt>
                <c:pt idx="157">
                  <c:v>18.739930071488999</c:v>
                </c:pt>
                <c:pt idx="158">
                  <c:v>18.045858587359799</c:v>
                </c:pt>
                <c:pt idx="159">
                  <c:v>18.045858587359799</c:v>
                </c:pt>
                <c:pt idx="160">
                  <c:v>17.3517871032305</c:v>
                </c:pt>
                <c:pt idx="161">
                  <c:v>17.3517871032305</c:v>
                </c:pt>
                <c:pt idx="162">
                  <c:v>16.6577156191013</c:v>
                </c:pt>
                <c:pt idx="163">
                  <c:v>16.6577156191013</c:v>
                </c:pt>
                <c:pt idx="164">
                  <c:v>15.9636441349721</c:v>
                </c:pt>
                <c:pt idx="165">
                  <c:v>15.9636441349721</c:v>
                </c:pt>
                <c:pt idx="166">
                  <c:v>15.2695726508429</c:v>
                </c:pt>
                <c:pt idx="167">
                  <c:v>15.2695726508429</c:v>
                </c:pt>
                <c:pt idx="168">
                  <c:v>14.5755011667136</c:v>
                </c:pt>
                <c:pt idx="169">
                  <c:v>14.5755011667136</c:v>
                </c:pt>
                <c:pt idx="170">
                  <c:v>13.8814296825844</c:v>
                </c:pt>
                <c:pt idx="171">
                  <c:v>13.8814296825844</c:v>
                </c:pt>
                <c:pt idx="172">
                  <c:v>12.493286714326</c:v>
                </c:pt>
                <c:pt idx="173">
                  <c:v>12.493286714326</c:v>
                </c:pt>
                <c:pt idx="174">
                  <c:v>11.799215230196801</c:v>
                </c:pt>
                <c:pt idx="175">
                  <c:v>11.799215230196801</c:v>
                </c:pt>
                <c:pt idx="176">
                  <c:v>11.105143746067499</c:v>
                </c:pt>
                <c:pt idx="177">
                  <c:v>11.105143746067499</c:v>
                </c:pt>
                <c:pt idx="178">
                  <c:v>10.411072261938299</c:v>
                </c:pt>
                <c:pt idx="179">
                  <c:v>10.411072261938299</c:v>
                </c:pt>
                <c:pt idx="180">
                  <c:v>9.7170007778090906</c:v>
                </c:pt>
                <c:pt idx="181">
                  <c:v>9.7170007778090906</c:v>
                </c:pt>
                <c:pt idx="182">
                  <c:v>9.0229292936798693</c:v>
                </c:pt>
                <c:pt idx="183">
                  <c:v>9.0229292936798693</c:v>
                </c:pt>
                <c:pt idx="184">
                  <c:v>8.3288578095506498</c:v>
                </c:pt>
                <c:pt idx="185">
                  <c:v>8.3288578095506498</c:v>
                </c:pt>
                <c:pt idx="186">
                  <c:v>7.6347863254214303</c:v>
                </c:pt>
                <c:pt idx="187">
                  <c:v>7.6347863254214303</c:v>
                </c:pt>
                <c:pt idx="188">
                  <c:v>6.9407148412922099</c:v>
                </c:pt>
                <c:pt idx="189">
                  <c:v>6.9407148412922099</c:v>
                </c:pt>
                <c:pt idx="190">
                  <c:v>6.2466433571629896</c:v>
                </c:pt>
                <c:pt idx="191">
                  <c:v>6.2466433571629896</c:v>
                </c:pt>
                <c:pt idx="192">
                  <c:v>5.5525718730337701</c:v>
                </c:pt>
                <c:pt idx="193">
                  <c:v>5.5525718730337701</c:v>
                </c:pt>
                <c:pt idx="194">
                  <c:v>5.5525718730337701</c:v>
                </c:pt>
                <c:pt idx="195">
                  <c:v>4.7593473197432301</c:v>
                </c:pt>
                <c:pt idx="196">
                  <c:v>4.7593473197432301</c:v>
                </c:pt>
                <c:pt idx="197">
                  <c:v>3.9661227664526901</c:v>
                </c:pt>
                <c:pt idx="198">
                  <c:v>3.9661227664526901</c:v>
                </c:pt>
                <c:pt idx="199">
                  <c:v>3.1728982131621501</c:v>
                </c:pt>
                <c:pt idx="200">
                  <c:v>3.1728982131621501</c:v>
                </c:pt>
                <c:pt idx="201">
                  <c:v>2.3796736598716102</c:v>
                </c:pt>
                <c:pt idx="202">
                  <c:v>2.3796736598716102</c:v>
                </c:pt>
                <c:pt idx="203">
                  <c:v>1.58644910658108</c:v>
                </c:pt>
                <c:pt idx="204">
                  <c:v>1.58644910658108</c:v>
                </c:pt>
                <c:pt idx="205">
                  <c:v>1.58644910658108</c:v>
                </c:pt>
                <c:pt idx="206">
                  <c:v>0</c:v>
                </c:pt>
              </c:numCache>
            </c:numRef>
          </c:yVal>
          <c:smooth val="0"/>
          <c:extLst>
            <c:ext xmlns:c16="http://schemas.microsoft.com/office/drawing/2014/chart" uri="{C3380CC4-5D6E-409C-BE32-E72D297353CC}">
              <c16:uniqueId val="{00000002-D450-4CE1-9568-8BBB4CC41BAF}"/>
            </c:ext>
          </c:extLst>
        </c:ser>
        <c:ser>
          <c:idx val="3"/>
          <c:order val="3"/>
          <c:spPr>
            <a:ln w="19050" cap="rnd">
              <a:solidFill>
                <a:schemeClr val="accent4"/>
              </a:solidFill>
              <a:round/>
            </a:ln>
            <a:effectLst/>
          </c:spPr>
          <c:marker>
            <c:symbol val="none"/>
          </c:marker>
          <c:dPt>
            <c:idx val="1"/>
            <c:marker>
              <c:symbol val="none"/>
            </c:marker>
            <c:bubble3D val="0"/>
            <c:spPr>
              <a:ln w="19050" cap="rnd">
                <a:solidFill>
                  <a:schemeClr val="tx1"/>
                </a:solidFill>
                <a:prstDash val="dash"/>
                <a:round/>
              </a:ln>
              <a:effectLst/>
            </c:spPr>
            <c:extLst>
              <c:ext xmlns:c16="http://schemas.microsoft.com/office/drawing/2014/chart" uri="{C3380CC4-5D6E-409C-BE32-E72D297353CC}">
                <c16:uniqueId val="{00000004-D450-4CE1-9568-8BBB4CC41BAF}"/>
              </c:ext>
            </c:extLst>
          </c:dPt>
          <c:xVal>
            <c:numRef>
              <c:f>PFS_KM!$X$2:$X$3</c:f>
              <c:numCache>
                <c:formatCode>.0000</c:formatCode>
                <c:ptCount val="2"/>
                <c:pt idx="0">
                  <c:v>6</c:v>
                </c:pt>
                <c:pt idx="1">
                  <c:v>6</c:v>
                </c:pt>
              </c:numCache>
            </c:numRef>
          </c:xVal>
          <c:yVal>
            <c:numRef>
              <c:f>PFS_KM!$Y$2:$Y$3</c:f>
              <c:numCache>
                <c:formatCode>.000</c:formatCode>
                <c:ptCount val="2"/>
                <c:pt idx="0">
                  <c:v>0</c:v>
                </c:pt>
                <c:pt idx="1">
                  <c:v>63</c:v>
                </c:pt>
              </c:numCache>
            </c:numRef>
          </c:yVal>
          <c:smooth val="0"/>
          <c:extLst>
            <c:ext xmlns:c16="http://schemas.microsoft.com/office/drawing/2014/chart" uri="{C3380CC4-5D6E-409C-BE32-E72D297353CC}">
              <c16:uniqueId val="{00000005-D450-4CE1-9568-8BBB4CC41BAF}"/>
            </c:ext>
          </c:extLst>
        </c:ser>
        <c:ser>
          <c:idx val="4"/>
          <c:order val="4"/>
          <c:spPr>
            <a:ln w="19050" cap="rnd">
              <a:solidFill>
                <a:schemeClr val="accent5"/>
              </a:solidFill>
              <a:round/>
            </a:ln>
            <a:effectLst/>
          </c:spPr>
          <c:marker>
            <c:symbol val="none"/>
          </c:marker>
          <c:dPt>
            <c:idx val="1"/>
            <c:marker>
              <c:symbol val="none"/>
            </c:marker>
            <c:bubble3D val="0"/>
            <c:spPr>
              <a:ln w="19050" cap="rnd">
                <a:solidFill>
                  <a:schemeClr val="tx1"/>
                </a:solidFill>
                <a:prstDash val="dash"/>
                <a:round/>
              </a:ln>
              <a:effectLst/>
            </c:spPr>
            <c:extLst>
              <c:ext xmlns:c16="http://schemas.microsoft.com/office/drawing/2014/chart" uri="{C3380CC4-5D6E-409C-BE32-E72D297353CC}">
                <c16:uniqueId val="{00000007-D450-4CE1-9568-8BBB4CC41BAF}"/>
              </c:ext>
            </c:extLst>
          </c:dPt>
          <c:xVal>
            <c:numRef>
              <c:f>PFS_KM!$AD$2:$AD$3</c:f>
              <c:numCache>
                <c:formatCode>.0000</c:formatCode>
                <c:ptCount val="2"/>
                <c:pt idx="0">
                  <c:v>12</c:v>
                </c:pt>
                <c:pt idx="1">
                  <c:v>12</c:v>
                </c:pt>
              </c:numCache>
            </c:numRef>
          </c:xVal>
          <c:yVal>
            <c:numRef>
              <c:f>PFS_KM!$AE$2:$AE$3</c:f>
              <c:numCache>
                <c:formatCode>.000</c:formatCode>
                <c:ptCount val="2"/>
                <c:pt idx="0">
                  <c:v>0</c:v>
                </c:pt>
                <c:pt idx="1">
                  <c:v>33</c:v>
                </c:pt>
              </c:numCache>
            </c:numRef>
          </c:yVal>
          <c:smooth val="0"/>
          <c:extLst>
            <c:ext xmlns:c16="http://schemas.microsoft.com/office/drawing/2014/chart" uri="{C3380CC4-5D6E-409C-BE32-E72D297353CC}">
              <c16:uniqueId val="{00000008-D450-4CE1-9568-8BBB4CC41BAF}"/>
            </c:ext>
          </c:extLst>
        </c:ser>
        <c:ser>
          <c:idx val="5"/>
          <c:order val="5"/>
          <c:spPr>
            <a:ln w="19050" cap="rnd">
              <a:noFill/>
              <a:round/>
            </a:ln>
            <a:effectLst/>
          </c:spPr>
          <c:marker>
            <c:symbol val="plus"/>
            <c:size val="8"/>
            <c:spPr>
              <a:noFill/>
              <a:ln w="12700">
                <a:solidFill>
                  <a:schemeClr val="tx1">
                    <a:lumMod val="50000"/>
                    <a:lumOff val="50000"/>
                  </a:schemeClr>
                </a:solidFill>
              </a:ln>
              <a:effectLst/>
            </c:spPr>
          </c:marker>
          <c:xVal>
            <c:numRef>
              <c:f>PFS_KM!$AB$2:$AB$47</c:f>
              <c:numCache>
                <c:formatCode>.0000</c:formatCode>
                <c:ptCount val="46"/>
                <c:pt idx="0">
                  <c:v>3.2854209445589998E-2</c:v>
                </c:pt>
                <c:pt idx="1">
                  <c:v>3.2854209445589998E-2</c:v>
                </c:pt>
                <c:pt idx="2">
                  <c:v>3.2854209445589998E-2</c:v>
                </c:pt>
                <c:pt idx="3">
                  <c:v>3.2854209445589998E-2</c:v>
                </c:pt>
                <c:pt idx="4">
                  <c:v>3.2854209445589998E-2</c:v>
                </c:pt>
                <c:pt idx="5">
                  <c:v>3.2854209445589998E-2</c:v>
                </c:pt>
                <c:pt idx="6">
                  <c:v>3.2854209445589998E-2</c:v>
                </c:pt>
                <c:pt idx="7">
                  <c:v>3.2854209445589998E-2</c:v>
                </c:pt>
                <c:pt idx="8" formatCode="General">
                  <c:v>3.2854209445589998E-2</c:v>
                </c:pt>
                <c:pt idx="9" formatCode="General">
                  <c:v>3.2854209445589998E-2</c:v>
                </c:pt>
                <c:pt idx="10" formatCode="General">
                  <c:v>3.2854209445589998E-2</c:v>
                </c:pt>
                <c:pt idx="11" formatCode="General">
                  <c:v>3.2854209445589998E-2</c:v>
                </c:pt>
                <c:pt idx="12" formatCode="General">
                  <c:v>3.2854209445589998E-2</c:v>
                </c:pt>
                <c:pt idx="13" formatCode="General">
                  <c:v>3.2854209445589998E-2</c:v>
                </c:pt>
                <c:pt idx="14" formatCode="General">
                  <c:v>3.2854209445589998E-2</c:v>
                </c:pt>
                <c:pt idx="15" formatCode="General">
                  <c:v>3.2854209445589998E-2</c:v>
                </c:pt>
                <c:pt idx="16" formatCode="General">
                  <c:v>0.45995893223819001</c:v>
                </c:pt>
                <c:pt idx="17" formatCode="General">
                  <c:v>0.45995893223819001</c:v>
                </c:pt>
                <c:pt idx="18" formatCode="General">
                  <c:v>1.18275154004107</c:v>
                </c:pt>
                <c:pt idx="19" formatCode="General">
                  <c:v>1.18275154004107</c:v>
                </c:pt>
                <c:pt idx="20" formatCode="General">
                  <c:v>1.2156057494866499</c:v>
                </c:pt>
                <c:pt idx="21" formatCode="General">
                  <c:v>1.2156057494866499</c:v>
                </c:pt>
                <c:pt idx="22" formatCode="General">
                  <c:v>1.34702258726899</c:v>
                </c:pt>
                <c:pt idx="23" formatCode="General">
                  <c:v>1.34702258726899</c:v>
                </c:pt>
                <c:pt idx="24" formatCode="General">
                  <c:v>1.54414784394251</c:v>
                </c:pt>
                <c:pt idx="25" formatCode="General">
                  <c:v>1.54414784394251</c:v>
                </c:pt>
                <c:pt idx="26" formatCode="General">
                  <c:v>2.6283367556468198</c:v>
                </c:pt>
                <c:pt idx="27" formatCode="General">
                  <c:v>2.6283367556468198</c:v>
                </c:pt>
                <c:pt idx="28" formatCode="General">
                  <c:v>2.6283367556468198</c:v>
                </c:pt>
                <c:pt idx="29" formatCode="General">
                  <c:v>2.6283367556468198</c:v>
                </c:pt>
                <c:pt idx="30" formatCode="General">
                  <c:v>2.6611909650924002</c:v>
                </c:pt>
                <c:pt idx="31" formatCode="General">
                  <c:v>2.6611909650924002</c:v>
                </c:pt>
                <c:pt idx="32" formatCode="General">
                  <c:v>2.7268993839835698</c:v>
                </c:pt>
                <c:pt idx="33" formatCode="General">
                  <c:v>2.7268993839835698</c:v>
                </c:pt>
                <c:pt idx="34" formatCode="General">
                  <c:v>2.7597535934291599</c:v>
                </c:pt>
                <c:pt idx="35" formatCode="General">
                  <c:v>2.7597535934291599</c:v>
                </c:pt>
                <c:pt idx="36" formatCode="General">
                  <c:v>2.7926078028747399</c:v>
                </c:pt>
                <c:pt idx="37" formatCode="General">
                  <c:v>2.7926078028747399</c:v>
                </c:pt>
                <c:pt idx="38" formatCode="General">
                  <c:v>4.0082135523613998</c:v>
                </c:pt>
                <c:pt idx="39" formatCode="General">
                  <c:v>4.0082135523613998</c:v>
                </c:pt>
                <c:pt idx="40" formatCode="General">
                  <c:v>4.36960985626283</c:v>
                </c:pt>
                <c:pt idx="41" formatCode="General">
                  <c:v>4.36960985626283</c:v>
                </c:pt>
                <c:pt idx="42" formatCode="General">
                  <c:v>15.375770020533899</c:v>
                </c:pt>
                <c:pt idx="43" formatCode="General">
                  <c:v>15.375770020533899</c:v>
                </c:pt>
                <c:pt idx="44" formatCode="General">
                  <c:v>21.5852156057495</c:v>
                </c:pt>
                <c:pt idx="45" formatCode="General">
                  <c:v>21.5852156057495</c:v>
                </c:pt>
              </c:numCache>
            </c:numRef>
          </c:xVal>
          <c:yVal>
            <c:numRef>
              <c:f>PFS_KM!$AC$2:$AC$47</c:f>
              <c:numCache>
                <c:formatCode>.000</c:formatCode>
                <c:ptCount val="46"/>
                <c:pt idx="0">
                  <c:v>100</c:v>
                </c:pt>
                <c:pt idx="1">
                  <c:v>100</c:v>
                </c:pt>
                <c:pt idx="2">
                  <c:v>100</c:v>
                </c:pt>
                <c:pt idx="3">
                  <c:v>100</c:v>
                </c:pt>
                <c:pt idx="4">
                  <c:v>100</c:v>
                </c:pt>
                <c:pt idx="5">
                  <c:v>100</c:v>
                </c:pt>
                <c:pt idx="6">
                  <c:v>100</c:v>
                </c:pt>
                <c:pt idx="7">
                  <c:v>100</c:v>
                </c:pt>
                <c:pt idx="8" formatCode="General">
                  <c:v>100</c:v>
                </c:pt>
                <c:pt idx="9" formatCode="General">
                  <c:v>100</c:v>
                </c:pt>
                <c:pt idx="10" formatCode="General">
                  <c:v>100</c:v>
                </c:pt>
                <c:pt idx="11" formatCode="General">
                  <c:v>100</c:v>
                </c:pt>
                <c:pt idx="12" formatCode="General">
                  <c:v>100</c:v>
                </c:pt>
                <c:pt idx="13" formatCode="General">
                  <c:v>100</c:v>
                </c:pt>
                <c:pt idx="14" formatCode="General">
                  <c:v>100</c:v>
                </c:pt>
                <c:pt idx="15" formatCode="General">
                  <c:v>100</c:v>
                </c:pt>
                <c:pt idx="16" formatCode="General">
                  <c:v>100</c:v>
                </c:pt>
                <c:pt idx="17" formatCode="General">
                  <c:v>100</c:v>
                </c:pt>
                <c:pt idx="18" formatCode="General">
                  <c:v>98.125</c:v>
                </c:pt>
                <c:pt idx="19" formatCode="General">
                  <c:v>98.125</c:v>
                </c:pt>
                <c:pt idx="20" formatCode="General">
                  <c:v>96.866987179487197</c:v>
                </c:pt>
                <c:pt idx="21" formatCode="General">
                  <c:v>96.866987179487197</c:v>
                </c:pt>
                <c:pt idx="22" formatCode="General">
                  <c:v>91.802046673370199</c:v>
                </c:pt>
                <c:pt idx="23" formatCode="General">
                  <c:v>91.802046673370199</c:v>
                </c:pt>
                <c:pt idx="24" formatCode="General">
                  <c:v>82.239333478227493</c:v>
                </c:pt>
                <c:pt idx="25" formatCode="General">
                  <c:v>82.239333478227493</c:v>
                </c:pt>
                <c:pt idx="26" formatCode="General">
                  <c:v>78.384364721435603</c:v>
                </c:pt>
                <c:pt idx="27" formatCode="General">
                  <c:v>78.384364721435603</c:v>
                </c:pt>
                <c:pt idx="28" formatCode="General">
                  <c:v>78.384364721435603</c:v>
                </c:pt>
                <c:pt idx="29" formatCode="General">
                  <c:v>78.384364721435603</c:v>
                </c:pt>
                <c:pt idx="30" formatCode="General">
                  <c:v>77.731161682090303</c:v>
                </c:pt>
                <c:pt idx="31" formatCode="General">
                  <c:v>77.731161682090303</c:v>
                </c:pt>
                <c:pt idx="32" formatCode="General">
                  <c:v>73.119991073830704</c:v>
                </c:pt>
                <c:pt idx="33" formatCode="General">
                  <c:v>73.119991073830704</c:v>
                </c:pt>
                <c:pt idx="34" formatCode="General">
                  <c:v>71.790536690670095</c:v>
                </c:pt>
                <c:pt idx="35" formatCode="General">
                  <c:v>71.790536690670095</c:v>
                </c:pt>
                <c:pt idx="36" formatCode="General">
                  <c:v>69.777717904950407</c:v>
                </c:pt>
                <c:pt idx="37" formatCode="General">
                  <c:v>69.777717904950407</c:v>
                </c:pt>
                <c:pt idx="38" formatCode="General">
                  <c:v>63.003182186023203</c:v>
                </c:pt>
                <c:pt idx="39" formatCode="General">
                  <c:v>63.003182186023203</c:v>
                </c:pt>
                <c:pt idx="40" formatCode="General">
                  <c:v>51.361289825562402</c:v>
                </c:pt>
                <c:pt idx="41" formatCode="General">
                  <c:v>51.361289825562402</c:v>
                </c:pt>
                <c:pt idx="42" formatCode="General">
                  <c:v>5.5525718730337701</c:v>
                </c:pt>
                <c:pt idx="43" formatCode="General">
                  <c:v>5.5525718730337701</c:v>
                </c:pt>
                <c:pt idx="44" formatCode="General">
                  <c:v>1.58644910658108</c:v>
                </c:pt>
                <c:pt idx="45" formatCode="General">
                  <c:v>1.58644910658108</c:v>
                </c:pt>
              </c:numCache>
            </c:numRef>
          </c:yVal>
          <c:smooth val="0"/>
          <c:extLst>
            <c:ext xmlns:c16="http://schemas.microsoft.com/office/drawing/2014/chart" uri="{C3380CC4-5D6E-409C-BE32-E72D297353CC}">
              <c16:uniqueId val="{00000009-D450-4CE1-9568-8BBB4CC41BAF}"/>
            </c:ext>
          </c:extLst>
        </c:ser>
        <c:dLbls>
          <c:showLegendKey val="0"/>
          <c:showVal val="0"/>
          <c:showCatName val="0"/>
          <c:showSerName val="0"/>
          <c:showPercent val="0"/>
          <c:showBubbleSize val="0"/>
        </c:dLbls>
        <c:axId val="150566687"/>
        <c:axId val="150578687"/>
      </c:scatterChart>
      <c:valAx>
        <c:axId val="150566687"/>
        <c:scaling>
          <c:orientation val="minMax"/>
          <c:max val="27"/>
        </c:scaling>
        <c:delete val="0"/>
        <c:axPos val="b"/>
        <c:majorGridlines>
          <c:spPr>
            <a:ln w="9525" cap="flat" cmpd="sng" algn="ctr">
              <a:noFill/>
              <a:round/>
            </a:ln>
            <a:effectLst/>
          </c:spPr>
        </c:majorGridlines>
        <c:numFmt formatCode="#,##0" sourceLinked="0"/>
        <c:majorTickMark val="out"/>
        <c:minorTickMark val="none"/>
        <c:tickLblPos val="nextTo"/>
        <c:spPr>
          <a:noFill/>
          <a:ln w="31750"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Roboto" panose="02000000000000000000" pitchFamily="2" charset="0"/>
                <a:ea typeface="Roboto" panose="02000000000000000000" pitchFamily="2" charset="0"/>
                <a:cs typeface="Roboto" panose="02000000000000000000" pitchFamily="2" charset="0"/>
              </a:defRPr>
            </a:pPr>
            <a:endParaRPr lang="en-US"/>
          </a:p>
        </c:txPr>
        <c:crossAx val="150578687"/>
        <c:crosses val="autoZero"/>
        <c:crossBetween val="midCat"/>
        <c:majorUnit val="3"/>
      </c:valAx>
      <c:valAx>
        <c:axId val="150578687"/>
        <c:scaling>
          <c:orientation val="minMax"/>
          <c:max val="10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800" b="0" i="0" u="none" strike="noStrike" kern="1200" baseline="0">
                    <a:solidFill>
                      <a:schemeClr val="tx1"/>
                    </a:solidFill>
                    <a:latin typeface="Roboto" panose="02000000000000000000" pitchFamily="2" charset="0"/>
                    <a:ea typeface="Roboto" panose="02000000000000000000" pitchFamily="2" charset="0"/>
                    <a:cs typeface="Roboto" panose="02000000000000000000" pitchFamily="2" charset="0"/>
                  </a:defRPr>
                </a:pPr>
                <a:r>
                  <a:rPr lang="en-US" sz="1800" b="1">
                    <a:solidFill>
                      <a:schemeClr val="tx1"/>
                    </a:solidFill>
                    <a:latin typeface="Roboto" panose="02000000000000000000" pitchFamily="2" charset="0"/>
                    <a:ea typeface="Roboto" panose="02000000000000000000" pitchFamily="2" charset="0"/>
                    <a:cs typeface="Roboto" panose="02000000000000000000" pitchFamily="2" charset="0"/>
                  </a:rPr>
                  <a:t>PFS (%)</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solidFill>
                  <a:latin typeface="Roboto" panose="02000000000000000000" pitchFamily="2" charset="0"/>
                  <a:ea typeface="Roboto" panose="02000000000000000000" pitchFamily="2" charset="0"/>
                  <a:cs typeface="Roboto" panose="02000000000000000000" pitchFamily="2" charset="0"/>
                </a:defRPr>
              </a:pPr>
              <a:endParaRPr lang="en-US"/>
            </a:p>
          </c:txPr>
        </c:title>
        <c:numFmt formatCode="#,##0" sourceLinked="0"/>
        <c:majorTickMark val="out"/>
        <c:minorTickMark val="none"/>
        <c:tickLblPos val="nextTo"/>
        <c:spPr>
          <a:noFill/>
          <a:ln w="2857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Roboto" panose="02000000000000000000" pitchFamily="2" charset="0"/>
                <a:ea typeface="Roboto" panose="02000000000000000000" pitchFamily="2" charset="0"/>
                <a:cs typeface="Roboto" panose="02000000000000000000" pitchFamily="2" charset="0"/>
              </a:defRPr>
            </a:pPr>
            <a:endParaRPr lang="en-US"/>
          </a:p>
        </c:txPr>
        <c:crossAx val="150566687"/>
        <c:crosses val="autoZero"/>
        <c:crossBetween val="midCat"/>
        <c:majorUnit val="20"/>
      </c:valAx>
      <c:spPr>
        <a:noFill/>
        <a:ln>
          <a:noFill/>
        </a:ln>
        <a:effectLst/>
      </c:spPr>
    </c:plotArea>
    <c:legend>
      <c:legendPos val="b"/>
      <c:legendEntry>
        <c:idx val="0"/>
        <c:txPr>
          <a:bodyPr rot="0" spcFirstLastPara="1" vertOverflow="ellipsis" vert="horz" wrap="square" anchor="ctr" anchorCtr="1"/>
          <a:lstStyle/>
          <a:p>
            <a:pPr>
              <a:defRPr sz="1600" b="0" i="0" u="none" strike="noStrike" kern="1200" baseline="0">
                <a:solidFill>
                  <a:schemeClr val="tx2"/>
                </a:solidFill>
                <a:latin typeface="Roboto" panose="02000000000000000000" pitchFamily="2" charset="0"/>
                <a:ea typeface="Roboto" panose="02000000000000000000" pitchFamily="2" charset="0"/>
                <a:cs typeface="Roboto" panose="02000000000000000000" pitchFamily="2" charset="0"/>
              </a:defRPr>
            </a:pPr>
            <a:endParaRPr lang="en-US"/>
          </a:p>
        </c:txPr>
      </c:legendEntry>
      <c:legendEntry>
        <c:idx val="1"/>
        <c:delete val="1"/>
      </c:legendEntry>
      <c:legendEntry>
        <c:idx val="2"/>
        <c:txPr>
          <a:bodyPr rot="0" spcFirstLastPara="1" vertOverflow="ellipsis" vert="horz" wrap="square" anchor="ctr" anchorCtr="1"/>
          <a:lstStyle/>
          <a:p>
            <a:pPr>
              <a:defRPr sz="1600" b="0" i="0" u="none" strike="noStrike" kern="1200" baseline="0">
                <a:solidFill>
                  <a:srgbClr val="6F6F6F"/>
                </a:solidFill>
                <a:latin typeface="Roboto" panose="02000000000000000000" pitchFamily="2" charset="0"/>
                <a:ea typeface="Roboto" panose="02000000000000000000" pitchFamily="2" charset="0"/>
                <a:cs typeface="Roboto" panose="02000000000000000000" pitchFamily="2" charset="0"/>
              </a:defRPr>
            </a:pPr>
            <a:endParaRPr lang="en-US"/>
          </a:p>
        </c:txPr>
      </c:legendEntry>
      <c:legendEntry>
        <c:idx val="3"/>
        <c:delete val="1"/>
      </c:legendEntry>
      <c:legendEntry>
        <c:idx val="4"/>
        <c:delete val="1"/>
      </c:legendEntry>
      <c:legendEntry>
        <c:idx val="5"/>
        <c:delete val="1"/>
      </c:legendEntry>
      <c:layout>
        <c:manualLayout>
          <c:xMode val="edge"/>
          <c:yMode val="edge"/>
          <c:x val="0.59077298402045064"/>
          <c:y val="0.55188780655931313"/>
          <c:w val="0.40108733170943561"/>
          <c:h val="0.14281847000529896"/>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07995893686053"/>
          <c:y val="3.2829627065847536E-2"/>
          <c:w val="0.83329164670692868"/>
          <c:h val="0.8341695941853422"/>
        </c:manualLayout>
      </c:layout>
      <c:scatterChart>
        <c:scatterStyle val="lineMarker"/>
        <c:varyColors val="0"/>
        <c:ser>
          <c:idx val="0"/>
          <c:order val="0"/>
          <c:tx>
            <c:v>Ivonescimab+chemo</c:v>
          </c:tx>
          <c:spPr>
            <a:ln w="28575" cap="rnd">
              <a:solidFill>
                <a:schemeClr val="tx2"/>
              </a:solidFill>
              <a:round/>
            </a:ln>
            <a:effectLst/>
          </c:spPr>
          <c:marker>
            <c:symbol val="none"/>
          </c:marker>
          <c:xVal>
            <c:numRef>
              <c:f>OS_KM!$T$2:$T$427</c:f>
              <c:numCache>
                <c:formatCode>.0000</c:formatCode>
                <c:ptCount val="426"/>
                <c:pt idx="0">
                  <c:v>0</c:v>
                </c:pt>
                <c:pt idx="1">
                  <c:v>0</c:v>
                </c:pt>
                <c:pt idx="2">
                  <c:v>0.49281314168377999</c:v>
                </c:pt>
                <c:pt idx="3">
                  <c:v>0.49281314168377999</c:v>
                </c:pt>
                <c:pt idx="4">
                  <c:v>0.72279260780287002</c:v>
                </c:pt>
                <c:pt idx="5">
                  <c:v>0.72279260780287002</c:v>
                </c:pt>
                <c:pt idx="6">
                  <c:v>0.82135523613963002</c:v>
                </c:pt>
                <c:pt idx="7">
                  <c:v>0.82135523613963002</c:v>
                </c:pt>
                <c:pt idx="8">
                  <c:v>1.18275154004107</c:v>
                </c:pt>
                <c:pt idx="9">
                  <c:v>1.18275154004107</c:v>
                </c:pt>
                <c:pt idx="10">
                  <c:v>1.2156057494866499</c:v>
                </c:pt>
                <c:pt idx="11">
                  <c:v>1.2156057494866499</c:v>
                </c:pt>
                <c:pt idx="12">
                  <c:v>2.52977412731006</c:v>
                </c:pt>
                <c:pt idx="13">
                  <c:v>2.52977412731006</c:v>
                </c:pt>
                <c:pt idx="14">
                  <c:v>2.8911704312115001</c:v>
                </c:pt>
                <c:pt idx="15">
                  <c:v>2.8911704312115001</c:v>
                </c:pt>
                <c:pt idx="16">
                  <c:v>3.1868583162217701</c:v>
                </c:pt>
                <c:pt idx="17">
                  <c:v>3.1868583162217701</c:v>
                </c:pt>
                <c:pt idx="18">
                  <c:v>3.1868583162217701</c:v>
                </c:pt>
                <c:pt idx="19">
                  <c:v>3.1868583162217701</c:v>
                </c:pt>
                <c:pt idx="20">
                  <c:v>3.4825462012320298</c:v>
                </c:pt>
                <c:pt idx="21">
                  <c:v>3.4825462012320298</c:v>
                </c:pt>
                <c:pt idx="22">
                  <c:v>3.6796714579055401</c:v>
                </c:pt>
                <c:pt idx="23">
                  <c:v>3.6796714579055401</c:v>
                </c:pt>
                <c:pt idx="24">
                  <c:v>3.7125256673511302</c:v>
                </c:pt>
                <c:pt idx="25">
                  <c:v>3.7125256673511302</c:v>
                </c:pt>
                <c:pt idx="26">
                  <c:v>3.90965092402464</c:v>
                </c:pt>
                <c:pt idx="27">
                  <c:v>3.90965092402464</c:v>
                </c:pt>
                <c:pt idx="28">
                  <c:v>3.9425051334702301</c:v>
                </c:pt>
                <c:pt idx="29">
                  <c:v>3.9425051334702301</c:v>
                </c:pt>
                <c:pt idx="30">
                  <c:v>4.0082135523613998</c:v>
                </c:pt>
                <c:pt idx="31">
                  <c:v>4.0082135523613998</c:v>
                </c:pt>
                <c:pt idx="32">
                  <c:v>4.0410677618069801</c:v>
                </c:pt>
                <c:pt idx="33">
                  <c:v>4.0410677618069801</c:v>
                </c:pt>
                <c:pt idx="34">
                  <c:v>4.2053388090349104</c:v>
                </c:pt>
                <c:pt idx="35">
                  <c:v>4.2053388090349104</c:v>
                </c:pt>
                <c:pt idx="36">
                  <c:v>4.27104722792608</c:v>
                </c:pt>
                <c:pt idx="37">
                  <c:v>4.27104722792608</c:v>
                </c:pt>
                <c:pt idx="38">
                  <c:v>4.7638603696098603</c:v>
                </c:pt>
                <c:pt idx="39">
                  <c:v>4.7638603696098603</c:v>
                </c:pt>
                <c:pt idx="40">
                  <c:v>4.7967145790554397</c:v>
                </c:pt>
                <c:pt idx="41">
                  <c:v>4.7967145790554397</c:v>
                </c:pt>
                <c:pt idx="42">
                  <c:v>4.8952772073922004</c:v>
                </c:pt>
                <c:pt idx="43">
                  <c:v>4.8952772073922004</c:v>
                </c:pt>
                <c:pt idx="44">
                  <c:v>4.9281314168377799</c:v>
                </c:pt>
                <c:pt idx="45">
                  <c:v>4.9281314168377799</c:v>
                </c:pt>
                <c:pt idx="46">
                  <c:v>4.9938398357289504</c:v>
                </c:pt>
                <c:pt idx="47">
                  <c:v>4.9938398357289504</c:v>
                </c:pt>
                <c:pt idx="48">
                  <c:v>5.3552361396303896</c:v>
                </c:pt>
                <c:pt idx="49">
                  <c:v>5.3552361396303896</c:v>
                </c:pt>
                <c:pt idx="50">
                  <c:v>5.5195071868583199</c:v>
                </c:pt>
                <c:pt idx="51">
                  <c:v>5.5195071868583199</c:v>
                </c:pt>
                <c:pt idx="52">
                  <c:v>5.8809034907597502</c:v>
                </c:pt>
                <c:pt idx="53">
                  <c:v>5.8809034907597502</c:v>
                </c:pt>
                <c:pt idx="54">
                  <c:v>5.9137577002053403</c:v>
                </c:pt>
                <c:pt idx="55">
                  <c:v>5.9137577002053403</c:v>
                </c:pt>
                <c:pt idx="56">
                  <c:v>5.9466119096509296</c:v>
                </c:pt>
                <c:pt idx="57">
                  <c:v>5.9466119096509296</c:v>
                </c:pt>
                <c:pt idx="58">
                  <c:v>6.1108829568788501</c:v>
                </c:pt>
                <c:pt idx="59">
                  <c:v>6.1108829568788501</c:v>
                </c:pt>
                <c:pt idx="60">
                  <c:v>6.1765913757700197</c:v>
                </c:pt>
                <c:pt idx="61">
                  <c:v>6.1765913757700197</c:v>
                </c:pt>
                <c:pt idx="62">
                  <c:v>6.2422997946611902</c:v>
                </c:pt>
                <c:pt idx="63">
                  <c:v>6.2422997946611902</c:v>
                </c:pt>
                <c:pt idx="64">
                  <c:v>6.2751540041067804</c:v>
                </c:pt>
                <c:pt idx="65">
                  <c:v>6.2751540041067804</c:v>
                </c:pt>
                <c:pt idx="66">
                  <c:v>6.3737166324435304</c:v>
                </c:pt>
                <c:pt idx="67">
                  <c:v>6.3737166324435304</c:v>
                </c:pt>
                <c:pt idx="68">
                  <c:v>6.4065708418891196</c:v>
                </c:pt>
                <c:pt idx="69">
                  <c:v>6.4065708418891196</c:v>
                </c:pt>
                <c:pt idx="70">
                  <c:v>6.4065708418891196</c:v>
                </c:pt>
                <c:pt idx="71">
                  <c:v>6.4065708418891196</c:v>
                </c:pt>
                <c:pt idx="72">
                  <c:v>6.5379876796714598</c:v>
                </c:pt>
                <c:pt idx="73">
                  <c:v>6.5379876796714598</c:v>
                </c:pt>
                <c:pt idx="74">
                  <c:v>6.6365503080082204</c:v>
                </c:pt>
                <c:pt idx="75">
                  <c:v>6.6365503080082204</c:v>
                </c:pt>
                <c:pt idx="76">
                  <c:v>6.7022587268993901</c:v>
                </c:pt>
                <c:pt idx="77">
                  <c:v>6.7022587268993901</c:v>
                </c:pt>
                <c:pt idx="78">
                  <c:v>6.7351129363449704</c:v>
                </c:pt>
                <c:pt idx="79">
                  <c:v>6.7351129363449704</c:v>
                </c:pt>
                <c:pt idx="80">
                  <c:v>6.8008213552361401</c:v>
                </c:pt>
                <c:pt idx="81">
                  <c:v>6.8008213552361401</c:v>
                </c:pt>
                <c:pt idx="82">
                  <c:v>6.8665297741273097</c:v>
                </c:pt>
                <c:pt idx="83">
                  <c:v>6.8665297741273097</c:v>
                </c:pt>
                <c:pt idx="84">
                  <c:v>6.9322381930184802</c:v>
                </c:pt>
                <c:pt idx="85">
                  <c:v>6.9322381930184802</c:v>
                </c:pt>
                <c:pt idx="86">
                  <c:v>6.9650924024640704</c:v>
                </c:pt>
                <c:pt idx="87">
                  <c:v>6.9650924024640704</c:v>
                </c:pt>
                <c:pt idx="88">
                  <c:v>6.9650924024640704</c:v>
                </c:pt>
                <c:pt idx="89">
                  <c:v>6.9650924024640704</c:v>
                </c:pt>
                <c:pt idx="90">
                  <c:v>6.9979466119096498</c:v>
                </c:pt>
                <c:pt idx="91">
                  <c:v>6.9979466119096498</c:v>
                </c:pt>
                <c:pt idx="92">
                  <c:v>7.0636550308008204</c:v>
                </c:pt>
                <c:pt idx="93">
                  <c:v>7.0636550308008204</c:v>
                </c:pt>
                <c:pt idx="94">
                  <c:v>7.0636550308008204</c:v>
                </c:pt>
                <c:pt idx="95">
                  <c:v>7.0636550308008204</c:v>
                </c:pt>
                <c:pt idx="96">
                  <c:v>7.0965092402464096</c:v>
                </c:pt>
                <c:pt idx="97">
                  <c:v>7.0965092402464096</c:v>
                </c:pt>
                <c:pt idx="98">
                  <c:v>7.12936344969199</c:v>
                </c:pt>
                <c:pt idx="99">
                  <c:v>7.12936344969199</c:v>
                </c:pt>
                <c:pt idx="100">
                  <c:v>7.12936344969199</c:v>
                </c:pt>
                <c:pt idx="101">
                  <c:v>7.12936344969199</c:v>
                </c:pt>
                <c:pt idx="102">
                  <c:v>7.1622176591375801</c:v>
                </c:pt>
                <c:pt idx="103">
                  <c:v>7.1622176591375801</c:v>
                </c:pt>
                <c:pt idx="104">
                  <c:v>7.2936344969199203</c:v>
                </c:pt>
                <c:pt idx="105">
                  <c:v>7.2936344969199203</c:v>
                </c:pt>
                <c:pt idx="106">
                  <c:v>7.39219712525668</c:v>
                </c:pt>
                <c:pt idx="107">
                  <c:v>7.39219712525668</c:v>
                </c:pt>
                <c:pt idx="108">
                  <c:v>7.39219712525668</c:v>
                </c:pt>
                <c:pt idx="109">
                  <c:v>7.39219712525668</c:v>
                </c:pt>
                <c:pt idx="110">
                  <c:v>7.4250513347022604</c:v>
                </c:pt>
                <c:pt idx="111">
                  <c:v>7.4250513347022604</c:v>
                </c:pt>
                <c:pt idx="112">
                  <c:v>7.49075975359343</c:v>
                </c:pt>
                <c:pt idx="113">
                  <c:v>7.49075975359343</c:v>
                </c:pt>
                <c:pt idx="114">
                  <c:v>7.6878850102669398</c:v>
                </c:pt>
                <c:pt idx="115">
                  <c:v>7.6878850102669398</c:v>
                </c:pt>
                <c:pt idx="116">
                  <c:v>7.72073921971253</c:v>
                </c:pt>
                <c:pt idx="117">
                  <c:v>7.72073921971253</c:v>
                </c:pt>
                <c:pt idx="118">
                  <c:v>7.8521560574948701</c:v>
                </c:pt>
                <c:pt idx="119">
                  <c:v>7.8521560574948701</c:v>
                </c:pt>
                <c:pt idx="120">
                  <c:v>7.8521560574948701</c:v>
                </c:pt>
                <c:pt idx="121">
                  <c:v>7.8521560574948701</c:v>
                </c:pt>
                <c:pt idx="122">
                  <c:v>7.9178644763860397</c:v>
                </c:pt>
                <c:pt idx="123">
                  <c:v>7.9178644763860397</c:v>
                </c:pt>
                <c:pt idx="124">
                  <c:v>7.9507186858316201</c:v>
                </c:pt>
                <c:pt idx="125">
                  <c:v>7.9507186858316201</c:v>
                </c:pt>
                <c:pt idx="126">
                  <c:v>8.0821355236139691</c:v>
                </c:pt>
                <c:pt idx="127">
                  <c:v>8.0821355236139691</c:v>
                </c:pt>
                <c:pt idx="128">
                  <c:v>8.3121149897330593</c:v>
                </c:pt>
                <c:pt idx="129">
                  <c:v>8.3121149897330593</c:v>
                </c:pt>
                <c:pt idx="130">
                  <c:v>8.3121149897330593</c:v>
                </c:pt>
                <c:pt idx="131">
                  <c:v>8.3121149897330593</c:v>
                </c:pt>
                <c:pt idx="132">
                  <c:v>8.3449691991786494</c:v>
                </c:pt>
                <c:pt idx="133">
                  <c:v>8.3449691991786494</c:v>
                </c:pt>
                <c:pt idx="134">
                  <c:v>8.3449691991786494</c:v>
                </c:pt>
                <c:pt idx="135">
                  <c:v>8.3449691991786494</c:v>
                </c:pt>
                <c:pt idx="136">
                  <c:v>8.4435318275154003</c:v>
                </c:pt>
                <c:pt idx="137">
                  <c:v>8.4435318275154003</c:v>
                </c:pt>
                <c:pt idx="138">
                  <c:v>8.4435318275154003</c:v>
                </c:pt>
                <c:pt idx="139">
                  <c:v>8.4435318275154003</c:v>
                </c:pt>
                <c:pt idx="140">
                  <c:v>8.4763860369609905</c:v>
                </c:pt>
                <c:pt idx="141">
                  <c:v>8.4763860369609905</c:v>
                </c:pt>
                <c:pt idx="142">
                  <c:v>8.5420944558521601</c:v>
                </c:pt>
                <c:pt idx="143">
                  <c:v>8.5420944558521601</c:v>
                </c:pt>
                <c:pt idx="144">
                  <c:v>8.5749486652977396</c:v>
                </c:pt>
                <c:pt idx="145">
                  <c:v>8.5749486652977396</c:v>
                </c:pt>
                <c:pt idx="146">
                  <c:v>8.6078028747433297</c:v>
                </c:pt>
                <c:pt idx="147">
                  <c:v>8.6078028747433297</c:v>
                </c:pt>
                <c:pt idx="148">
                  <c:v>8.6735112936344994</c:v>
                </c:pt>
                <c:pt idx="149">
                  <c:v>8.6735112936344994</c:v>
                </c:pt>
                <c:pt idx="150">
                  <c:v>8.7392197125256708</c:v>
                </c:pt>
                <c:pt idx="151">
                  <c:v>8.7392197125256708</c:v>
                </c:pt>
                <c:pt idx="152">
                  <c:v>8.7720739219712502</c:v>
                </c:pt>
                <c:pt idx="153">
                  <c:v>8.7720739219712502</c:v>
                </c:pt>
                <c:pt idx="154">
                  <c:v>8.8049281314168404</c:v>
                </c:pt>
                <c:pt idx="155">
                  <c:v>8.8049281314168404</c:v>
                </c:pt>
                <c:pt idx="156">
                  <c:v>8.8377823408624305</c:v>
                </c:pt>
                <c:pt idx="157">
                  <c:v>8.8377823408624305</c:v>
                </c:pt>
                <c:pt idx="158">
                  <c:v>9.0020533880903493</c:v>
                </c:pt>
                <c:pt idx="159">
                  <c:v>9.0020533880903493</c:v>
                </c:pt>
                <c:pt idx="160">
                  <c:v>9.0349075975359394</c:v>
                </c:pt>
                <c:pt idx="161">
                  <c:v>9.0349075975359394</c:v>
                </c:pt>
                <c:pt idx="162">
                  <c:v>9.0677618069815207</c:v>
                </c:pt>
                <c:pt idx="163">
                  <c:v>9.0677618069815207</c:v>
                </c:pt>
                <c:pt idx="164">
                  <c:v>9.1334702258726903</c:v>
                </c:pt>
                <c:pt idx="165">
                  <c:v>9.1334702258726903</c:v>
                </c:pt>
                <c:pt idx="166">
                  <c:v>9.3305954825461992</c:v>
                </c:pt>
                <c:pt idx="167">
                  <c:v>9.3305954825461992</c:v>
                </c:pt>
                <c:pt idx="168">
                  <c:v>9.3634496919917893</c:v>
                </c:pt>
                <c:pt idx="169">
                  <c:v>9.3634496919917893</c:v>
                </c:pt>
                <c:pt idx="170">
                  <c:v>9.3634496919917893</c:v>
                </c:pt>
                <c:pt idx="171">
                  <c:v>9.3634496919917893</c:v>
                </c:pt>
                <c:pt idx="172">
                  <c:v>9.3963039014373706</c:v>
                </c:pt>
                <c:pt idx="173">
                  <c:v>9.3963039014373706</c:v>
                </c:pt>
                <c:pt idx="174">
                  <c:v>9.4291581108829607</c:v>
                </c:pt>
                <c:pt idx="175">
                  <c:v>9.4291581108829607</c:v>
                </c:pt>
                <c:pt idx="176">
                  <c:v>9.4620123203285402</c:v>
                </c:pt>
                <c:pt idx="177">
                  <c:v>9.4620123203285402</c:v>
                </c:pt>
                <c:pt idx="178">
                  <c:v>9.4948665297741304</c:v>
                </c:pt>
                <c:pt idx="179">
                  <c:v>9.4948665297741304</c:v>
                </c:pt>
                <c:pt idx="180">
                  <c:v>9.6919917864476393</c:v>
                </c:pt>
                <c:pt idx="181">
                  <c:v>9.6919917864476393</c:v>
                </c:pt>
                <c:pt idx="182">
                  <c:v>9.7248459958932294</c:v>
                </c:pt>
                <c:pt idx="183">
                  <c:v>9.7248459958932294</c:v>
                </c:pt>
                <c:pt idx="184">
                  <c:v>9.7577002053388107</c:v>
                </c:pt>
                <c:pt idx="185">
                  <c:v>9.7577002053388107</c:v>
                </c:pt>
                <c:pt idx="186">
                  <c:v>9.7577002053388107</c:v>
                </c:pt>
                <c:pt idx="187">
                  <c:v>9.7577002053388107</c:v>
                </c:pt>
                <c:pt idx="188">
                  <c:v>9.8562628336755704</c:v>
                </c:pt>
                <c:pt idx="189">
                  <c:v>9.8562628336755704</c:v>
                </c:pt>
                <c:pt idx="190">
                  <c:v>10.053388090349101</c:v>
                </c:pt>
                <c:pt idx="191">
                  <c:v>10.053388090349101</c:v>
                </c:pt>
                <c:pt idx="192">
                  <c:v>10.2833675564682</c:v>
                </c:pt>
                <c:pt idx="193">
                  <c:v>10.2833675564682</c:v>
                </c:pt>
                <c:pt idx="194">
                  <c:v>10.4147843942505</c:v>
                </c:pt>
                <c:pt idx="195">
                  <c:v>10.4147843942505</c:v>
                </c:pt>
                <c:pt idx="196">
                  <c:v>10.447638603696101</c:v>
                </c:pt>
                <c:pt idx="197">
                  <c:v>10.447638603696101</c:v>
                </c:pt>
                <c:pt idx="198">
                  <c:v>10.5133470225873</c:v>
                </c:pt>
                <c:pt idx="199">
                  <c:v>10.5133470225873</c:v>
                </c:pt>
                <c:pt idx="200">
                  <c:v>10.546201232032899</c:v>
                </c:pt>
                <c:pt idx="201">
                  <c:v>10.546201232032899</c:v>
                </c:pt>
                <c:pt idx="202">
                  <c:v>10.579055441478401</c:v>
                </c:pt>
                <c:pt idx="203">
                  <c:v>10.579055441478401</c:v>
                </c:pt>
                <c:pt idx="204">
                  <c:v>10.579055441478401</c:v>
                </c:pt>
                <c:pt idx="205">
                  <c:v>10.579055441478401</c:v>
                </c:pt>
                <c:pt idx="206">
                  <c:v>10.7104722792608</c:v>
                </c:pt>
                <c:pt idx="207">
                  <c:v>10.7104722792608</c:v>
                </c:pt>
                <c:pt idx="208">
                  <c:v>10.9075975359343</c:v>
                </c:pt>
                <c:pt idx="209">
                  <c:v>10.9075975359343</c:v>
                </c:pt>
                <c:pt idx="210">
                  <c:v>10.9404517453799</c:v>
                </c:pt>
                <c:pt idx="211">
                  <c:v>10.9404517453799</c:v>
                </c:pt>
                <c:pt idx="212">
                  <c:v>11.0718685831622</c:v>
                </c:pt>
                <c:pt idx="213">
                  <c:v>11.0718685831622</c:v>
                </c:pt>
                <c:pt idx="214">
                  <c:v>11.170431211499</c:v>
                </c:pt>
                <c:pt idx="215">
                  <c:v>11.170431211499</c:v>
                </c:pt>
                <c:pt idx="216">
                  <c:v>11.2689938398357</c:v>
                </c:pt>
                <c:pt idx="217">
                  <c:v>11.2689938398357</c:v>
                </c:pt>
                <c:pt idx="218">
                  <c:v>11.2689938398357</c:v>
                </c:pt>
                <c:pt idx="219">
                  <c:v>11.2689938398357</c:v>
                </c:pt>
                <c:pt idx="220">
                  <c:v>11.3347022587269</c:v>
                </c:pt>
                <c:pt idx="221">
                  <c:v>11.3347022587269</c:v>
                </c:pt>
                <c:pt idx="222">
                  <c:v>11.400410677618099</c:v>
                </c:pt>
                <c:pt idx="223">
                  <c:v>11.400410677618099</c:v>
                </c:pt>
                <c:pt idx="224">
                  <c:v>11.597535934291599</c:v>
                </c:pt>
                <c:pt idx="225">
                  <c:v>11.597535934291599</c:v>
                </c:pt>
                <c:pt idx="226">
                  <c:v>11.6960985626283</c:v>
                </c:pt>
                <c:pt idx="227">
                  <c:v>11.6960985626283</c:v>
                </c:pt>
                <c:pt idx="228">
                  <c:v>11.7289527720739</c:v>
                </c:pt>
                <c:pt idx="229">
                  <c:v>11.7289527720739</c:v>
                </c:pt>
                <c:pt idx="230">
                  <c:v>11.8275154004107</c:v>
                </c:pt>
                <c:pt idx="231">
                  <c:v>11.8275154004107</c:v>
                </c:pt>
                <c:pt idx="232">
                  <c:v>11.958932238193</c:v>
                </c:pt>
                <c:pt idx="233">
                  <c:v>11.958932238193</c:v>
                </c:pt>
                <c:pt idx="234">
                  <c:v>12.1560574948665</c:v>
                </c:pt>
                <c:pt idx="235">
                  <c:v>12.1560574948665</c:v>
                </c:pt>
                <c:pt idx="236">
                  <c:v>12.714579055441501</c:v>
                </c:pt>
                <c:pt idx="237">
                  <c:v>12.714579055441501</c:v>
                </c:pt>
                <c:pt idx="238">
                  <c:v>12.7474332648871</c:v>
                </c:pt>
                <c:pt idx="239">
                  <c:v>12.7474332648871</c:v>
                </c:pt>
                <c:pt idx="240">
                  <c:v>12.845995893223799</c:v>
                </c:pt>
                <c:pt idx="241">
                  <c:v>12.845995893223799</c:v>
                </c:pt>
                <c:pt idx="242">
                  <c:v>13.108829568788501</c:v>
                </c:pt>
                <c:pt idx="243">
                  <c:v>13.108829568788501</c:v>
                </c:pt>
                <c:pt idx="244">
                  <c:v>13.2731006160164</c:v>
                </c:pt>
                <c:pt idx="245">
                  <c:v>13.2731006160164</c:v>
                </c:pt>
                <c:pt idx="246">
                  <c:v>13.371663244353201</c:v>
                </c:pt>
                <c:pt idx="247">
                  <c:v>13.371663244353201</c:v>
                </c:pt>
                <c:pt idx="248">
                  <c:v>13.371663244353201</c:v>
                </c:pt>
                <c:pt idx="249">
                  <c:v>13.371663244353201</c:v>
                </c:pt>
                <c:pt idx="250">
                  <c:v>13.4373716632444</c:v>
                </c:pt>
                <c:pt idx="251">
                  <c:v>13.4373716632444</c:v>
                </c:pt>
                <c:pt idx="252">
                  <c:v>13.667351129363499</c:v>
                </c:pt>
                <c:pt idx="253">
                  <c:v>13.667351129363499</c:v>
                </c:pt>
                <c:pt idx="254">
                  <c:v>13.700205338809001</c:v>
                </c:pt>
                <c:pt idx="255">
                  <c:v>13.700205338809001</c:v>
                </c:pt>
                <c:pt idx="256">
                  <c:v>14.0616016427105</c:v>
                </c:pt>
                <c:pt idx="257">
                  <c:v>14.0616016427105</c:v>
                </c:pt>
                <c:pt idx="258">
                  <c:v>14.2915811088296</c:v>
                </c:pt>
                <c:pt idx="259">
                  <c:v>14.2915811088296</c:v>
                </c:pt>
                <c:pt idx="260">
                  <c:v>14.3901437371663</c:v>
                </c:pt>
                <c:pt idx="261">
                  <c:v>14.3901437371663</c:v>
                </c:pt>
                <c:pt idx="262">
                  <c:v>14.4558521560575</c:v>
                </c:pt>
                <c:pt idx="263">
                  <c:v>14.4558521560575</c:v>
                </c:pt>
                <c:pt idx="264">
                  <c:v>14.521560574948699</c:v>
                </c:pt>
                <c:pt idx="265">
                  <c:v>14.521560574948699</c:v>
                </c:pt>
                <c:pt idx="266">
                  <c:v>14.5872689938398</c:v>
                </c:pt>
                <c:pt idx="267">
                  <c:v>14.5872689938398</c:v>
                </c:pt>
                <c:pt idx="268">
                  <c:v>14.718685831622199</c:v>
                </c:pt>
                <c:pt idx="269">
                  <c:v>14.718685831622199</c:v>
                </c:pt>
                <c:pt idx="270">
                  <c:v>14.7515400410678</c:v>
                </c:pt>
                <c:pt idx="271">
                  <c:v>14.7515400410678</c:v>
                </c:pt>
                <c:pt idx="272">
                  <c:v>14.8172484599589</c:v>
                </c:pt>
                <c:pt idx="273">
                  <c:v>14.8172484599589</c:v>
                </c:pt>
                <c:pt idx="274">
                  <c:v>15.2443531827515</c:v>
                </c:pt>
                <c:pt idx="275">
                  <c:v>15.2443531827515</c:v>
                </c:pt>
                <c:pt idx="276">
                  <c:v>15.5400410677618</c:v>
                </c:pt>
                <c:pt idx="277">
                  <c:v>15.5400410677618</c:v>
                </c:pt>
                <c:pt idx="278">
                  <c:v>15.6714579055442</c:v>
                </c:pt>
                <c:pt idx="279">
                  <c:v>15.6714579055442</c:v>
                </c:pt>
                <c:pt idx="280">
                  <c:v>15.7371663244353</c:v>
                </c:pt>
                <c:pt idx="281">
                  <c:v>15.7371663244353</c:v>
                </c:pt>
                <c:pt idx="282">
                  <c:v>16.229979466119101</c:v>
                </c:pt>
                <c:pt idx="283">
                  <c:v>16.229979466119101</c:v>
                </c:pt>
                <c:pt idx="284">
                  <c:v>16.427104722792599</c:v>
                </c:pt>
                <c:pt idx="285">
                  <c:v>16.427104722792599</c:v>
                </c:pt>
                <c:pt idx="286">
                  <c:v>16.591375770020498</c:v>
                </c:pt>
                <c:pt idx="287">
                  <c:v>16.591375770020498</c:v>
                </c:pt>
                <c:pt idx="288">
                  <c:v>16.6570841889117</c:v>
                </c:pt>
                <c:pt idx="289">
                  <c:v>16.6570841889117</c:v>
                </c:pt>
                <c:pt idx="290">
                  <c:v>16.7556468172485</c:v>
                </c:pt>
                <c:pt idx="291">
                  <c:v>16.7556468172485</c:v>
                </c:pt>
                <c:pt idx="292">
                  <c:v>17.018480492813101</c:v>
                </c:pt>
                <c:pt idx="293">
                  <c:v>17.018480492813101</c:v>
                </c:pt>
                <c:pt idx="294">
                  <c:v>17.117043121149901</c:v>
                </c:pt>
                <c:pt idx="295">
                  <c:v>17.117043121149901</c:v>
                </c:pt>
                <c:pt idx="296">
                  <c:v>17.7084188911704</c:v>
                </c:pt>
                <c:pt idx="297">
                  <c:v>17.7084188911704</c:v>
                </c:pt>
                <c:pt idx="298">
                  <c:v>17.741273100615999</c:v>
                </c:pt>
                <c:pt idx="299">
                  <c:v>17.741273100615999</c:v>
                </c:pt>
                <c:pt idx="300">
                  <c:v>17.741273100615999</c:v>
                </c:pt>
                <c:pt idx="301">
                  <c:v>17.741273100615999</c:v>
                </c:pt>
                <c:pt idx="302">
                  <c:v>17.8069815195072</c:v>
                </c:pt>
                <c:pt idx="303">
                  <c:v>17.8069815195072</c:v>
                </c:pt>
                <c:pt idx="304">
                  <c:v>17.839835728952799</c:v>
                </c:pt>
                <c:pt idx="305">
                  <c:v>17.839835728952799</c:v>
                </c:pt>
                <c:pt idx="306">
                  <c:v>18.135523613962999</c:v>
                </c:pt>
                <c:pt idx="307">
                  <c:v>18.135523613962999</c:v>
                </c:pt>
                <c:pt idx="308">
                  <c:v>18.825462012320301</c:v>
                </c:pt>
                <c:pt idx="309">
                  <c:v>18.825462012320301</c:v>
                </c:pt>
                <c:pt idx="310">
                  <c:v>18.956878850102701</c:v>
                </c:pt>
                <c:pt idx="311">
                  <c:v>18.956878850102701</c:v>
                </c:pt>
                <c:pt idx="312">
                  <c:v>19.1211498973306</c:v>
                </c:pt>
                <c:pt idx="313">
                  <c:v>19.1211498973306</c:v>
                </c:pt>
                <c:pt idx="314">
                  <c:v>19.318275154004098</c:v>
                </c:pt>
                <c:pt idx="315">
                  <c:v>19.318275154004098</c:v>
                </c:pt>
                <c:pt idx="316">
                  <c:v>20.008213552361401</c:v>
                </c:pt>
                <c:pt idx="317">
                  <c:v>20.008213552361401</c:v>
                </c:pt>
                <c:pt idx="318">
                  <c:v>20.2710472279261</c:v>
                </c:pt>
                <c:pt idx="319">
                  <c:v>20.2710472279261</c:v>
                </c:pt>
                <c:pt idx="320">
                  <c:v>20.402464065708401</c:v>
                </c:pt>
                <c:pt idx="321">
                  <c:v>20.402464065708401</c:v>
                </c:pt>
                <c:pt idx="322">
                  <c:v>20.960985626283399</c:v>
                </c:pt>
                <c:pt idx="323">
                  <c:v>20.960985626283399</c:v>
                </c:pt>
                <c:pt idx="324">
                  <c:v>21.880903490759799</c:v>
                </c:pt>
                <c:pt idx="325">
                  <c:v>21.880903490759799</c:v>
                </c:pt>
                <c:pt idx="326">
                  <c:v>22.603696098562601</c:v>
                </c:pt>
                <c:pt idx="327">
                  <c:v>22.603696098562601</c:v>
                </c:pt>
                <c:pt idx="328">
                  <c:v>22.965092402464101</c:v>
                </c:pt>
                <c:pt idx="329">
                  <c:v>22.965092402464101</c:v>
                </c:pt>
                <c:pt idx="330">
                  <c:v>23.425051334702299</c:v>
                </c:pt>
                <c:pt idx="331">
                  <c:v>23.425051334702299</c:v>
                </c:pt>
                <c:pt idx="332">
                  <c:v>23.523613963039001</c:v>
                </c:pt>
                <c:pt idx="333">
                  <c:v>23.523613963039001</c:v>
                </c:pt>
                <c:pt idx="334">
                  <c:v>23.5564681724846</c:v>
                </c:pt>
                <c:pt idx="335">
                  <c:v>23.5564681724846</c:v>
                </c:pt>
                <c:pt idx="336">
                  <c:v>23.753593429158101</c:v>
                </c:pt>
                <c:pt idx="337">
                  <c:v>23.753593429158101</c:v>
                </c:pt>
                <c:pt idx="338">
                  <c:v>23.885010266940501</c:v>
                </c:pt>
                <c:pt idx="339">
                  <c:v>23.885010266940501</c:v>
                </c:pt>
                <c:pt idx="340">
                  <c:v>24.2135523613963</c:v>
                </c:pt>
                <c:pt idx="341">
                  <c:v>24.2135523613963</c:v>
                </c:pt>
                <c:pt idx="342">
                  <c:v>24.640657084188899</c:v>
                </c:pt>
                <c:pt idx="343">
                  <c:v>24.640657084188899</c:v>
                </c:pt>
                <c:pt idx="344">
                  <c:v>25.002053388090399</c:v>
                </c:pt>
                <c:pt idx="345">
                  <c:v>25.002053388090399</c:v>
                </c:pt>
                <c:pt idx="346">
                  <c:v>25.034907597535899</c:v>
                </c:pt>
                <c:pt idx="347">
                  <c:v>25.034907597535899</c:v>
                </c:pt>
                <c:pt idx="348">
                  <c:v>25.396303901437399</c:v>
                </c:pt>
                <c:pt idx="349">
                  <c:v>25.396303901437399</c:v>
                </c:pt>
                <c:pt idx="350">
                  <c:v>25.659137577002099</c:v>
                </c:pt>
                <c:pt idx="351">
                  <c:v>25.659137577002099</c:v>
                </c:pt>
                <c:pt idx="352">
                  <c:v>25.987679671457901</c:v>
                </c:pt>
                <c:pt idx="353">
                  <c:v>25.987679671457901</c:v>
                </c:pt>
                <c:pt idx="354">
                  <c:v>26.480492813141701</c:v>
                </c:pt>
                <c:pt idx="355">
                  <c:v>26.480492813141701</c:v>
                </c:pt>
                <c:pt idx="356">
                  <c:v>26.5133470225873</c:v>
                </c:pt>
                <c:pt idx="357">
                  <c:v>26.5133470225873</c:v>
                </c:pt>
                <c:pt idx="358">
                  <c:v>26.8090349075975</c:v>
                </c:pt>
                <c:pt idx="359">
                  <c:v>26.8090349075975</c:v>
                </c:pt>
                <c:pt idx="360">
                  <c:v>27.400410677618101</c:v>
                </c:pt>
                <c:pt idx="361">
                  <c:v>27.400410677618101</c:v>
                </c:pt>
                <c:pt idx="362">
                  <c:v>28.583162217659101</c:v>
                </c:pt>
                <c:pt idx="363">
                  <c:v>28.583162217659101</c:v>
                </c:pt>
                <c:pt idx="364">
                  <c:v>29.338809034907602</c:v>
                </c:pt>
                <c:pt idx="365">
                  <c:v>29.338809034907602</c:v>
                </c:pt>
                <c:pt idx="366">
                  <c:v>29.338809034907602</c:v>
                </c:pt>
                <c:pt idx="367">
                  <c:v>29.338809034907602</c:v>
                </c:pt>
                <c:pt idx="368">
                  <c:v>29.470225872689898</c:v>
                </c:pt>
                <c:pt idx="369">
                  <c:v>29.470225872689898</c:v>
                </c:pt>
                <c:pt idx="370">
                  <c:v>29.733059548254602</c:v>
                </c:pt>
                <c:pt idx="371">
                  <c:v>29.733059548254602</c:v>
                </c:pt>
                <c:pt idx="372">
                  <c:v>29.995893223819301</c:v>
                </c:pt>
                <c:pt idx="373">
                  <c:v>29.995893223819301</c:v>
                </c:pt>
                <c:pt idx="374">
                  <c:v>30.127310061601701</c:v>
                </c:pt>
                <c:pt idx="375">
                  <c:v>30.127310061601701</c:v>
                </c:pt>
                <c:pt idx="376">
                  <c:v>31.178644763860401</c:v>
                </c:pt>
                <c:pt idx="377">
                  <c:v>31.178644763860401</c:v>
                </c:pt>
                <c:pt idx="378">
                  <c:v>31.310061601642701</c:v>
                </c:pt>
                <c:pt idx="379">
                  <c:v>31.310061601642701</c:v>
                </c:pt>
                <c:pt idx="380">
                  <c:v>31.8685831622177</c:v>
                </c:pt>
                <c:pt idx="381">
                  <c:v>31.8685831622177</c:v>
                </c:pt>
                <c:pt idx="382">
                  <c:v>32.197125256673502</c:v>
                </c:pt>
                <c:pt idx="383">
                  <c:v>32.197125256673502</c:v>
                </c:pt>
                <c:pt idx="384">
                  <c:v>32.492813141683797</c:v>
                </c:pt>
                <c:pt idx="385">
                  <c:v>32.492813141683797</c:v>
                </c:pt>
                <c:pt idx="386">
                  <c:v>32.689938398357299</c:v>
                </c:pt>
                <c:pt idx="387">
                  <c:v>32.689938398357299</c:v>
                </c:pt>
                <c:pt idx="388">
                  <c:v>32.722792607802901</c:v>
                </c:pt>
                <c:pt idx="389">
                  <c:v>32.722792607802901</c:v>
                </c:pt>
                <c:pt idx="390">
                  <c:v>32.722792607802901</c:v>
                </c:pt>
                <c:pt idx="391">
                  <c:v>32.722792607802901</c:v>
                </c:pt>
                <c:pt idx="392">
                  <c:v>32.755646817248497</c:v>
                </c:pt>
                <c:pt idx="393">
                  <c:v>32.755646817248497</c:v>
                </c:pt>
                <c:pt idx="394">
                  <c:v>33.084188911704302</c:v>
                </c:pt>
                <c:pt idx="395">
                  <c:v>33.084188911704302</c:v>
                </c:pt>
                <c:pt idx="396">
                  <c:v>33.117043121149898</c:v>
                </c:pt>
                <c:pt idx="397">
                  <c:v>33.117043121149898</c:v>
                </c:pt>
                <c:pt idx="398">
                  <c:v>33.117043121149898</c:v>
                </c:pt>
                <c:pt idx="399">
                  <c:v>33.117043121149898</c:v>
                </c:pt>
                <c:pt idx="400">
                  <c:v>33.4127310061602</c:v>
                </c:pt>
                <c:pt idx="401">
                  <c:v>33.4127310061602</c:v>
                </c:pt>
                <c:pt idx="402">
                  <c:v>33.478439425051299</c:v>
                </c:pt>
                <c:pt idx="403">
                  <c:v>33.478439425051299</c:v>
                </c:pt>
                <c:pt idx="404">
                  <c:v>33.609856262833702</c:v>
                </c:pt>
                <c:pt idx="405">
                  <c:v>33.609856262833702</c:v>
                </c:pt>
                <c:pt idx="406">
                  <c:v>34.102669404517499</c:v>
                </c:pt>
                <c:pt idx="407">
                  <c:v>34.102669404517499</c:v>
                </c:pt>
                <c:pt idx="408">
                  <c:v>34.496919917864503</c:v>
                </c:pt>
                <c:pt idx="409">
                  <c:v>34.496919917864503</c:v>
                </c:pt>
                <c:pt idx="410">
                  <c:v>34.529774127310098</c:v>
                </c:pt>
                <c:pt idx="411">
                  <c:v>34.529774127310098</c:v>
                </c:pt>
                <c:pt idx="412">
                  <c:v>34.595482546201197</c:v>
                </c:pt>
                <c:pt idx="413">
                  <c:v>34.595482546201197</c:v>
                </c:pt>
                <c:pt idx="414">
                  <c:v>35.154004106776199</c:v>
                </c:pt>
                <c:pt idx="415">
                  <c:v>35.154004106776199</c:v>
                </c:pt>
                <c:pt idx="416">
                  <c:v>36.073921971252602</c:v>
                </c:pt>
                <c:pt idx="417">
                  <c:v>36.073921971252602</c:v>
                </c:pt>
                <c:pt idx="418">
                  <c:v>36.139630390143701</c:v>
                </c:pt>
                <c:pt idx="419">
                  <c:v>36.139630390143701</c:v>
                </c:pt>
                <c:pt idx="420">
                  <c:v>36.402464065708401</c:v>
                </c:pt>
                <c:pt idx="421">
                  <c:v>36.402464065708401</c:v>
                </c:pt>
                <c:pt idx="422">
                  <c:v>36.731006160164299</c:v>
                </c:pt>
                <c:pt idx="423">
                  <c:v>36.731006160164299</c:v>
                </c:pt>
                <c:pt idx="424">
                  <c:v>37.026694045174501</c:v>
                </c:pt>
                <c:pt idx="425">
                  <c:v>37.026694045174501</c:v>
                </c:pt>
              </c:numCache>
            </c:numRef>
          </c:xVal>
          <c:yVal>
            <c:numRef>
              <c:f>OS_KM!$U$2:$U$452</c:f>
              <c:numCache>
                <c:formatCode>.000</c:formatCode>
                <c:ptCount val="451"/>
                <c:pt idx="0">
                  <c:v>100</c:v>
                </c:pt>
                <c:pt idx="1">
                  <c:v>100</c:v>
                </c:pt>
                <c:pt idx="2">
                  <c:v>100</c:v>
                </c:pt>
                <c:pt idx="3">
                  <c:v>100</c:v>
                </c:pt>
                <c:pt idx="4">
                  <c:v>100</c:v>
                </c:pt>
                <c:pt idx="5">
                  <c:v>99.541284403669806</c:v>
                </c:pt>
                <c:pt idx="6">
                  <c:v>99.541284403669806</c:v>
                </c:pt>
                <c:pt idx="7">
                  <c:v>99.082568807339499</c:v>
                </c:pt>
                <c:pt idx="8">
                  <c:v>99.082568807339499</c:v>
                </c:pt>
                <c:pt idx="9">
                  <c:v>98.623853211009205</c:v>
                </c:pt>
                <c:pt idx="10">
                  <c:v>98.623853211009205</c:v>
                </c:pt>
                <c:pt idx="11">
                  <c:v>98.165137614678898</c:v>
                </c:pt>
                <c:pt idx="12">
                  <c:v>98.165137614678898</c:v>
                </c:pt>
                <c:pt idx="13">
                  <c:v>97.706422018348704</c:v>
                </c:pt>
                <c:pt idx="14">
                  <c:v>97.706422018348704</c:v>
                </c:pt>
                <c:pt idx="15">
                  <c:v>97.247706422018396</c:v>
                </c:pt>
                <c:pt idx="16">
                  <c:v>97.247706422018396</c:v>
                </c:pt>
                <c:pt idx="17">
                  <c:v>96.788990825688103</c:v>
                </c:pt>
                <c:pt idx="18">
                  <c:v>96.788990825688103</c:v>
                </c:pt>
                <c:pt idx="19">
                  <c:v>96.788990825688103</c:v>
                </c:pt>
                <c:pt idx="20">
                  <c:v>96.788990825688103</c:v>
                </c:pt>
                <c:pt idx="21">
                  <c:v>96.328090869375302</c:v>
                </c:pt>
                <c:pt idx="22">
                  <c:v>96.328090869375302</c:v>
                </c:pt>
                <c:pt idx="23">
                  <c:v>95.867190913062501</c:v>
                </c:pt>
                <c:pt idx="24">
                  <c:v>95.867190913062501</c:v>
                </c:pt>
                <c:pt idx="25">
                  <c:v>95.4062909567497</c:v>
                </c:pt>
                <c:pt idx="26">
                  <c:v>95.4062909567497</c:v>
                </c:pt>
                <c:pt idx="27">
                  <c:v>94.945391000436899</c:v>
                </c:pt>
                <c:pt idx="28">
                  <c:v>94.945391000436899</c:v>
                </c:pt>
                <c:pt idx="29">
                  <c:v>94.484491044124098</c:v>
                </c:pt>
                <c:pt idx="30">
                  <c:v>94.484491044124098</c:v>
                </c:pt>
                <c:pt idx="31">
                  <c:v>94.023591087811297</c:v>
                </c:pt>
                <c:pt idx="32">
                  <c:v>94.023591087811297</c:v>
                </c:pt>
                <c:pt idx="33">
                  <c:v>93.562691131498497</c:v>
                </c:pt>
                <c:pt idx="34">
                  <c:v>93.562691131498497</c:v>
                </c:pt>
                <c:pt idx="35">
                  <c:v>93.101791175185696</c:v>
                </c:pt>
                <c:pt idx="36">
                  <c:v>93.101791175185696</c:v>
                </c:pt>
                <c:pt idx="37">
                  <c:v>92.640891218872895</c:v>
                </c:pt>
                <c:pt idx="38">
                  <c:v>92.640891218872895</c:v>
                </c:pt>
                <c:pt idx="39">
                  <c:v>92.179991262560094</c:v>
                </c:pt>
                <c:pt idx="40">
                  <c:v>92.179991262560094</c:v>
                </c:pt>
                <c:pt idx="41">
                  <c:v>91.258191349934506</c:v>
                </c:pt>
                <c:pt idx="42">
                  <c:v>91.258191349934506</c:v>
                </c:pt>
                <c:pt idx="43">
                  <c:v>90.797291393621705</c:v>
                </c:pt>
                <c:pt idx="44">
                  <c:v>90.797291393621705</c:v>
                </c:pt>
                <c:pt idx="45">
                  <c:v>90.336391437308905</c:v>
                </c:pt>
                <c:pt idx="46">
                  <c:v>90.336391437308905</c:v>
                </c:pt>
                <c:pt idx="47">
                  <c:v>89.414591524683303</c:v>
                </c:pt>
                <c:pt idx="48">
                  <c:v>89.414591524683303</c:v>
                </c:pt>
                <c:pt idx="49">
                  <c:v>88.953691568370502</c:v>
                </c:pt>
                <c:pt idx="50">
                  <c:v>88.953691568370502</c:v>
                </c:pt>
                <c:pt idx="51">
                  <c:v>88.492791612057701</c:v>
                </c:pt>
                <c:pt idx="52">
                  <c:v>88.492791612057701</c:v>
                </c:pt>
                <c:pt idx="53">
                  <c:v>88.0318916557449</c:v>
                </c:pt>
                <c:pt idx="54">
                  <c:v>88.0318916557449</c:v>
                </c:pt>
                <c:pt idx="55">
                  <c:v>88.0318916557449</c:v>
                </c:pt>
                <c:pt idx="56">
                  <c:v>88.0318916557449</c:v>
                </c:pt>
                <c:pt idx="57">
                  <c:v>87.568565910188397</c:v>
                </c:pt>
                <c:pt idx="58">
                  <c:v>87.568565910188397</c:v>
                </c:pt>
                <c:pt idx="59">
                  <c:v>87.105240164631795</c:v>
                </c:pt>
                <c:pt idx="60">
                  <c:v>87.105240164631795</c:v>
                </c:pt>
                <c:pt idx="61">
                  <c:v>86.641914419075306</c:v>
                </c:pt>
                <c:pt idx="62">
                  <c:v>86.641914419075306</c:v>
                </c:pt>
                <c:pt idx="63">
                  <c:v>86.641914419075306</c:v>
                </c:pt>
                <c:pt idx="64">
                  <c:v>86.641914419075306</c:v>
                </c:pt>
                <c:pt idx="65">
                  <c:v>85.710280930698104</c:v>
                </c:pt>
                <c:pt idx="66">
                  <c:v>85.710280930698104</c:v>
                </c:pt>
                <c:pt idx="67">
                  <c:v>85.710280930698104</c:v>
                </c:pt>
                <c:pt idx="68">
                  <c:v>85.710280930698104</c:v>
                </c:pt>
                <c:pt idx="69">
                  <c:v>85.710280930698104</c:v>
                </c:pt>
                <c:pt idx="70">
                  <c:v>85.710280930698104</c:v>
                </c:pt>
                <c:pt idx="71">
                  <c:v>85.710280930698104</c:v>
                </c:pt>
                <c:pt idx="72">
                  <c:v>85.710280930698104</c:v>
                </c:pt>
                <c:pt idx="73">
                  <c:v>85.236743466992607</c:v>
                </c:pt>
                <c:pt idx="74">
                  <c:v>85.236743466992607</c:v>
                </c:pt>
                <c:pt idx="75">
                  <c:v>84.763206003287095</c:v>
                </c:pt>
                <c:pt idx="76">
                  <c:v>84.763206003287095</c:v>
                </c:pt>
                <c:pt idx="77">
                  <c:v>84.763206003287095</c:v>
                </c:pt>
                <c:pt idx="78">
                  <c:v>84.763206003287095</c:v>
                </c:pt>
                <c:pt idx="79">
                  <c:v>84.287008216751801</c:v>
                </c:pt>
                <c:pt idx="80">
                  <c:v>84.287008216751801</c:v>
                </c:pt>
                <c:pt idx="81">
                  <c:v>84.287008216751801</c:v>
                </c:pt>
                <c:pt idx="82">
                  <c:v>84.287008216751801</c:v>
                </c:pt>
                <c:pt idx="83">
                  <c:v>84.287008216751801</c:v>
                </c:pt>
                <c:pt idx="84">
                  <c:v>84.287008216751801</c:v>
                </c:pt>
                <c:pt idx="85">
                  <c:v>83.805368169798896</c:v>
                </c:pt>
                <c:pt idx="86">
                  <c:v>83.805368169798896</c:v>
                </c:pt>
                <c:pt idx="87">
                  <c:v>83.323728122846006</c:v>
                </c:pt>
                <c:pt idx="88">
                  <c:v>83.323728122846006</c:v>
                </c:pt>
                <c:pt idx="89">
                  <c:v>83.323728122846006</c:v>
                </c:pt>
                <c:pt idx="90">
                  <c:v>83.323728122846006</c:v>
                </c:pt>
                <c:pt idx="91">
                  <c:v>83.323728122846006</c:v>
                </c:pt>
                <c:pt idx="92">
                  <c:v>83.323728122846006</c:v>
                </c:pt>
                <c:pt idx="93">
                  <c:v>82.836454858969702</c:v>
                </c:pt>
                <c:pt idx="94">
                  <c:v>82.836454858969702</c:v>
                </c:pt>
                <c:pt idx="95">
                  <c:v>82.836454858969702</c:v>
                </c:pt>
                <c:pt idx="96">
                  <c:v>82.836454858969702</c:v>
                </c:pt>
                <c:pt idx="97">
                  <c:v>82.346298321342701</c:v>
                </c:pt>
                <c:pt idx="98">
                  <c:v>82.346298321342701</c:v>
                </c:pt>
                <c:pt idx="99">
                  <c:v>82.346298321342701</c:v>
                </c:pt>
                <c:pt idx="100">
                  <c:v>82.346298321342701</c:v>
                </c:pt>
                <c:pt idx="101">
                  <c:v>82.346298321342701</c:v>
                </c:pt>
                <c:pt idx="102">
                  <c:v>82.346298321342701</c:v>
                </c:pt>
                <c:pt idx="103">
                  <c:v>82.346298321342701</c:v>
                </c:pt>
                <c:pt idx="104">
                  <c:v>82.346298321342701</c:v>
                </c:pt>
                <c:pt idx="105">
                  <c:v>81.847229846667901</c:v>
                </c:pt>
                <c:pt idx="106">
                  <c:v>81.847229846667901</c:v>
                </c:pt>
                <c:pt idx="107">
                  <c:v>81.847229846667901</c:v>
                </c:pt>
                <c:pt idx="108">
                  <c:v>81.847229846667901</c:v>
                </c:pt>
                <c:pt idx="109">
                  <c:v>81.847229846667901</c:v>
                </c:pt>
                <c:pt idx="110">
                  <c:v>81.847229846667901</c:v>
                </c:pt>
                <c:pt idx="111">
                  <c:v>81.847229846667901</c:v>
                </c:pt>
                <c:pt idx="112">
                  <c:v>81.847229846667901</c:v>
                </c:pt>
                <c:pt idx="113">
                  <c:v>81.338861959421493</c:v>
                </c:pt>
                <c:pt idx="114">
                  <c:v>81.338861959421493</c:v>
                </c:pt>
                <c:pt idx="115">
                  <c:v>80.8304940721751</c:v>
                </c:pt>
                <c:pt idx="116">
                  <c:v>80.8304940721751</c:v>
                </c:pt>
                <c:pt idx="117">
                  <c:v>80.8304940721751</c:v>
                </c:pt>
                <c:pt idx="118">
                  <c:v>80.8304940721751</c:v>
                </c:pt>
                <c:pt idx="119">
                  <c:v>80.318908666655005</c:v>
                </c:pt>
                <c:pt idx="120">
                  <c:v>80.318908666655005</c:v>
                </c:pt>
                <c:pt idx="121">
                  <c:v>80.318908666655005</c:v>
                </c:pt>
                <c:pt idx="122">
                  <c:v>80.318908666655005</c:v>
                </c:pt>
                <c:pt idx="123">
                  <c:v>79.289179068364604</c:v>
                </c:pt>
                <c:pt idx="124">
                  <c:v>79.289179068364604</c:v>
                </c:pt>
                <c:pt idx="125">
                  <c:v>78.774314269219403</c:v>
                </c:pt>
                <c:pt idx="126">
                  <c:v>78.774314269219403</c:v>
                </c:pt>
                <c:pt idx="127">
                  <c:v>78.259449470074202</c:v>
                </c:pt>
                <c:pt idx="128">
                  <c:v>78.259449470074202</c:v>
                </c:pt>
                <c:pt idx="129">
                  <c:v>77.744584670928901</c:v>
                </c:pt>
                <c:pt idx="130">
                  <c:v>77.744584670928901</c:v>
                </c:pt>
                <c:pt idx="131">
                  <c:v>77.744584670928901</c:v>
                </c:pt>
                <c:pt idx="132">
                  <c:v>77.744584670928901</c:v>
                </c:pt>
                <c:pt idx="133">
                  <c:v>77.744584670928901</c:v>
                </c:pt>
                <c:pt idx="134">
                  <c:v>77.744584670928901</c:v>
                </c:pt>
                <c:pt idx="135">
                  <c:v>77.744584670928901</c:v>
                </c:pt>
                <c:pt idx="136">
                  <c:v>77.744584670928901</c:v>
                </c:pt>
                <c:pt idx="137">
                  <c:v>77.219283423152405</c:v>
                </c:pt>
                <c:pt idx="138">
                  <c:v>77.219283423152405</c:v>
                </c:pt>
                <c:pt idx="139">
                  <c:v>77.219283423152405</c:v>
                </c:pt>
                <c:pt idx="140">
                  <c:v>77.219283423152405</c:v>
                </c:pt>
                <c:pt idx="141">
                  <c:v>76.690384221623901</c:v>
                </c:pt>
                <c:pt idx="142">
                  <c:v>76.690384221623901</c:v>
                </c:pt>
                <c:pt idx="143">
                  <c:v>76.690384221623901</c:v>
                </c:pt>
                <c:pt idx="144">
                  <c:v>76.690384221623901</c:v>
                </c:pt>
                <c:pt idx="145">
                  <c:v>76.690384221623901</c:v>
                </c:pt>
                <c:pt idx="146">
                  <c:v>76.690384221623901</c:v>
                </c:pt>
                <c:pt idx="147">
                  <c:v>76.154087828465705</c:v>
                </c:pt>
                <c:pt idx="148">
                  <c:v>76.154087828465705</c:v>
                </c:pt>
                <c:pt idx="149">
                  <c:v>75.617791435307495</c:v>
                </c:pt>
                <c:pt idx="150">
                  <c:v>75.617791435307495</c:v>
                </c:pt>
                <c:pt idx="151">
                  <c:v>75.081495042149299</c:v>
                </c:pt>
                <c:pt idx="152">
                  <c:v>75.081495042149299</c:v>
                </c:pt>
                <c:pt idx="153">
                  <c:v>74.545198648991104</c:v>
                </c:pt>
                <c:pt idx="154">
                  <c:v>74.545198648991104</c:v>
                </c:pt>
                <c:pt idx="155">
                  <c:v>74.545198648991104</c:v>
                </c:pt>
                <c:pt idx="156">
                  <c:v>74.545198648991104</c:v>
                </c:pt>
                <c:pt idx="157">
                  <c:v>74.545198648991104</c:v>
                </c:pt>
                <c:pt idx="158">
                  <c:v>74.545198648991104</c:v>
                </c:pt>
                <c:pt idx="159">
                  <c:v>74.545198648991104</c:v>
                </c:pt>
                <c:pt idx="160">
                  <c:v>74.545198648991104</c:v>
                </c:pt>
                <c:pt idx="161">
                  <c:v>74.545198648991104</c:v>
                </c:pt>
                <c:pt idx="162">
                  <c:v>74.545198648991104</c:v>
                </c:pt>
                <c:pt idx="163">
                  <c:v>73.993011992331901</c:v>
                </c:pt>
                <c:pt idx="164">
                  <c:v>73.993011992331901</c:v>
                </c:pt>
                <c:pt idx="165">
                  <c:v>73.993011992331901</c:v>
                </c:pt>
                <c:pt idx="166">
                  <c:v>73.993011992331901</c:v>
                </c:pt>
                <c:pt idx="167">
                  <c:v>73.436673556299297</c:v>
                </c:pt>
                <c:pt idx="168">
                  <c:v>73.436673556299297</c:v>
                </c:pt>
                <c:pt idx="169">
                  <c:v>72.880335120266807</c:v>
                </c:pt>
                <c:pt idx="170">
                  <c:v>72.880335120266807</c:v>
                </c:pt>
                <c:pt idx="171">
                  <c:v>72.880335120266807</c:v>
                </c:pt>
                <c:pt idx="172">
                  <c:v>72.880335120266807</c:v>
                </c:pt>
                <c:pt idx="173">
                  <c:v>72.880335120266807</c:v>
                </c:pt>
                <c:pt idx="174">
                  <c:v>72.880335120266807</c:v>
                </c:pt>
                <c:pt idx="175">
                  <c:v>72.315371282125099</c:v>
                </c:pt>
                <c:pt idx="176">
                  <c:v>72.315371282125099</c:v>
                </c:pt>
                <c:pt idx="177">
                  <c:v>71.750407443983505</c:v>
                </c:pt>
                <c:pt idx="178">
                  <c:v>71.750407443983505</c:v>
                </c:pt>
                <c:pt idx="179">
                  <c:v>71.185443605841897</c:v>
                </c:pt>
                <c:pt idx="180">
                  <c:v>71.185443605841897</c:v>
                </c:pt>
                <c:pt idx="181">
                  <c:v>70.620479767700402</c:v>
                </c:pt>
                <c:pt idx="182">
                  <c:v>70.620479767700402</c:v>
                </c:pt>
                <c:pt idx="183">
                  <c:v>70.620479767700402</c:v>
                </c:pt>
                <c:pt idx="184">
                  <c:v>70.620479767700402</c:v>
                </c:pt>
                <c:pt idx="185">
                  <c:v>70.620479767700402</c:v>
                </c:pt>
                <c:pt idx="186">
                  <c:v>70.620479767700402</c:v>
                </c:pt>
                <c:pt idx="187">
                  <c:v>70.620479767700402</c:v>
                </c:pt>
                <c:pt idx="188">
                  <c:v>70.620479767700402</c:v>
                </c:pt>
                <c:pt idx="189">
                  <c:v>70.620479767700402</c:v>
                </c:pt>
                <c:pt idx="190">
                  <c:v>70.620479767700402</c:v>
                </c:pt>
                <c:pt idx="191">
                  <c:v>70.0368394390417</c:v>
                </c:pt>
                <c:pt idx="192">
                  <c:v>70.0368394390417</c:v>
                </c:pt>
                <c:pt idx="193">
                  <c:v>70.0368394390417</c:v>
                </c:pt>
                <c:pt idx="194">
                  <c:v>70.0368394390417</c:v>
                </c:pt>
                <c:pt idx="195">
                  <c:v>69.448294569805995</c:v>
                </c:pt>
                <c:pt idx="196">
                  <c:v>69.448294569805995</c:v>
                </c:pt>
                <c:pt idx="197">
                  <c:v>69.448294569805995</c:v>
                </c:pt>
                <c:pt idx="198">
                  <c:v>69.448294569805995</c:v>
                </c:pt>
                <c:pt idx="199">
                  <c:v>69.448294569805995</c:v>
                </c:pt>
                <c:pt idx="200">
                  <c:v>69.448294569805995</c:v>
                </c:pt>
                <c:pt idx="201">
                  <c:v>68.849602375238803</c:v>
                </c:pt>
                <c:pt idx="202">
                  <c:v>68.849602375238803</c:v>
                </c:pt>
                <c:pt idx="203">
                  <c:v>67.652217986104205</c:v>
                </c:pt>
                <c:pt idx="204">
                  <c:v>67.652217986104205</c:v>
                </c:pt>
                <c:pt idx="205">
                  <c:v>67.652217986104205</c:v>
                </c:pt>
                <c:pt idx="206">
                  <c:v>67.652217986104205</c:v>
                </c:pt>
                <c:pt idx="207">
                  <c:v>67.652217986104205</c:v>
                </c:pt>
                <c:pt idx="208">
                  <c:v>67.652217986104205</c:v>
                </c:pt>
                <c:pt idx="209">
                  <c:v>67.042738544787895</c:v>
                </c:pt>
                <c:pt idx="210">
                  <c:v>67.042738544787895</c:v>
                </c:pt>
                <c:pt idx="211">
                  <c:v>67.042738544787895</c:v>
                </c:pt>
                <c:pt idx="212">
                  <c:v>67.042738544787895</c:v>
                </c:pt>
                <c:pt idx="213">
                  <c:v>67.042738544787895</c:v>
                </c:pt>
                <c:pt idx="214">
                  <c:v>67.042738544787895</c:v>
                </c:pt>
                <c:pt idx="215">
                  <c:v>67.042738544787895</c:v>
                </c:pt>
                <c:pt idx="216">
                  <c:v>67.042738544787895</c:v>
                </c:pt>
                <c:pt idx="217">
                  <c:v>66.416170894836597</c:v>
                </c:pt>
                <c:pt idx="218">
                  <c:v>66.416170894836597</c:v>
                </c:pt>
                <c:pt idx="219">
                  <c:v>66.416170894836597</c:v>
                </c:pt>
                <c:pt idx="220">
                  <c:v>66.416170894836597</c:v>
                </c:pt>
                <c:pt idx="221">
                  <c:v>65.783635933933397</c:v>
                </c:pt>
                <c:pt idx="222">
                  <c:v>65.783635933933397</c:v>
                </c:pt>
                <c:pt idx="223">
                  <c:v>65.783635933933397</c:v>
                </c:pt>
                <c:pt idx="224">
                  <c:v>65.783635933933397</c:v>
                </c:pt>
                <c:pt idx="225">
                  <c:v>65.144959856904904</c:v>
                </c:pt>
                <c:pt idx="226">
                  <c:v>65.144959856904904</c:v>
                </c:pt>
                <c:pt idx="227">
                  <c:v>65.144959856904904</c:v>
                </c:pt>
                <c:pt idx="228">
                  <c:v>65.144959856904904</c:v>
                </c:pt>
                <c:pt idx="229">
                  <c:v>64.499960254361298</c:v>
                </c:pt>
                <c:pt idx="230">
                  <c:v>64.499960254361298</c:v>
                </c:pt>
                <c:pt idx="231">
                  <c:v>63.854960651817699</c:v>
                </c:pt>
                <c:pt idx="232">
                  <c:v>63.854960651817699</c:v>
                </c:pt>
                <c:pt idx="233">
                  <c:v>63.209961049274099</c:v>
                </c:pt>
                <c:pt idx="234">
                  <c:v>63.209961049274099</c:v>
                </c:pt>
                <c:pt idx="235">
                  <c:v>62.5649614467305</c:v>
                </c:pt>
                <c:pt idx="236">
                  <c:v>62.5649614467305</c:v>
                </c:pt>
                <c:pt idx="237">
                  <c:v>61.919961844186901</c:v>
                </c:pt>
                <c:pt idx="238">
                  <c:v>61.919961844186901</c:v>
                </c:pt>
                <c:pt idx="239">
                  <c:v>61.919961844186901</c:v>
                </c:pt>
                <c:pt idx="240">
                  <c:v>61.919961844186901</c:v>
                </c:pt>
                <c:pt idx="241">
                  <c:v>61.919961844186901</c:v>
                </c:pt>
                <c:pt idx="242">
                  <c:v>61.919961844186901</c:v>
                </c:pt>
                <c:pt idx="243">
                  <c:v>61.919961844186901</c:v>
                </c:pt>
                <c:pt idx="244">
                  <c:v>61.919961844186901</c:v>
                </c:pt>
                <c:pt idx="245">
                  <c:v>61.2541558028515</c:v>
                </c:pt>
                <c:pt idx="246">
                  <c:v>61.2541558028515</c:v>
                </c:pt>
                <c:pt idx="247">
                  <c:v>60.588349761516199</c:v>
                </c:pt>
                <c:pt idx="248">
                  <c:v>60.588349761516199</c:v>
                </c:pt>
                <c:pt idx="249">
                  <c:v>60.588349761516199</c:v>
                </c:pt>
                <c:pt idx="250">
                  <c:v>60.588349761516199</c:v>
                </c:pt>
                <c:pt idx="251">
                  <c:v>59.915145875277098</c:v>
                </c:pt>
                <c:pt idx="252">
                  <c:v>59.915145875277098</c:v>
                </c:pt>
                <c:pt idx="253">
                  <c:v>59.241941989037997</c:v>
                </c:pt>
                <c:pt idx="254">
                  <c:v>59.241941989037997</c:v>
                </c:pt>
                <c:pt idx="255">
                  <c:v>57.895534216559902</c:v>
                </c:pt>
                <c:pt idx="256">
                  <c:v>57.895534216559902</c:v>
                </c:pt>
                <c:pt idx="257">
                  <c:v>57.895534216559902</c:v>
                </c:pt>
                <c:pt idx="258">
                  <c:v>57.895534216559902</c:v>
                </c:pt>
                <c:pt idx="259">
                  <c:v>57.214410284600397</c:v>
                </c:pt>
                <c:pt idx="260">
                  <c:v>57.214410284600397</c:v>
                </c:pt>
                <c:pt idx="261">
                  <c:v>56.5332863526408</c:v>
                </c:pt>
                <c:pt idx="262">
                  <c:v>56.5332863526408</c:v>
                </c:pt>
                <c:pt idx="263">
                  <c:v>56.5332863526408</c:v>
                </c:pt>
                <c:pt idx="264">
                  <c:v>56.5332863526408</c:v>
                </c:pt>
                <c:pt idx="265">
                  <c:v>55.843856031267201</c:v>
                </c:pt>
                <c:pt idx="266">
                  <c:v>55.843856031267201</c:v>
                </c:pt>
                <c:pt idx="267">
                  <c:v>55.154425709893502</c:v>
                </c:pt>
                <c:pt idx="268">
                  <c:v>55.154425709893502</c:v>
                </c:pt>
                <c:pt idx="269">
                  <c:v>54.464995388519803</c:v>
                </c:pt>
                <c:pt idx="270">
                  <c:v>54.464995388519803</c:v>
                </c:pt>
                <c:pt idx="271">
                  <c:v>53.775565067146204</c:v>
                </c:pt>
                <c:pt idx="272">
                  <c:v>53.775565067146204</c:v>
                </c:pt>
                <c:pt idx="273">
                  <c:v>53.775565067146204</c:v>
                </c:pt>
                <c:pt idx="274">
                  <c:v>53.775565067146204</c:v>
                </c:pt>
                <c:pt idx="275">
                  <c:v>53.775565067146204</c:v>
                </c:pt>
                <c:pt idx="276">
                  <c:v>53.775565067146204</c:v>
                </c:pt>
                <c:pt idx="277">
                  <c:v>53.775565067146204</c:v>
                </c:pt>
                <c:pt idx="278">
                  <c:v>53.775565067146204</c:v>
                </c:pt>
                <c:pt idx="279">
                  <c:v>53.058557532917597</c:v>
                </c:pt>
                <c:pt idx="280">
                  <c:v>53.058557532917597</c:v>
                </c:pt>
                <c:pt idx="281">
                  <c:v>52.341549998688997</c:v>
                </c:pt>
                <c:pt idx="282">
                  <c:v>52.341549998688997</c:v>
                </c:pt>
                <c:pt idx="283">
                  <c:v>51.624542464460298</c:v>
                </c:pt>
                <c:pt idx="284">
                  <c:v>51.624542464460298</c:v>
                </c:pt>
                <c:pt idx="285">
                  <c:v>50.907534930231698</c:v>
                </c:pt>
                <c:pt idx="286">
                  <c:v>50.907534930231698</c:v>
                </c:pt>
                <c:pt idx="287">
                  <c:v>50.907534930231698</c:v>
                </c:pt>
                <c:pt idx="288">
                  <c:v>50.907534930231698</c:v>
                </c:pt>
                <c:pt idx="289">
                  <c:v>50.180284431228401</c:v>
                </c:pt>
                <c:pt idx="290">
                  <c:v>50.180284431228401</c:v>
                </c:pt>
                <c:pt idx="291">
                  <c:v>48.7257834332218</c:v>
                </c:pt>
                <c:pt idx="292">
                  <c:v>48.7257834332218</c:v>
                </c:pt>
                <c:pt idx="293">
                  <c:v>47.998532934218503</c:v>
                </c:pt>
                <c:pt idx="294">
                  <c:v>47.998532934218503</c:v>
                </c:pt>
                <c:pt idx="295">
                  <c:v>47.271282435215198</c:v>
                </c:pt>
                <c:pt idx="296">
                  <c:v>47.271282435215198</c:v>
                </c:pt>
                <c:pt idx="297">
                  <c:v>46.544031936211901</c:v>
                </c:pt>
                <c:pt idx="298">
                  <c:v>46.544031936211901</c:v>
                </c:pt>
                <c:pt idx="299">
                  <c:v>45.816781437208597</c:v>
                </c:pt>
                <c:pt idx="300">
                  <c:v>45.816781437208597</c:v>
                </c:pt>
                <c:pt idx="301">
                  <c:v>45.816781437208597</c:v>
                </c:pt>
                <c:pt idx="302">
                  <c:v>45.816781437208597</c:v>
                </c:pt>
                <c:pt idx="303">
                  <c:v>45.0778010914471</c:v>
                </c:pt>
                <c:pt idx="304">
                  <c:v>45.0778010914471</c:v>
                </c:pt>
                <c:pt idx="305">
                  <c:v>44.338820745685702</c:v>
                </c:pt>
                <c:pt idx="306">
                  <c:v>44.338820745685702</c:v>
                </c:pt>
                <c:pt idx="307">
                  <c:v>43.599840399924297</c:v>
                </c:pt>
                <c:pt idx="308">
                  <c:v>43.599840399924297</c:v>
                </c:pt>
                <c:pt idx="309">
                  <c:v>42.860860054162799</c:v>
                </c:pt>
                <c:pt idx="310">
                  <c:v>42.860860054162799</c:v>
                </c:pt>
                <c:pt idx="311">
                  <c:v>42.121879708401401</c:v>
                </c:pt>
                <c:pt idx="312">
                  <c:v>42.121879708401401</c:v>
                </c:pt>
                <c:pt idx="313">
                  <c:v>41.382899362640003</c:v>
                </c:pt>
                <c:pt idx="314">
                  <c:v>41.382899362640003</c:v>
                </c:pt>
                <c:pt idx="315">
                  <c:v>40.643919016878499</c:v>
                </c:pt>
                <c:pt idx="316">
                  <c:v>40.643919016878499</c:v>
                </c:pt>
                <c:pt idx="317">
                  <c:v>39.904938671117101</c:v>
                </c:pt>
                <c:pt idx="318">
                  <c:v>39.904938671117101</c:v>
                </c:pt>
                <c:pt idx="319">
                  <c:v>39.165958325355703</c:v>
                </c:pt>
                <c:pt idx="320">
                  <c:v>39.165958325355703</c:v>
                </c:pt>
                <c:pt idx="321">
                  <c:v>38.426977979594298</c:v>
                </c:pt>
                <c:pt idx="322">
                  <c:v>38.426977979594298</c:v>
                </c:pt>
                <c:pt idx="323">
                  <c:v>37.687997633832801</c:v>
                </c:pt>
                <c:pt idx="324">
                  <c:v>37.687997633832801</c:v>
                </c:pt>
                <c:pt idx="325">
                  <c:v>37.687997633832801</c:v>
                </c:pt>
                <c:pt idx="326">
                  <c:v>37.687997633832801</c:v>
                </c:pt>
                <c:pt idx="327">
                  <c:v>36.934237681156198</c:v>
                </c:pt>
                <c:pt idx="328">
                  <c:v>36.934237681156198</c:v>
                </c:pt>
                <c:pt idx="329">
                  <c:v>36.180477728479502</c:v>
                </c:pt>
                <c:pt idx="330">
                  <c:v>36.180477728479502</c:v>
                </c:pt>
                <c:pt idx="331">
                  <c:v>35.426717775802899</c:v>
                </c:pt>
                <c:pt idx="332">
                  <c:v>35.426717775802899</c:v>
                </c:pt>
                <c:pt idx="333">
                  <c:v>34.672957823126197</c:v>
                </c:pt>
                <c:pt idx="334">
                  <c:v>34.672957823126197</c:v>
                </c:pt>
                <c:pt idx="335">
                  <c:v>34.672957823126197</c:v>
                </c:pt>
                <c:pt idx="336">
                  <c:v>34.672957823126197</c:v>
                </c:pt>
                <c:pt idx="337">
                  <c:v>33.902447649278997</c:v>
                </c:pt>
                <c:pt idx="338">
                  <c:v>33.902447649278997</c:v>
                </c:pt>
                <c:pt idx="339">
                  <c:v>33.131937475431698</c:v>
                </c:pt>
                <c:pt idx="340">
                  <c:v>33.131937475431698</c:v>
                </c:pt>
                <c:pt idx="341">
                  <c:v>33.131937475431698</c:v>
                </c:pt>
                <c:pt idx="342">
                  <c:v>33.131937475431698</c:v>
                </c:pt>
                <c:pt idx="343">
                  <c:v>33.131937475431698</c:v>
                </c:pt>
                <c:pt idx="344">
                  <c:v>33.131937475431698</c:v>
                </c:pt>
                <c:pt idx="345">
                  <c:v>32.323841439445602</c:v>
                </c:pt>
                <c:pt idx="346">
                  <c:v>32.323841439445602</c:v>
                </c:pt>
                <c:pt idx="347">
                  <c:v>32.323841439445602</c:v>
                </c:pt>
                <c:pt idx="348">
                  <c:v>32.323841439445602</c:v>
                </c:pt>
                <c:pt idx="349">
                  <c:v>31.4950249922803</c:v>
                </c:pt>
                <c:pt idx="350">
                  <c:v>31.4950249922803</c:v>
                </c:pt>
                <c:pt idx="351">
                  <c:v>30.666208545115001</c:v>
                </c:pt>
                <c:pt idx="352">
                  <c:v>30.666208545115001</c:v>
                </c:pt>
                <c:pt idx="353">
                  <c:v>29.837392097949799</c:v>
                </c:pt>
                <c:pt idx="354">
                  <c:v>29.837392097949799</c:v>
                </c:pt>
                <c:pt idx="355">
                  <c:v>29.837392097949799</c:v>
                </c:pt>
                <c:pt idx="356">
                  <c:v>29.837392097949799</c:v>
                </c:pt>
                <c:pt idx="357">
                  <c:v>28.9848951808655</c:v>
                </c:pt>
                <c:pt idx="358">
                  <c:v>28.9848951808655</c:v>
                </c:pt>
                <c:pt idx="359">
                  <c:v>28.132398263781202</c:v>
                </c:pt>
                <c:pt idx="360">
                  <c:v>28.132398263781202</c:v>
                </c:pt>
                <c:pt idx="361">
                  <c:v>27.279901346696899</c:v>
                </c:pt>
                <c:pt idx="362">
                  <c:v>27.279901346696899</c:v>
                </c:pt>
                <c:pt idx="363">
                  <c:v>27.279901346696899</c:v>
                </c:pt>
                <c:pt idx="364">
                  <c:v>27.279901346696899</c:v>
                </c:pt>
                <c:pt idx="365">
                  <c:v>27.279901346696899</c:v>
                </c:pt>
                <c:pt idx="366">
                  <c:v>27.279901346696899</c:v>
                </c:pt>
                <c:pt idx="367">
                  <c:v>27.279901346696899</c:v>
                </c:pt>
                <c:pt idx="368">
                  <c:v>27.279901346696899</c:v>
                </c:pt>
                <c:pt idx="369">
                  <c:v>26.339215093362501</c:v>
                </c:pt>
                <c:pt idx="370">
                  <c:v>26.339215093362501</c:v>
                </c:pt>
                <c:pt idx="371">
                  <c:v>26.339215093362501</c:v>
                </c:pt>
                <c:pt idx="372">
                  <c:v>26.339215093362501</c:v>
                </c:pt>
                <c:pt idx="373">
                  <c:v>26.339215093362501</c:v>
                </c:pt>
                <c:pt idx="374">
                  <c:v>26.339215093362501</c:v>
                </c:pt>
                <c:pt idx="375">
                  <c:v>26.339215093362501</c:v>
                </c:pt>
                <c:pt idx="376">
                  <c:v>26.339215093362501</c:v>
                </c:pt>
                <c:pt idx="377">
                  <c:v>26.339215093362501</c:v>
                </c:pt>
                <c:pt idx="378">
                  <c:v>26.339215093362501</c:v>
                </c:pt>
                <c:pt idx="379">
                  <c:v>26.339215093362501</c:v>
                </c:pt>
                <c:pt idx="380">
                  <c:v>26.339215093362501</c:v>
                </c:pt>
                <c:pt idx="381">
                  <c:v>26.339215093362501</c:v>
                </c:pt>
                <c:pt idx="382">
                  <c:v>26.339215093362501</c:v>
                </c:pt>
                <c:pt idx="383">
                  <c:v>26.339215093362501</c:v>
                </c:pt>
                <c:pt idx="384">
                  <c:v>26.339215093362501</c:v>
                </c:pt>
                <c:pt idx="385">
                  <c:v>26.339215093362501</c:v>
                </c:pt>
                <c:pt idx="386">
                  <c:v>26.339215093362501</c:v>
                </c:pt>
                <c:pt idx="387">
                  <c:v>26.339215093362501</c:v>
                </c:pt>
                <c:pt idx="388">
                  <c:v>26.339215093362501</c:v>
                </c:pt>
                <c:pt idx="389">
                  <c:v>26.339215093362501</c:v>
                </c:pt>
                <c:pt idx="390">
                  <c:v>26.339215093362501</c:v>
                </c:pt>
                <c:pt idx="391">
                  <c:v>26.339215093362501</c:v>
                </c:pt>
                <c:pt idx="392">
                  <c:v>26.339215093362501</c:v>
                </c:pt>
                <c:pt idx="393">
                  <c:v>26.339215093362501</c:v>
                </c:pt>
                <c:pt idx="394">
                  <c:v>26.339215093362501</c:v>
                </c:pt>
                <c:pt idx="395">
                  <c:v>26.339215093362501</c:v>
                </c:pt>
                <c:pt idx="396">
                  <c:v>26.339215093362501</c:v>
                </c:pt>
                <c:pt idx="397">
                  <c:v>26.339215093362501</c:v>
                </c:pt>
                <c:pt idx="398">
                  <c:v>26.339215093362501</c:v>
                </c:pt>
                <c:pt idx="399">
                  <c:v>26.339215093362501</c:v>
                </c:pt>
                <c:pt idx="400">
                  <c:v>26.339215093362501</c:v>
                </c:pt>
                <c:pt idx="401">
                  <c:v>26.339215093362501</c:v>
                </c:pt>
                <c:pt idx="402">
                  <c:v>26.339215093362501</c:v>
                </c:pt>
                <c:pt idx="403">
                  <c:v>26.339215093362501</c:v>
                </c:pt>
                <c:pt idx="404">
                  <c:v>26.339215093362501</c:v>
                </c:pt>
                <c:pt idx="405">
                  <c:v>26.339215093362501</c:v>
                </c:pt>
                <c:pt idx="406">
                  <c:v>26.339215093362501</c:v>
                </c:pt>
                <c:pt idx="407">
                  <c:v>26.339215093362501</c:v>
                </c:pt>
                <c:pt idx="408">
                  <c:v>26.339215093362501</c:v>
                </c:pt>
                <c:pt idx="409">
                  <c:v>26.339215093362501</c:v>
                </c:pt>
                <c:pt idx="410">
                  <c:v>26.339215093362501</c:v>
                </c:pt>
                <c:pt idx="411">
                  <c:v>26.339215093362501</c:v>
                </c:pt>
                <c:pt idx="412">
                  <c:v>26.339215093362501</c:v>
                </c:pt>
                <c:pt idx="413">
                  <c:v>26.339215093362501</c:v>
                </c:pt>
                <c:pt idx="414">
                  <c:v>26.339215093362501</c:v>
                </c:pt>
                <c:pt idx="415">
                  <c:v>26.339215093362501</c:v>
                </c:pt>
                <c:pt idx="416">
                  <c:v>26.339215093362501</c:v>
                </c:pt>
                <c:pt idx="417">
                  <c:v>26.339215093362501</c:v>
                </c:pt>
                <c:pt idx="418">
                  <c:v>26.339215093362501</c:v>
                </c:pt>
                <c:pt idx="419">
                  <c:v>26.339215093362501</c:v>
                </c:pt>
                <c:pt idx="420">
                  <c:v>26.339215093362501</c:v>
                </c:pt>
                <c:pt idx="421">
                  <c:v>26.339215093362501</c:v>
                </c:pt>
                <c:pt idx="422">
                  <c:v>26.339215093362501</c:v>
                </c:pt>
                <c:pt idx="423">
                  <c:v>26.339215093362501</c:v>
                </c:pt>
                <c:pt idx="424">
                  <c:v>26.339215093362501</c:v>
                </c:pt>
                <c:pt idx="425">
                  <c:v>26.339215093362501</c:v>
                </c:pt>
              </c:numCache>
            </c:numRef>
          </c:yVal>
          <c:smooth val="0"/>
          <c:extLst>
            <c:ext xmlns:c16="http://schemas.microsoft.com/office/drawing/2014/chart" uri="{C3380CC4-5D6E-409C-BE32-E72D297353CC}">
              <c16:uniqueId val="{00000000-558F-41FA-8BFD-F9628989BD52}"/>
            </c:ext>
          </c:extLst>
        </c:ser>
        <c:ser>
          <c:idx val="1"/>
          <c:order val="1"/>
          <c:spPr>
            <a:ln w="19050" cap="rnd">
              <a:noFill/>
              <a:round/>
            </a:ln>
            <a:effectLst/>
          </c:spPr>
          <c:marker>
            <c:symbol val="plus"/>
            <c:size val="5"/>
            <c:spPr>
              <a:noFill/>
              <a:ln w="6350">
                <a:solidFill>
                  <a:schemeClr val="tx2"/>
                </a:solidFill>
              </a:ln>
              <a:effectLst/>
            </c:spPr>
          </c:marker>
          <c:xVal>
            <c:numRef>
              <c:f>OS_KM!$V$2:$V$274</c:f>
              <c:numCache>
                <c:formatCode>.0000</c:formatCode>
                <c:ptCount val="273"/>
                <c:pt idx="0">
                  <c:v>0.49281314168377999</c:v>
                </c:pt>
                <c:pt idx="1">
                  <c:v>0.49281314168377999</c:v>
                </c:pt>
                <c:pt idx="2">
                  <c:v>3.1868583162217701</c:v>
                </c:pt>
                <c:pt idx="3">
                  <c:v>3.1868583162217701</c:v>
                </c:pt>
                <c:pt idx="4">
                  <c:v>5.9137577002053403</c:v>
                </c:pt>
                <c:pt idx="5">
                  <c:v>5.9137577002053403</c:v>
                </c:pt>
                <c:pt idx="6">
                  <c:v>6.2422997946611902</c:v>
                </c:pt>
                <c:pt idx="7">
                  <c:v>6.2422997946611902</c:v>
                </c:pt>
                <c:pt idx="8">
                  <c:v>6.3737166324435304</c:v>
                </c:pt>
                <c:pt idx="9">
                  <c:v>6.3737166324435304</c:v>
                </c:pt>
                <c:pt idx="10">
                  <c:v>6.4065708418891196</c:v>
                </c:pt>
                <c:pt idx="11">
                  <c:v>6.4065708418891196</c:v>
                </c:pt>
                <c:pt idx="12">
                  <c:v>6.4065708418891196</c:v>
                </c:pt>
                <c:pt idx="13">
                  <c:v>6.4065708418891196</c:v>
                </c:pt>
                <c:pt idx="14">
                  <c:v>6.7022587268993901</c:v>
                </c:pt>
                <c:pt idx="15">
                  <c:v>6.7022587268993901</c:v>
                </c:pt>
                <c:pt idx="16">
                  <c:v>6.8008213552361401</c:v>
                </c:pt>
                <c:pt idx="17">
                  <c:v>6.8008213552361401</c:v>
                </c:pt>
                <c:pt idx="18">
                  <c:v>6.8665297741273097</c:v>
                </c:pt>
                <c:pt idx="19">
                  <c:v>6.8665297741273097</c:v>
                </c:pt>
                <c:pt idx="20">
                  <c:v>6.9650924024640704</c:v>
                </c:pt>
                <c:pt idx="21">
                  <c:v>6.9650924024640704</c:v>
                </c:pt>
                <c:pt idx="22">
                  <c:v>6.9979466119096498</c:v>
                </c:pt>
                <c:pt idx="23">
                  <c:v>6.9979466119096498</c:v>
                </c:pt>
                <c:pt idx="24">
                  <c:v>7.0636550308008204</c:v>
                </c:pt>
                <c:pt idx="25">
                  <c:v>7.0636550308008204</c:v>
                </c:pt>
                <c:pt idx="26">
                  <c:v>7.12936344969199</c:v>
                </c:pt>
                <c:pt idx="27">
                  <c:v>7.12936344969199</c:v>
                </c:pt>
                <c:pt idx="28">
                  <c:v>7.12936344969199</c:v>
                </c:pt>
                <c:pt idx="29">
                  <c:v>7.12936344969199</c:v>
                </c:pt>
                <c:pt idx="30">
                  <c:v>7.1622176591375801</c:v>
                </c:pt>
                <c:pt idx="31">
                  <c:v>7.1622176591375801</c:v>
                </c:pt>
                <c:pt idx="32">
                  <c:v>7.39219712525668</c:v>
                </c:pt>
                <c:pt idx="33">
                  <c:v>7.39219712525668</c:v>
                </c:pt>
                <c:pt idx="34">
                  <c:v>7.39219712525668</c:v>
                </c:pt>
                <c:pt idx="35">
                  <c:v>7.39219712525668</c:v>
                </c:pt>
                <c:pt idx="36">
                  <c:v>7.4250513347022604</c:v>
                </c:pt>
                <c:pt idx="37">
                  <c:v>7.4250513347022604</c:v>
                </c:pt>
                <c:pt idx="38">
                  <c:v>7.72073921971253</c:v>
                </c:pt>
                <c:pt idx="39">
                  <c:v>7.72073921971253</c:v>
                </c:pt>
                <c:pt idx="40">
                  <c:v>7.8521560574948701</c:v>
                </c:pt>
                <c:pt idx="41">
                  <c:v>7.8521560574948701</c:v>
                </c:pt>
                <c:pt idx="42">
                  <c:v>8.3121149897330593</c:v>
                </c:pt>
                <c:pt idx="43">
                  <c:v>8.3121149897330593</c:v>
                </c:pt>
                <c:pt idx="44">
                  <c:v>8.3449691991786494</c:v>
                </c:pt>
                <c:pt idx="45">
                  <c:v>8.3449691991786494</c:v>
                </c:pt>
                <c:pt idx="46">
                  <c:v>8.3449691991786494</c:v>
                </c:pt>
                <c:pt idx="47">
                  <c:v>8.3449691991786494</c:v>
                </c:pt>
                <c:pt idx="48">
                  <c:v>8.4435318275154003</c:v>
                </c:pt>
                <c:pt idx="49">
                  <c:v>8.4435318275154003</c:v>
                </c:pt>
                <c:pt idx="50">
                  <c:v>8.5420944558521601</c:v>
                </c:pt>
                <c:pt idx="51">
                  <c:v>8.5420944558521601</c:v>
                </c:pt>
                <c:pt idx="52">
                  <c:v>8.5749486652977396</c:v>
                </c:pt>
                <c:pt idx="53">
                  <c:v>8.5749486652977396</c:v>
                </c:pt>
                <c:pt idx="54">
                  <c:v>8.8049281314168404</c:v>
                </c:pt>
                <c:pt idx="55">
                  <c:v>8.8049281314168404</c:v>
                </c:pt>
                <c:pt idx="56">
                  <c:v>8.8377823408624305</c:v>
                </c:pt>
                <c:pt idx="57">
                  <c:v>8.8377823408624305</c:v>
                </c:pt>
                <c:pt idx="58">
                  <c:v>9.0020533880903493</c:v>
                </c:pt>
                <c:pt idx="59">
                  <c:v>9.0020533880903493</c:v>
                </c:pt>
                <c:pt idx="60">
                  <c:v>9.0349075975359394</c:v>
                </c:pt>
                <c:pt idx="61">
                  <c:v>9.0349075975359394</c:v>
                </c:pt>
                <c:pt idx="62">
                  <c:v>9.1334702258726903</c:v>
                </c:pt>
                <c:pt idx="63">
                  <c:v>9.1334702258726903</c:v>
                </c:pt>
                <c:pt idx="64">
                  <c:v>9.3634496919917893</c:v>
                </c:pt>
                <c:pt idx="65">
                  <c:v>9.3634496919917893</c:v>
                </c:pt>
                <c:pt idx="66">
                  <c:v>9.3963039014373706</c:v>
                </c:pt>
                <c:pt idx="67">
                  <c:v>9.3963039014373706</c:v>
                </c:pt>
                <c:pt idx="68">
                  <c:v>9.7248459958932294</c:v>
                </c:pt>
                <c:pt idx="69">
                  <c:v>9.7248459958932294</c:v>
                </c:pt>
                <c:pt idx="70">
                  <c:v>9.7577002053388107</c:v>
                </c:pt>
                <c:pt idx="71">
                  <c:v>9.7577002053388107</c:v>
                </c:pt>
                <c:pt idx="72">
                  <c:v>9.7577002053388107</c:v>
                </c:pt>
                <c:pt idx="73">
                  <c:v>9.7577002053388107</c:v>
                </c:pt>
                <c:pt idx="74">
                  <c:v>9.8562628336755704</c:v>
                </c:pt>
                <c:pt idx="75">
                  <c:v>9.8562628336755704</c:v>
                </c:pt>
                <c:pt idx="76">
                  <c:v>10.2833675564682</c:v>
                </c:pt>
                <c:pt idx="77">
                  <c:v>10.2833675564682</c:v>
                </c:pt>
                <c:pt idx="78">
                  <c:v>10.447638603696101</c:v>
                </c:pt>
                <c:pt idx="79">
                  <c:v>10.447638603696101</c:v>
                </c:pt>
                <c:pt idx="80">
                  <c:v>10.5133470225873</c:v>
                </c:pt>
                <c:pt idx="81">
                  <c:v>10.5133470225873</c:v>
                </c:pt>
                <c:pt idx="82">
                  <c:v>10.579055441478401</c:v>
                </c:pt>
                <c:pt idx="83">
                  <c:v>10.579055441478401</c:v>
                </c:pt>
                <c:pt idx="84">
                  <c:v>10.7104722792608</c:v>
                </c:pt>
                <c:pt idx="85">
                  <c:v>10.7104722792608</c:v>
                </c:pt>
                <c:pt idx="86">
                  <c:v>10.9404517453799</c:v>
                </c:pt>
                <c:pt idx="87">
                  <c:v>10.9404517453799</c:v>
                </c:pt>
                <c:pt idx="88">
                  <c:v>11.0718685831622</c:v>
                </c:pt>
                <c:pt idx="89">
                  <c:v>11.0718685831622</c:v>
                </c:pt>
                <c:pt idx="90">
                  <c:v>11.170431211499</c:v>
                </c:pt>
                <c:pt idx="91">
                  <c:v>11.170431211499</c:v>
                </c:pt>
                <c:pt idx="92">
                  <c:v>11.2689938398357</c:v>
                </c:pt>
                <c:pt idx="93">
                  <c:v>11.2689938398357</c:v>
                </c:pt>
                <c:pt idx="94">
                  <c:v>11.400410677618099</c:v>
                </c:pt>
                <c:pt idx="95">
                  <c:v>11.400410677618099</c:v>
                </c:pt>
                <c:pt idx="96">
                  <c:v>11.6960985626283</c:v>
                </c:pt>
                <c:pt idx="97">
                  <c:v>11.6960985626283</c:v>
                </c:pt>
                <c:pt idx="98">
                  <c:v>12.7474332648871</c:v>
                </c:pt>
                <c:pt idx="99">
                  <c:v>12.7474332648871</c:v>
                </c:pt>
                <c:pt idx="100">
                  <c:v>12.845995893223799</c:v>
                </c:pt>
                <c:pt idx="101">
                  <c:v>12.845995893223799</c:v>
                </c:pt>
                <c:pt idx="102">
                  <c:v>13.108829568788501</c:v>
                </c:pt>
                <c:pt idx="103">
                  <c:v>13.108829568788501</c:v>
                </c:pt>
                <c:pt idx="104">
                  <c:v>13.371663244353201</c:v>
                </c:pt>
                <c:pt idx="105">
                  <c:v>13.371663244353201</c:v>
                </c:pt>
                <c:pt idx="106">
                  <c:v>14.0616016427105</c:v>
                </c:pt>
                <c:pt idx="107">
                  <c:v>14.0616016427105</c:v>
                </c:pt>
                <c:pt idx="108">
                  <c:v>14.4558521560575</c:v>
                </c:pt>
                <c:pt idx="109">
                  <c:v>14.4558521560575</c:v>
                </c:pt>
                <c:pt idx="110">
                  <c:v>14.8172484599589</c:v>
                </c:pt>
                <c:pt idx="111">
                  <c:v>14.8172484599589</c:v>
                </c:pt>
                <c:pt idx="112">
                  <c:v>15.2443531827515</c:v>
                </c:pt>
                <c:pt idx="113">
                  <c:v>15.2443531827515</c:v>
                </c:pt>
                <c:pt idx="114">
                  <c:v>15.5400410677618</c:v>
                </c:pt>
                <c:pt idx="115">
                  <c:v>15.5400410677618</c:v>
                </c:pt>
                <c:pt idx="116">
                  <c:v>16.591375770020498</c:v>
                </c:pt>
                <c:pt idx="117">
                  <c:v>16.591375770020498</c:v>
                </c:pt>
                <c:pt idx="118">
                  <c:v>17.741273100615999</c:v>
                </c:pt>
                <c:pt idx="119">
                  <c:v>17.741273100615999</c:v>
                </c:pt>
                <c:pt idx="120">
                  <c:v>21.880903490759799</c:v>
                </c:pt>
                <c:pt idx="121">
                  <c:v>21.880903490759799</c:v>
                </c:pt>
                <c:pt idx="122">
                  <c:v>23.5564681724846</c:v>
                </c:pt>
                <c:pt idx="123">
                  <c:v>23.5564681724846</c:v>
                </c:pt>
                <c:pt idx="124">
                  <c:v>24.2135523613963</c:v>
                </c:pt>
                <c:pt idx="125">
                  <c:v>24.2135523613963</c:v>
                </c:pt>
                <c:pt idx="126">
                  <c:v>24.640657084188899</c:v>
                </c:pt>
                <c:pt idx="127">
                  <c:v>24.640657084188899</c:v>
                </c:pt>
                <c:pt idx="128">
                  <c:v>25.034907597535899</c:v>
                </c:pt>
                <c:pt idx="129">
                  <c:v>25.034907597535899</c:v>
                </c:pt>
                <c:pt idx="130">
                  <c:v>26.480492813141701</c:v>
                </c:pt>
                <c:pt idx="131">
                  <c:v>26.480492813141701</c:v>
                </c:pt>
                <c:pt idx="132">
                  <c:v>28.583162217659101</c:v>
                </c:pt>
                <c:pt idx="133">
                  <c:v>28.583162217659101</c:v>
                </c:pt>
                <c:pt idx="134">
                  <c:v>29.338809034907602</c:v>
                </c:pt>
                <c:pt idx="135">
                  <c:v>29.338809034907602</c:v>
                </c:pt>
                <c:pt idx="136">
                  <c:v>29.338809034907602</c:v>
                </c:pt>
                <c:pt idx="137">
                  <c:v>29.338809034907602</c:v>
                </c:pt>
                <c:pt idx="138">
                  <c:v>29.733059548254602</c:v>
                </c:pt>
                <c:pt idx="139">
                  <c:v>29.733059548254602</c:v>
                </c:pt>
                <c:pt idx="140">
                  <c:v>29.995893223819301</c:v>
                </c:pt>
                <c:pt idx="141">
                  <c:v>29.995893223819301</c:v>
                </c:pt>
                <c:pt idx="142">
                  <c:v>30.127310061601701</c:v>
                </c:pt>
                <c:pt idx="143">
                  <c:v>30.127310061601701</c:v>
                </c:pt>
                <c:pt idx="144">
                  <c:v>31.178644763860401</c:v>
                </c:pt>
                <c:pt idx="145">
                  <c:v>31.178644763860401</c:v>
                </c:pt>
                <c:pt idx="146">
                  <c:v>31.310061601642701</c:v>
                </c:pt>
                <c:pt idx="147">
                  <c:v>31.310061601642701</c:v>
                </c:pt>
                <c:pt idx="148">
                  <c:v>31.8685831622177</c:v>
                </c:pt>
                <c:pt idx="149">
                  <c:v>31.8685831622177</c:v>
                </c:pt>
                <c:pt idx="150">
                  <c:v>32.197125256673502</c:v>
                </c:pt>
                <c:pt idx="151">
                  <c:v>32.197125256673502</c:v>
                </c:pt>
                <c:pt idx="152">
                  <c:v>32.492813141683797</c:v>
                </c:pt>
                <c:pt idx="153">
                  <c:v>32.492813141683797</c:v>
                </c:pt>
                <c:pt idx="154">
                  <c:v>32.689938398357299</c:v>
                </c:pt>
                <c:pt idx="155">
                  <c:v>32.689938398357299</c:v>
                </c:pt>
                <c:pt idx="156">
                  <c:v>32.722792607802901</c:v>
                </c:pt>
                <c:pt idx="157">
                  <c:v>32.722792607802901</c:v>
                </c:pt>
                <c:pt idx="158">
                  <c:v>32.722792607802901</c:v>
                </c:pt>
                <c:pt idx="159">
                  <c:v>32.722792607802901</c:v>
                </c:pt>
                <c:pt idx="160">
                  <c:v>32.755646817248497</c:v>
                </c:pt>
                <c:pt idx="161">
                  <c:v>32.755646817248497</c:v>
                </c:pt>
                <c:pt idx="162">
                  <c:v>33.084188911704302</c:v>
                </c:pt>
                <c:pt idx="163">
                  <c:v>33.084188911704302</c:v>
                </c:pt>
                <c:pt idx="164">
                  <c:v>33.117043121149898</c:v>
                </c:pt>
                <c:pt idx="165">
                  <c:v>33.117043121149898</c:v>
                </c:pt>
                <c:pt idx="166">
                  <c:v>33.117043121149898</c:v>
                </c:pt>
                <c:pt idx="167">
                  <c:v>33.117043121149898</c:v>
                </c:pt>
                <c:pt idx="168">
                  <c:v>33.4127310061602</c:v>
                </c:pt>
                <c:pt idx="169">
                  <c:v>33.4127310061602</c:v>
                </c:pt>
                <c:pt idx="170">
                  <c:v>33.478439425051299</c:v>
                </c:pt>
                <c:pt idx="171">
                  <c:v>33.478439425051299</c:v>
                </c:pt>
                <c:pt idx="172">
                  <c:v>33.609856262833702</c:v>
                </c:pt>
                <c:pt idx="173">
                  <c:v>33.609856262833702</c:v>
                </c:pt>
                <c:pt idx="174">
                  <c:v>34.102669404517499</c:v>
                </c:pt>
                <c:pt idx="175">
                  <c:v>34.102669404517499</c:v>
                </c:pt>
                <c:pt idx="176">
                  <c:v>34.496919917864503</c:v>
                </c:pt>
                <c:pt idx="177">
                  <c:v>34.496919917864503</c:v>
                </c:pt>
                <c:pt idx="178">
                  <c:v>34.529774127310098</c:v>
                </c:pt>
                <c:pt idx="179">
                  <c:v>34.529774127310098</c:v>
                </c:pt>
                <c:pt idx="180">
                  <c:v>34.595482546201197</c:v>
                </c:pt>
                <c:pt idx="181">
                  <c:v>34.595482546201197</c:v>
                </c:pt>
                <c:pt idx="182">
                  <c:v>35.154004106776199</c:v>
                </c:pt>
                <c:pt idx="183">
                  <c:v>35.154004106776199</c:v>
                </c:pt>
                <c:pt idx="184">
                  <c:v>36.073921971252602</c:v>
                </c:pt>
                <c:pt idx="185">
                  <c:v>36.073921971252602</c:v>
                </c:pt>
                <c:pt idx="186">
                  <c:v>36.139630390143701</c:v>
                </c:pt>
                <c:pt idx="187">
                  <c:v>36.139630390143701</c:v>
                </c:pt>
                <c:pt idx="188">
                  <c:v>36.402464065708401</c:v>
                </c:pt>
                <c:pt idx="189">
                  <c:v>36.402464065708401</c:v>
                </c:pt>
                <c:pt idx="190">
                  <c:v>36.731006160164299</c:v>
                </c:pt>
                <c:pt idx="191">
                  <c:v>36.731006160164299</c:v>
                </c:pt>
                <c:pt idx="192">
                  <c:v>37.026694045174501</c:v>
                </c:pt>
                <c:pt idx="193">
                  <c:v>37.026694045174501</c:v>
                </c:pt>
              </c:numCache>
            </c:numRef>
          </c:xVal>
          <c:yVal>
            <c:numRef>
              <c:f>OS_KM!$W$2:$W$226</c:f>
              <c:numCache>
                <c:formatCode>.000</c:formatCode>
                <c:ptCount val="225"/>
                <c:pt idx="0">
                  <c:v>100</c:v>
                </c:pt>
                <c:pt idx="1">
                  <c:v>100</c:v>
                </c:pt>
                <c:pt idx="2">
                  <c:v>96.788990825688103</c:v>
                </c:pt>
                <c:pt idx="3">
                  <c:v>96.788990825688103</c:v>
                </c:pt>
                <c:pt idx="4">
                  <c:v>88.0318916557449</c:v>
                </c:pt>
                <c:pt idx="5">
                  <c:v>88.0318916557449</c:v>
                </c:pt>
                <c:pt idx="6">
                  <c:v>86.641914419075306</c:v>
                </c:pt>
                <c:pt idx="7">
                  <c:v>86.641914419075306</c:v>
                </c:pt>
                <c:pt idx="8">
                  <c:v>85.710280930698104</c:v>
                </c:pt>
                <c:pt idx="9">
                  <c:v>85.710280930698104</c:v>
                </c:pt>
                <c:pt idx="10">
                  <c:v>85.710280930698104</c:v>
                </c:pt>
                <c:pt idx="11">
                  <c:v>85.710280930698104</c:v>
                </c:pt>
                <c:pt idx="12">
                  <c:v>85.710280930698104</c:v>
                </c:pt>
                <c:pt idx="13">
                  <c:v>85.710280930698104</c:v>
                </c:pt>
                <c:pt idx="14">
                  <c:v>84.763206003287095</c:v>
                </c:pt>
                <c:pt idx="15">
                  <c:v>84.763206003287095</c:v>
                </c:pt>
                <c:pt idx="16">
                  <c:v>84.287008216751801</c:v>
                </c:pt>
                <c:pt idx="17">
                  <c:v>84.287008216751801</c:v>
                </c:pt>
                <c:pt idx="18">
                  <c:v>84.287008216751801</c:v>
                </c:pt>
                <c:pt idx="19">
                  <c:v>84.287008216751801</c:v>
                </c:pt>
                <c:pt idx="20">
                  <c:v>83.323728122846006</c:v>
                </c:pt>
                <c:pt idx="21">
                  <c:v>83.323728122846006</c:v>
                </c:pt>
                <c:pt idx="22">
                  <c:v>83.323728122846006</c:v>
                </c:pt>
                <c:pt idx="23">
                  <c:v>83.323728122846006</c:v>
                </c:pt>
                <c:pt idx="24">
                  <c:v>82.836454858969702</c:v>
                </c:pt>
                <c:pt idx="25">
                  <c:v>82.836454858969702</c:v>
                </c:pt>
                <c:pt idx="26">
                  <c:v>82.346298321342701</c:v>
                </c:pt>
                <c:pt idx="27">
                  <c:v>82.346298321342701</c:v>
                </c:pt>
                <c:pt idx="28">
                  <c:v>82.346298321342701</c:v>
                </c:pt>
                <c:pt idx="29">
                  <c:v>82.346298321342701</c:v>
                </c:pt>
                <c:pt idx="30">
                  <c:v>82.346298321342701</c:v>
                </c:pt>
                <c:pt idx="31">
                  <c:v>82.346298321342701</c:v>
                </c:pt>
                <c:pt idx="32">
                  <c:v>81.847229846667901</c:v>
                </c:pt>
                <c:pt idx="33">
                  <c:v>81.847229846667901</c:v>
                </c:pt>
                <c:pt idx="34">
                  <c:v>81.847229846667901</c:v>
                </c:pt>
                <c:pt idx="35">
                  <c:v>81.847229846667901</c:v>
                </c:pt>
                <c:pt idx="36">
                  <c:v>81.847229846667901</c:v>
                </c:pt>
                <c:pt idx="37">
                  <c:v>81.847229846667901</c:v>
                </c:pt>
                <c:pt idx="38">
                  <c:v>80.8304940721751</c:v>
                </c:pt>
                <c:pt idx="39">
                  <c:v>80.8304940721751</c:v>
                </c:pt>
                <c:pt idx="40">
                  <c:v>80.318908666655005</c:v>
                </c:pt>
                <c:pt idx="41">
                  <c:v>80.318908666655005</c:v>
                </c:pt>
                <c:pt idx="42">
                  <c:v>77.744584670928901</c:v>
                </c:pt>
                <c:pt idx="43">
                  <c:v>77.744584670928901</c:v>
                </c:pt>
                <c:pt idx="44">
                  <c:v>77.744584670928901</c:v>
                </c:pt>
                <c:pt idx="45">
                  <c:v>77.744584670928901</c:v>
                </c:pt>
                <c:pt idx="46">
                  <c:v>77.744584670928901</c:v>
                </c:pt>
                <c:pt idx="47">
                  <c:v>77.744584670928901</c:v>
                </c:pt>
                <c:pt idx="48">
                  <c:v>77.219283423152405</c:v>
                </c:pt>
                <c:pt idx="49">
                  <c:v>77.219283423152405</c:v>
                </c:pt>
                <c:pt idx="50">
                  <c:v>76.690384221623901</c:v>
                </c:pt>
                <c:pt idx="51">
                  <c:v>76.690384221623901</c:v>
                </c:pt>
                <c:pt idx="52">
                  <c:v>76.690384221623901</c:v>
                </c:pt>
                <c:pt idx="53">
                  <c:v>76.690384221623901</c:v>
                </c:pt>
                <c:pt idx="54">
                  <c:v>74.545198648991104</c:v>
                </c:pt>
                <c:pt idx="55">
                  <c:v>74.545198648991104</c:v>
                </c:pt>
                <c:pt idx="56">
                  <c:v>74.545198648991104</c:v>
                </c:pt>
                <c:pt idx="57">
                  <c:v>74.545198648991104</c:v>
                </c:pt>
                <c:pt idx="58">
                  <c:v>74.545198648991104</c:v>
                </c:pt>
                <c:pt idx="59">
                  <c:v>74.545198648991104</c:v>
                </c:pt>
                <c:pt idx="60">
                  <c:v>74.545198648991104</c:v>
                </c:pt>
                <c:pt idx="61">
                  <c:v>74.545198648991104</c:v>
                </c:pt>
                <c:pt idx="62">
                  <c:v>73.993011992331901</c:v>
                </c:pt>
                <c:pt idx="63">
                  <c:v>73.993011992331901</c:v>
                </c:pt>
                <c:pt idx="64">
                  <c:v>72.880335120266807</c:v>
                </c:pt>
                <c:pt idx="65">
                  <c:v>72.880335120266807</c:v>
                </c:pt>
                <c:pt idx="66">
                  <c:v>72.880335120266807</c:v>
                </c:pt>
                <c:pt idx="67">
                  <c:v>72.880335120266807</c:v>
                </c:pt>
                <c:pt idx="68">
                  <c:v>70.620479767700402</c:v>
                </c:pt>
                <c:pt idx="69">
                  <c:v>70.620479767700402</c:v>
                </c:pt>
                <c:pt idx="70">
                  <c:v>70.620479767700402</c:v>
                </c:pt>
                <c:pt idx="71">
                  <c:v>70.620479767700402</c:v>
                </c:pt>
                <c:pt idx="72">
                  <c:v>70.620479767700402</c:v>
                </c:pt>
                <c:pt idx="73">
                  <c:v>70.620479767700402</c:v>
                </c:pt>
                <c:pt idx="74">
                  <c:v>70.620479767700402</c:v>
                </c:pt>
                <c:pt idx="75">
                  <c:v>70.620479767700402</c:v>
                </c:pt>
                <c:pt idx="76">
                  <c:v>70.0368394390417</c:v>
                </c:pt>
                <c:pt idx="77">
                  <c:v>70.0368394390417</c:v>
                </c:pt>
                <c:pt idx="78">
                  <c:v>69.448294569805995</c:v>
                </c:pt>
                <c:pt idx="79">
                  <c:v>69.448294569805995</c:v>
                </c:pt>
                <c:pt idx="80">
                  <c:v>69.448294569805995</c:v>
                </c:pt>
                <c:pt idx="81">
                  <c:v>69.448294569805995</c:v>
                </c:pt>
                <c:pt idx="82">
                  <c:v>67.652217986104205</c:v>
                </c:pt>
                <c:pt idx="83">
                  <c:v>67.652217986104205</c:v>
                </c:pt>
                <c:pt idx="84">
                  <c:v>67.652217986104205</c:v>
                </c:pt>
                <c:pt idx="85">
                  <c:v>67.652217986104205</c:v>
                </c:pt>
                <c:pt idx="86">
                  <c:v>67.042738544787895</c:v>
                </c:pt>
                <c:pt idx="87">
                  <c:v>67.042738544787895</c:v>
                </c:pt>
                <c:pt idx="88">
                  <c:v>67.042738544787895</c:v>
                </c:pt>
                <c:pt idx="89">
                  <c:v>67.042738544787895</c:v>
                </c:pt>
                <c:pt idx="90">
                  <c:v>67.042738544787895</c:v>
                </c:pt>
                <c:pt idx="91">
                  <c:v>67.042738544787895</c:v>
                </c:pt>
                <c:pt idx="92">
                  <c:v>66.416170894836597</c:v>
                </c:pt>
                <c:pt idx="93">
                  <c:v>66.416170894836597</c:v>
                </c:pt>
                <c:pt idx="94">
                  <c:v>65.783635933933397</c:v>
                </c:pt>
                <c:pt idx="95">
                  <c:v>65.783635933933397</c:v>
                </c:pt>
                <c:pt idx="96">
                  <c:v>65.144959856904904</c:v>
                </c:pt>
                <c:pt idx="97">
                  <c:v>65.144959856904904</c:v>
                </c:pt>
                <c:pt idx="98">
                  <c:v>61.919961844186901</c:v>
                </c:pt>
                <c:pt idx="99">
                  <c:v>61.919961844186901</c:v>
                </c:pt>
                <c:pt idx="100">
                  <c:v>61.919961844186901</c:v>
                </c:pt>
                <c:pt idx="101">
                  <c:v>61.919961844186901</c:v>
                </c:pt>
                <c:pt idx="102">
                  <c:v>61.919961844186901</c:v>
                </c:pt>
                <c:pt idx="103">
                  <c:v>61.919961844186901</c:v>
                </c:pt>
                <c:pt idx="104">
                  <c:v>60.588349761516199</c:v>
                </c:pt>
                <c:pt idx="105">
                  <c:v>60.588349761516199</c:v>
                </c:pt>
                <c:pt idx="106">
                  <c:v>57.895534216559902</c:v>
                </c:pt>
                <c:pt idx="107">
                  <c:v>57.895534216559902</c:v>
                </c:pt>
                <c:pt idx="108">
                  <c:v>56.5332863526408</c:v>
                </c:pt>
                <c:pt idx="109">
                  <c:v>56.5332863526408</c:v>
                </c:pt>
                <c:pt idx="110">
                  <c:v>53.775565067146204</c:v>
                </c:pt>
                <c:pt idx="111">
                  <c:v>53.775565067146204</c:v>
                </c:pt>
                <c:pt idx="112">
                  <c:v>53.775565067146204</c:v>
                </c:pt>
                <c:pt idx="113">
                  <c:v>53.775565067146204</c:v>
                </c:pt>
                <c:pt idx="114">
                  <c:v>53.775565067146204</c:v>
                </c:pt>
                <c:pt idx="115">
                  <c:v>53.775565067146204</c:v>
                </c:pt>
                <c:pt idx="116">
                  <c:v>50.907534930231698</c:v>
                </c:pt>
                <c:pt idx="117">
                  <c:v>50.907534930231698</c:v>
                </c:pt>
                <c:pt idx="118">
                  <c:v>45.816781437208597</c:v>
                </c:pt>
                <c:pt idx="119">
                  <c:v>45.816781437208597</c:v>
                </c:pt>
                <c:pt idx="120">
                  <c:v>37.687997633832801</c:v>
                </c:pt>
                <c:pt idx="121">
                  <c:v>37.687997633832801</c:v>
                </c:pt>
                <c:pt idx="122">
                  <c:v>34.672957823126197</c:v>
                </c:pt>
                <c:pt idx="123">
                  <c:v>34.672957823126197</c:v>
                </c:pt>
                <c:pt idx="124">
                  <c:v>33.131937475431698</c:v>
                </c:pt>
                <c:pt idx="125">
                  <c:v>33.131937475431698</c:v>
                </c:pt>
                <c:pt idx="126">
                  <c:v>33.131937475431698</c:v>
                </c:pt>
                <c:pt idx="127">
                  <c:v>33.131937475431698</c:v>
                </c:pt>
                <c:pt idx="128">
                  <c:v>32.323841439445602</c:v>
                </c:pt>
                <c:pt idx="129">
                  <c:v>32.323841439445602</c:v>
                </c:pt>
                <c:pt idx="130">
                  <c:v>29.837392097949799</c:v>
                </c:pt>
                <c:pt idx="131">
                  <c:v>29.837392097949799</c:v>
                </c:pt>
                <c:pt idx="132">
                  <c:v>27.279901346696899</c:v>
                </c:pt>
                <c:pt idx="133">
                  <c:v>27.279901346696899</c:v>
                </c:pt>
                <c:pt idx="134">
                  <c:v>27.279901346696899</c:v>
                </c:pt>
                <c:pt idx="135">
                  <c:v>27.279901346696899</c:v>
                </c:pt>
                <c:pt idx="136">
                  <c:v>27.279901346696899</c:v>
                </c:pt>
                <c:pt idx="137">
                  <c:v>27.279901346696899</c:v>
                </c:pt>
                <c:pt idx="138">
                  <c:v>26.339215093362501</c:v>
                </c:pt>
                <c:pt idx="139">
                  <c:v>26.339215093362501</c:v>
                </c:pt>
                <c:pt idx="140">
                  <c:v>26.339215093362501</c:v>
                </c:pt>
                <c:pt idx="141">
                  <c:v>26.339215093362501</c:v>
                </c:pt>
                <c:pt idx="142">
                  <c:v>26.339215093362501</c:v>
                </c:pt>
                <c:pt idx="143">
                  <c:v>26.339215093362501</c:v>
                </c:pt>
                <c:pt idx="144">
                  <c:v>26.339215093362501</c:v>
                </c:pt>
                <c:pt idx="145">
                  <c:v>26.339215093362501</c:v>
                </c:pt>
                <c:pt idx="146">
                  <c:v>26.339215093362501</c:v>
                </c:pt>
                <c:pt idx="147">
                  <c:v>26.339215093362501</c:v>
                </c:pt>
                <c:pt idx="148">
                  <c:v>26.339215093362501</c:v>
                </c:pt>
                <c:pt idx="149">
                  <c:v>26.339215093362501</c:v>
                </c:pt>
                <c:pt idx="150">
                  <c:v>26.339215093362501</c:v>
                </c:pt>
                <c:pt idx="151">
                  <c:v>26.339215093362501</c:v>
                </c:pt>
                <c:pt idx="152">
                  <c:v>26.339215093362501</c:v>
                </c:pt>
                <c:pt idx="153">
                  <c:v>26.339215093362501</c:v>
                </c:pt>
                <c:pt idx="154">
                  <c:v>26.339215093362501</c:v>
                </c:pt>
                <c:pt idx="155">
                  <c:v>26.339215093362501</c:v>
                </c:pt>
                <c:pt idx="156">
                  <c:v>26.339215093362501</c:v>
                </c:pt>
                <c:pt idx="157">
                  <c:v>26.339215093362501</c:v>
                </c:pt>
                <c:pt idx="158">
                  <c:v>26.339215093362501</c:v>
                </c:pt>
                <c:pt idx="159">
                  <c:v>26.339215093362501</c:v>
                </c:pt>
                <c:pt idx="160">
                  <c:v>26.339215093362501</c:v>
                </c:pt>
                <c:pt idx="161">
                  <c:v>26.339215093362501</c:v>
                </c:pt>
                <c:pt idx="162">
                  <c:v>26.339215093362501</c:v>
                </c:pt>
                <c:pt idx="163">
                  <c:v>26.339215093362501</c:v>
                </c:pt>
                <c:pt idx="164">
                  <c:v>26.339215093362501</c:v>
                </c:pt>
                <c:pt idx="165">
                  <c:v>26.339215093362501</c:v>
                </c:pt>
                <c:pt idx="166">
                  <c:v>26.339215093362501</c:v>
                </c:pt>
                <c:pt idx="167">
                  <c:v>26.339215093362501</c:v>
                </c:pt>
                <c:pt idx="168">
                  <c:v>26.339215093362501</c:v>
                </c:pt>
                <c:pt idx="169">
                  <c:v>26.339215093362501</c:v>
                </c:pt>
                <c:pt idx="170">
                  <c:v>26.339215093362501</c:v>
                </c:pt>
                <c:pt idx="171">
                  <c:v>26.339215093362501</c:v>
                </c:pt>
                <c:pt idx="172">
                  <c:v>26.339215093362501</c:v>
                </c:pt>
                <c:pt idx="173">
                  <c:v>26.339215093362501</c:v>
                </c:pt>
                <c:pt idx="174">
                  <c:v>26.339215093362501</c:v>
                </c:pt>
                <c:pt idx="175">
                  <c:v>26.339215093362501</c:v>
                </c:pt>
                <c:pt idx="176">
                  <c:v>26.339215093362501</c:v>
                </c:pt>
                <c:pt idx="177">
                  <c:v>26.339215093362501</c:v>
                </c:pt>
                <c:pt idx="178">
                  <c:v>26.339215093362501</c:v>
                </c:pt>
                <c:pt idx="179">
                  <c:v>26.339215093362501</c:v>
                </c:pt>
                <c:pt idx="180">
                  <c:v>26.339215093362501</c:v>
                </c:pt>
                <c:pt idx="181">
                  <c:v>26.339215093362501</c:v>
                </c:pt>
                <c:pt idx="182">
                  <c:v>26.339215093362501</c:v>
                </c:pt>
                <c:pt idx="183">
                  <c:v>26.339215093362501</c:v>
                </c:pt>
                <c:pt idx="184">
                  <c:v>26.339215093362501</c:v>
                </c:pt>
                <c:pt idx="185">
                  <c:v>26.339215093362501</c:v>
                </c:pt>
                <c:pt idx="186">
                  <c:v>26.339215093362501</c:v>
                </c:pt>
                <c:pt idx="187">
                  <c:v>26.339215093362501</c:v>
                </c:pt>
                <c:pt idx="188">
                  <c:v>26.339215093362501</c:v>
                </c:pt>
                <c:pt idx="189">
                  <c:v>26.339215093362501</c:v>
                </c:pt>
                <c:pt idx="190">
                  <c:v>26.339215093362501</c:v>
                </c:pt>
                <c:pt idx="191">
                  <c:v>26.339215093362501</c:v>
                </c:pt>
                <c:pt idx="192">
                  <c:v>26.339215093362501</c:v>
                </c:pt>
                <c:pt idx="193">
                  <c:v>26.339215093362501</c:v>
                </c:pt>
              </c:numCache>
            </c:numRef>
          </c:yVal>
          <c:smooth val="0"/>
          <c:extLst>
            <c:ext xmlns:c16="http://schemas.microsoft.com/office/drawing/2014/chart" uri="{C3380CC4-5D6E-409C-BE32-E72D297353CC}">
              <c16:uniqueId val="{00000001-558F-41FA-8BFD-F9628989BD52}"/>
            </c:ext>
          </c:extLst>
        </c:ser>
        <c:ser>
          <c:idx val="2"/>
          <c:order val="2"/>
          <c:tx>
            <c:v>Placebo+chemo</c:v>
          </c:tx>
          <c:spPr>
            <a:ln w="25400" cap="rnd">
              <a:solidFill>
                <a:schemeClr val="bg1">
                  <a:lumMod val="50000"/>
                </a:schemeClr>
              </a:solidFill>
              <a:round/>
            </a:ln>
            <a:effectLst/>
          </c:spPr>
          <c:marker>
            <c:symbol val="none"/>
          </c:marker>
          <c:xVal>
            <c:numRef>
              <c:f>OS_KM!$Z$2:$Z$428</c:f>
              <c:numCache>
                <c:formatCode>.0000</c:formatCode>
                <c:ptCount val="427"/>
                <c:pt idx="0">
                  <c:v>0</c:v>
                </c:pt>
                <c:pt idx="1">
                  <c:v>0</c:v>
                </c:pt>
                <c:pt idx="2">
                  <c:v>0.68993839835728998</c:v>
                </c:pt>
                <c:pt idx="3">
                  <c:v>0.68993839835728998</c:v>
                </c:pt>
                <c:pt idx="4">
                  <c:v>1.05133470225873</c:v>
                </c:pt>
                <c:pt idx="5">
                  <c:v>1.05133470225873</c:v>
                </c:pt>
                <c:pt idx="6">
                  <c:v>1.24845995893224</c:v>
                </c:pt>
                <c:pt idx="7">
                  <c:v>1.24845995893224</c:v>
                </c:pt>
                <c:pt idx="8">
                  <c:v>1.57700205338809</c:v>
                </c:pt>
                <c:pt idx="9">
                  <c:v>1.57700205338809</c:v>
                </c:pt>
                <c:pt idx="10">
                  <c:v>2.1026694045174499</c:v>
                </c:pt>
                <c:pt idx="11">
                  <c:v>2.1026694045174499</c:v>
                </c:pt>
                <c:pt idx="12">
                  <c:v>2.13552361396304</c:v>
                </c:pt>
                <c:pt idx="13">
                  <c:v>2.13552361396304</c:v>
                </c:pt>
                <c:pt idx="14">
                  <c:v>2.3655030800821399</c:v>
                </c:pt>
                <c:pt idx="15">
                  <c:v>2.3655030800821399</c:v>
                </c:pt>
                <c:pt idx="16">
                  <c:v>2.7268993839835698</c:v>
                </c:pt>
                <c:pt idx="17">
                  <c:v>2.7268993839835698</c:v>
                </c:pt>
                <c:pt idx="18">
                  <c:v>3.51540041067762</c:v>
                </c:pt>
                <c:pt idx="19">
                  <c:v>3.51540041067762</c:v>
                </c:pt>
                <c:pt idx="20">
                  <c:v>3.81108829568789</c:v>
                </c:pt>
                <c:pt idx="21">
                  <c:v>3.81108829568789</c:v>
                </c:pt>
                <c:pt idx="22">
                  <c:v>3.8439425051334699</c:v>
                </c:pt>
                <c:pt idx="23">
                  <c:v>3.8439425051334699</c:v>
                </c:pt>
                <c:pt idx="24">
                  <c:v>3.8767967145790601</c:v>
                </c:pt>
                <c:pt idx="25">
                  <c:v>3.8767967145790601</c:v>
                </c:pt>
                <c:pt idx="26">
                  <c:v>3.90965092402464</c:v>
                </c:pt>
                <c:pt idx="27">
                  <c:v>3.90965092402464</c:v>
                </c:pt>
                <c:pt idx="28">
                  <c:v>4.2053388090349104</c:v>
                </c:pt>
                <c:pt idx="29">
                  <c:v>4.2053388090349104</c:v>
                </c:pt>
                <c:pt idx="30">
                  <c:v>4.4024640657084202</c:v>
                </c:pt>
                <c:pt idx="31">
                  <c:v>4.4024640657084202</c:v>
                </c:pt>
                <c:pt idx="32">
                  <c:v>4.4681724845995898</c:v>
                </c:pt>
                <c:pt idx="33">
                  <c:v>4.4681724845995898</c:v>
                </c:pt>
                <c:pt idx="34">
                  <c:v>4.5338809034907603</c:v>
                </c:pt>
                <c:pt idx="35">
                  <c:v>4.5338809034907603</c:v>
                </c:pt>
                <c:pt idx="36">
                  <c:v>4.59958932238193</c:v>
                </c:pt>
                <c:pt idx="37">
                  <c:v>4.59958932238193</c:v>
                </c:pt>
                <c:pt idx="38">
                  <c:v>4.6652977412730996</c:v>
                </c:pt>
                <c:pt idx="39">
                  <c:v>4.6652977412730996</c:v>
                </c:pt>
                <c:pt idx="40">
                  <c:v>4.9281314168377799</c:v>
                </c:pt>
                <c:pt idx="41">
                  <c:v>4.9281314168377799</c:v>
                </c:pt>
                <c:pt idx="42">
                  <c:v>5.0924024640657102</c:v>
                </c:pt>
                <c:pt idx="43">
                  <c:v>5.0924024640657102</c:v>
                </c:pt>
                <c:pt idx="44">
                  <c:v>5.2238193018480503</c:v>
                </c:pt>
                <c:pt idx="45">
                  <c:v>5.2238193018480503</c:v>
                </c:pt>
                <c:pt idx="46">
                  <c:v>5.2566735112936396</c:v>
                </c:pt>
                <c:pt idx="47">
                  <c:v>5.2566735112936396</c:v>
                </c:pt>
                <c:pt idx="48">
                  <c:v>5.3223819301848101</c:v>
                </c:pt>
                <c:pt idx="49">
                  <c:v>5.3223819301848101</c:v>
                </c:pt>
                <c:pt idx="50">
                  <c:v>5.3552361396303896</c:v>
                </c:pt>
                <c:pt idx="51">
                  <c:v>5.3552361396303896</c:v>
                </c:pt>
                <c:pt idx="52">
                  <c:v>5.3880903490759797</c:v>
                </c:pt>
                <c:pt idx="53">
                  <c:v>5.3880903490759797</c:v>
                </c:pt>
                <c:pt idx="54">
                  <c:v>5.7166324435318296</c:v>
                </c:pt>
                <c:pt idx="55">
                  <c:v>5.7166324435318296</c:v>
                </c:pt>
                <c:pt idx="56">
                  <c:v>5.74948665297741</c:v>
                </c:pt>
                <c:pt idx="57">
                  <c:v>5.74948665297741</c:v>
                </c:pt>
                <c:pt idx="58">
                  <c:v>5.8480492813141698</c:v>
                </c:pt>
                <c:pt idx="59">
                  <c:v>5.8480492813141698</c:v>
                </c:pt>
                <c:pt idx="60">
                  <c:v>5.8809034907597502</c:v>
                </c:pt>
                <c:pt idx="61">
                  <c:v>5.8809034907597502</c:v>
                </c:pt>
                <c:pt idx="62">
                  <c:v>6.1108829568788501</c:v>
                </c:pt>
                <c:pt idx="63">
                  <c:v>6.1108829568788501</c:v>
                </c:pt>
                <c:pt idx="64">
                  <c:v>6.1437371663244402</c:v>
                </c:pt>
                <c:pt idx="65">
                  <c:v>6.1437371663244402</c:v>
                </c:pt>
                <c:pt idx="66">
                  <c:v>6.2094455852156099</c:v>
                </c:pt>
                <c:pt idx="67">
                  <c:v>6.2094455852156099</c:v>
                </c:pt>
                <c:pt idx="68">
                  <c:v>6.2094455852156099</c:v>
                </c:pt>
                <c:pt idx="69">
                  <c:v>6.2094455852156099</c:v>
                </c:pt>
                <c:pt idx="70">
                  <c:v>6.2751540041067804</c:v>
                </c:pt>
                <c:pt idx="71">
                  <c:v>6.2751540041067804</c:v>
                </c:pt>
                <c:pt idx="72">
                  <c:v>6.2751540041067804</c:v>
                </c:pt>
                <c:pt idx="73">
                  <c:v>6.2751540041067804</c:v>
                </c:pt>
                <c:pt idx="74">
                  <c:v>6.4394250513347</c:v>
                </c:pt>
                <c:pt idx="75">
                  <c:v>6.4394250513347</c:v>
                </c:pt>
                <c:pt idx="76">
                  <c:v>6.4722792607802901</c:v>
                </c:pt>
                <c:pt idx="77">
                  <c:v>6.4722792607802901</c:v>
                </c:pt>
                <c:pt idx="78">
                  <c:v>6.5051334702258696</c:v>
                </c:pt>
                <c:pt idx="79">
                  <c:v>6.5051334702258696</c:v>
                </c:pt>
                <c:pt idx="80">
                  <c:v>6.5379876796714598</c:v>
                </c:pt>
                <c:pt idx="81">
                  <c:v>6.5379876796714598</c:v>
                </c:pt>
                <c:pt idx="82">
                  <c:v>6.5379876796714598</c:v>
                </c:pt>
                <c:pt idx="83">
                  <c:v>6.5379876796714598</c:v>
                </c:pt>
                <c:pt idx="84">
                  <c:v>6.5708418891170401</c:v>
                </c:pt>
                <c:pt idx="85">
                  <c:v>6.5708418891170401</c:v>
                </c:pt>
                <c:pt idx="86">
                  <c:v>6.5708418891170401</c:v>
                </c:pt>
                <c:pt idx="87">
                  <c:v>6.5708418891170401</c:v>
                </c:pt>
                <c:pt idx="88">
                  <c:v>6.7022587268993901</c:v>
                </c:pt>
                <c:pt idx="89">
                  <c:v>6.7022587268993901</c:v>
                </c:pt>
                <c:pt idx="90">
                  <c:v>6.7351129363449704</c:v>
                </c:pt>
                <c:pt idx="91">
                  <c:v>6.7351129363449704</c:v>
                </c:pt>
                <c:pt idx="92">
                  <c:v>6.8008213552361401</c:v>
                </c:pt>
                <c:pt idx="93">
                  <c:v>6.8008213552361401</c:v>
                </c:pt>
                <c:pt idx="94">
                  <c:v>6.8336755646817302</c:v>
                </c:pt>
                <c:pt idx="95">
                  <c:v>6.8336755646817302</c:v>
                </c:pt>
                <c:pt idx="96">
                  <c:v>6.8665297741273097</c:v>
                </c:pt>
                <c:pt idx="97">
                  <c:v>6.8665297741273097</c:v>
                </c:pt>
                <c:pt idx="98">
                  <c:v>7.0636550308008204</c:v>
                </c:pt>
                <c:pt idx="99">
                  <c:v>7.0636550308008204</c:v>
                </c:pt>
                <c:pt idx="100">
                  <c:v>7.0636550308008204</c:v>
                </c:pt>
                <c:pt idx="101">
                  <c:v>7.0636550308008204</c:v>
                </c:pt>
                <c:pt idx="102">
                  <c:v>7.0965092402464096</c:v>
                </c:pt>
                <c:pt idx="103">
                  <c:v>7.0965092402464096</c:v>
                </c:pt>
                <c:pt idx="104">
                  <c:v>7.1622176591375801</c:v>
                </c:pt>
                <c:pt idx="105">
                  <c:v>7.1622176591375801</c:v>
                </c:pt>
                <c:pt idx="106">
                  <c:v>7.1950718685831596</c:v>
                </c:pt>
                <c:pt idx="107">
                  <c:v>7.1950718685831596</c:v>
                </c:pt>
                <c:pt idx="108">
                  <c:v>7.2936344969199203</c:v>
                </c:pt>
                <c:pt idx="109">
                  <c:v>7.2936344969199203</c:v>
                </c:pt>
                <c:pt idx="110">
                  <c:v>7.3264887063655104</c:v>
                </c:pt>
                <c:pt idx="111">
                  <c:v>7.3264887063655104</c:v>
                </c:pt>
                <c:pt idx="112">
                  <c:v>7.3593429158110899</c:v>
                </c:pt>
                <c:pt idx="113">
                  <c:v>7.3593429158110899</c:v>
                </c:pt>
                <c:pt idx="114">
                  <c:v>7.3593429158110899</c:v>
                </c:pt>
                <c:pt idx="115">
                  <c:v>7.3593429158110899</c:v>
                </c:pt>
                <c:pt idx="116">
                  <c:v>7.39219712525668</c:v>
                </c:pt>
                <c:pt idx="117">
                  <c:v>7.39219712525668</c:v>
                </c:pt>
                <c:pt idx="118">
                  <c:v>7.4250513347022604</c:v>
                </c:pt>
                <c:pt idx="119">
                  <c:v>7.4250513347022604</c:v>
                </c:pt>
                <c:pt idx="120">
                  <c:v>7.4579055441478497</c:v>
                </c:pt>
                <c:pt idx="121">
                  <c:v>7.4579055441478497</c:v>
                </c:pt>
                <c:pt idx="122">
                  <c:v>7.5236139630390202</c:v>
                </c:pt>
                <c:pt idx="123">
                  <c:v>7.5236139630390202</c:v>
                </c:pt>
                <c:pt idx="124">
                  <c:v>7.6221765913757702</c:v>
                </c:pt>
                <c:pt idx="125">
                  <c:v>7.6221765913757702</c:v>
                </c:pt>
                <c:pt idx="126">
                  <c:v>7.6221765913757702</c:v>
                </c:pt>
                <c:pt idx="127">
                  <c:v>7.6221765913757702</c:v>
                </c:pt>
                <c:pt idx="128">
                  <c:v>7.7535934291581103</c:v>
                </c:pt>
                <c:pt idx="129">
                  <c:v>7.7535934291581103</c:v>
                </c:pt>
                <c:pt idx="130">
                  <c:v>7.7535934291581103</c:v>
                </c:pt>
                <c:pt idx="131">
                  <c:v>7.7535934291581103</c:v>
                </c:pt>
                <c:pt idx="132">
                  <c:v>7.81930184804928</c:v>
                </c:pt>
                <c:pt idx="133">
                  <c:v>7.81930184804928</c:v>
                </c:pt>
                <c:pt idx="134">
                  <c:v>7.8850102669404496</c:v>
                </c:pt>
                <c:pt idx="135">
                  <c:v>7.8850102669404496</c:v>
                </c:pt>
                <c:pt idx="136">
                  <c:v>7.9178644763860397</c:v>
                </c:pt>
                <c:pt idx="137">
                  <c:v>7.9178644763860397</c:v>
                </c:pt>
                <c:pt idx="138">
                  <c:v>7.9507186858316201</c:v>
                </c:pt>
                <c:pt idx="139">
                  <c:v>7.9507186858316201</c:v>
                </c:pt>
                <c:pt idx="140">
                  <c:v>8.0821355236139691</c:v>
                </c:pt>
                <c:pt idx="141">
                  <c:v>8.0821355236139691</c:v>
                </c:pt>
                <c:pt idx="142">
                  <c:v>8.1149897330595504</c:v>
                </c:pt>
                <c:pt idx="143">
                  <c:v>8.1149897330595504</c:v>
                </c:pt>
                <c:pt idx="144">
                  <c:v>8.3121149897330593</c:v>
                </c:pt>
                <c:pt idx="145">
                  <c:v>8.3121149897330593</c:v>
                </c:pt>
                <c:pt idx="146">
                  <c:v>8.3121149897330593</c:v>
                </c:pt>
                <c:pt idx="147">
                  <c:v>8.3121149897330593</c:v>
                </c:pt>
                <c:pt idx="148">
                  <c:v>8.3778234086242307</c:v>
                </c:pt>
                <c:pt idx="149">
                  <c:v>8.3778234086242307</c:v>
                </c:pt>
                <c:pt idx="150">
                  <c:v>8.4435318275154003</c:v>
                </c:pt>
                <c:pt idx="151">
                  <c:v>8.4435318275154003</c:v>
                </c:pt>
                <c:pt idx="152">
                  <c:v>8.6078028747433297</c:v>
                </c:pt>
                <c:pt idx="153">
                  <c:v>8.6078028747433297</c:v>
                </c:pt>
                <c:pt idx="154">
                  <c:v>8.6078028747433297</c:v>
                </c:pt>
                <c:pt idx="155">
                  <c:v>8.6078028747433297</c:v>
                </c:pt>
                <c:pt idx="156">
                  <c:v>8.6406570841889092</c:v>
                </c:pt>
                <c:pt idx="157">
                  <c:v>8.6406570841889092</c:v>
                </c:pt>
                <c:pt idx="158">
                  <c:v>8.8377823408624305</c:v>
                </c:pt>
                <c:pt idx="159">
                  <c:v>8.8377823408624305</c:v>
                </c:pt>
                <c:pt idx="160">
                  <c:v>8.87063655030801</c:v>
                </c:pt>
                <c:pt idx="161">
                  <c:v>8.87063655030801</c:v>
                </c:pt>
                <c:pt idx="162">
                  <c:v>8.9363449691991796</c:v>
                </c:pt>
                <c:pt idx="163">
                  <c:v>8.9363449691991796</c:v>
                </c:pt>
                <c:pt idx="164">
                  <c:v>9.0020533880903493</c:v>
                </c:pt>
                <c:pt idx="165">
                  <c:v>9.0020533880903493</c:v>
                </c:pt>
                <c:pt idx="166">
                  <c:v>9.0349075975359394</c:v>
                </c:pt>
                <c:pt idx="167">
                  <c:v>9.0349075975359394</c:v>
                </c:pt>
                <c:pt idx="168">
                  <c:v>9.1334702258726903</c:v>
                </c:pt>
                <c:pt idx="169">
                  <c:v>9.1334702258726903</c:v>
                </c:pt>
                <c:pt idx="170">
                  <c:v>9.1663244353182805</c:v>
                </c:pt>
                <c:pt idx="171">
                  <c:v>9.1663244353182805</c:v>
                </c:pt>
                <c:pt idx="172">
                  <c:v>9.1991786447638599</c:v>
                </c:pt>
                <c:pt idx="173">
                  <c:v>9.1991786447638599</c:v>
                </c:pt>
                <c:pt idx="174">
                  <c:v>9.2320328542094501</c:v>
                </c:pt>
                <c:pt idx="175">
                  <c:v>9.2320328542094501</c:v>
                </c:pt>
                <c:pt idx="176">
                  <c:v>9.2648870636550296</c:v>
                </c:pt>
                <c:pt idx="177">
                  <c:v>9.2648870636550296</c:v>
                </c:pt>
                <c:pt idx="178">
                  <c:v>9.2648870636550296</c:v>
                </c:pt>
                <c:pt idx="179">
                  <c:v>9.2648870636550296</c:v>
                </c:pt>
                <c:pt idx="180">
                  <c:v>9.3305954825461992</c:v>
                </c:pt>
                <c:pt idx="181">
                  <c:v>9.3305954825461992</c:v>
                </c:pt>
                <c:pt idx="182">
                  <c:v>9.3634496919917893</c:v>
                </c:pt>
                <c:pt idx="183">
                  <c:v>9.3634496919917893</c:v>
                </c:pt>
                <c:pt idx="184">
                  <c:v>9.4620123203285402</c:v>
                </c:pt>
                <c:pt idx="185">
                  <c:v>9.4620123203285402</c:v>
                </c:pt>
                <c:pt idx="186">
                  <c:v>9.4620123203285402</c:v>
                </c:pt>
                <c:pt idx="187">
                  <c:v>9.4620123203285402</c:v>
                </c:pt>
                <c:pt idx="188">
                  <c:v>9.5605749486653</c:v>
                </c:pt>
                <c:pt idx="189">
                  <c:v>9.5605749486653</c:v>
                </c:pt>
                <c:pt idx="190">
                  <c:v>9.6591375770020491</c:v>
                </c:pt>
                <c:pt idx="191">
                  <c:v>9.6591375770020491</c:v>
                </c:pt>
                <c:pt idx="192">
                  <c:v>9.8234086242299803</c:v>
                </c:pt>
                <c:pt idx="193">
                  <c:v>9.8234086242299803</c:v>
                </c:pt>
                <c:pt idx="194">
                  <c:v>9.8562628336755704</c:v>
                </c:pt>
                <c:pt idx="195">
                  <c:v>9.8562628336755704</c:v>
                </c:pt>
                <c:pt idx="196">
                  <c:v>9.9219712525667401</c:v>
                </c:pt>
                <c:pt idx="197">
                  <c:v>9.9219712525667401</c:v>
                </c:pt>
                <c:pt idx="198">
                  <c:v>9.9548254620123195</c:v>
                </c:pt>
                <c:pt idx="199">
                  <c:v>9.9548254620123195</c:v>
                </c:pt>
                <c:pt idx="200">
                  <c:v>9.9876796714579097</c:v>
                </c:pt>
                <c:pt idx="201">
                  <c:v>9.9876796714579097</c:v>
                </c:pt>
                <c:pt idx="202">
                  <c:v>10.053388090349101</c:v>
                </c:pt>
                <c:pt idx="203">
                  <c:v>10.053388090349101</c:v>
                </c:pt>
                <c:pt idx="204">
                  <c:v>10.0862422997947</c:v>
                </c:pt>
                <c:pt idx="205">
                  <c:v>10.0862422997947</c:v>
                </c:pt>
                <c:pt idx="206">
                  <c:v>10.119096509240199</c:v>
                </c:pt>
                <c:pt idx="207">
                  <c:v>10.119096509240199</c:v>
                </c:pt>
                <c:pt idx="208">
                  <c:v>10.1519507186858</c:v>
                </c:pt>
                <c:pt idx="209">
                  <c:v>10.1519507186858</c:v>
                </c:pt>
                <c:pt idx="210">
                  <c:v>10.217659137577</c:v>
                </c:pt>
                <c:pt idx="211">
                  <c:v>10.217659137577</c:v>
                </c:pt>
                <c:pt idx="212">
                  <c:v>10.250513347022601</c:v>
                </c:pt>
                <c:pt idx="213">
                  <c:v>10.250513347022601</c:v>
                </c:pt>
                <c:pt idx="214">
                  <c:v>10.3490759753593</c:v>
                </c:pt>
                <c:pt idx="215">
                  <c:v>10.3490759753593</c:v>
                </c:pt>
                <c:pt idx="216">
                  <c:v>10.381930184804901</c:v>
                </c:pt>
                <c:pt idx="217">
                  <c:v>10.381930184804901</c:v>
                </c:pt>
                <c:pt idx="218">
                  <c:v>10.4147843942505</c:v>
                </c:pt>
                <c:pt idx="219">
                  <c:v>10.4147843942505</c:v>
                </c:pt>
                <c:pt idx="220">
                  <c:v>10.611909650924</c:v>
                </c:pt>
                <c:pt idx="221">
                  <c:v>10.611909650924</c:v>
                </c:pt>
                <c:pt idx="222">
                  <c:v>10.644763860369601</c:v>
                </c:pt>
                <c:pt idx="223">
                  <c:v>10.644763860369601</c:v>
                </c:pt>
                <c:pt idx="224">
                  <c:v>10.7433264887064</c:v>
                </c:pt>
                <c:pt idx="225">
                  <c:v>10.7433264887064</c:v>
                </c:pt>
                <c:pt idx="226">
                  <c:v>10.776180698152</c:v>
                </c:pt>
                <c:pt idx="227">
                  <c:v>10.776180698152</c:v>
                </c:pt>
                <c:pt idx="228">
                  <c:v>10.9075975359343</c:v>
                </c:pt>
                <c:pt idx="229">
                  <c:v>10.9075975359343</c:v>
                </c:pt>
                <c:pt idx="230">
                  <c:v>10.9404517453799</c:v>
                </c:pt>
                <c:pt idx="231">
                  <c:v>10.9404517453799</c:v>
                </c:pt>
                <c:pt idx="232">
                  <c:v>11.1047227926078</c:v>
                </c:pt>
                <c:pt idx="233">
                  <c:v>11.1047227926078</c:v>
                </c:pt>
                <c:pt idx="234">
                  <c:v>11.203285420944599</c:v>
                </c:pt>
                <c:pt idx="235">
                  <c:v>11.203285420944599</c:v>
                </c:pt>
                <c:pt idx="236">
                  <c:v>11.236139630390101</c:v>
                </c:pt>
                <c:pt idx="237">
                  <c:v>11.236139630390101</c:v>
                </c:pt>
                <c:pt idx="238">
                  <c:v>11.4661190965092</c:v>
                </c:pt>
                <c:pt idx="239">
                  <c:v>11.4661190965092</c:v>
                </c:pt>
                <c:pt idx="240">
                  <c:v>11.4989733059548</c:v>
                </c:pt>
                <c:pt idx="241">
                  <c:v>11.4989733059548</c:v>
                </c:pt>
                <c:pt idx="242">
                  <c:v>11.564681724846</c:v>
                </c:pt>
                <c:pt idx="243">
                  <c:v>11.564681724846</c:v>
                </c:pt>
                <c:pt idx="244">
                  <c:v>12.0903490759754</c:v>
                </c:pt>
                <c:pt idx="245">
                  <c:v>12.0903490759754</c:v>
                </c:pt>
                <c:pt idx="246">
                  <c:v>12.35318275154</c:v>
                </c:pt>
                <c:pt idx="247">
                  <c:v>12.35318275154</c:v>
                </c:pt>
                <c:pt idx="248">
                  <c:v>12.6160164271047</c:v>
                </c:pt>
                <c:pt idx="249">
                  <c:v>12.6160164271047</c:v>
                </c:pt>
                <c:pt idx="250">
                  <c:v>12.7474332648871</c:v>
                </c:pt>
                <c:pt idx="251">
                  <c:v>12.7474332648871</c:v>
                </c:pt>
                <c:pt idx="252">
                  <c:v>12.780287474332701</c:v>
                </c:pt>
                <c:pt idx="253">
                  <c:v>12.780287474332701</c:v>
                </c:pt>
                <c:pt idx="254">
                  <c:v>12.8131416837782</c:v>
                </c:pt>
                <c:pt idx="255">
                  <c:v>12.8131416837782</c:v>
                </c:pt>
                <c:pt idx="256">
                  <c:v>12.911704312115001</c:v>
                </c:pt>
                <c:pt idx="257">
                  <c:v>12.911704312115001</c:v>
                </c:pt>
                <c:pt idx="258">
                  <c:v>12.9445585215606</c:v>
                </c:pt>
                <c:pt idx="259">
                  <c:v>12.9445585215606</c:v>
                </c:pt>
                <c:pt idx="260">
                  <c:v>13.0102669404517</c:v>
                </c:pt>
                <c:pt idx="261">
                  <c:v>13.0102669404517</c:v>
                </c:pt>
                <c:pt idx="262">
                  <c:v>13.0102669404517</c:v>
                </c:pt>
                <c:pt idx="263">
                  <c:v>13.0102669404517</c:v>
                </c:pt>
                <c:pt idx="264">
                  <c:v>13.108829568788501</c:v>
                </c:pt>
                <c:pt idx="265">
                  <c:v>13.108829568788501</c:v>
                </c:pt>
                <c:pt idx="266">
                  <c:v>13.1416837782341</c:v>
                </c:pt>
                <c:pt idx="267">
                  <c:v>13.1416837782341</c:v>
                </c:pt>
                <c:pt idx="268">
                  <c:v>13.305954825462001</c:v>
                </c:pt>
                <c:pt idx="269">
                  <c:v>13.305954825462001</c:v>
                </c:pt>
                <c:pt idx="270">
                  <c:v>13.3388090349076</c:v>
                </c:pt>
                <c:pt idx="271">
                  <c:v>13.3388090349076</c:v>
                </c:pt>
                <c:pt idx="272">
                  <c:v>13.503080082135501</c:v>
                </c:pt>
                <c:pt idx="273">
                  <c:v>13.503080082135501</c:v>
                </c:pt>
                <c:pt idx="274">
                  <c:v>13.568788501026701</c:v>
                </c:pt>
                <c:pt idx="275">
                  <c:v>13.568788501026701</c:v>
                </c:pt>
                <c:pt idx="276">
                  <c:v>13.6344969199179</c:v>
                </c:pt>
                <c:pt idx="277">
                  <c:v>13.6344969199179</c:v>
                </c:pt>
                <c:pt idx="278">
                  <c:v>13.7987679671458</c:v>
                </c:pt>
                <c:pt idx="279">
                  <c:v>13.7987679671458</c:v>
                </c:pt>
                <c:pt idx="280">
                  <c:v>13.8316221765914</c:v>
                </c:pt>
                <c:pt idx="281">
                  <c:v>13.8316221765914</c:v>
                </c:pt>
                <c:pt idx="282">
                  <c:v>13.864476386037</c:v>
                </c:pt>
                <c:pt idx="283">
                  <c:v>13.864476386037</c:v>
                </c:pt>
                <c:pt idx="284">
                  <c:v>14.0287474332649</c:v>
                </c:pt>
                <c:pt idx="285">
                  <c:v>14.0287474332649</c:v>
                </c:pt>
                <c:pt idx="286">
                  <c:v>14.1273100616016</c:v>
                </c:pt>
                <c:pt idx="287">
                  <c:v>14.1273100616016</c:v>
                </c:pt>
                <c:pt idx="288">
                  <c:v>14.324435318275199</c:v>
                </c:pt>
                <c:pt idx="289">
                  <c:v>14.324435318275199</c:v>
                </c:pt>
                <c:pt idx="290">
                  <c:v>14.4887063655031</c:v>
                </c:pt>
                <c:pt idx="291">
                  <c:v>14.4887063655031</c:v>
                </c:pt>
                <c:pt idx="292">
                  <c:v>14.521560574948699</c:v>
                </c:pt>
                <c:pt idx="293">
                  <c:v>14.521560574948699</c:v>
                </c:pt>
                <c:pt idx="294">
                  <c:v>14.6201232032854</c:v>
                </c:pt>
                <c:pt idx="295">
                  <c:v>14.6201232032854</c:v>
                </c:pt>
                <c:pt idx="296">
                  <c:v>14.7515400410678</c:v>
                </c:pt>
                <c:pt idx="297">
                  <c:v>14.7515400410678</c:v>
                </c:pt>
                <c:pt idx="298">
                  <c:v>14.784394250513399</c:v>
                </c:pt>
                <c:pt idx="299">
                  <c:v>14.784394250513399</c:v>
                </c:pt>
                <c:pt idx="300">
                  <c:v>15.1457905544148</c:v>
                </c:pt>
                <c:pt idx="301">
                  <c:v>15.1457905544148</c:v>
                </c:pt>
                <c:pt idx="302">
                  <c:v>15.2772073921971</c:v>
                </c:pt>
                <c:pt idx="303">
                  <c:v>15.2772073921971</c:v>
                </c:pt>
                <c:pt idx="304">
                  <c:v>15.4086242299795</c:v>
                </c:pt>
                <c:pt idx="305">
                  <c:v>15.4086242299795</c:v>
                </c:pt>
                <c:pt idx="306">
                  <c:v>15.507186858316199</c:v>
                </c:pt>
                <c:pt idx="307">
                  <c:v>15.507186858316199</c:v>
                </c:pt>
                <c:pt idx="308">
                  <c:v>15.6714579055442</c:v>
                </c:pt>
                <c:pt idx="309">
                  <c:v>15.6714579055442</c:v>
                </c:pt>
                <c:pt idx="310">
                  <c:v>16.2628336755647</c:v>
                </c:pt>
                <c:pt idx="311">
                  <c:v>16.2628336755647</c:v>
                </c:pt>
                <c:pt idx="312">
                  <c:v>16.295687885010299</c:v>
                </c:pt>
                <c:pt idx="313">
                  <c:v>16.295687885010299</c:v>
                </c:pt>
                <c:pt idx="314">
                  <c:v>17.0513347022587</c:v>
                </c:pt>
                <c:pt idx="315">
                  <c:v>17.0513347022587</c:v>
                </c:pt>
                <c:pt idx="316">
                  <c:v>17.3141683778234</c:v>
                </c:pt>
                <c:pt idx="317">
                  <c:v>17.3141683778234</c:v>
                </c:pt>
                <c:pt idx="318">
                  <c:v>17.379876796714601</c:v>
                </c:pt>
                <c:pt idx="319">
                  <c:v>17.379876796714601</c:v>
                </c:pt>
                <c:pt idx="320">
                  <c:v>17.839835728952799</c:v>
                </c:pt>
                <c:pt idx="321">
                  <c:v>17.839835728952799</c:v>
                </c:pt>
                <c:pt idx="322">
                  <c:v>18.135523613962999</c:v>
                </c:pt>
                <c:pt idx="323">
                  <c:v>18.135523613962999</c:v>
                </c:pt>
                <c:pt idx="324">
                  <c:v>18.529774127310102</c:v>
                </c:pt>
                <c:pt idx="325">
                  <c:v>18.529774127310102</c:v>
                </c:pt>
                <c:pt idx="326">
                  <c:v>19.219712525667401</c:v>
                </c:pt>
                <c:pt idx="327">
                  <c:v>19.219712525667401</c:v>
                </c:pt>
                <c:pt idx="328">
                  <c:v>19.7782340862423</c:v>
                </c:pt>
                <c:pt idx="329">
                  <c:v>19.7782340862423</c:v>
                </c:pt>
                <c:pt idx="330">
                  <c:v>19.811088295687899</c:v>
                </c:pt>
                <c:pt idx="331">
                  <c:v>19.811088295687899</c:v>
                </c:pt>
                <c:pt idx="332">
                  <c:v>19.843942505133501</c:v>
                </c:pt>
                <c:pt idx="333">
                  <c:v>19.843942505133501</c:v>
                </c:pt>
                <c:pt idx="334">
                  <c:v>19.9096509240246</c:v>
                </c:pt>
                <c:pt idx="335">
                  <c:v>19.9096509240246</c:v>
                </c:pt>
                <c:pt idx="336">
                  <c:v>20.6652977412731</c:v>
                </c:pt>
                <c:pt idx="337">
                  <c:v>20.6652977412731</c:v>
                </c:pt>
                <c:pt idx="338">
                  <c:v>21.0595482546201</c:v>
                </c:pt>
                <c:pt idx="339">
                  <c:v>21.0595482546201</c:v>
                </c:pt>
                <c:pt idx="340">
                  <c:v>21.913757700205299</c:v>
                </c:pt>
                <c:pt idx="341">
                  <c:v>21.913757700205299</c:v>
                </c:pt>
                <c:pt idx="342">
                  <c:v>21.946611909650901</c:v>
                </c:pt>
                <c:pt idx="343">
                  <c:v>21.946611909650901</c:v>
                </c:pt>
                <c:pt idx="344">
                  <c:v>22.6365503080082</c:v>
                </c:pt>
                <c:pt idx="345">
                  <c:v>22.6365503080082</c:v>
                </c:pt>
                <c:pt idx="346">
                  <c:v>23.227926078028801</c:v>
                </c:pt>
                <c:pt idx="347">
                  <c:v>23.227926078028801</c:v>
                </c:pt>
                <c:pt idx="348">
                  <c:v>23.622176591375801</c:v>
                </c:pt>
                <c:pt idx="349">
                  <c:v>23.622176591375801</c:v>
                </c:pt>
                <c:pt idx="350">
                  <c:v>24.4435318275154</c:v>
                </c:pt>
                <c:pt idx="351">
                  <c:v>24.4435318275154</c:v>
                </c:pt>
                <c:pt idx="352">
                  <c:v>24.903490759753598</c:v>
                </c:pt>
                <c:pt idx="353">
                  <c:v>24.903490759753598</c:v>
                </c:pt>
                <c:pt idx="354">
                  <c:v>25.133470225872699</c:v>
                </c:pt>
                <c:pt idx="355">
                  <c:v>25.133470225872699</c:v>
                </c:pt>
                <c:pt idx="356">
                  <c:v>25.823408624230002</c:v>
                </c:pt>
                <c:pt idx="357">
                  <c:v>25.823408624230002</c:v>
                </c:pt>
                <c:pt idx="358">
                  <c:v>26.0205338809035</c:v>
                </c:pt>
                <c:pt idx="359">
                  <c:v>26.0205338809035</c:v>
                </c:pt>
                <c:pt idx="360">
                  <c:v>26.644763860369601</c:v>
                </c:pt>
                <c:pt idx="361">
                  <c:v>26.644763860369601</c:v>
                </c:pt>
                <c:pt idx="362">
                  <c:v>26.710472279260799</c:v>
                </c:pt>
                <c:pt idx="363">
                  <c:v>26.710472279260799</c:v>
                </c:pt>
                <c:pt idx="364">
                  <c:v>26.874743326488701</c:v>
                </c:pt>
                <c:pt idx="365">
                  <c:v>26.874743326488701</c:v>
                </c:pt>
                <c:pt idx="366">
                  <c:v>27.268993839835701</c:v>
                </c:pt>
                <c:pt idx="367">
                  <c:v>27.268993839835701</c:v>
                </c:pt>
                <c:pt idx="368">
                  <c:v>27.6960985626283</c:v>
                </c:pt>
                <c:pt idx="369">
                  <c:v>27.6960985626283</c:v>
                </c:pt>
                <c:pt idx="370">
                  <c:v>27.958932238193</c:v>
                </c:pt>
                <c:pt idx="371">
                  <c:v>27.958932238193</c:v>
                </c:pt>
                <c:pt idx="372">
                  <c:v>28.6160164271047</c:v>
                </c:pt>
                <c:pt idx="373">
                  <c:v>28.6160164271047</c:v>
                </c:pt>
                <c:pt idx="374">
                  <c:v>28.845995893223801</c:v>
                </c:pt>
                <c:pt idx="375">
                  <c:v>28.845995893223801</c:v>
                </c:pt>
                <c:pt idx="376">
                  <c:v>28.911704312114999</c:v>
                </c:pt>
                <c:pt idx="377">
                  <c:v>28.911704312114999</c:v>
                </c:pt>
                <c:pt idx="378">
                  <c:v>29.305954825461999</c:v>
                </c:pt>
                <c:pt idx="379">
                  <c:v>29.305954825461999</c:v>
                </c:pt>
                <c:pt idx="380">
                  <c:v>29.437371663244399</c:v>
                </c:pt>
                <c:pt idx="381">
                  <c:v>29.437371663244399</c:v>
                </c:pt>
                <c:pt idx="382">
                  <c:v>29.601642710472301</c:v>
                </c:pt>
                <c:pt idx="383">
                  <c:v>29.601642710472301</c:v>
                </c:pt>
                <c:pt idx="384">
                  <c:v>29.667351129363499</c:v>
                </c:pt>
                <c:pt idx="385">
                  <c:v>29.667351129363499</c:v>
                </c:pt>
                <c:pt idx="386">
                  <c:v>29.700205338808999</c:v>
                </c:pt>
                <c:pt idx="387">
                  <c:v>29.700205338808999</c:v>
                </c:pt>
                <c:pt idx="388">
                  <c:v>29.8973305954826</c:v>
                </c:pt>
                <c:pt idx="389">
                  <c:v>29.8973305954826</c:v>
                </c:pt>
                <c:pt idx="390">
                  <c:v>30.0616016427105</c:v>
                </c:pt>
                <c:pt idx="391">
                  <c:v>30.0616016427105</c:v>
                </c:pt>
                <c:pt idx="392">
                  <c:v>30.225872689938399</c:v>
                </c:pt>
                <c:pt idx="393">
                  <c:v>30.225872689938399</c:v>
                </c:pt>
                <c:pt idx="394">
                  <c:v>30.882956878850099</c:v>
                </c:pt>
                <c:pt idx="395">
                  <c:v>30.882956878850099</c:v>
                </c:pt>
                <c:pt idx="396">
                  <c:v>30.882956878850099</c:v>
                </c:pt>
                <c:pt idx="397">
                  <c:v>30.882956878850099</c:v>
                </c:pt>
                <c:pt idx="398">
                  <c:v>31.047227926078001</c:v>
                </c:pt>
                <c:pt idx="399">
                  <c:v>31.047227926078001</c:v>
                </c:pt>
                <c:pt idx="400">
                  <c:v>31.0800821355236</c:v>
                </c:pt>
                <c:pt idx="401">
                  <c:v>31.0800821355236</c:v>
                </c:pt>
                <c:pt idx="402">
                  <c:v>31.507186858316199</c:v>
                </c:pt>
                <c:pt idx="403">
                  <c:v>31.507186858316199</c:v>
                </c:pt>
                <c:pt idx="404">
                  <c:v>31.7371663244353</c:v>
                </c:pt>
                <c:pt idx="405">
                  <c:v>31.7371663244353</c:v>
                </c:pt>
                <c:pt idx="406">
                  <c:v>32.032854209445603</c:v>
                </c:pt>
                <c:pt idx="407">
                  <c:v>32.032854209445603</c:v>
                </c:pt>
                <c:pt idx="408">
                  <c:v>33.642710472279298</c:v>
                </c:pt>
                <c:pt idx="409">
                  <c:v>33.642710472279298</c:v>
                </c:pt>
                <c:pt idx="410">
                  <c:v>33.708418891170403</c:v>
                </c:pt>
                <c:pt idx="411">
                  <c:v>33.708418891170403</c:v>
                </c:pt>
                <c:pt idx="412">
                  <c:v>33.774127310061601</c:v>
                </c:pt>
                <c:pt idx="413">
                  <c:v>33.774127310061601</c:v>
                </c:pt>
                <c:pt idx="414">
                  <c:v>33.839835728952799</c:v>
                </c:pt>
                <c:pt idx="415">
                  <c:v>33.839835728952799</c:v>
                </c:pt>
                <c:pt idx="416">
                  <c:v>33.872689938398402</c:v>
                </c:pt>
                <c:pt idx="417">
                  <c:v>33.872689938398402</c:v>
                </c:pt>
                <c:pt idx="418">
                  <c:v>34.3655030800821</c:v>
                </c:pt>
                <c:pt idx="419">
                  <c:v>34.3655030800821</c:v>
                </c:pt>
                <c:pt idx="420">
                  <c:v>35.154004106776199</c:v>
                </c:pt>
                <c:pt idx="421">
                  <c:v>35.154004106776199</c:v>
                </c:pt>
                <c:pt idx="422">
                  <c:v>35.2525667351129</c:v>
                </c:pt>
                <c:pt idx="423">
                  <c:v>35.2525667351129</c:v>
                </c:pt>
                <c:pt idx="424">
                  <c:v>35.581108829568798</c:v>
                </c:pt>
                <c:pt idx="425">
                  <c:v>35.581108829568798</c:v>
                </c:pt>
              </c:numCache>
            </c:numRef>
          </c:xVal>
          <c:yVal>
            <c:numRef>
              <c:f>OS_KM!$AA$2:$AA$427</c:f>
              <c:numCache>
                <c:formatCode>.000</c:formatCode>
                <c:ptCount val="426"/>
                <c:pt idx="0">
                  <c:v>100</c:v>
                </c:pt>
                <c:pt idx="1">
                  <c:v>100</c:v>
                </c:pt>
                <c:pt idx="2">
                  <c:v>100</c:v>
                </c:pt>
                <c:pt idx="3">
                  <c:v>99.543378995433798</c:v>
                </c:pt>
                <c:pt idx="4">
                  <c:v>99.543378995433798</c:v>
                </c:pt>
                <c:pt idx="5">
                  <c:v>99.086757990867596</c:v>
                </c:pt>
                <c:pt idx="6">
                  <c:v>99.086757990867596</c:v>
                </c:pt>
                <c:pt idx="7">
                  <c:v>98.173515981735207</c:v>
                </c:pt>
                <c:pt idx="8">
                  <c:v>98.173515981735207</c:v>
                </c:pt>
                <c:pt idx="9">
                  <c:v>97.716894977169005</c:v>
                </c:pt>
                <c:pt idx="10">
                  <c:v>97.716894977169005</c:v>
                </c:pt>
                <c:pt idx="11">
                  <c:v>97.260273972602803</c:v>
                </c:pt>
                <c:pt idx="12">
                  <c:v>97.260273972602803</c:v>
                </c:pt>
                <c:pt idx="13">
                  <c:v>97.260273972602803</c:v>
                </c:pt>
                <c:pt idx="14">
                  <c:v>97.260273972602803</c:v>
                </c:pt>
                <c:pt idx="15">
                  <c:v>96.801499095373501</c:v>
                </c:pt>
                <c:pt idx="16">
                  <c:v>96.801499095373501</c:v>
                </c:pt>
                <c:pt idx="17">
                  <c:v>96.342724218144298</c:v>
                </c:pt>
                <c:pt idx="18">
                  <c:v>96.342724218144298</c:v>
                </c:pt>
                <c:pt idx="19">
                  <c:v>96.342724218144298</c:v>
                </c:pt>
                <c:pt idx="20">
                  <c:v>96.342724218144298</c:v>
                </c:pt>
                <c:pt idx="21">
                  <c:v>95.881754245808594</c:v>
                </c:pt>
                <c:pt idx="22">
                  <c:v>95.881754245808594</c:v>
                </c:pt>
                <c:pt idx="23">
                  <c:v>95.420784273473004</c:v>
                </c:pt>
                <c:pt idx="24">
                  <c:v>95.420784273473004</c:v>
                </c:pt>
                <c:pt idx="25">
                  <c:v>94.498844328801795</c:v>
                </c:pt>
                <c:pt idx="26">
                  <c:v>94.498844328801795</c:v>
                </c:pt>
                <c:pt idx="27">
                  <c:v>94.037874356466105</c:v>
                </c:pt>
                <c:pt idx="28">
                  <c:v>94.037874356466105</c:v>
                </c:pt>
                <c:pt idx="29">
                  <c:v>93.576904384130501</c:v>
                </c:pt>
                <c:pt idx="30">
                  <c:v>93.576904384130501</c:v>
                </c:pt>
                <c:pt idx="31">
                  <c:v>93.115934411794896</c:v>
                </c:pt>
                <c:pt idx="32">
                  <c:v>93.115934411794896</c:v>
                </c:pt>
                <c:pt idx="33">
                  <c:v>93.115934411794896</c:v>
                </c:pt>
                <c:pt idx="34">
                  <c:v>93.115934411794896</c:v>
                </c:pt>
                <c:pt idx="35">
                  <c:v>92.652671056512403</c:v>
                </c:pt>
                <c:pt idx="36">
                  <c:v>92.652671056512403</c:v>
                </c:pt>
                <c:pt idx="37">
                  <c:v>92.189407701229797</c:v>
                </c:pt>
                <c:pt idx="38">
                  <c:v>92.189407701229797</c:v>
                </c:pt>
                <c:pt idx="39">
                  <c:v>91.726144345947205</c:v>
                </c:pt>
                <c:pt idx="40">
                  <c:v>91.726144345947205</c:v>
                </c:pt>
                <c:pt idx="41">
                  <c:v>91.262880990664698</c:v>
                </c:pt>
                <c:pt idx="42">
                  <c:v>91.262880990664698</c:v>
                </c:pt>
                <c:pt idx="43">
                  <c:v>90.799617635382106</c:v>
                </c:pt>
                <c:pt idx="44">
                  <c:v>90.799617635382106</c:v>
                </c:pt>
                <c:pt idx="45">
                  <c:v>89.873090924817006</c:v>
                </c:pt>
                <c:pt idx="46">
                  <c:v>89.873090924817006</c:v>
                </c:pt>
                <c:pt idx="47">
                  <c:v>89.4098275695344</c:v>
                </c:pt>
                <c:pt idx="48">
                  <c:v>89.4098275695344</c:v>
                </c:pt>
                <c:pt idx="49">
                  <c:v>88.946564214251893</c:v>
                </c:pt>
                <c:pt idx="50">
                  <c:v>88.946564214251893</c:v>
                </c:pt>
                <c:pt idx="51">
                  <c:v>88.483300858969301</c:v>
                </c:pt>
                <c:pt idx="52">
                  <c:v>88.483300858969301</c:v>
                </c:pt>
                <c:pt idx="53">
                  <c:v>88.020037503686694</c:v>
                </c:pt>
                <c:pt idx="54">
                  <c:v>88.020037503686694</c:v>
                </c:pt>
                <c:pt idx="55">
                  <c:v>87.556774148404202</c:v>
                </c:pt>
                <c:pt idx="56">
                  <c:v>87.556774148404202</c:v>
                </c:pt>
                <c:pt idx="57">
                  <c:v>87.093510793121595</c:v>
                </c:pt>
                <c:pt idx="58">
                  <c:v>87.093510793121595</c:v>
                </c:pt>
                <c:pt idx="59">
                  <c:v>86.630247437839103</c:v>
                </c:pt>
                <c:pt idx="60">
                  <c:v>86.630247437839103</c:v>
                </c:pt>
                <c:pt idx="61">
                  <c:v>86.166984082556496</c:v>
                </c:pt>
                <c:pt idx="62">
                  <c:v>86.166984082556496</c:v>
                </c:pt>
                <c:pt idx="63">
                  <c:v>85.703720727273904</c:v>
                </c:pt>
                <c:pt idx="64">
                  <c:v>85.703720727273904</c:v>
                </c:pt>
                <c:pt idx="65">
                  <c:v>84.777194016708805</c:v>
                </c:pt>
                <c:pt idx="66">
                  <c:v>84.777194016708805</c:v>
                </c:pt>
                <c:pt idx="67">
                  <c:v>84.313930661426198</c:v>
                </c:pt>
                <c:pt idx="68">
                  <c:v>84.313930661426198</c:v>
                </c:pt>
                <c:pt idx="69">
                  <c:v>84.313930661426198</c:v>
                </c:pt>
                <c:pt idx="70">
                  <c:v>84.313930661426198</c:v>
                </c:pt>
                <c:pt idx="71">
                  <c:v>83.848107840092396</c:v>
                </c:pt>
                <c:pt idx="72">
                  <c:v>83.848107840092396</c:v>
                </c:pt>
                <c:pt idx="73">
                  <c:v>83.848107840092396</c:v>
                </c:pt>
                <c:pt idx="74">
                  <c:v>83.848107840092396</c:v>
                </c:pt>
                <c:pt idx="75">
                  <c:v>83.848107840092396</c:v>
                </c:pt>
                <c:pt idx="76">
                  <c:v>83.848107840092396</c:v>
                </c:pt>
                <c:pt idx="77">
                  <c:v>83.848107840092396</c:v>
                </c:pt>
                <c:pt idx="78">
                  <c:v>83.848107840092396</c:v>
                </c:pt>
                <c:pt idx="79">
                  <c:v>83.374389716701998</c:v>
                </c:pt>
                <c:pt idx="80">
                  <c:v>83.374389716701998</c:v>
                </c:pt>
                <c:pt idx="81">
                  <c:v>83.374389716701998</c:v>
                </c:pt>
                <c:pt idx="82">
                  <c:v>83.374389716701998</c:v>
                </c:pt>
                <c:pt idx="83">
                  <c:v>83.374389716701998</c:v>
                </c:pt>
                <c:pt idx="84">
                  <c:v>83.374389716701998</c:v>
                </c:pt>
                <c:pt idx="85">
                  <c:v>82.895226557410595</c:v>
                </c:pt>
                <c:pt idx="86">
                  <c:v>82.895226557410595</c:v>
                </c:pt>
                <c:pt idx="87">
                  <c:v>82.895226557410595</c:v>
                </c:pt>
                <c:pt idx="88">
                  <c:v>82.895226557410595</c:v>
                </c:pt>
                <c:pt idx="89">
                  <c:v>82.895226557410595</c:v>
                </c:pt>
                <c:pt idx="90">
                  <c:v>82.895226557410595</c:v>
                </c:pt>
                <c:pt idx="91">
                  <c:v>82.895226557410595</c:v>
                </c:pt>
                <c:pt idx="92">
                  <c:v>82.895226557410595</c:v>
                </c:pt>
                <c:pt idx="93">
                  <c:v>82.895226557410595</c:v>
                </c:pt>
                <c:pt idx="94">
                  <c:v>82.895226557410595</c:v>
                </c:pt>
                <c:pt idx="95">
                  <c:v>82.404722258254395</c:v>
                </c:pt>
                <c:pt idx="96">
                  <c:v>82.404722258254395</c:v>
                </c:pt>
                <c:pt idx="97">
                  <c:v>81.914217959098096</c:v>
                </c:pt>
                <c:pt idx="98">
                  <c:v>81.914217959098096</c:v>
                </c:pt>
                <c:pt idx="99">
                  <c:v>81.423713659941797</c:v>
                </c:pt>
                <c:pt idx="100">
                  <c:v>81.423713659941797</c:v>
                </c:pt>
                <c:pt idx="101">
                  <c:v>81.423713659941797</c:v>
                </c:pt>
                <c:pt idx="102">
                  <c:v>81.423713659941797</c:v>
                </c:pt>
                <c:pt idx="103">
                  <c:v>81.423713659941797</c:v>
                </c:pt>
                <c:pt idx="104">
                  <c:v>81.423713659941797</c:v>
                </c:pt>
                <c:pt idx="105">
                  <c:v>81.423713659941797</c:v>
                </c:pt>
                <c:pt idx="106">
                  <c:v>81.423713659941797</c:v>
                </c:pt>
                <c:pt idx="107">
                  <c:v>81.423713659941797</c:v>
                </c:pt>
                <c:pt idx="108">
                  <c:v>81.423713659941797</c:v>
                </c:pt>
                <c:pt idx="109">
                  <c:v>80.9210981435224</c:v>
                </c:pt>
                <c:pt idx="110">
                  <c:v>80.9210981435224</c:v>
                </c:pt>
                <c:pt idx="111">
                  <c:v>80.9210981435224</c:v>
                </c:pt>
                <c:pt idx="112">
                  <c:v>80.9210981435224</c:v>
                </c:pt>
                <c:pt idx="113">
                  <c:v>80.415341280125404</c:v>
                </c:pt>
                <c:pt idx="114">
                  <c:v>80.415341280125404</c:v>
                </c:pt>
                <c:pt idx="115">
                  <c:v>80.415341280125404</c:v>
                </c:pt>
                <c:pt idx="116">
                  <c:v>80.415341280125404</c:v>
                </c:pt>
                <c:pt idx="117">
                  <c:v>80.415341280125404</c:v>
                </c:pt>
                <c:pt idx="118">
                  <c:v>80.415341280125404</c:v>
                </c:pt>
                <c:pt idx="119">
                  <c:v>79.903141654137301</c:v>
                </c:pt>
                <c:pt idx="120">
                  <c:v>79.903141654137301</c:v>
                </c:pt>
                <c:pt idx="121">
                  <c:v>79.903141654137301</c:v>
                </c:pt>
                <c:pt idx="122">
                  <c:v>79.903141654137301</c:v>
                </c:pt>
                <c:pt idx="123">
                  <c:v>79.903141654137301</c:v>
                </c:pt>
                <c:pt idx="124">
                  <c:v>79.903141654137301</c:v>
                </c:pt>
                <c:pt idx="125">
                  <c:v>79.903141654137301</c:v>
                </c:pt>
                <c:pt idx="126">
                  <c:v>79.903141654137301</c:v>
                </c:pt>
                <c:pt idx="127">
                  <c:v>79.903141654137301</c:v>
                </c:pt>
                <c:pt idx="128">
                  <c:v>79.903141654137301</c:v>
                </c:pt>
                <c:pt idx="129">
                  <c:v>78.851784527109203</c:v>
                </c:pt>
                <c:pt idx="130">
                  <c:v>78.851784527109203</c:v>
                </c:pt>
                <c:pt idx="131">
                  <c:v>78.851784527109203</c:v>
                </c:pt>
                <c:pt idx="132">
                  <c:v>78.851784527109203</c:v>
                </c:pt>
                <c:pt idx="133">
                  <c:v>78.851784527109203</c:v>
                </c:pt>
                <c:pt idx="134">
                  <c:v>78.851784527109203</c:v>
                </c:pt>
                <c:pt idx="135">
                  <c:v>77.786219871337494</c:v>
                </c:pt>
                <c:pt idx="136">
                  <c:v>77.786219871337494</c:v>
                </c:pt>
                <c:pt idx="137">
                  <c:v>77.253437543451597</c:v>
                </c:pt>
                <c:pt idx="138">
                  <c:v>77.253437543451597</c:v>
                </c:pt>
                <c:pt idx="139">
                  <c:v>76.720655215565699</c:v>
                </c:pt>
                <c:pt idx="140">
                  <c:v>76.720655215565699</c:v>
                </c:pt>
                <c:pt idx="141">
                  <c:v>76.187872887679902</c:v>
                </c:pt>
                <c:pt idx="142">
                  <c:v>76.187872887679902</c:v>
                </c:pt>
                <c:pt idx="143">
                  <c:v>75.655090559794004</c:v>
                </c:pt>
                <c:pt idx="144">
                  <c:v>75.655090559794004</c:v>
                </c:pt>
                <c:pt idx="145">
                  <c:v>75.655090559794004</c:v>
                </c:pt>
                <c:pt idx="146">
                  <c:v>75.655090559794004</c:v>
                </c:pt>
                <c:pt idx="147">
                  <c:v>75.655090559794004</c:v>
                </c:pt>
                <c:pt idx="148">
                  <c:v>75.655090559794004</c:v>
                </c:pt>
                <c:pt idx="149">
                  <c:v>75.655090559794004</c:v>
                </c:pt>
                <c:pt idx="150">
                  <c:v>75.655090559794004</c:v>
                </c:pt>
                <c:pt idx="151">
                  <c:v>75.655090559794004</c:v>
                </c:pt>
                <c:pt idx="152">
                  <c:v>75.655090559794004</c:v>
                </c:pt>
                <c:pt idx="153">
                  <c:v>75.106865265882405</c:v>
                </c:pt>
                <c:pt idx="154">
                  <c:v>75.106865265882405</c:v>
                </c:pt>
                <c:pt idx="155">
                  <c:v>75.106865265882405</c:v>
                </c:pt>
                <c:pt idx="156">
                  <c:v>75.106865265882405</c:v>
                </c:pt>
                <c:pt idx="157">
                  <c:v>74.554608903633294</c:v>
                </c:pt>
                <c:pt idx="158">
                  <c:v>74.554608903633294</c:v>
                </c:pt>
                <c:pt idx="159">
                  <c:v>74.002352541384198</c:v>
                </c:pt>
                <c:pt idx="160">
                  <c:v>74.002352541384198</c:v>
                </c:pt>
                <c:pt idx="161">
                  <c:v>74.002352541384198</c:v>
                </c:pt>
                <c:pt idx="162">
                  <c:v>74.002352541384198</c:v>
                </c:pt>
                <c:pt idx="163">
                  <c:v>73.445943875659495</c:v>
                </c:pt>
                <c:pt idx="164">
                  <c:v>73.445943875659495</c:v>
                </c:pt>
                <c:pt idx="165">
                  <c:v>73.445943875659495</c:v>
                </c:pt>
                <c:pt idx="166">
                  <c:v>73.445943875659495</c:v>
                </c:pt>
                <c:pt idx="167">
                  <c:v>73.445943875659495</c:v>
                </c:pt>
                <c:pt idx="168">
                  <c:v>73.445943875659495</c:v>
                </c:pt>
                <c:pt idx="169">
                  <c:v>72.880975076615897</c:v>
                </c:pt>
                <c:pt idx="170">
                  <c:v>72.880975076615897</c:v>
                </c:pt>
                <c:pt idx="171">
                  <c:v>72.316006277572399</c:v>
                </c:pt>
                <c:pt idx="172">
                  <c:v>72.316006277572399</c:v>
                </c:pt>
                <c:pt idx="173">
                  <c:v>72.316006277572399</c:v>
                </c:pt>
                <c:pt idx="174">
                  <c:v>72.316006277572399</c:v>
                </c:pt>
                <c:pt idx="175">
                  <c:v>72.316006277572399</c:v>
                </c:pt>
                <c:pt idx="176">
                  <c:v>72.316006277572399</c:v>
                </c:pt>
                <c:pt idx="177">
                  <c:v>72.316006277572399</c:v>
                </c:pt>
                <c:pt idx="178">
                  <c:v>72.316006277572399</c:v>
                </c:pt>
                <c:pt idx="179">
                  <c:v>72.316006277572399</c:v>
                </c:pt>
                <c:pt idx="180">
                  <c:v>72.316006277572399</c:v>
                </c:pt>
                <c:pt idx="181">
                  <c:v>71.732812678559696</c:v>
                </c:pt>
                <c:pt idx="182">
                  <c:v>71.732812678559696</c:v>
                </c:pt>
                <c:pt idx="183">
                  <c:v>71.732812678559696</c:v>
                </c:pt>
                <c:pt idx="184">
                  <c:v>71.732812678559696</c:v>
                </c:pt>
                <c:pt idx="185">
                  <c:v>71.144838804145294</c:v>
                </c:pt>
                <c:pt idx="186">
                  <c:v>71.144838804145294</c:v>
                </c:pt>
                <c:pt idx="187">
                  <c:v>71.144838804145294</c:v>
                </c:pt>
                <c:pt idx="188">
                  <c:v>71.144838804145294</c:v>
                </c:pt>
                <c:pt idx="189">
                  <c:v>71.144838804145294</c:v>
                </c:pt>
                <c:pt idx="190">
                  <c:v>71.144838804145294</c:v>
                </c:pt>
                <c:pt idx="191">
                  <c:v>71.144838804145294</c:v>
                </c:pt>
                <c:pt idx="192">
                  <c:v>71.144838804145294</c:v>
                </c:pt>
                <c:pt idx="193">
                  <c:v>70.5419164413983</c:v>
                </c:pt>
                <c:pt idx="194">
                  <c:v>70.5419164413983</c:v>
                </c:pt>
                <c:pt idx="195">
                  <c:v>70.5419164413983</c:v>
                </c:pt>
                <c:pt idx="196">
                  <c:v>70.5419164413983</c:v>
                </c:pt>
                <c:pt idx="197">
                  <c:v>69.933796472075898</c:v>
                </c:pt>
                <c:pt idx="198">
                  <c:v>69.933796472075898</c:v>
                </c:pt>
                <c:pt idx="199">
                  <c:v>69.325676502753495</c:v>
                </c:pt>
                <c:pt idx="200">
                  <c:v>69.325676502753495</c:v>
                </c:pt>
                <c:pt idx="201">
                  <c:v>69.325676502753495</c:v>
                </c:pt>
                <c:pt idx="202">
                  <c:v>69.325676502753495</c:v>
                </c:pt>
                <c:pt idx="203">
                  <c:v>69.325676502753495</c:v>
                </c:pt>
                <c:pt idx="204">
                  <c:v>69.325676502753495</c:v>
                </c:pt>
                <c:pt idx="205">
                  <c:v>68.706697248264703</c:v>
                </c:pt>
                <c:pt idx="206">
                  <c:v>68.706697248264703</c:v>
                </c:pt>
                <c:pt idx="207">
                  <c:v>68.087717993775797</c:v>
                </c:pt>
                <c:pt idx="208">
                  <c:v>68.087717993775797</c:v>
                </c:pt>
                <c:pt idx="209">
                  <c:v>67.468738739286906</c:v>
                </c:pt>
                <c:pt idx="210">
                  <c:v>67.468738739286906</c:v>
                </c:pt>
                <c:pt idx="211">
                  <c:v>66.849759484798</c:v>
                </c:pt>
                <c:pt idx="212">
                  <c:v>66.849759484798</c:v>
                </c:pt>
                <c:pt idx="213">
                  <c:v>66.230780230309193</c:v>
                </c:pt>
                <c:pt idx="214">
                  <c:v>66.230780230309193</c:v>
                </c:pt>
                <c:pt idx="215">
                  <c:v>66.230780230309193</c:v>
                </c:pt>
                <c:pt idx="216">
                  <c:v>66.230780230309193</c:v>
                </c:pt>
                <c:pt idx="217">
                  <c:v>65.605961548891102</c:v>
                </c:pt>
                <c:pt idx="218">
                  <c:v>65.605961548891102</c:v>
                </c:pt>
                <c:pt idx="219">
                  <c:v>64.981142867473096</c:v>
                </c:pt>
                <c:pt idx="220">
                  <c:v>64.981142867473096</c:v>
                </c:pt>
                <c:pt idx="221">
                  <c:v>64.981142867473096</c:v>
                </c:pt>
                <c:pt idx="222">
                  <c:v>64.981142867473096</c:v>
                </c:pt>
                <c:pt idx="223">
                  <c:v>64.350257985264705</c:v>
                </c:pt>
                <c:pt idx="224">
                  <c:v>64.350257985264705</c:v>
                </c:pt>
                <c:pt idx="225">
                  <c:v>63.719373103056199</c:v>
                </c:pt>
                <c:pt idx="226">
                  <c:v>63.719373103056199</c:v>
                </c:pt>
                <c:pt idx="227">
                  <c:v>63.719373103056199</c:v>
                </c:pt>
                <c:pt idx="228">
                  <c:v>63.719373103056199</c:v>
                </c:pt>
                <c:pt idx="229">
                  <c:v>63.719373103056199</c:v>
                </c:pt>
                <c:pt idx="230">
                  <c:v>63.719373103056199</c:v>
                </c:pt>
                <c:pt idx="231">
                  <c:v>63.075743071712203</c:v>
                </c:pt>
                <c:pt idx="232">
                  <c:v>63.075743071712203</c:v>
                </c:pt>
                <c:pt idx="233">
                  <c:v>63.075743071712203</c:v>
                </c:pt>
                <c:pt idx="234">
                  <c:v>63.075743071712203</c:v>
                </c:pt>
                <c:pt idx="235">
                  <c:v>62.4254776792203</c:v>
                </c:pt>
                <c:pt idx="236">
                  <c:v>62.4254776792203</c:v>
                </c:pt>
                <c:pt idx="237">
                  <c:v>61.775212286728397</c:v>
                </c:pt>
                <c:pt idx="238">
                  <c:v>61.775212286728397</c:v>
                </c:pt>
                <c:pt idx="239">
                  <c:v>61.775212286728397</c:v>
                </c:pt>
                <c:pt idx="240">
                  <c:v>61.775212286728397</c:v>
                </c:pt>
                <c:pt idx="241">
                  <c:v>61.118029177295199</c:v>
                </c:pt>
                <c:pt idx="242">
                  <c:v>61.118029177295199</c:v>
                </c:pt>
                <c:pt idx="243">
                  <c:v>60.460846067861901</c:v>
                </c:pt>
                <c:pt idx="244">
                  <c:v>60.460846067861901</c:v>
                </c:pt>
                <c:pt idx="245">
                  <c:v>59.803662958428603</c:v>
                </c:pt>
                <c:pt idx="246">
                  <c:v>59.803662958428603</c:v>
                </c:pt>
                <c:pt idx="247">
                  <c:v>59.803662958428603</c:v>
                </c:pt>
                <c:pt idx="248">
                  <c:v>59.803662958428603</c:v>
                </c:pt>
                <c:pt idx="249">
                  <c:v>59.1391778144461</c:v>
                </c:pt>
                <c:pt idx="250">
                  <c:v>59.1391778144461</c:v>
                </c:pt>
                <c:pt idx="251">
                  <c:v>58.474692670463497</c:v>
                </c:pt>
                <c:pt idx="252">
                  <c:v>58.474692670463497</c:v>
                </c:pt>
                <c:pt idx="253">
                  <c:v>57.810207526481001</c:v>
                </c:pt>
                <c:pt idx="254">
                  <c:v>57.810207526481001</c:v>
                </c:pt>
                <c:pt idx="255">
                  <c:v>57.145722382498398</c:v>
                </c:pt>
                <c:pt idx="256">
                  <c:v>57.145722382498398</c:v>
                </c:pt>
                <c:pt idx="257">
                  <c:v>56.481237238515902</c:v>
                </c:pt>
                <c:pt idx="258">
                  <c:v>56.481237238515902</c:v>
                </c:pt>
                <c:pt idx="259">
                  <c:v>55.816752094533399</c:v>
                </c:pt>
                <c:pt idx="260">
                  <c:v>55.816752094533399</c:v>
                </c:pt>
                <c:pt idx="261">
                  <c:v>55.816752094533399</c:v>
                </c:pt>
                <c:pt idx="262">
                  <c:v>55.816752094533399</c:v>
                </c:pt>
                <c:pt idx="263">
                  <c:v>55.816752094533399</c:v>
                </c:pt>
                <c:pt idx="264">
                  <c:v>55.816752094533399</c:v>
                </c:pt>
                <c:pt idx="265">
                  <c:v>55.136059995819501</c:v>
                </c:pt>
                <c:pt idx="266">
                  <c:v>55.136059995819501</c:v>
                </c:pt>
                <c:pt idx="267">
                  <c:v>55.136059995819501</c:v>
                </c:pt>
                <c:pt idx="268">
                  <c:v>55.136059995819501</c:v>
                </c:pt>
                <c:pt idx="269">
                  <c:v>54.446859245871799</c:v>
                </c:pt>
                <c:pt idx="270">
                  <c:v>54.446859245871799</c:v>
                </c:pt>
                <c:pt idx="271">
                  <c:v>53.068457745976303</c:v>
                </c:pt>
                <c:pt idx="272">
                  <c:v>53.068457745976303</c:v>
                </c:pt>
                <c:pt idx="273">
                  <c:v>52.379256996028602</c:v>
                </c:pt>
                <c:pt idx="274">
                  <c:v>52.379256996028602</c:v>
                </c:pt>
                <c:pt idx="275">
                  <c:v>51.6900562460808</c:v>
                </c:pt>
                <c:pt idx="276">
                  <c:v>51.6900562460808</c:v>
                </c:pt>
                <c:pt idx="277">
                  <c:v>51.6900562460808</c:v>
                </c:pt>
                <c:pt idx="278">
                  <c:v>51.6900562460808</c:v>
                </c:pt>
                <c:pt idx="279">
                  <c:v>50.991541972485102</c:v>
                </c:pt>
                <c:pt idx="280">
                  <c:v>50.991541972485102</c:v>
                </c:pt>
                <c:pt idx="281">
                  <c:v>50.293027698889397</c:v>
                </c:pt>
                <c:pt idx="282">
                  <c:v>50.293027698889397</c:v>
                </c:pt>
                <c:pt idx="283">
                  <c:v>50.293027698889397</c:v>
                </c:pt>
                <c:pt idx="284">
                  <c:v>50.293027698889397</c:v>
                </c:pt>
                <c:pt idx="285">
                  <c:v>49.584675196088199</c:v>
                </c:pt>
                <c:pt idx="286">
                  <c:v>49.584675196088199</c:v>
                </c:pt>
                <c:pt idx="287">
                  <c:v>48.876322693286902</c:v>
                </c:pt>
                <c:pt idx="288">
                  <c:v>48.876322693286902</c:v>
                </c:pt>
                <c:pt idx="289">
                  <c:v>48.167970190485697</c:v>
                </c:pt>
                <c:pt idx="290">
                  <c:v>48.167970190485697</c:v>
                </c:pt>
                <c:pt idx="291">
                  <c:v>47.4596176876844</c:v>
                </c:pt>
                <c:pt idx="292">
                  <c:v>47.4596176876844</c:v>
                </c:pt>
                <c:pt idx="293">
                  <c:v>46.751265184883103</c:v>
                </c:pt>
                <c:pt idx="294">
                  <c:v>46.751265184883103</c:v>
                </c:pt>
                <c:pt idx="295">
                  <c:v>46.042912682081898</c:v>
                </c:pt>
                <c:pt idx="296">
                  <c:v>46.042912682081898</c:v>
                </c:pt>
                <c:pt idx="297">
                  <c:v>46.042912682081898</c:v>
                </c:pt>
                <c:pt idx="298">
                  <c:v>46.042912682081898</c:v>
                </c:pt>
                <c:pt idx="299">
                  <c:v>46.042912682081898</c:v>
                </c:pt>
                <c:pt idx="300">
                  <c:v>46.042912682081898</c:v>
                </c:pt>
                <c:pt idx="301">
                  <c:v>45.312072798239299</c:v>
                </c:pt>
                <c:pt idx="302">
                  <c:v>45.312072798239299</c:v>
                </c:pt>
                <c:pt idx="303">
                  <c:v>44.581232914396701</c:v>
                </c:pt>
                <c:pt idx="304">
                  <c:v>44.581232914396701</c:v>
                </c:pt>
                <c:pt idx="305">
                  <c:v>43.850393030554201</c:v>
                </c:pt>
                <c:pt idx="306">
                  <c:v>43.850393030554201</c:v>
                </c:pt>
                <c:pt idx="307">
                  <c:v>43.119553146711603</c:v>
                </c:pt>
                <c:pt idx="308">
                  <c:v>43.119553146711603</c:v>
                </c:pt>
                <c:pt idx="309">
                  <c:v>42.388713262868997</c:v>
                </c:pt>
                <c:pt idx="310">
                  <c:v>42.388713262868997</c:v>
                </c:pt>
                <c:pt idx="311">
                  <c:v>41.657873379026498</c:v>
                </c:pt>
                <c:pt idx="312">
                  <c:v>41.657873379026498</c:v>
                </c:pt>
                <c:pt idx="313">
                  <c:v>40.927033495183899</c:v>
                </c:pt>
                <c:pt idx="314">
                  <c:v>40.927033495183899</c:v>
                </c:pt>
                <c:pt idx="315">
                  <c:v>40.1961936113413</c:v>
                </c:pt>
                <c:pt idx="316">
                  <c:v>40.1961936113413</c:v>
                </c:pt>
                <c:pt idx="317">
                  <c:v>39.465353727498801</c:v>
                </c:pt>
                <c:pt idx="318">
                  <c:v>39.465353727498801</c:v>
                </c:pt>
                <c:pt idx="319">
                  <c:v>39.465353727498801</c:v>
                </c:pt>
                <c:pt idx="320">
                  <c:v>39.465353727498801</c:v>
                </c:pt>
                <c:pt idx="321">
                  <c:v>38.720724411885598</c:v>
                </c:pt>
                <c:pt idx="322">
                  <c:v>38.720724411885598</c:v>
                </c:pt>
                <c:pt idx="323">
                  <c:v>37.976095096272402</c:v>
                </c:pt>
                <c:pt idx="324">
                  <c:v>37.976095096272402</c:v>
                </c:pt>
                <c:pt idx="325">
                  <c:v>37.2314657806592</c:v>
                </c:pt>
                <c:pt idx="326">
                  <c:v>37.2314657806592</c:v>
                </c:pt>
                <c:pt idx="327">
                  <c:v>36.486836465045997</c:v>
                </c:pt>
                <c:pt idx="328">
                  <c:v>36.486836465045997</c:v>
                </c:pt>
                <c:pt idx="329">
                  <c:v>35.742207149432801</c:v>
                </c:pt>
                <c:pt idx="330">
                  <c:v>35.742207149432801</c:v>
                </c:pt>
                <c:pt idx="331">
                  <c:v>34.997577833819598</c:v>
                </c:pt>
                <c:pt idx="332">
                  <c:v>34.997577833819598</c:v>
                </c:pt>
                <c:pt idx="333">
                  <c:v>34.252948518206502</c:v>
                </c:pt>
                <c:pt idx="334">
                  <c:v>34.252948518206502</c:v>
                </c:pt>
                <c:pt idx="335">
                  <c:v>33.508319202593299</c:v>
                </c:pt>
                <c:pt idx="336">
                  <c:v>33.508319202593299</c:v>
                </c:pt>
                <c:pt idx="337">
                  <c:v>32.763689886980103</c:v>
                </c:pt>
                <c:pt idx="338">
                  <c:v>32.763689886980103</c:v>
                </c:pt>
                <c:pt idx="339">
                  <c:v>32.0190605713669</c:v>
                </c:pt>
                <c:pt idx="340">
                  <c:v>32.0190605713669</c:v>
                </c:pt>
                <c:pt idx="341">
                  <c:v>31.274431255753701</c:v>
                </c:pt>
                <c:pt idx="342">
                  <c:v>31.274431255753701</c:v>
                </c:pt>
                <c:pt idx="343">
                  <c:v>30.529801940140501</c:v>
                </c:pt>
                <c:pt idx="344">
                  <c:v>30.529801940140501</c:v>
                </c:pt>
                <c:pt idx="345">
                  <c:v>29.785172624527402</c:v>
                </c:pt>
                <c:pt idx="346">
                  <c:v>29.785172624527402</c:v>
                </c:pt>
                <c:pt idx="347">
                  <c:v>29.040543308914199</c:v>
                </c:pt>
                <c:pt idx="348">
                  <c:v>29.040543308914199</c:v>
                </c:pt>
                <c:pt idx="349">
                  <c:v>28.295913993300999</c:v>
                </c:pt>
                <c:pt idx="350">
                  <c:v>28.295913993300999</c:v>
                </c:pt>
                <c:pt idx="351">
                  <c:v>27.5512846776878</c:v>
                </c:pt>
                <c:pt idx="352">
                  <c:v>27.5512846776878</c:v>
                </c:pt>
                <c:pt idx="353">
                  <c:v>26.806655362074601</c:v>
                </c:pt>
                <c:pt idx="354">
                  <c:v>26.806655362074601</c:v>
                </c:pt>
                <c:pt idx="355">
                  <c:v>26.062026046461401</c:v>
                </c:pt>
                <c:pt idx="356">
                  <c:v>26.062026046461401</c:v>
                </c:pt>
                <c:pt idx="357">
                  <c:v>25.317396730848301</c:v>
                </c:pt>
                <c:pt idx="358">
                  <c:v>25.317396730848301</c:v>
                </c:pt>
                <c:pt idx="359">
                  <c:v>24.572767415235099</c:v>
                </c:pt>
                <c:pt idx="360">
                  <c:v>24.572767415235099</c:v>
                </c:pt>
                <c:pt idx="361">
                  <c:v>23.828138099621899</c:v>
                </c:pt>
                <c:pt idx="362">
                  <c:v>23.828138099621899</c:v>
                </c:pt>
                <c:pt idx="363">
                  <c:v>23.0835087840087</c:v>
                </c:pt>
                <c:pt idx="364">
                  <c:v>23.0835087840087</c:v>
                </c:pt>
                <c:pt idx="365">
                  <c:v>22.338879468395501</c:v>
                </c:pt>
                <c:pt idx="366">
                  <c:v>22.338879468395501</c:v>
                </c:pt>
                <c:pt idx="367">
                  <c:v>21.594250152782301</c:v>
                </c:pt>
                <c:pt idx="368">
                  <c:v>21.594250152782301</c:v>
                </c:pt>
                <c:pt idx="369">
                  <c:v>21.594250152782301</c:v>
                </c:pt>
                <c:pt idx="370">
                  <c:v>21.594250152782301</c:v>
                </c:pt>
                <c:pt idx="371">
                  <c:v>20.823026933040101</c:v>
                </c:pt>
                <c:pt idx="372">
                  <c:v>20.823026933040101</c:v>
                </c:pt>
                <c:pt idx="373">
                  <c:v>20.0518037132979</c:v>
                </c:pt>
                <c:pt idx="374">
                  <c:v>20.0518037132979</c:v>
                </c:pt>
                <c:pt idx="375">
                  <c:v>20.0518037132979</c:v>
                </c:pt>
                <c:pt idx="376">
                  <c:v>20.0518037132979</c:v>
                </c:pt>
                <c:pt idx="377">
                  <c:v>20.0518037132979</c:v>
                </c:pt>
                <c:pt idx="378">
                  <c:v>20.0518037132979</c:v>
                </c:pt>
                <c:pt idx="379">
                  <c:v>19.2163118919105</c:v>
                </c:pt>
                <c:pt idx="380">
                  <c:v>19.2163118919105</c:v>
                </c:pt>
                <c:pt idx="381">
                  <c:v>18.3808200705231</c:v>
                </c:pt>
                <c:pt idx="382">
                  <c:v>18.3808200705231</c:v>
                </c:pt>
                <c:pt idx="383">
                  <c:v>17.5453282491357</c:v>
                </c:pt>
                <c:pt idx="384">
                  <c:v>17.5453282491357</c:v>
                </c:pt>
                <c:pt idx="385">
                  <c:v>17.5453282491357</c:v>
                </c:pt>
                <c:pt idx="386">
                  <c:v>17.5453282491357</c:v>
                </c:pt>
                <c:pt idx="387">
                  <c:v>17.5453282491357</c:v>
                </c:pt>
                <c:pt idx="388">
                  <c:v>17.5453282491357</c:v>
                </c:pt>
                <c:pt idx="389">
                  <c:v>17.5453282491357</c:v>
                </c:pt>
                <c:pt idx="390">
                  <c:v>17.5453282491357</c:v>
                </c:pt>
                <c:pt idx="391">
                  <c:v>17.5453282491357</c:v>
                </c:pt>
                <c:pt idx="392">
                  <c:v>17.5453282491357</c:v>
                </c:pt>
                <c:pt idx="393">
                  <c:v>16.5132501168336</c:v>
                </c:pt>
                <c:pt idx="394">
                  <c:v>16.5132501168336</c:v>
                </c:pt>
                <c:pt idx="395">
                  <c:v>15.4811719845315</c:v>
                </c:pt>
                <c:pt idx="396">
                  <c:v>15.4811719845315</c:v>
                </c:pt>
                <c:pt idx="397">
                  <c:v>15.4811719845315</c:v>
                </c:pt>
                <c:pt idx="398">
                  <c:v>15.4811719845315</c:v>
                </c:pt>
                <c:pt idx="399">
                  <c:v>15.4811719845315</c:v>
                </c:pt>
                <c:pt idx="400">
                  <c:v>15.4811719845315</c:v>
                </c:pt>
                <c:pt idx="401">
                  <c:v>15.4811719845315</c:v>
                </c:pt>
                <c:pt idx="402">
                  <c:v>15.4811719845315</c:v>
                </c:pt>
                <c:pt idx="403">
                  <c:v>15.4811719845315</c:v>
                </c:pt>
                <c:pt idx="404">
                  <c:v>15.4811719845315</c:v>
                </c:pt>
                <c:pt idx="405">
                  <c:v>15.4811719845315</c:v>
                </c:pt>
                <c:pt idx="406">
                  <c:v>15.4811719845315</c:v>
                </c:pt>
                <c:pt idx="407">
                  <c:v>15.4811719845315</c:v>
                </c:pt>
                <c:pt idx="408">
                  <c:v>15.4811719845315</c:v>
                </c:pt>
                <c:pt idx="409">
                  <c:v>15.4811719845315</c:v>
                </c:pt>
                <c:pt idx="410">
                  <c:v>15.4811719845315</c:v>
                </c:pt>
                <c:pt idx="411">
                  <c:v>13.546025486465</c:v>
                </c:pt>
                <c:pt idx="412">
                  <c:v>13.546025486465</c:v>
                </c:pt>
                <c:pt idx="413">
                  <c:v>11.6108789883986</c:v>
                </c:pt>
                <c:pt idx="414">
                  <c:v>11.6108789883986</c:v>
                </c:pt>
                <c:pt idx="415">
                  <c:v>11.6108789883986</c:v>
                </c:pt>
                <c:pt idx="416">
                  <c:v>11.6108789883986</c:v>
                </c:pt>
                <c:pt idx="417">
                  <c:v>11.6108789883986</c:v>
                </c:pt>
                <c:pt idx="418">
                  <c:v>11.6108789883986</c:v>
                </c:pt>
                <c:pt idx="419">
                  <c:v>11.6108789883986</c:v>
                </c:pt>
                <c:pt idx="420">
                  <c:v>11.6108789883986</c:v>
                </c:pt>
                <c:pt idx="421">
                  <c:v>11.6108789883986</c:v>
                </c:pt>
                <c:pt idx="422">
                  <c:v>11.6108789883986</c:v>
                </c:pt>
                <c:pt idx="423">
                  <c:v>11.6108789883986</c:v>
                </c:pt>
                <c:pt idx="424">
                  <c:v>11.6108789883986</c:v>
                </c:pt>
                <c:pt idx="425">
                  <c:v>0</c:v>
                </c:pt>
              </c:numCache>
            </c:numRef>
          </c:yVal>
          <c:smooth val="0"/>
          <c:extLst>
            <c:ext xmlns:c16="http://schemas.microsoft.com/office/drawing/2014/chart" uri="{C3380CC4-5D6E-409C-BE32-E72D297353CC}">
              <c16:uniqueId val="{00000002-558F-41FA-8BFD-F9628989BD52}"/>
            </c:ext>
          </c:extLst>
        </c:ser>
        <c:ser>
          <c:idx val="5"/>
          <c:order val="5"/>
          <c:spPr>
            <a:ln w="19050" cap="rnd">
              <a:noFill/>
              <a:round/>
            </a:ln>
            <a:effectLst/>
          </c:spPr>
          <c:marker>
            <c:symbol val="plus"/>
            <c:size val="6"/>
            <c:spPr>
              <a:noFill/>
              <a:ln w="6350">
                <a:solidFill>
                  <a:schemeClr val="bg1">
                    <a:lumMod val="50000"/>
                  </a:schemeClr>
                </a:solidFill>
              </a:ln>
              <a:effectLst/>
            </c:spPr>
          </c:marker>
          <c:xVal>
            <c:numRef>
              <c:f>OS_KM!$AB$2:$AB$165</c:f>
              <c:numCache>
                <c:formatCode>.0000</c:formatCode>
                <c:ptCount val="164"/>
                <c:pt idx="0">
                  <c:v>2.13552361396304</c:v>
                </c:pt>
                <c:pt idx="1">
                  <c:v>2.13552361396304</c:v>
                </c:pt>
                <c:pt idx="2">
                  <c:v>3.51540041067762</c:v>
                </c:pt>
                <c:pt idx="3">
                  <c:v>3.51540041067762</c:v>
                </c:pt>
                <c:pt idx="4">
                  <c:v>4.4681724845995898</c:v>
                </c:pt>
                <c:pt idx="5">
                  <c:v>4.4681724845995898</c:v>
                </c:pt>
                <c:pt idx="6">
                  <c:v>6.2094455852156099</c:v>
                </c:pt>
                <c:pt idx="7">
                  <c:v>6.2094455852156099</c:v>
                </c:pt>
                <c:pt idx="8">
                  <c:v>6.2751540041067804</c:v>
                </c:pt>
                <c:pt idx="9">
                  <c:v>6.2751540041067804</c:v>
                </c:pt>
                <c:pt idx="10">
                  <c:v>6.4394250513347</c:v>
                </c:pt>
                <c:pt idx="11">
                  <c:v>6.4394250513347</c:v>
                </c:pt>
                <c:pt idx="12">
                  <c:v>6.4722792607802901</c:v>
                </c:pt>
                <c:pt idx="13">
                  <c:v>6.4722792607802901</c:v>
                </c:pt>
                <c:pt idx="14">
                  <c:v>6.5379876796714598</c:v>
                </c:pt>
                <c:pt idx="15">
                  <c:v>6.5379876796714598</c:v>
                </c:pt>
                <c:pt idx="16">
                  <c:v>6.5379876796714598</c:v>
                </c:pt>
                <c:pt idx="17">
                  <c:v>6.5379876796714598</c:v>
                </c:pt>
                <c:pt idx="18">
                  <c:v>6.5708418891170401</c:v>
                </c:pt>
                <c:pt idx="19">
                  <c:v>6.5708418891170401</c:v>
                </c:pt>
                <c:pt idx="20">
                  <c:v>6.7022587268993901</c:v>
                </c:pt>
                <c:pt idx="21">
                  <c:v>6.7022587268993901</c:v>
                </c:pt>
                <c:pt idx="22">
                  <c:v>6.7351129363449704</c:v>
                </c:pt>
                <c:pt idx="23">
                  <c:v>6.7351129363449704</c:v>
                </c:pt>
                <c:pt idx="24">
                  <c:v>6.8008213552361401</c:v>
                </c:pt>
                <c:pt idx="25">
                  <c:v>6.8008213552361401</c:v>
                </c:pt>
                <c:pt idx="26">
                  <c:v>7.0636550308008204</c:v>
                </c:pt>
                <c:pt idx="27">
                  <c:v>7.0636550308008204</c:v>
                </c:pt>
                <c:pt idx="28">
                  <c:v>7.0965092402464096</c:v>
                </c:pt>
                <c:pt idx="29">
                  <c:v>7.0965092402464096</c:v>
                </c:pt>
                <c:pt idx="30">
                  <c:v>7.1622176591375801</c:v>
                </c:pt>
                <c:pt idx="31">
                  <c:v>7.1622176591375801</c:v>
                </c:pt>
                <c:pt idx="32">
                  <c:v>7.1950718685831596</c:v>
                </c:pt>
                <c:pt idx="33">
                  <c:v>7.1950718685831596</c:v>
                </c:pt>
                <c:pt idx="34">
                  <c:v>7.3264887063655104</c:v>
                </c:pt>
                <c:pt idx="35">
                  <c:v>7.3264887063655104</c:v>
                </c:pt>
                <c:pt idx="36">
                  <c:v>7.3593429158110899</c:v>
                </c:pt>
                <c:pt idx="37">
                  <c:v>7.3593429158110899</c:v>
                </c:pt>
                <c:pt idx="38">
                  <c:v>7.39219712525668</c:v>
                </c:pt>
                <c:pt idx="39">
                  <c:v>7.39219712525668</c:v>
                </c:pt>
                <c:pt idx="40">
                  <c:v>7.4579055441478497</c:v>
                </c:pt>
                <c:pt idx="41">
                  <c:v>7.4579055441478497</c:v>
                </c:pt>
                <c:pt idx="42">
                  <c:v>7.5236139630390202</c:v>
                </c:pt>
                <c:pt idx="43">
                  <c:v>7.5236139630390202</c:v>
                </c:pt>
                <c:pt idx="44">
                  <c:v>7.6221765913757702</c:v>
                </c:pt>
                <c:pt idx="45">
                  <c:v>7.6221765913757702</c:v>
                </c:pt>
                <c:pt idx="46">
                  <c:v>7.6221765913757702</c:v>
                </c:pt>
                <c:pt idx="47">
                  <c:v>7.6221765913757702</c:v>
                </c:pt>
                <c:pt idx="48">
                  <c:v>7.7535934291581103</c:v>
                </c:pt>
                <c:pt idx="49">
                  <c:v>7.7535934291581103</c:v>
                </c:pt>
                <c:pt idx="50">
                  <c:v>7.81930184804928</c:v>
                </c:pt>
                <c:pt idx="51">
                  <c:v>7.81930184804928</c:v>
                </c:pt>
                <c:pt idx="52">
                  <c:v>8.3121149897330593</c:v>
                </c:pt>
                <c:pt idx="53">
                  <c:v>8.3121149897330593</c:v>
                </c:pt>
                <c:pt idx="54">
                  <c:v>8.3121149897330593</c:v>
                </c:pt>
                <c:pt idx="55">
                  <c:v>8.3121149897330593</c:v>
                </c:pt>
                <c:pt idx="56">
                  <c:v>8.3778234086242307</c:v>
                </c:pt>
                <c:pt idx="57">
                  <c:v>8.3778234086242307</c:v>
                </c:pt>
                <c:pt idx="58">
                  <c:v>8.4435318275154003</c:v>
                </c:pt>
                <c:pt idx="59">
                  <c:v>8.4435318275154003</c:v>
                </c:pt>
                <c:pt idx="60">
                  <c:v>8.6078028747433297</c:v>
                </c:pt>
                <c:pt idx="61">
                  <c:v>8.6078028747433297</c:v>
                </c:pt>
                <c:pt idx="62">
                  <c:v>8.87063655030801</c:v>
                </c:pt>
                <c:pt idx="63">
                  <c:v>8.87063655030801</c:v>
                </c:pt>
                <c:pt idx="64">
                  <c:v>9.0020533880903493</c:v>
                </c:pt>
                <c:pt idx="65">
                  <c:v>9.0020533880903493</c:v>
                </c:pt>
                <c:pt idx="66">
                  <c:v>9.0349075975359394</c:v>
                </c:pt>
                <c:pt idx="67">
                  <c:v>9.0349075975359394</c:v>
                </c:pt>
                <c:pt idx="68">
                  <c:v>9.1991786447638599</c:v>
                </c:pt>
                <c:pt idx="69">
                  <c:v>9.1991786447638599</c:v>
                </c:pt>
                <c:pt idx="70">
                  <c:v>9.2320328542094501</c:v>
                </c:pt>
                <c:pt idx="71">
                  <c:v>9.2320328542094501</c:v>
                </c:pt>
                <c:pt idx="72">
                  <c:v>9.2648870636550296</c:v>
                </c:pt>
                <c:pt idx="73">
                  <c:v>9.2648870636550296</c:v>
                </c:pt>
                <c:pt idx="74">
                  <c:v>9.2648870636550296</c:v>
                </c:pt>
                <c:pt idx="75">
                  <c:v>9.2648870636550296</c:v>
                </c:pt>
                <c:pt idx="76">
                  <c:v>9.3634496919917893</c:v>
                </c:pt>
                <c:pt idx="77">
                  <c:v>9.3634496919917893</c:v>
                </c:pt>
                <c:pt idx="78">
                  <c:v>9.4620123203285402</c:v>
                </c:pt>
                <c:pt idx="79">
                  <c:v>9.4620123203285402</c:v>
                </c:pt>
                <c:pt idx="80">
                  <c:v>9.5605749486653</c:v>
                </c:pt>
                <c:pt idx="81">
                  <c:v>9.5605749486653</c:v>
                </c:pt>
                <c:pt idx="82">
                  <c:v>9.6591375770020491</c:v>
                </c:pt>
                <c:pt idx="83">
                  <c:v>9.6591375770020491</c:v>
                </c:pt>
                <c:pt idx="84">
                  <c:v>9.8562628336755704</c:v>
                </c:pt>
                <c:pt idx="85">
                  <c:v>9.8562628336755704</c:v>
                </c:pt>
                <c:pt idx="86">
                  <c:v>9.9876796714579097</c:v>
                </c:pt>
                <c:pt idx="87">
                  <c:v>9.9876796714579097</c:v>
                </c:pt>
                <c:pt idx="88">
                  <c:v>10.053388090349101</c:v>
                </c:pt>
                <c:pt idx="89">
                  <c:v>10.053388090349101</c:v>
                </c:pt>
                <c:pt idx="90">
                  <c:v>10.3490759753593</c:v>
                </c:pt>
                <c:pt idx="91">
                  <c:v>10.3490759753593</c:v>
                </c:pt>
                <c:pt idx="92">
                  <c:v>10.611909650924</c:v>
                </c:pt>
                <c:pt idx="93">
                  <c:v>10.611909650924</c:v>
                </c:pt>
                <c:pt idx="94">
                  <c:v>10.776180698152</c:v>
                </c:pt>
                <c:pt idx="95">
                  <c:v>10.776180698152</c:v>
                </c:pt>
                <c:pt idx="96">
                  <c:v>10.9075975359343</c:v>
                </c:pt>
                <c:pt idx="97">
                  <c:v>10.9075975359343</c:v>
                </c:pt>
                <c:pt idx="98">
                  <c:v>11.1047227926078</c:v>
                </c:pt>
                <c:pt idx="99">
                  <c:v>11.1047227926078</c:v>
                </c:pt>
                <c:pt idx="100">
                  <c:v>11.4661190965092</c:v>
                </c:pt>
                <c:pt idx="101">
                  <c:v>11.4661190965092</c:v>
                </c:pt>
                <c:pt idx="102">
                  <c:v>12.35318275154</c:v>
                </c:pt>
                <c:pt idx="103">
                  <c:v>12.35318275154</c:v>
                </c:pt>
                <c:pt idx="104">
                  <c:v>13.0102669404517</c:v>
                </c:pt>
                <c:pt idx="105">
                  <c:v>13.0102669404517</c:v>
                </c:pt>
                <c:pt idx="106">
                  <c:v>13.0102669404517</c:v>
                </c:pt>
                <c:pt idx="107">
                  <c:v>13.0102669404517</c:v>
                </c:pt>
                <c:pt idx="108">
                  <c:v>13.1416837782341</c:v>
                </c:pt>
                <c:pt idx="109">
                  <c:v>13.1416837782341</c:v>
                </c:pt>
                <c:pt idx="110">
                  <c:v>13.6344969199179</c:v>
                </c:pt>
                <c:pt idx="111">
                  <c:v>13.6344969199179</c:v>
                </c:pt>
                <c:pt idx="112">
                  <c:v>13.864476386037</c:v>
                </c:pt>
                <c:pt idx="113">
                  <c:v>13.864476386037</c:v>
                </c:pt>
                <c:pt idx="114">
                  <c:v>14.7515400410678</c:v>
                </c:pt>
                <c:pt idx="115">
                  <c:v>14.7515400410678</c:v>
                </c:pt>
                <c:pt idx="116">
                  <c:v>14.784394250513399</c:v>
                </c:pt>
                <c:pt idx="117">
                  <c:v>14.784394250513399</c:v>
                </c:pt>
                <c:pt idx="118">
                  <c:v>17.379876796714601</c:v>
                </c:pt>
                <c:pt idx="119">
                  <c:v>17.379876796714601</c:v>
                </c:pt>
                <c:pt idx="120">
                  <c:v>27.6960985626283</c:v>
                </c:pt>
                <c:pt idx="121">
                  <c:v>27.6960985626283</c:v>
                </c:pt>
                <c:pt idx="122">
                  <c:v>28.845995893223801</c:v>
                </c:pt>
                <c:pt idx="123">
                  <c:v>28.845995893223801</c:v>
                </c:pt>
                <c:pt idx="124">
                  <c:v>28.911704312114999</c:v>
                </c:pt>
                <c:pt idx="125">
                  <c:v>28.911704312114999</c:v>
                </c:pt>
                <c:pt idx="126">
                  <c:v>29.667351129363499</c:v>
                </c:pt>
                <c:pt idx="127">
                  <c:v>29.667351129363499</c:v>
                </c:pt>
                <c:pt idx="128">
                  <c:v>29.700205338808999</c:v>
                </c:pt>
                <c:pt idx="129">
                  <c:v>29.700205338808999</c:v>
                </c:pt>
                <c:pt idx="130">
                  <c:v>29.8973305954826</c:v>
                </c:pt>
                <c:pt idx="131">
                  <c:v>29.8973305954826</c:v>
                </c:pt>
                <c:pt idx="132">
                  <c:v>30.0616016427105</c:v>
                </c:pt>
                <c:pt idx="133">
                  <c:v>30.0616016427105</c:v>
                </c:pt>
                <c:pt idx="134">
                  <c:v>30.882956878850099</c:v>
                </c:pt>
                <c:pt idx="135">
                  <c:v>30.882956878850099</c:v>
                </c:pt>
                <c:pt idx="136">
                  <c:v>31.047227926078001</c:v>
                </c:pt>
                <c:pt idx="137">
                  <c:v>31.047227926078001</c:v>
                </c:pt>
                <c:pt idx="138">
                  <c:v>31.0800821355236</c:v>
                </c:pt>
                <c:pt idx="139">
                  <c:v>31.0800821355236</c:v>
                </c:pt>
                <c:pt idx="140">
                  <c:v>31.507186858316199</c:v>
                </c:pt>
                <c:pt idx="141">
                  <c:v>31.507186858316199</c:v>
                </c:pt>
                <c:pt idx="142">
                  <c:v>31.7371663244353</c:v>
                </c:pt>
                <c:pt idx="143">
                  <c:v>31.7371663244353</c:v>
                </c:pt>
                <c:pt idx="144">
                  <c:v>32.032854209445603</c:v>
                </c:pt>
                <c:pt idx="145">
                  <c:v>32.032854209445603</c:v>
                </c:pt>
                <c:pt idx="146">
                  <c:v>33.642710472279298</c:v>
                </c:pt>
                <c:pt idx="147">
                  <c:v>33.642710472279298</c:v>
                </c:pt>
                <c:pt idx="148">
                  <c:v>33.839835728952799</c:v>
                </c:pt>
                <c:pt idx="149">
                  <c:v>33.839835728952799</c:v>
                </c:pt>
                <c:pt idx="150">
                  <c:v>33.872689938398402</c:v>
                </c:pt>
                <c:pt idx="151">
                  <c:v>33.872689938398402</c:v>
                </c:pt>
                <c:pt idx="152">
                  <c:v>34.3655030800821</c:v>
                </c:pt>
                <c:pt idx="153">
                  <c:v>34.3655030800821</c:v>
                </c:pt>
                <c:pt idx="154">
                  <c:v>35.154004106776199</c:v>
                </c:pt>
                <c:pt idx="155">
                  <c:v>35.154004106776199</c:v>
                </c:pt>
                <c:pt idx="156">
                  <c:v>35.2525667351129</c:v>
                </c:pt>
                <c:pt idx="157">
                  <c:v>35.2525667351129</c:v>
                </c:pt>
              </c:numCache>
            </c:numRef>
          </c:xVal>
          <c:yVal>
            <c:numRef>
              <c:f>OS_KM!$AC$2:$AC$199</c:f>
              <c:numCache>
                <c:formatCode>.000</c:formatCode>
                <c:ptCount val="198"/>
                <c:pt idx="0">
                  <c:v>97.260273972602803</c:v>
                </c:pt>
                <c:pt idx="1">
                  <c:v>97.260273972602803</c:v>
                </c:pt>
                <c:pt idx="2">
                  <c:v>96.342724218144298</c:v>
                </c:pt>
                <c:pt idx="3">
                  <c:v>96.342724218144298</c:v>
                </c:pt>
                <c:pt idx="4">
                  <c:v>93.115934411794896</c:v>
                </c:pt>
                <c:pt idx="5">
                  <c:v>93.115934411794896</c:v>
                </c:pt>
                <c:pt idx="6">
                  <c:v>84.313930661426198</c:v>
                </c:pt>
                <c:pt idx="7">
                  <c:v>84.313930661426198</c:v>
                </c:pt>
                <c:pt idx="8">
                  <c:v>83.848107840092396</c:v>
                </c:pt>
                <c:pt idx="9">
                  <c:v>83.848107840092396</c:v>
                </c:pt>
                <c:pt idx="10">
                  <c:v>83.848107840092396</c:v>
                </c:pt>
                <c:pt idx="11">
                  <c:v>83.848107840092396</c:v>
                </c:pt>
                <c:pt idx="12">
                  <c:v>83.848107840092396</c:v>
                </c:pt>
                <c:pt idx="13">
                  <c:v>83.848107840092396</c:v>
                </c:pt>
                <c:pt idx="14">
                  <c:v>83.374389716701998</c:v>
                </c:pt>
                <c:pt idx="15">
                  <c:v>83.374389716701998</c:v>
                </c:pt>
                <c:pt idx="16">
                  <c:v>83.374389716701998</c:v>
                </c:pt>
                <c:pt idx="17">
                  <c:v>83.374389716701998</c:v>
                </c:pt>
                <c:pt idx="18">
                  <c:v>82.895226557410595</c:v>
                </c:pt>
                <c:pt idx="19">
                  <c:v>82.895226557410595</c:v>
                </c:pt>
                <c:pt idx="20">
                  <c:v>82.895226557410595</c:v>
                </c:pt>
                <c:pt idx="21">
                  <c:v>82.895226557410595</c:v>
                </c:pt>
                <c:pt idx="22">
                  <c:v>82.895226557410595</c:v>
                </c:pt>
                <c:pt idx="23">
                  <c:v>82.895226557410595</c:v>
                </c:pt>
                <c:pt idx="24">
                  <c:v>82.895226557410595</c:v>
                </c:pt>
                <c:pt idx="25">
                  <c:v>82.895226557410595</c:v>
                </c:pt>
                <c:pt idx="26">
                  <c:v>81.423713659941797</c:v>
                </c:pt>
                <c:pt idx="27">
                  <c:v>81.423713659941797</c:v>
                </c:pt>
                <c:pt idx="28">
                  <c:v>81.423713659941797</c:v>
                </c:pt>
                <c:pt idx="29">
                  <c:v>81.423713659941797</c:v>
                </c:pt>
                <c:pt idx="30">
                  <c:v>81.423713659941797</c:v>
                </c:pt>
                <c:pt idx="31">
                  <c:v>81.423713659941797</c:v>
                </c:pt>
                <c:pt idx="32">
                  <c:v>81.423713659941797</c:v>
                </c:pt>
                <c:pt idx="33">
                  <c:v>81.423713659941797</c:v>
                </c:pt>
                <c:pt idx="34">
                  <c:v>80.9210981435224</c:v>
                </c:pt>
                <c:pt idx="35">
                  <c:v>80.9210981435224</c:v>
                </c:pt>
                <c:pt idx="36">
                  <c:v>80.415341280125404</c:v>
                </c:pt>
                <c:pt idx="37">
                  <c:v>80.415341280125404</c:v>
                </c:pt>
                <c:pt idx="38">
                  <c:v>80.415341280125404</c:v>
                </c:pt>
                <c:pt idx="39">
                  <c:v>80.415341280125404</c:v>
                </c:pt>
                <c:pt idx="40">
                  <c:v>79.903141654137301</c:v>
                </c:pt>
                <c:pt idx="41">
                  <c:v>79.903141654137301</c:v>
                </c:pt>
                <c:pt idx="42">
                  <c:v>79.903141654137301</c:v>
                </c:pt>
                <c:pt idx="43">
                  <c:v>79.903141654137301</c:v>
                </c:pt>
                <c:pt idx="44">
                  <c:v>79.903141654137301</c:v>
                </c:pt>
                <c:pt idx="45">
                  <c:v>79.903141654137301</c:v>
                </c:pt>
                <c:pt idx="46">
                  <c:v>79.903141654137301</c:v>
                </c:pt>
                <c:pt idx="47">
                  <c:v>79.903141654137301</c:v>
                </c:pt>
                <c:pt idx="48">
                  <c:v>78.851784527109203</c:v>
                </c:pt>
                <c:pt idx="49">
                  <c:v>78.851784527109203</c:v>
                </c:pt>
                <c:pt idx="50">
                  <c:v>78.851784527109203</c:v>
                </c:pt>
                <c:pt idx="51">
                  <c:v>78.851784527109203</c:v>
                </c:pt>
                <c:pt idx="52">
                  <c:v>75.655090559794004</c:v>
                </c:pt>
                <c:pt idx="53">
                  <c:v>75.655090559794004</c:v>
                </c:pt>
                <c:pt idx="54">
                  <c:v>75.655090559794004</c:v>
                </c:pt>
                <c:pt idx="55">
                  <c:v>75.655090559794004</c:v>
                </c:pt>
                <c:pt idx="56">
                  <c:v>75.655090559794004</c:v>
                </c:pt>
                <c:pt idx="57">
                  <c:v>75.655090559794004</c:v>
                </c:pt>
                <c:pt idx="58">
                  <c:v>75.655090559794004</c:v>
                </c:pt>
                <c:pt idx="59">
                  <c:v>75.655090559794004</c:v>
                </c:pt>
                <c:pt idx="60">
                  <c:v>75.106865265882405</c:v>
                </c:pt>
                <c:pt idx="61">
                  <c:v>75.106865265882405</c:v>
                </c:pt>
                <c:pt idx="62">
                  <c:v>74.002352541384198</c:v>
                </c:pt>
                <c:pt idx="63">
                  <c:v>74.002352541384198</c:v>
                </c:pt>
                <c:pt idx="64">
                  <c:v>73.445943875659495</c:v>
                </c:pt>
                <c:pt idx="65">
                  <c:v>73.445943875659495</c:v>
                </c:pt>
                <c:pt idx="66">
                  <c:v>73.445943875659495</c:v>
                </c:pt>
                <c:pt idx="67">
                  <c:v>73.445943875659495</c:v>
                </c:pt>
                <c:pt idx="68">
                  <c:v>72.316006277572399</c:v>
                </c:pt>
                <c:pt idx="69">
                  <c:v>72.316006277572399</c:v>
                </c:pt>
                <c:pt idx="70">
                  <c:v>72.316006277572399</c:v>
                </c:pt>
                <c:pt idx="71">
                  <c:v>72.316006277572399</c:v>
                </c:pt>
                <c:pt idx="72">
                  <c:v>72.316006277572399</c:v>
                </c:pt>
                <c:pt idx="73">
                  <c:v>72.316006277572399</c:v>
                </c:pt>
                <c:pt idx="74">
                  <c:v>72.316006277572399</c:v>
                </c:pt>
                <c:pt idx="75">
                  <c:v>72.316006277572399</c:v>
                </c:pt>
                <c:pt idx="76">
                  <c:v>71.732812678559696</c:v>
                </c:pt>
                <c:pt idx="77">
                  <c:v>71.732812678559696</c:v>
                </c:pt>
                <c:pt idx="78">
                  <c:v>71.144838804145294</c:v>
                </c:pt>
                <c:pt idx="79">
                  <c:v>71.144838804145294</c:v>
                </c:pt>
                <c:pt idx="80">
                  <c:v>71.144838804145294</c:v>
                </c:pt>
                <c:pt idx="81">
                  <c:v>71.144838804145294</c:v>
                </c:pt>
                <c:pt idx="82">
                  <c:v>71.144838804145294</c:v>
                </c:pt>
                <c:pt idx="83">
                  <c:v>71.144838804145294</c:v>
                </c:pt>
                <c:pt idx="84">
                  <c:v>70.5419164413983</c:v>
                </c:pt>
                <c:pt idx="85">
                  <c:v>70.5419164413983</c:v>
                </c:pt>
                <c:pt idx="86">
                  <c:v>69.325676502753495</c:v>
                </c:pt>
                <c:pt idx="87">
                  <c:v>69.325676502753495</c:v>
                </c:pt>
                <c:pt idx="88">
                  <c:v>69.325676502753495</c:v>
                </c:pt>
                <c:pt idx="89">
                  <c:v>69.325676502753495</c:v>
                </c:pt>
                <c:pt idx="90">
                  <c:v>66.230780230309193</c:v>
                </c:pt>
                <c:pt idx="91">
                  <c:v>66.230780230309193</c:v>
                </c:pt>
                <c:pt idx="92">
                  <c:v>64.981142867473096</c:v>
                </c:pt>
                <c:pt idx="93">
                  <c:v>64.981142867473096</c:v>
                </c:pt>
                <c:pt idx="94">
                  <c:v>63.719373103056199</c:v>
                </c:pt>
                <c:pt idx="95">
                  <c:v>63.719373103056199</c:v>
                </c:pt>
                <c:pt idx="96">
                  <c:v>63.719373103056199</c:v>
                </c:pt>
                <c:pt idx="97">
                  <c:v>63.719373103056199</c:v>
                </c:pt>
                <c:pt idx="98">
                  <c:v>63.075743071712203</c:v>
                </c:pt>
                <c:pt idx="99">
                  <c:v>63.075743071712203</c:v>
                </c:pt>
                <c:pt idx="100">
                  <c:v>61.775212286728397</c:v>
                </c:pt>
                <c:pt idx="101">
                  <c:v>61.775212286728397</c:v>
                </c:pt>
                <c:pt idx="102">
                  <c:v>59.803662958428603</c:v>
                </c:pt>
                <c:pt idx="103">
                  <c:v>59.803662958428603</c:v>
                </c:pt>
                <c:pt idx="104">
                  <c:v>55.816752094533399</c:v>
                </c:pt>
                <c:pt idx="105">
                  <c:v>55.816752094533399</c:v>
                </c:pt>
                <c:pt idx="106">
                  <c:v>55.816752094533399</c:v>
                </c:pt>
                <c:pt idx="107">
                  <c:v>55.816752094533399</c:v>
                </c:pt>
                <c:pt idx="108">
                  <c:v>55.136059995819501</c:v>
                </c:pt>
                <c:pt idx="109">
                  <c:v>55.136059995819501</c:v>
                </c:pt>
                <c:pt idx="110">
                  <c:v>51.6900562460808</c:v>
                </c:pt>
                <c:pt idx="111">
                  <c:v>51.6900562460808</c:v>
                </c:pt>
                <c:pt idx="112">
                  <c:v>50.293027698889397</c:v>
                </c:pt>
                <c:pt idx="113">
                  <c:v>50.293027698889397</c:v>
                </c:pt>
                <c:pt idx="114">
                  <c:v>46.042912682081898</c:v>
                </c:pt>
                <c:pt idx="115">
                  <c:v>46.042912682081898</c:v>
                </c:pt>
                <c:pt idx="116">
                  <c:v>46.042912682081898</c:v>
                </c:pt>
                <c:pt idx="117">
                  <c:v>46.042912682081898</c:v>
                </c:pt>
                <c:pt idx="118">
                  <c:v>39.465353727498801</c:v>
                </c:pt>
                <c:pt idx="119">
                  <c:v>39.465353727498801</c:v>
                </c:pt>
                <c:pt idx="120">
                  <c:v>21.594250152782301</c:v>
                </c:pt>
                <c:pt idx="121">
                  <c:v>21.594250152782301</c:v>
                </c:pt>
                <c:pt idx="122">
                  <c:v>20.0518037132979</c:v>
                </c:pt>
                <c:pt idx="123">
                  <c:v>20.0518037132979</c:v>
                </c:pt>
                <c:pt idx="124">
                  <c:v>20.0518037132979</c:v>
                </c:pt>
                <c:pt idx="125">
                  <c:v>20.0518037132979</c:v>
                </c:pt>
                <c:pt idx="126">
                  <c:v>17.5453282491357</c:v>
                </c:pt>
                <c:pt idx="127">
                  <c:v>17.5453282491357</c:v>
                </c:pt>
                <c:pt idx="128">
                  <c:v>17.5453282491357</c:v>
                </c:pt>
                <c:pt idx="129">
                  <c:v>17.5453282491357</c:v>
                </c:pt>
                <c:pt idx="130">
                  <c:v>17.5453282491357</c:v>
                </c:pt>
                <c:pt idx="131">
                  <c:v>17.5453282491357</c:v>
                </c:pt>
                <c:pt idx="132">
                  <c:v>17.5453282491357</c:v>
                </c:pt>
                <c:pt idx="133">
                  <c:v>17.5453282491357</c:v>
                </c:pt>
                <c:pt idx="134">
                  <c:v>15.4811719845315</c:v>
                </c:pt>
                <c:pt idx="135">
                  <c:v>15.4811719845315</c:v>
                </c:pt>
                <c:pt idx="136">
                  <c:v>15.4811719845315</c:v>
                </c:pt>
                <c:pt idx="137">
                  <c:v>15.4811719845315</c:v>
                </c:pt>
                <c:pt idx="138">
                  <c:v>15.4811719845315</c:v>
                </c:pt>
                <c:pt idx="139">
                  <c:v>15.4811719845315</c:v>
                </c:pt>
                <c:pt idx="140">
                  <c:v>15.4811719845315</c:v>
                </c:pt>
                <c:pt idx="141">
                  <c:v>15.4811719845315</c:v>
                </c:pt>
                <c:pt idx="142">
                  <c:v>15.4811719845315</c:v>
                </c:pt>
                <c:pt idx="143">
                  <c:v>15.4811719845315</c:v>
                </c:pt>
                <c:pt idx="144">
                  <c:v>15.4811719845315</c:v>
                </c:pt>
                <c:pt idx="145">
                  <c:v>15.4811719845315</c:v>
                </c:pt>
                <c:pt idx="146">
                  <c:v>15.4811719845315</c:v>
                </c:pt>
                <c:pt idx="147">
                  <c:v>15.4811719845315</c:v>
                </c:pt>
                <c:pt idx="148">
                  <c:v>11.6108789883986</c:v>
                </c:pt>
                <c:pt idx="149">
                  <c:v>11.6108789883986</c:v>
                </c:pt>
                <c:pt idx="150">
                  <c:v>11.6108789883986</c:v>
                </c:pt>
                <c:pt idx="151">
                  <c:v>11.6108789883986</c:v>
                </c:pt>
                <c:pt idx="152">
                  <c:v>11.6108789883986</c:v>
                </c:pt>
                <c:pt idx="153">
                  <c:v>11.6108789883986</c:v>
                </c:pt>
                <c:pt idx="154">
                  <c:v>11.6108789883986</c:v>
                </c:pt>
                <c:pt idx="155">
                  <c:v>11.6108789883986</c:v>
                </c:pt>
                <c:pt idx="156">
                  <c:v>11.6108789883986</c:v>
                </c:pt>
                <c:pt idx="157">
                  <c:v>11.6108789883986</c:v>
                </c:pt>
              </c:numCache>
            </c:numRef>
          </c:yVal>
          <c:smooth val="0"/>
          <c:extLst>
            <c:ext xmlns:c16="http://schemas.microsoft.com/office/drawing/2014/chart" uri="{C3380CC4-5D6E-409C-BE32-E72D297353CC}">
              <c16:uniqueId val="{00000003-558F-41FA-8BFD-F9628989BD52}"/>
            </c:ext>
          </c:extLst>
        </c:ser>
        <c:dLbls>
          <c:showLegendKey val="0"/>
          <c:showVal val="0"/>
          <c:showCatName val="0"/>
          <c:showSerName val="0"/>
          <c:showPercent val="0"/>
          <c:showBubbleSize val="0"/>
        </c:dLbls>
        <c:axId val="150566687"/>
        <c:axId val="150578687"/>
        <c:extLst>
          <c:ext xmlns:c15="http://schemas.microsoft.com/office/drawing/2012/chart" uri="{02D57815-91ED-43cb-92C2-25804820EDAC}">
            <c15:filteredScatterSeries>
              <c15:ser>
                <c:idx val="3"/>
                <c:order val="3"/>
                <c:spPr>
                  <a:ln w="19050" cap="rnd">
                    <a:solidFill>
                      <a:schemeClr val="accent4"/>
                    </a:solidFill>
                    <a:round/>
                  </a:ln>
                  <a:effectLst/>
                </c:spPr>
                <c:marker>
                  <c:symbol val="none"/>
                </c:marker>
                <c:dPt>
                  <c:idx val="1"/>
                  <c:marker>
                    <c:symbol val="none"/>
                  </c:marker>
                  <c:bubble3D val="0"/>
                  <c:spPr>
                    <a:ln w="19050" cap="rnd">
                      <a:solidFill>
                        <a:schemeClr val="tx1"/>
                      </a:solidFill>
                      <a:prstDash val="dash"/>
                      <a:round/>
                    </a:ln>
                    <a:effectLst/>
                  </c:spPr>
                  <c:extLst>
                    <c:ext xmlns:c16="http://schemas.microsoft.com/office/drawing/2014/chart" uri="{C3380CC4-5D6E-409C-BE32-E72D297353CC}">
                      <c16:uniqueId val="{00000005-558F-41FA-8BFD-F9628989BD52}"/>
                    </c:ext>
                  </c:extLst>
                </c:dPt>
                <c:xVal>
                  <c:numRef>
                    <c:extLst>
                      <c:ext uri="{02D57815-91ED-43cb-92C2-25804820EDAC}">
                        <c15:formulaRef>
                          <c15:sqref>OS_KM!$X$2:$X$3</c15:sqref>
                        </c15:formulaRef>
                      </c:ext>
                    </c:extLst>
                    <c:numCache>
                      <c:formatCode>.0000</c:formatCode>
                      <c:ptCount val="2"/>
                      <c:pt idx="0">
                        <c:v>12</c:v>
                      </c:pt>
                      <c:pt idx="1">
                        <c:v>12</c:v>
                      </c:pt>
                    </c:numCache>
                  </c:numRef>
                </c:xVal>
                <c:yVal>
                  <c:numRef>
                    <c:extLst>
                      <c:ext uri="{02D57815-91ED-43cb-92C2-25804820EDAC}">
                        <c15:formulaRef>
                          <c15:sqref>OS_KM!$Y$2:$Y$3</c15:sqref>
                        </c15:formulaRef>
                      </c:ext>
                    </c:extLst>
                    <c:numCache>
                      <c:formatCode>.000</c:formatCode>
                      <c:ptCount val="2"/>
                      <c:pt idx="0">
                        <c:v>0</c:v>
                      </c:pt>
                      <c:pt idx="1">
                        <c:v>70</c:v>
                      </c:pt>
                    </c:numCache>
                  </c:numRef>
                </c:yVal>
                <c:smooth val="0"/>
                <c:extLst>
                  <c:ext xmlns:c16="http://schemas.microsoft.com/office/drawing/2014/chart" uri="{C3380CC4-5D6E-409C-BE32-E72D297353CC}">
                    <c16:uniqueId val="{00000006-558F-41FA-8BFD-F9628989BD52}"/>
                  </c:ext>
                </c:extLst>
              </c15:ser>
            </c15:filteredScatterSeries>
            <c15:filteredScatterSeries>
              <c15:ser>
                <c:idx val="4"/>
                <c:order val="4"/>
                <c:spPr>
                  <a:ln w="19050" cap="rnd">
                    <a:solidFill>
                      <a:schemeClr val="accent5"/>
                    </a:solidFill>
                    <a:round/>
                  </a:ln>
                  <a:effectLst/>
                </c:spPr>
                <c:marker>
                  <c:symbol val="none"/>
                </c:marker>
                <c:dPt>
                  <c:idx val="1"/>
                  <c:marker>
                    <c:symbol val="none"/>
                  </c:marker>
                  <c:bubble3D val="0"/>
                  <c:spPr>
                    <a:ln w="19050" cap="rnd">
                      <a:solidFill>
                        <a:schemeClr val="tx1"/>
                      </a:solidFill>
                      <a:prstDash val="dash"/>
                      <a:round/>
                    </a:ln>
                    <a:effectLst/>
                  </c:spPr>
                  <c:extLst xmlns:c15="http://schemas.microsoft.com/office/drawing/2012/chart">
                    <c:ext xmlns:c16="http://schemas.microsoft.com/office/drawing/2014/chart" uri="{C3380CC4-5D6E-409C-BE32-E72D297353CC}">
                      <c16:uniqueId val="{00000008-558F-41FA-8BFD-F9628989BD52}"/>
                    </c:ext>
                  </c:extLst>
                </c:dPt>
                <c:xVal>
                  <c:numRef>
                    <c:extLst xmlns:c15="http://schemas.microsoft.com/office/drawing/2012/chart">
                      <c:ext xmlns:c15="http://schemas.microsoft.com/office/drawing/2012/chart" uri="{02D57815-91ED-43cb-92C2-25804820EDAC}">
                        <c15:formulaRef>
                          <c15:sqref>OS_KM!$AD$2:$AD$3</c15:sqref>
                        </c15:formulaRef>
                      </c:ext>
                    </c:extLst>
                    <c:numCache>
                      <c:formatCode>.0000</c:formatCode>
                      <c:ptCount val="2"/>
                      <c:pt idx="0">
                        <c:v>24</c:v>
                      </c:pt>
                      <c:pt idx="1">
                        <c:v>24</c:v>
                      </c:pt>
                    </c:numCache>
                  </c:numRef>
                </c:xVal>
                <c:yVal>
                  <c:numRef>
                    <c:extLst xmlns:c15="http://schemas.microsoft.com/office/drawing/2012/chart">
                      <c:ext xmlns:c15="http://schemas.microsoft.com/office/drawing/2012/chart" uri="{02D57815-91ED-43cb-92C2-25804820EDAC}">
                        <c15:formulaRef>
                          <c15:sqref>OS_KM!$AE$2:$AE$3</c15:sqref>
                        </c15:formulaRef>
                      </c:ext>
                    </c:extLst>
                    <c:numCache>
                      <c:formatCode>.000</c:formatCode>
                      <c:ptCount val="2"/>
                      <c:pt idx="0">
                        <c:v>0</c:v>
                      </c:pt>
                      <c:pt idx="1">
                        <c:v>38</c:v>
                      </c:pt>
                    </c:numCache>
                  </c:numRef>
                </c:yVal>
                <c:smooth val="0"/>
                <c:extLst xmlns:c15="http://schemas.microsoft.com/office/drawing/2012/chart">
                  <c:ext xmlns:c16="http://schemas.microsoft.com/office/drawing/2014/chart" uri="{C3380CC4-5D6E-409C-BE32-E72D297353CC}">
                    <c16:uniqueId val="{00000009-558F-41FA-8BFD-F9628989BD52}"/>
                  </c:ext>
                </c:extLst>
              </c15:ser>
            </c15:filteredScatterSeries>
          </c:ext>
        </c:extLst>
      </c:scatterChart>
      <c:valAx>
        <c:axId val="150566687"/>
        <c:scaling>
          <c:orientation val="minMax"/>
          <c:max val="39"/>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900" b="0" i="0" u="none" strike="noStrike" kern="1200" baseline="0">
                    <a:solidFill>
                      <a:schemeClr val="tx1"/>
                    </a:solidFill>
                    <a:latin typeface="Roboto" panose="02000000000000000000" pitchFamily="2" charset="0"/>
                    <a:ea typeface="Roboto" panose="02000000000000000000" pitchFamily="2" charset="0"/>
                    <a:cs typeface="Roboto" panose="02000000000000000000" pitchFamily="2" charset="0"/>
                  </a:defRPr>
                </a:pPr>
                <a:r>
                  <a:rPr lang="en-US" sz="900" b="1" dirty="0">
                    <a:solidFill>
                      <a:schemeClr val="tx1"/>
                    </a:solidFill>
                    <a:latin typeface="Roboto" panose="02000000000000000000" pitchFamily="2" charset="0"/>
                    <a:ea typeface="Roboto" panose="02000000000000000000" pitchFamily="2" charset="0"/>
                    <a:cs typeface="Roboto" panose="02000000000000000000" pitchFamily="2" charset="0"/>
                  </a:rPr>
                  <a:t>Months</a:t>
                </a:r>
              </a:p>
            </c:rich>
          </c:tx>
          <c:layout>
            <c:manualLayout>
              <c:xMode val="edge"/>
              <c:yMode val="edge"/>
              <c:x val="0.52291390125583959"/>
              <c:y val="0.9430272315041586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Roboto" panose="02000000000000000000" pitchFamily="2" charset="0"/>
                  <a:ea typeface="Roboto" panose="02000000000000000000" pitchFamily="2" charset="0"/>
                  <a:cs typeface="Roboto" panose="02000000000000000000" pitchFamily="2" charset="0"/>
                </a:defRPr>
              </a:pPr>
              <a:endParaRPr lang="en-US"/>
            </a:p>
          </c:txPr>
        </c:title>
        <c:numFmt formatCode="#,##0" sourceLinked="0"/>
        <c:majorTickMark val="out"/>
        <c:minorTickMark val="none"/>
        <c:tickLblPos val="nextTo"/>
        <c:spPr>
          <a:noFill/>
          <a:ln w="3175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Roboto" panose="02000000000000000000" pitchFamily="2" charset="0"/>
                <a:ea typeface="Roboto" panose="02000000000000000000" pitchFamily="2" charset="0"/>
                <a:cs typeface="Roboto" panose="02000000000000000000" pitchFamily="2" charset="0"/>
              </a:defRPr>
            </a:pPr>
            <a:endParaRPr lang="en-US"/>
          </a:p>
        </c:txPr>
        <c:crossAx val="150578687"/>
        <c:crosses val="autoZero"/>
        <c:crossBetween val="midCat"/>
        <c:majorUnit val="3"/>
      </c:valAx>
      <c:valAx>
        <c:axId val="150578687"/>
        <c:scaling>
          <c:orientation val="minMax"/>
          <c:max val="10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Roboto" panose="02000000000000000000" pitchFamily="2" charset="0"/>
                    <a:ea typeface="Roboto" panose="02000000000000000000" pitchFamily="2" charset="0"/>
                    <a:cs typeface="Roboto" panose="02000000000000000000" pitchFamily="2" charset="0"/>
                  </a:defRPr>
                </a:pPr>
                <a:r>
                  <a:rPr lang="en-US" sz="2000" b="1">
                    <a:solidFill>
                      <a:schemeClr val="tx1"/>
                    </a:solidFill>
                    <a:latin typeface="Roboto" panose="02000000000000000000" pitchFamily="2" charset="0"/>
                    <a:ea typeface="Roboto" panose="02000000000000000000" pitchFamily="2" charset="0"/>
                    <a:cs typeface="Roboto" panose="02000000000000000000" pitchFamily="2" charset="0"/>
                  </a:rPr>
                  <a:t>OS</a:t>
                </a:r>
                <a:r>
                  <a:rPr lang="en-US" sz="1800" b="1">
                    <a:solidFill>
                      <a:schemeClr val="tx1"/>
                    </a:solidFill>
                    <a:latin typeface="Roboto" panose="02000000000000000000" pitchFamily="2" charset="0"/>
                    <a:ea typeface="Roboto" panose="02000000000000000000" pitchFamily="2" charset="0"/>
                    <a:cs typeface="Roboto" panose="02000000000000000000" pitchFamily="2" charset="0"/>
                  </a:rPr>
                  <a:t>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Roboto" panose="02000000000000000000" pitchFamily="2" charset="0"/>
                  <a:ea typeface="Roboto" panose="02000000000000000000" pitchFamily="2" charset="0"/>
                  <a:cs typeface="Roboto" panose="02000000000000000000" pitchFamily="2" charset="0"/>
                </a:defRPr>
              </a:pPr>
              <a:endParaRPr lang="en-US"/>
            </a:p>
          </c:txPr>
        </c:title>
        <c:numFmt formatCode="#,##0" sourceLinked="0"/>
        <c:majorTickMark val="out"/>
        <c:minorTickMark val="none"/>
        <c:tickLblPos val="nextTo"/>
        <c:spPr>
          <a:noFill/>
          <a:ln w="28575" cap="flat" cmpd="sng" algn="ctr">
            <a:solidFill>
              <a:schemeClr val="tx1"/>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Roboto" panose="02000000000000000000" pitchFamily="2" charset="0"/>
                <a:ea typeface="Roboto" panose="02000000000000000000" pitchFamily="2" charset="0"/>
                <a:cs typeface="Roboto" panose="02000000000000000000" pitchFamily="2" charset="0"/>
              </a:defRPr>
            </a:pPr>
            <a:endParaRPr lang="en-US"/>
          </a:p>
        </c:txPr>
        <c:crossAx val="150566687"/>
        <c:crosses val="autoZero"/>
        <c:crossBetween val="midCat"/>
        <c:majorUnit val="20"/>
      </c:valAx>
      <c:spPr>
        <a:noFill/>
        <a:ln>
          <a:noFill/>
        </a:ln>
        <a:effectLst/>
      </c:spPr>
    </c:plotArea>
    <c:legend>
      <c:legendPos val="b"/>
      <c:legendEntry>
        <c:idx val="0"/>
        <c:txPr>
          <a:bodyPr rot="0" spcFirstLastPara="1" vertOverflow="ellipsis" vert="horz" wrap="square" anchor="ctr" anchorCtr="1"/>
          <a:lstStyle/>
          <a:p>
            <a:pPr>
              <a:defRPr sz="1800" b="0" i="0" u="none" strike="noStrike" kern="1200" baseline="0">
                <a:solidFill>
                  <a:schemeClr val="tx2"/>
                </a:solidFill>
                <a:latin typeface="Roboto" panose="02000000000000000000" pitchFamily="2" charset="0"/>
                <a:ea typeface="Roboto" panose="02000000000000000000" pitchFamily="2" charset="0"/>
                <a:cs typeface="Roboto" panose="02000000000000000000" pitchFamily="2" charset="0"/>
              </a:defRPr>
            </a:pPr>
            <a:endParaRPr lang="en-US"/>
          </a:p>
        </c:txPr>
      </c:legendEntry>
      <c:legendEntry>
        <c:idx val="1"/>
        <c:delete val="1"/>
      </c:legendEntry>
      <c:legendEntry>
        <c:idx val="2"/>
        <c:txPr>
          <a:bodyPr rot="0" spcFirstLastPara="1" vertOverflow="ellipsis" vert="horz" wrap="square" anchor="ctr" anchorCtr="1"/>
          <a:lstStyle/>
          <a:p>
            <a:pPr>
              <a:defRPr sz="1800" b="0" i="0" u="none" strike="noStrike" kern="1200" baseline="0">
                <a:solidFill>
                  <a:schemeClr val="bg1">
                    <a:lumMod val="50000"/>
                  </a:schemeClr>
                </a:solidFill>
                <a:latin typeface="Roboto" panose="02000000000000000000" pitchFamily="2" charset="0"/>
                <a:ea typeface="Roboto" panose="02000000000000000000" pitchFamily="2" charset="0"/>
                <a:cs typeface="Roboto" panose="02000000000000000000" pitchFamily="2" charset="0"/>
              </a:defRPr>
            </a:pPr>
            <a:endParaRPr lang="en-US"/>
          </a:p>
        </c:txPr>
      </c:legendEntry>
      <c:legendEntry>
        <c:idx val="3"/>
        <c:delete val="1"/>
      </c:legendEntry>
      <c:layout>
        <c:manualLayout>
          <c:xMode val="edge"/>
          <c:yMode val="edge"/>
          <c:x val="0.59077298131259659"/>
          <c:y val="0.44991845551517612"/>
          <c:w val="0.40108733170943561"/>
          <c:h val="0.14281847000529896"/>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A7F2"/>
              </a:solidFill>
              <a:ln w="19050">
                <a:noFill/>
              </a:ln>
              <a:effectLst/>
            </c:spPr>
            <c:extLst>
              <c:ext xmlns:c16="http://schemas.microsoft.com/office/drawing/2014/chart" uri="{C3380CC4-5D6E-409C-BE32-E72D297353CC}">
                <c16:uniqueId val="{00000001-8936-44DE-8635-27F647CC8DE9}"/>
              </c:ext>
            </c:extLst>
          </c:dPt>
          <c:dPt>
            <c:idx val="1"/>
            <c:bubble3D val="0"/>
            <c:spPr>
              <a:noFill/>
              <a:ln w="19050">
                <a:noFill/>
              </a:ln>
              <a:effectLst/>
            </c:spPr>
            <c:extLst>
              <c:ext xmlns:c16="http://schemas.microsoft.com/office/drawing/2014/chart" uri="{C3380CC4-5D6E-409C-BE32-E72D297353CC}">
                <c16:uniqueId val="{00000001-F647-4CF5-B77E-B81BAF91ABA3}"/>
              </c:ext>
            </c:extLst>
          </c:dPt>
          <c:cat>
            <c:strRef>
              <c:f>Sheet1!$A$2:$A$3</c:f>
              <c:strCache>
                <c:ptCount val="2"/>
                <c:pt idx="0">
                  <c:v>1st Qtr</c:v>
                </c:pt>
                <c:pt idx="1">
                  <c:v>2nd Qtr</c:v>
                </c:pt>
              </c:strCache>
            </c:strRef>
          </c:cat>
          <c:val>
            <c:numRef>
              <c:f>Sheet1!$B$2:$B$3</c:f>
              <c:numCache>
                <c:formatCode>0</c:formatCode>
                <c:ptCount val="2"/>
                <c:pt idx="0">
                  <c:v>36</c:v>
                </c:pt>
                <c:pt idx="1">
                  <c:v>64</c:v>
                </c:pt>
              </c:numCache>
            </c:numRef>
          </c:val>
          <c:extLst>
            <c:ext xmlns:c16="http://schemas.microsoft.com/office/drawing/2014/chart" uri="{C3380CC4-5D6E-409C-BE32-E72D297353CC}">
              <c16:uniqueId val="{00000000-F647-4CF5-B77E-B81BAF91ABA3}"/>
            </c:ext>
          </c:extLst>
        </c:ser>
        <c:dLbls>
          <c:showLegendKey val="0"/>
          <c:showVal val="0"/>
          <c:showCatName val="0"/>
          <c:showSerName val="0"/>
          <c:showPercent val="0"/>
          <c:showBubbleSize val="0"/>
          <c:showLeaderLines val="1"/>
        </c:dLbls>
        <c:firstSliceAng val="0"/>
        <c:holeSize val="68"/>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841D5E"/>
              </a:solidFill>
              <a:ln w="19050">
                <a:noFill/>
              </a:ln>
              <a:effectLst/>
            </c:spPr>
            <c:extLst>
              <c:ext xmlns:c16="http://schemas.microsoft.com/office/drawing/2014/chart" uri="{C3380CC4-5D6E-409C-BE32-E72D297353CC}">
                <c16:uniqueId val="{00000001-8936-44DE-8635-27F647CC8DE9}"/>
              </c:ext>
            </c:extLst>
          </c:dPt>
          <c:dPt>
            <c:idx val="1"/>
            <c:bubble3D val="0"/>
            <c:spPr>
              <a:noFill/>
              <a:ln w="19050">
                <a:noFill/>
              </a:ln>
              <a:effectLst/>
            </c:spPr>
            <c:extLst>
              <c:ext xmlns:c16="http://schemas.microsoft.com/office/drawing/2014/chart" uri="{C3380CC4-5D6E-409C-BE32-E72D297353CC}">
                <c16:uniqueId val="{00000001-F647-4CF5-B77E-B81BAF91ABA3}"/>
              </c:ext>
            </c:extLst>
          </c:dPt>
          <c:cat>
            <c:strRef>
              <c:f>Sheet1!$A$2:$A$3</c:f>
              <c:strCache>
                <c:ptCount val="2"/>
                <c:pt idx="0">
                  <c:v>1st Qtr</c:v>
                </c:pt>
                <c:pt idx="1">
                  <c:v>2nd Qtr</c:v>
                </c:pt>
              </c:strCache>
            </c:strRef>
          </c:cat>
          <c:val>
            <c:numRef>
              <c:f>Sheet1!$B$2:$B$3</c:f>
              <c:numCache>
                <c:formatCode>0</c:formatCode>
                <c:ptCount val="2"/>
                <c:pt idx="0">
                  <c:v>15</c:v>
                </c:pt>
                <c:pt idx="1">
                  <c:v>85</c:v>
                </c:pt>
              </c:numCache>
            </c:numRef>
          </c:val>
          <c:extLst>
            <c:ext xmlns:c16="http://schemas.microsoft.com/office/drawing/2014/chart" uri="{C3380CC4-5D6E-409C-BE32-E72D297353CC}">
              <c16:uniqueId val="{00000000-F647-4CF5-B77E-B81BAF91ABA3}"/>
            </c:ext>
          </c:extLst>
        </c:ser>
        <c:dLbls>
          <c:showLegendKey val="0"/>
          <c:showVal val="0"/>
          <c:showCatName val="0"/>
          <c:showSerName val="0"/>
          <c:showPercent val="0"/>
          <c:showBubbleSize val="0"/>
          <c:showLeaderLines val="1"/>
        </c:dLbls>
        <c:firstSliceAng val="0"/>
        <c:holeSize val="68"/>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4868"/>
              </a:solidFill>
              <a:ln w="19050">
                <a:noFill/>
              </a:ln>
              <a:effectLst/>
            </c:spPr>
            <c:extLst>
              <c:ext xmlns:c16="http://schemas.microsoft.com/office/drawing/2014/chart" uri="{C3380CC4-5D6E-409C-BE32-E72D297353CC}">
                <c16:uniqueId val="{00000001-F2FC-4981-9030-352F164E6EFC}"/>
              </c:ext>
            </c:extLst>
          </c:dPt>
          <c:dPt>
            <c:idx val="1"/>
            <c:bubble3D val="0"/>
            <c:spPr>
              <a:noFill/>
              <a:ln w="19050">
                <a:noFill/>
              </a:ln>
              <a:effectLst/>
            </c:spPr>
            <c:extLst>
              <c:ext xmlns:c16="http://schemas.microsoft.com/office/drawing/2014/chart" uri="{C3380CC4-5D6E-409C-BE32-E72D297353CC}">
                <c16:uniqueId val="{00000001-F647-4CF5-B77E-B81BAF91ABA3}"/>
              </c:ext>
            </c:extLst>
          </c:dPt>
          <c:cat>
            <c:strRef>
              <c:f>Sheet1!$A$2:$A$3</c:f>
              <c:strCache>
                <c:ptCount val="2"/>
                <c:pt idx="0">
                  <c:v>1st Qtr</c:v>
                </c:pt>
                <c:pt idx="1">
                  <c:v>2nd Qtr</c:v>
                </c:pt>
              </c:strCache>
            </c:strRef>
          </c:cat>
          <c:val>
            <c:numRef>
              <c:f>Sheet1!$B$2:$B$3</c:f>
              <c:numCache>
                <c:formatCode>0</c:formatCode>
                <c:ptCount val="2"/>
                <c:pt idx="0">
                  <c:v>48</c:v>
                </c:pt>
                <c:pt idx="1">
                  <c:v>52</c:v>
                </c:pt>
              </c:numCache>
            </c:numRef>
          </c:val>
          <c:extLst>
            <c:ext xmlns:c16="http://schemas.microsoft.com/office/drawing/2014/chart" uri="{C3380CC4-5D6E-409C-BE32-E72D297353CC}">
              <c16:uniqueId val="{00000000-F647-4CF5-B77E-B81BAF91ABA3}"/>
            </c:ext>
          </c:extLst>
        </c:ser>
        <c:dLbls>
          <c:showLegendKey val="0"/>
          <c:showVal val="0"/>
          <c:showCatName val="0"/>
          <c:showSerName val="0"/>
          <c:showPercent val="0"/>
          <c:showBubbleSize val="0"/>
          <c:showLeaderLines val="1"/>
        </c:dLbls>
        <c:firstSliceAng val="0"/>
        <c:holeSize val="68"/>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FF4A37"/>
              </a:solidFill>
              <a:ln w="19050">
                <a:noFill/>
              </a:ln>
              <a:effectLst/>
            </c:spPr>
            <c:extLst>
              <c:ext xmlns:c16="http://schemas.microsoft.com/office/drawing/2014/chart" uri="{C3380CC4-5D6E-409C-BE32-E72D297353CC}">
                <c16:uniqueId val="{00000001-F2FC-4981-9030-352F164E6EFC}"/>
              </c:ext>
            </c:extLst>
          </c:dPt>
          <c:dPt>
            <c:idx val="1"/>
            <c:bubble3D val="0"/>
            <c:spPr>
              <a:noFill/>
              <a:ln w="19050">
                <a:noFill/>
              </a:ln>
              <a:effectLst/>
            </c:spPr>
            <c:extLst>
              <c:ext xmlns:c16="http://schemas.microsoft.com/office/drawing/2014/chart" uri="{C3380CC4-5D6E-409C-BE32-E72D297353CC}">
                <c16:uniqueId val="{00000001-F647-4CF5-B77E-B81BAF91ABA3}"/>
              </c:ext>
            </c:extLst>
          </c:dPt>
          <c:cat>
            <c:strRef>
              <c:f>Sheet1!$A$2:$A$3</c:f>
              <c:strCache>
                <c:ptCount val="2"/>
                <c:pt idx="0">
                  <c:v>1st Qtr</c:v>
                </c:pt>
                <c:pt idx="1">
                  <c:v>2nd Qtr</c:v>
                </c:pt>
              </c:strCache>
            </c:strRef>
          </c:cat>
          <c:val>
            <c:numRef>
              <c:f>Sheet1!$B$2:$B$3</c:f>
              <c:numCache>
                <c:formatCode>0</c:formatCode>
                <c:ptCount val="2"/>
                <c:pt idx="0">
                  <c:v>17</c:v>
                </c:pt>
                <c:pt idx="1">
                  <c:v>52</c:v>
                </c:pt>
              </c:numCache>
            </c:numRef>
          </c:val>
          <c:extLst>
            <c:ext xmlns:c16="http://schemas.microsoft.com/office/drawing/2014/chart" uri="{C3380CC4-5D6E-409C-BE32-E72D297353CC}">
              <c16:uniqueId val="{00000000-F647-4CF5-B77E-B81BAF91ABA3}"/>
            </c:ext>
          </c:extLst>
        </c:ser>
        <c:dLbls>
          <c:showLegendKey val="0"/>
          <c:showVal val="0"/>
          <c:showCatName val="0"/>
          <c:showSerName val="0"/>
          <c:showPercent val="0"/>
          <c:showBubbleSize val="0"/>
          <c:showLeaderLines val="1"/>
        </c:dLbls>
        <c:firstSliceAng val="0"/>
        <c:holeSize val="68"/>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tx2">
                  <a:lumMod val="50000"/>
                </a:schemeClr>
              </a:solidFill>
              <a:ln w="19050">
                <a:noFill/>
              </a:ln>
              <a:effectLst/>
            </c:spPr>
            <c:extLst>
              <c:ext xmlns:c16="http://schemas.microsoft.com/office/drawing/2014/chart" uri="{C3380CC4-5D6E-409C-BE32-E72D297353CC}">
                <c16:uniqueId val="{00000002-F647-4CF5-B77E-B81BAF91ABA3}"/>
              </c:ext>
            </c:extLst>
          </c:dPt>
          <c:dPt>
            <c:idx val="1"/>
            <c:bubble3D val="0"/>
            <c:spPr>
              <a:noFill/>
              <a:ln w="19050">
                <a:noFill/>
              </a:ln>
              <a:effectLst/>
            </c:spPr>
            <c:extLst>
              <c:ext xmlns:c16="http://schemas.microsoft.com/office/drawing/2014/chart" uri="{C3380CC4-5D6E-409C-BE32-E72D297353CC}">
                <c16:uniqueId val="{00000001-F647-4CF5-B77E-B81BAF91ABA3}"/>
              </c:ext>
            </c:extLst>
          </c:dPt>
          <c:cat>
            <c:strRef>
              <c:f>Sheet1!$A$2:$A$3</c:f>
              <c:strCache>
                <c:ptCount val="2"/>
                <c:pt idx="0">
                  <c:v>1st Qtr</c:v>
                </c:pt>
                <c:pt idx="1">
                  <c:v>2nd Qtr</c:v>
                </c:pt>
              </c:strCache>
            </c:strRef>
          </c:cat>
          <c:val>
            <c:numRef>
              <c:f>Sheet1!$B$2:$B$3</c:f>
              <c:numCache>
                <c:formatCode>0</c:formatCode>
                <c:ptCount val="2"/>
                <c:pt idx="0">
                  <c:v>66</c:v>
                </c:pt>
                <c:pt idx="1">
                  <c:v>34</c:v>
                </c:pt>
              </c:numCache>
            </c:numRef>
          </c:val>
          <c:extLst>
            <c:ext xmlns:c16="http://schemas.microsoft.com/office/drawing/2014/chart" uri="{C3380CC4-5D6E-409C-BE32-E72D297353CC}">
              <c16:uniqueId val="{00000000-F647-4CF5-B77E-B81BAF91ABA3}"/>
            </c:ext>
          </c:extLst>
        </c:ser>
        <c:dLbls>
          <c:showLegendKey val="0"/>
          <c:showVal val="0"/>
          <c:showCatName val="0"/>
          <c:showSerName val="0"/>
          <c:showPercent val="0"/>
          <c:showBubbleSize val="0"/>
          <c:showLeaderLines val="1"/>
        </c:dLbls>
        <c:firstSliceAng val="0"/>
        <c:holeSize val="68"/>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7CB4"/>
              </a:solidFill>
              <a:ln w="19050">
                <a:noFill/>
              </a:ln>
              <a:effectLst/>
            </c:spPr>
            <c:extLst>
              <c:ext xmlns:c16="http://schemas.microsoft.com/office/drawing/2014/chart" uri="{C3380CC4-5D6E-409C-BE32-E72D297353CC}">
                <c16:uniqueId val="{00000002-F647-4CF5-B77E-B81BAF91ABA3}"/>
              </c:ext>
            </c:extLst>
          </c:dPt>
          <c:dPt>
            <c:idx val="1"/>
            <c:bubble3D val="0"/>
            <c:spPr>
              <a:noFill/>
              <a:ln w="19050">
                <a:noFill/>
              </a:ln>
              <a:effectLst/>
            </c:spPr>
            <c:extLst>
              <c:ext xmlns:c16="http://schemas.microsoft.com/office/drawing/2014/chart" uri="{C3380CC4-5D6E-409C-BE32-E72D297353CC}">
                <c16:uniqueId val="{00000001-F647-4CF5-B77E-B81BAF91ABA3}"/>
              </c:ext>
            </c:extLst>
          </c:dPt>
          <c:cat>
            <c:strRef>
              <c:f>Sheet1!$A$2:$A$3</c:f>
              <c:strCache>
                <c:ptCount val="2"/>
                <c:pt idx="0">
                  <c:v>1st Qtr</c:v>
                </c:pt>
                <c:pt idx="1">
                  <c:v>2nd Qtr</c:v>
                </c:pt>
              </c:strCache>
            </c:strRef>
          </c:cat>
          <c:val>
            <c:numRef>
              <c:f>Sheet1!$B$2:$B$3</c:f>
              <c:numCache>
                <c:formatCode>0</c:formatCode>
                <c:ptCount val="2"/>
                <c:pt idx="0">
                  <c:v>85</c:v>
                </c:pt>
                <c:pt idx="1">
                  <c:v>37</c:v>
                </c:pt>
              </c:numCache>
            </c:numRef>
          </c:val>
          <c:extLst>
            <c:ext xmlns:c16="http://schemas.microsoft.com/office/drawing/2014/chart" uri="{C3380CC4-5D6E-409C-BE32-E72D297353CC}">
              <c16:uniqueId val="{00000000-F647-4CF5-B77E-B81BAF91ABA3}"/>
            </c:ext>
          </c:extLst>
        </c:ser>
        <c:dLbls>
          <c:showLegendKey val="0"/>
          <c:showVal val="0"/>
          <c:showCatName val="0"/>
          <c:showSerName val="0"/>
          <c:showPercent val="0"/>
          <c:showBubbleSize val="0"/>
          <c:showLeaderLines val="1"/>
        </c:dLbls>
        <c:firstSliceAng val="0"/>
        <c:holeSize val="68"/>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4"/>
            </a:solidFill>
            <a:ln>
              <a:noFill/>
            </a:ln>
            <a:effectLst/>
            <a:scene3d>
              <a:camera prst="orthographicFront"/>
              <a:lightRig rig="threePt" dir="t"/>
            </a:scene3d>
            <a:sp3d/>
          </c:spPr>
          <c:invertIfNegative val="0"/>
          <c:dLbls>
            <c:dLbl>
              <c:idx val="4"/>
              <c:tx>
                <c:rich>
                  <a:bodyPr/>
                  <a:lstStyle/>
                  <a:p>
                    <a:r>
                      <a:rPr lang="en-US"/>
                      <a:t>N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39A-4009-8725-088A1BC52E0D}"/>
                </c:ext>
              </c:extLst>
            </c:dLbl>
            <c:spPr>
              <a:noFill/>
              <a:ln>
                <a:noFill/>
              </a:ln>
              <a:effectLst/>
            </c:spPr>
            <c:txPr>
              <a:bodyPr rot="0" spcFirstLastPara="1" vertOverflow="ellipsis" vert="horz" wrap="square" anchor="ctr" anchorCtr="1"/>
              <a:lstStyle/>
              <a:p>
                <a:pPr>
                  <a:defRPr sz="1197" b="1" i="0" u="none" strike="noStrike" kern="1200" baseline="0">
                    <a:solidFill>
                      <a:srgbClr val="054E8F"/>
                    </a:solidFill>
                    <a:latin typeface="Arial "/>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Without BM</c:v>
                </c:pt>
                <c:pt idx="1">
                  <c:v>History of brain metatsases</c:v>
                </c:pt>
                <c:pt idx="3">
                  <c:v>Liver</c:v>
                </c:pt>
                <c:pt idx="4">
                  <c:v>TP53 co-mutations</c:v>
                </c:pt>
                <c:pt idx="6">
                  <c:v>cDNA</c:v>
                </c:pt>
              </c:strCache>
            </c:strRef>
          </c:cat>
          <c:val>
            <c:numRef>
              <c:f>Sheet1!$B$2:$B$9</c:f>
              <c:numCache>
                <c:formatCode>General</c:formatCode>
                <c:ptCount val="8"/>
                <c:pt idx="0">
                  <c:v>27.6</c:v>
                </c:pt>
                <c:pt idx="1">
                  <c:v>24.9</c:v>
                </c:pt>
                <c:pt idx="2">
                  <c:v>27.6</c:v>
                </c:pt>
                <c:pt idx="3">
                  <c:v>19.5</c:v>
                </c:pt>
                <c:pt idx="4">
                  <c:v>0</c:v>
                </c:pt>
                <c:pt idx="5">
                  <c:v>27.6</c:v>
                </c:pt>
                <c:pt idx="6">
                  <c:v>33.299999999999997</c:v>
                </c:pt>
                <c:pt idx="7">
                  <c:v>24.8</c:v>
                </c:pt>
              </c:numCache>
            </c:numRef>
          </c:val>
          <c:extLst>
            <c:ext xmlns:c16="http://schemas.microsoft.com/office/drawing/2014/chart" uri="{C3380CC4-5D6E-409C-BE32-E72D297353CC}">
              <c16:uniqueId val="{00000000-80E4-4A39-BF6D-1DF56BC70129}"/>
            </c:ext>
          </c:extLst>
        </c:ser>
        <c:ser>
          <c:idx val="1"/>
          <c:order val="1"/>
          <c:tx>
            <c:strRef>
              <c:f>Sheet1!$C$1</c:f>
              <c:strCache>
                <c:ptCount val="1"/>
                <c:pt idx="0">
                  <c:v>Series 2</c:v>
                </c:pt>
              </c:strCache>
            </c:strRef>
          </c:tx>
          <c:spPr>
            <a:solidFill>
              <a:schemeClr val="accent6"/>
            </a:solidFill>
            <a:ln>
              <a:noFill/>
            </a:ln>
            <a:effectLst/>
            <a:scene3d>
              <a:camera prst="orthographicFront"/>
              <a:lightRig rig="threePt" dir="t"/>
            </a:scene3d>
            <a:sp3d/>
          </c:spPr>
          <c:invertIfNegative val="0"/>
          <c:dLbls>
            <c:dLbl>
              <c:idx val="0"/>
              <c:tx>
                <c:rich>
                  <a:bodyPr/>
                  <a:lstStyle/>
                  <a:p>
                    <a:fld id="{7BA4430C-28AD-4343-85DE-FAAF7182D584}"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0E4-4A39-BF6D-1DF56BC70129}"/>
                </c:ext>
              </c:extLst>
            </c:dLbl>
            <c:dLbl>
              <c:idx val="1"/>
              <c:tx>
                <c:rich>
                  <a:bodyPr/>
                  <a:lstStyle/>
                  <a:p>
                    <a:r>
                      <a:rPr lang="en-US"/>
                      <a:t>13.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6F4-4C42-9E7F-85A9010F5D73}"/>
                </c:ext>
              </c:extLst>
            </c:dLbl>
            <c:dLbl>
              <c:idx val="4"/>
              <c:tx>
                <c:rich>
                  <a:bodyPr/>
                  <a:lstStyle/>
                  <a:p>
                    <a:r>
                      <a:rPr lang="en-US"/>
                      <a:t>N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39A-4009-8725-088A1BC52E0D}"/>
                </c:ext>
              </c:extLst>
            </c:dLbl>
            <c:spPr>
              <a:noFill/>
              <a:ln>
                <a:noFill/>
              </a:ln>
              <a:effectLst/>
            </c:spPr>
            <c:txPr>
              <a:bodyPr rot="0" spcFirstLastPara="1" vertOverflow="ellipsis" vert="horz" wrap="square" anchor="ctr" anchorCtr="1"/>
              <a:lstStyle/>
              <a:p>
                <a:pPr>
                  <a:defRPr sz="1197" b="1" i="0" u="none" strike="noStrike" kern="1200" baseline="0">
                    <a:solidFill>
                      <a:srgbClr val="5C1F8A"/>
                    </a:solidFill>
                    <a:latin typeface="Arial "/>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Without BM</c:v>
                </c:pt>
                <c:pt idx="1">
                  <c:v>History of brain metatsases</c:v>
                </c:pt>
                <c:pt idx="3">
                  <c:v>Liver</c:v>
                </c:pt>
                <c:pt idx="4">
                  <c:v>TP53 co-mutations</c:v>
                </c:pt>
                <c:pt idx="6">
                  <c:v>cDNA</c:v>
                </c:pt>
              </c:strCache>
            </c:strRef>
          </c:cat>
          <c:val>
            <c:numRef>
              <c:f>Sheet1!$C$2:$C$9</c:f>
              <c:numCache>
                <c:formatCode>General</c:formatCode>
                <c:ptCount val="8"/>
                <c:pt idx="0">
                  <c:v>21</c:v>
                </c:pt>
                <c:pt idx="1">
                  <c:v>13.8</c:v>
                </c:pt>
                <c:pt idx="2">
                  <c:v>19.399999999999999</c:v>
                </c:pt>
                <c:pt idx="3">
                  <c:v>11.1</c:v>
                </c:pt>
                <c:pt idx="4">
                  <c:v>0</c:v>
                </c:pt>
                <c:pt idx="5">
                  <c:v>27.6</c:v>
                </c:pt>
                <c:pt idx="6">
                  <c:v>30.3</c:v>
                </c:pt>
                <c:pt idx="7">
                  <c:v>13.9</c:v>
                </c:pt>
              </c:numCache>
            </c:numRef>
          </c:val>
          <c:extLst>
            <c:ext xmlns:c16="http://schemas.microsoft.com/office/drawing/2014/chart" uri="{C3380CC4-5D6E-409C-BE32-E72D297353CC}">
              <c16:uniqueId val="{00000002-80E4-4A39-BF6D-1DF56BC70129}"/>
            </c:ext>
          </c:extLst>
        </c:ser>
        <c:dLbls>
          <c:showLegendKey val="0"/>
          <c:showVal val="0"/>
          <c:showCatName val="0"/>
          <c:showSerName val="0"/>
          <c:showPercent val="0"/>
          <c:showBubbleSize val="0"/>
        </c:dLbls>
        <c:gapWidth val="219"/>
        <c:overlap val="-26"/>
        <c:axId val="1011800992"/>
        <c:axId val="1011814912"/>
      </c:barChart>
      <c:catAx>
        <c:axId val="1011800992"/>
        <c:scaling>
          <c:orientation val="minMax"/>
        </c:scaling>
        <c:delete val="1"/>
        <c:axPos val="b"/>
        <c:numFmt formatCode="General" sourceLinked="1"/>
        <c:majorTickMark val="none"/>
        <c:minorTickMark val="none"/>
        <c:tickLblPos val="nextTo"/>
        <c:crossAx val="1011814912"/>
        <c:crosses val="autoZero"/>
        <c:auto val="1"/>
        <c:lblAlgn val="ctr"/>
        <c:lblOffset val="100"/>
        <c:noMultiLvlLbl val="0"/>
      </c:catAx>
      <c:valAx>
        <c:axId val="1011814912"/>
        <c:scaling>
          <c:orientation val="minMax"/>
        </c:scaling>
        <c:delete val="1"/>
        <c:axPos val="l"/>
        <c:numFmt formatCode="General" sourceLinked="1"/>
        <c:majorTickMark val="none"/>
        <c:minorTickMark val="none"/>
        <c:tickLblPos val="nextTo"/>
        <c:crossAx val="101180099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877630998604511"/>
          <c:y val="3.1291924115684412E-2"/>
          <c:w val="0.5875536563439212"/>
          <c:h val="0.86269458634188956"/>
        </c:manualLayout>
      </c:layout>
      <c:barChart>
        <c:barDir val="bar"/>
        <c:grouping val="stacked"/>
        <c:varyColors val="0"/>
        <c:ser>
          <c:idx val="0"/>
          <c:order val="0"/>
          <c:tx>
            <c:strRef>
              <c:f>Sheet1!$B$1</c:f>
              <c:strCache>
                <c:ptCount val="1"/>
                <c:pt idx="0">
                  <c:v>Crade 1-2</c:v>
                </c:pt>
              </c:strCache>
            </c:strRef>
          </c:tx>
          <c:spPr>
            <a:solidFill>
              <a:srgbClr val="541980">
                <a:lumMod val="60000"/>
                <a:lumOff val="40000"/>
              </a:srgbClr>
            </a:solidFill>
            <a:ln>
              <a:noFill/>
            </a:ln>
            <a:effectLst/>
          </c:spPr>
          <c:invertIfNegative val="0"/>
          <c:dLbls>
            <c:dLbl>
              <c:idx val="0"/>
              <c:tx>
                <c:rich>
                  <a:bodyPr/>
                  <a:lstStyle/>
                  <a:p>
                    <a:fld id="{8A4AA879-FAB1-4DB7-80CA-097AC21CE0C5}"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7A8B-407F-862A-2FB13C39AD2E}"/>
                </c:ext>
              </c:extLst>
            </c:dLbl>
            <c:dLbl>
              <c:idx val="1"/>
              <c:tx>
                <c:rich>
                  <a:bodyPr/>
                  <a:lstStyle/>
                  <a:p>
                    <a:fld id="{2274B4EF-6265-4868-B1EB-08D3D507E18A}"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7A8B-407F-862A-2FB13C39AD2E}"/>
                </c:ext>
              </c:extLst>
            </c:dLbl>
            <c:dLbl>
              <c:idx val="2"/>
              <c:tx>
                <c:rich>
                  <a:bodyPr/>
                  <a:lstStyle/>
                  <a:p>
                    <a:fld id="{AFD043DB-9558-45C8-BB6D-ED1E1B4FA47D}"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7A8B-407F-862A-2FB13C39AD2E}"/>
                </c:ext>
              </c:extLst>
            </c:dLbl>
            <c:dLbl>
              <c:idx val="3"/>
              <c:tx>
                <c:rich>
                  <a:bodyPr/>
                  <a:lstStyle/>
                  <a:p>
                    <a:fld id="{849C0AF9-451F-496C-B8B9-ADDF8BA9EACC}"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7A8B-407F-862A-2FB13C39AD2E}"/>
                </c:ext>
              </c:extLst>
            </c:dLbl>
            <c:dLbl>
              <c:idx val="4"/>
              <c:tx>
                <c:rich>
                  <a:bodyPr/>
                  <a:lstStyle/>
                  <a:p>
                    <a:fld id="{CF03F164-041F-486F-9896-939F9A6202EB}"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7A8B-407F-862A-2FB13C39AD2E}"/>
                </c:ext>
              </c:extLst>
            </c:dLbl>
            <c:dLbl>
              <c:idx val="5"/>
              <c:tx>
                <c:rich>
                  <a:bodyPr/>
                  <a:lstStyle/>
                  <a:p>
                    <a:fld id="{276FF550-A0B9-4E3A-AB86-B8FFD5FF63DA}"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7A8B-407F-862A-2FB13C39AD2E}"/>
                </c:ext>
              </c:extLst>
            </c:dLbl>
            <c:dLbl>
              <c:idx val="6"/>
              <c:tx>
                <c:rich>
                  <a:bodyPr/>
                  <a:lstStyle/>
                  <a:p>
                    <a:fld id="{FDAD76B3-1FD9-489E-9A16-DEE8CF79D43E}"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7A8B-407F-862A-2FB13C39AD2E}"/>
                </c:ext>
              </c:extLst>
            </c:dLbl>
            <c:dLbl>
              <c:idx val="7"/>
              <c:tx>
                <c:rich>
                  <a:bodyPr/>
                  <a:lstStyle/>
                  <a:p>
                    <a:fld id="{F6465F31-291E-4967-8509-1353958D06E9}"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7A8B-407F-862A-2FB13C39AD2E}"/>
                </c:ext>
              </c:extLst>
            </c:dLbl>
            <c:dLbl>
              <c:idx val="8"/>
              <c:tx>
                <c:rich>
                  <a:bodyPr/>
                  <a:lstStyle/>
                  <a:p>
                    <a:fld id="{A60F7FF5-2119-4229-AFA5-A15296355B25}"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9-7A8B-407F-862A-2FB13C39AD2E}"/>
                </c:ext>
              </c:extLst>
            </c:dLbl>
            <c:dLbl>
              <c:idx val="9"/>
              <c:tx>
                <c:rich>
                  <a:bodyPr/>
                  <a:lstStyle/>
                  <a:p>
                    <a:fld id="{9EA2FDE9-9FE8-414C-BB2D-23178C4E3D14}"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A-7A8B-407F-862A-2FB13C39AD2E}"/>
                </c:ext>
              </c:extLst>
            </c:dLbl>
            <c:dLbl>
              <c:idx val="10"/>
              <c:tx>
                <c:rich>
                  <a:bodyPr/>
                  <a:lstStyle/>
                  <a:p>
                    <a:fld id="{3E635903-3C94-4E70-AE09-3CEFE04AB7D6}"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B-7A8B-407F-862A-2FB13C39AD2E}"/>
                </c:ext>
              </c:extLst>
            </c:dLbl>
            <c:dLbl>
              <c:idx val="11"/>
              <c:tx>
                <c:rich>
                  <a:bodyPr/>
                  <a:lstStyle/>
                  <a:p>
                    <a:fld id="{16D2FC58-3245-4B8B-ADCB-7CBAE397B377}"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C-7A8B-407F-862A-2FB13C39AD2E}"/>
                </c:ext>
              </c:extLst>
            </c:dLbl>
            <c:dLbl>
              <c:idx val="12"/>
              <c:tx>
                <c:rich>
                  <a:bodyPr/>
                  <a:lstStyle/>
                  <a:p>
                    <a:fld id="{46CBE7BC-84BA-4FC9-BA78-56FEF4CC0436}"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7A8B-407F-862A-2FB13C39AD2E}"/>
                </c:ext>
              </c:extLst>
            </c:dLbl>
            <c:dLbl>
              <c:idx val="13"/>
              <c:tx>
                <c:rich>
                  <a:bodyPr/>
                  <a:lstStyle/>
                  <a:p>
                    <a:fld id="{F59366CC-B0CC-4686-A1FE-278B1363326B}"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E-7A8B-407F-862A-2FB13C39AD2E}"/>
                </c:ext>
              </c:extLst>
            </c:dLbl>
            <c:dLbl>
              <c:idx val="14"/>
              <c:tx>
                <c:rich>
                  <a:bodyPr/>
                  <a:lstStyle/>
                  <a:p>
                    <a:fld id="{F62F34A0-2042-4E17-B87F-F1582FDE7C37}"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7A8B-407F-862A-2FB13C39AD2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Dry skin</c:v>
                </c:pt>
                <c:pt idx="1">
                  <c:v>ALT increase</c:v>
                </c:pt>
                <c:pt idx="2">
                  <c:v>Neutrophil count decreased</c:v>
                </c:pt>
                <c:pt idx="3">
                  <c:v>Neutropenia</c:v>
                </c:pt>
                <c:pt idx="4">
                  <c:v>Paronychia</c:v>
                </c:pt>
                <c:pt idx="5">
                  <c:v>Stomatitis</c:v>
                </c:pt>
                <c:pt idx="6">
                  <c:v>COVID-19</c:v>
                </c:pt>
                <c:pt idx="7">
                  <c:v>Vomiting</c:v>
                </c:pt>
                <c:pt idx="8">
                  <c:v>Fatigue</c:v>
                </c:pt>
                <c:pt idx="9">
                  <c:v>Rash</c:v>
                </c:pt>
                <c:pt idx="10">
                  <c:v>Constipation</c:v>
                </c:pt>
                <c:pt idx="11">
                  <c:v>Decreased appetite</c:v>
                </c:pt>
                <c:pt idx="12">
                  <c:v>Nausea</c:v>
                </c:pt>
                <c:pt idx="13">
                  <c:v>Diarrhoea</c:v>
                </c:pt>
                <c:pt idx="14">
                  <c:v>Anaemia</c:v>
                </c:pt>
              </c:strCache>
            </c:strRef>
          </c:cat>
          <c:val>
            <c:numRef>
              <c:f>Sheet1!$B$2:$B$16</c:f>
              <c:numCache>
                <c:formatCode>General</c:formatCode>
                <c:ptCount val="15"/>
                <c:pt idx="0">
                  <c:v>25</c:v>
                </c:pt>
                <c:pt idx="1">
                  <c:v>8</c:v>
                </c:pt>
                <c:pt idx="2">
                  <c:v>6</c:v>
                </c:pt>
                <c:pt idx="3">
                  <c:v>3</c:v>
                </c:pt>
                <c:pt idx="4">
                  <c:v>27</c:v>
                </c:pt>
                <c:pt idx="5">
                  <c:v>18</c:v>
                </c:pt>
                <c:pt idx="6">
                  <c:v>17</c:v>
                </c:pt>
                <c:pt idx="7">
                  <c:v>7</c:v>
                </c:pt>
                <c:pt idx="8">
                  <c:v>11</c:v>
                </c:pt>
                <c:pt idx="9">
                  <c:v>22</c:v>
                </c:pt>
                <c:pt idx="10">
                  <c:v>11</c:v>
                </c:pt>
                <c:pt idx="11">
                  <c:v>10</c:v>
                </c:pt>
                <c:pt idx="12">
                  <c:v>12</c:v>
                </c:pt>
                <c:pt idx="13">
                  <c:v>42</c:v>
                </c:pt>
                <c:pt idx="14">
                  <c:v>10</c:v>
                </c:pt>
              </c:numCache>
            </c:numRef>
          </c:val>
          <c:extLst>
            <c:ext xmlns:c16="http://schemas.microsoft.com/office/drawing/2014/chart" uri="{C3380CC4-5D6E-409C-BE32-E72D297353CC}">
              <c16:uniqueId val="{00000000-7A8B-407F-862A-2FB13C39AD2E}"/>
            </c:ext>
          </c:extLst>
        </c:ser>
        <c:ser>
          <c:idx val="1"/>
          <c:order val="1"/>
          <c:tx>
            <c:strRef>
              <c:f>Sheet1!$C$1</c:f>
              <c:strCache>
                <c:ptCount val="1"/>
                <c:pt idx="0">
                  <c:v>Grade 3</c:v>
                </c:pt>
              </c:strCache>
            </c:strRef>
          </c:tx>
          <c:spPr>
            <a:solidFill>
              <a:srgbClr val="54198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A8B-407F-862A-2FB13C39AD2E}"/>
                </c:ext>
              </c:extLst>
            </c:dLbl>
            <c:dLbl>
              <c:idx val="1"/>
              <c:layout>
                <c:manualLayout>
                  <c:x val="2.3670227140990621E-2"/>
                  <c:y val="-9.5493427961319434E-17"/>
                </c:manualLayout>
              </c:layout>
              <c:tx>
                <c:rich>
                  <a:bodyPr/>
                  <a:lstStyle/>
                  <a:p>
                    <a:fld id="{642D242F-DF0A-4FE8-84D9-67881D53DF07}"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A8B-407F-862A-2FB13C39AD2E}"/>
                </c:ext>
              </c:extLst>
            </c:dLbl>
            <c:dLbl>
              <c:idx val="2"/>
              <c:layout>
                <c:manualLayout>
                  <c:x val="2.7581010695463877E-2"/>
                  <c:y val="5.8310376492194671E-3"/>
                </c:manualLayout>
              </c:layout>
              <c:tx>
                <c:rich>
                  <a:bodyPr/>
                  <a:lstStyle/>
                  <a:p>
                    <a:fld id="{556DFFF3-4A6F-41CD-A407-9AB75CB7D943}"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A8B-407F-862A-2FB13C39AD2E}"/>
                </c:ext>
              </c:extLst>
            </c:dLbl>
            <c:dLbl>
              <c:idx val="3"/>
              <c:layout>
                <c:manualLayout>
                  <c:x val="2.3670227140990558E-2"/>
                  <c:y val="-9.5493427961319434E-17"/>
                </c:manualLayout>
              </c:layout>
              <c:tx>
                <c:rich>
                  <a:bodyPr/>
                  <a:lstStyle/>
                  <a:p>
                    <a:fld id="{40441682-F305-45D8-81FA-5742534A80ED}" type="VALUE">
                      <a:rPr lang="en-US">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A8B-407F-862A-2FB13C39AD2E}"/>
                </c:ext>
              </c:extLst>
            </c:dLbl>
            <c:dLbl>
              <c:idx val="4"/>
              <c:layout>
                <c:manualLayout>
                  <c:x val="2.2865424856503721E-2"/>
                  <c:y val="0"/>
                </c:manualLayout>
              </c:layout>
              <c:tx>
                <c:rich>
                  <a:bodyPr/>
                  <a:lstStyle/>
                  <a:p>
                    <a:r>
                      <a:rPr lang="en-US" dirty="0">
                        <a:latin typeface="Johnson Text (Body)"/>
                      </a:rPr>
                      <a:t>&l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A8B-407F-862A-2FB13C39AD2E}"/>
                </c:ext>
              </c:extLst>
            </c:dLbl>
            <c:dLbl>
              <c:idx val="5"/>
              <c:layout>
                <c:manualLayout>
                  <c:x val="1.8862665755993626E-2"/>
                  <c:y val="0"/>
                </c:manualLayout>
              </c:layout>
              <c:tx>
                <c:rich>
                  <a:bodyPr/>
                  <a:lstStyle/>
                  <a:p>
                    <a:r>
                      <a:rPr lang="en-US" dirty="0">
                        <a:latin typeface="Johnson Text (Body)"/>
                      </a:rPr>
                      <a:t>&lt;</a:t>
                    </a:r>
                    <a:fld id="{BA8E6C7F-4544-4F81-BDD9-FE5E168325DB}" type="VALUE">
                      <a:rPr lang="en-US" smtClean="0">
                        <a:latin typeface="Johnson Text (Body)"/>
                      </a:rPr>
                      <a:pPr/>
                      <a:t>[VALUE]</a:t>
                    </a:fld>
                    <a:endParaRPr lang="en-US" dirty="0">
                      <a:latin typeface="Johnson Text (Body)"/>
                    </a:endParaRP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A8B-407F-862A-2FB13C39AD2E}"/>
                </c:ext>
              </c:extLst>
            </c:dLbl>
            <c:dLbl>
              <c:idx val="6"/>
              <c:delete val="1"/>
              <c:extLst>
                <c:ext xmlns:c15="http://schemas.microsoft.com/office/drawing/2012/chart" uri="{CE6537A1-D6FC-4f65-9D91-7224C49458BB}"/>
                <c:ext xmlns:c16="http://schemas.microsoft.com/office/drawing/2014/chart" uri="{C3380CC4-5D6E-409C-BE32-E72D297353CC}">
                  <c16:uniqueId val="{00000007-7A8B-407F-862A-2FB13C39AD2E}"/>
                </c:ext>
              </c:extLst>
            </c:dLbl>
            <c:dLbl>
              <c:idx val="7"/>
              <c:layout>
                <c:manualLayout>
                  <c:x val="2.1426385062748642E-2"/>
                  <c:y val="0"/>
                </c:manualLayout>
              </c:layout>
              <c:tx>
                <c:rich>
                  <a:bodyPr/>
                  <a:lstStyle/>
                  <a:p>
                    <a:r>
                      <a:rPr lang="en-US" dirty="0">
                        <a:latin typeface="Johnson Text (Body)"/>
                      </a:rPr>
                      <a:t>&lt;</a:t>
                    </a:r>
                    <a:fld id="{931694FD-163C-4F1D-B000-CCE184734417}" type="VALUE">
                      <a:rPr lang="en-US" smtClean="0">
                        <a:latin typeface="Johnson Text (Body)"/>
                      </a:rPr>
                      <a:pPr/>
                      <a:t>[VALUE]</a:t>
                    </a:fld>
                    <a:endParaRPr lang="en-US" dirty="0">
                      <a:latin typeface="Johnson Text (Body)"/>
                    </a:endParaRP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7A8B-407F-862A-2FB13C39AD2E}"/>
                </c:ext>
              </c:extLst>
            </c:dLbl>
            <c:dLbl>
              <c:idx val="8"/>
              <c:layout>
                <c:manualLayout>
                  <c:x val="2.3670227140990683E-2"/>
                  <c:y val="0"/>
                </c:manualLayout>
              </c:layout>
              <c:tx>
                <c:rich>
                  <a:bodyPr/>
                  <a:lstStyle/>
                  <a:p>
                    <a:r>
                      <a:rPr lang="en-US" dirty="0">
                        <a:latin typeface="Johnson Text (Body)"/>
                      </a:rPr>
                      <a:t>&lt;</a:t>
                    </a:r>
                    <a:fld id="{44209CF0-AC8A-4970-9F18-161DA4FDC02F}" type="VALUE">
                      <a:rPr lang="en-US" smtClean="0">
                        <a:latin typeface="Johnson Text (Body)"/>
                      </a:rPr>
                      <a:pPr/>
                      <a:t>[VALUE]</a:t>
                    </a:fld>
                    <a:endParaRPr lang="en-US" dirty="0">
                      <a:latin typeface="Johnson Text (Body)"/>
                    </a:endParaRP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A8B-407F-862A-2FB13C39AD2E}"/>
                </c:ext>
              </c:extLst>
            </c:dLbl>
            <c:dLbl>
              <c:idx val="9"/>
              <c:delete val="1"/>
              <c:extLst>
                <c:ext xmlns:c15="http://schemas.microsoft.com/office/drawing/2012/chart" uri="{CE6537A1-D6FC-4f65-9D91-7224C49458BB}"/>
                <c:ext xmlns:c16="http://schemas.microsoft.com/office/drawing/2014/chart" uri="{C3380CC4-5D6E-409C-BE32-E72D297353CC}">
                  <c16:uniqueId val="{0000000A-7A8B-407F-862A-2FB13C39AD2E}"/>
                </c:ext>
              </c:extLst>
            </c:dLbl>
            <c:dLbl>
              <c:idx val="10"/>
              <c:delete val="1"/>
              <c:extLst>
                <c:ext xmlns:c15="http://schemas.microsoft.com/office/drawing/2012/chart" uri="{CE6537A1-D6FC-4f65-9D91-7224C49458BB}">
                  <c15:layout>
                    <c:manualLayout>
                      <c:w val="5.7856798054621503E-2"/>
                      <c:h val="4.7282917416028733E-2"/>
                    </c:manualLayout>
                  </c15:layout>
                </c:ext>
                <c:ext xmlns:c16="http://schemas.microsoft.com/office/drawing/2014/chart" uri="{C3380CC4-5D6E-409C-BE32-E72D297353CC}">
                  <c16:uniqueId val="{0000000B-7A8B-407F-862A-2FB13C39AD2E}"/>
                </c:ext>
              </c:extLst>
            </c:dLbl>
            <c:dLbl>
              <c:idx val="11"/>
              <c:layout>
                <c:manualLayout>
                  <c:x val="2.4291400733557067E-2"/>
                  <c:y val="2.9155188246097336E-3"/>
                </c:manualLayout>
              </c:layout>
              <c:tx>
                <c:rich>
                  <a:bodyPr/>
                  <a:lstStyle/>
                  <a:p>
                    <a:fld id="{BA7370BE-231F-4192-9C9A-7D6694959242}" type="VALUE">
                      <a:rPr lang="en-US" dirty="0">
                        <a:latin typeface="Johnson Text (Body)"/>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7A8B-407F-862A-2FB13C39AD2E}"/>
                </c:ext>
              </c:extLst>
            </c:dLbl>
            <c:dLbl>
              <c:idx val="12"/>
              <c:delete val="1"/>
              <c:extLst>
                <c:ext xmlns:c15="http://schemas.microsoft.com/office/drawing/2012/chart" uri="{CE6537A1-D6FC-4f65-9D91-7224C49458BB}"/>
                <c:ext xmlns:c16="http://schemas.microsoft.com/office/drawing/2014/chart" uri="{C3380CC4-5D6E-409C-BE32-E72D297353CC}">
                  <c16:uniqueId val="{0000000D-7A8B-407F-862A-2FB13C39AD2E}"/>
                </c:ext>
              </c:extLst>
            </c:dLbl>
            <c:dLbl>
              <c:idx val="13"/>
              <c:layout>
                <c:manualLayout>
                  <c:x val="2.2152436917976973E-2"/>
                  <c:y val="2.9155188246097205E-3"/>
                </c:manualLayout>
              </c:layout>
              <c:tx>
                <c:rich>
                  <a:bodyPr/>
                  <a:lstStyle/>
                  <a:p>
                    <a:r>
                      <a:rPr lang="en-US" dirty="0">
                        <a:latin typeface="Johnson Text (Body)"/>
                      </a:rPr>
                      <a:t>&lt;</a:t>
                    </a:r>
                    <a:fld id="{B51CB463-37C0-4780-9A45-A0617836C25C}" type="VALUE">
                      <a:rPr lang="en-US" smtClean="0">
                        <a:latin typeface="Johnson Text (Body)"/>
                      </a:rPr>
                      <a:pPr/>
                      <a:t>[VALUE]</a:t>
                    </a:fld>
                    <a:endParaRPr lang="en-US" dirty="0">
                      <a:latin typeface="Johnson Text (Body)"/>
                    </a:endParaRP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7A8B-407F-862A-2FB13C39AD2E}"/>
                </c:ext>
              </c:extLst>
            </c:dLbl>
            <c:dLbl>
              <c:idx val="14"/>
              <c:layout>
                <c:manualLayout>
                  <c:x val="1.743668987894028E-2"/>
                  <c:y val="-6.6813201232171039E-18"/>
                </c:manualLayout>
              </c:layout>
              <c:tx>
                <c:rich>
                  <a:bodyPr/>
                  <a:lstStyle/>
                  <a:p>
                    <a:r>
                      <a:rPr lang="en-US" sz="1200" dirty="0">
                        <a:latin typeface="Johnson Text (Body)"/>
                      </a:rPr>
                      <a: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A8B-407F-862A-2FB13C39AD2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Dry skin</c:v>
                </c:pt>
                <c:pt idx="1">
                  <c:v>ALT increase</c:v>
                </c:pt>
                <c:pt idx="2">
                  <c:v>Neutrophil count decreased</c:v>
                </c:pt>
                <c:pt idx="3">
                  <c:v>Neutropenia</c:v>
                </c:pt>
                <c:pt idx="4">
                  <c:v>Paronychia</c:v>
                </c:pt>
                <c:pt idx="5">
                  <c:v>Stomatitis</c:v>
                </c:pt>
                <c:pt idx="6">
                  <c:v>COVID-19</c:v>
                </c:pt>
                <c:pt idx="7">
                  <c:v>Vomiting</c:v>
                </c:pt>
                <c:pt idx="8">
                  <c:v>Fatigue</c:v>
                </c:pt>
                <c:pt idx="9">
                  <c:v>Rash</c:v>
                </c:pt>
                <c:pt idx="10">
                  <c:v>Constipation</c:v>
                </c:pt>
                <c:pt idx="11">
                  <c:v>Decreased appetite</c:v>
                </c:pt>
                <c:pt idx="12">
                  <c:v>Nausea</c:v>
                </c:pt>
                <c:pt idx="13">
                  <c:v>Diarrhoea</c:v>
                </c:pt>
                <c:pt idx="14">
                  <c:v>Anaemia</c:v>
                </c:pt>
              </c:strCache>
            </c:strRef>
          </c:cat>
          <c:val>
            <c:numRef>
              <c:f>Sheet1!$C$2:$C$16</c:f>
              <c:numCache>
                <c:formatCode>General</c:formatCode>
                <c:ptCount val="15"/>
                <c:pt idx="0">
                  <c:v>0</c:v>
                </c:pt>
                <c:pt idx="1">
                  <c:v>1</c:v>
                </c:pt>
                <c:pt idx="2">
                  <c:v>1</c:v>
                </c:pt>
                <c:pt idx="3">
                  <c:v>1</c:v>
                </c:pt>
                <c:pt idx="4">
                  <c:v>1</c:v>
                </c:pt>
                <c:pt idx="5">
                  <c:v>1</c:v>
                </c:pt>
                <c:pt idx="6">
                  <c:v>0</c:v>
                </c:pt>
                <c:pt idx="7">
                  <c:v>1</c:v>
                </c:pt>
                <c:pt idx="8">
                  <c:v>1</c:v>
                </c:pt>
                <c:pt idx="9">
                  <c:v>0</c:v>
                </c:pt>
                <c:pt idx="10">
                  <c:v>0</c:v>
                </c:pt>
                <c:pt idx="11">
                  <c:v>1</c:v>
                </c:pt>
                <c:pt idx="12">
                  <c:v>0</c:v>
                </c:pt>
                <c:pt idx="13">
                  <c:v>1</c:v>
                </c:pt>
                <c:pt idx="14">
                  <c:v>1</c:v>
                </c:pt>
              </c:numCache>
            </c:numRef>
          </c:val>
          <c:extLst>
            <c:ext xmlns:c16="http://schemas.microsoft.com/office/drawing/2014/chart" uri="{C3380CC4-5D6E-409C-BE32-E72D297353CC}">
              <c16:uniqueId val="{00000010-7A8B-407F-862A-2FB13C39AD2E}"/>
            </c:ext>
          </c:extLst>
        </c:ser>
        <c:dLbls>
          <c:dLblPos val="ctr"/>
          <c:showLegendKey val="0"/>
          <c:showVal val="1"/>
          <c:showCatName val="0"/>
          <c:showSerName val="0"/>
          <c:showPercent val="0"/>
          <c:showBubbleSize val="0"/>
        </c:dLbls>
        <c:gapWidth val="30"/>
        <c:overlap val="100"/>
        <c:axId val="638255872"/>
        <c:axId val="638255512"/>
      </c:barChart>
      <c:catAx>
        <c:axId val="638255872"/>
        <c:scaling>
          <c:orientation val="minMax"/>
        </c:scaling>
        <c:delete val="0"/>
        <c:axPos val="l"/>
        <c:numFmt formatCode="General" sourceLinked="1"/>
        <c:majorTickMark val="none"/>
        <c:minorTickMark val="none"/>
        <c:tickLblPos val="none"/>
        <c:spPr>
          <a:noFill/>
          <a:ln w="12700" cap="flat" cmpd="sng" algn="ctr">
            <a:no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38255512"/>
        <c:crosses val="autoZero"/>
        <c:auto val="1"/>
        <c:lblAlgn val="ctr"/>
        <c:lblOffset val="0"/>
        <c:noMultiLvlLbl val="0"/>
      </c:catAx>
      <c:valAx>
        <c:axId val="638255512"/>
        <c:scaling>
          <c:orientation val="minMax"/>
          <c:max val="100"/>
          <c:min val="0"/>
        </c:scaling>
        <c:delete val="0"/>
        <c:axPos val="b"/>
        <c:numFmt formatCode="General" sourceLinked="1"/>
        <c:majorTickMark val="out"/>
        <c:minorTickMark val="none"/>
        <c:tickLblPos val="none"/>
        <c:spPr>
          <a:noFill/>
          <a:ln w="12700">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8255872"/>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4922</cdr:x>
      <cdr:y>0.38426</cdr:y>
    </cdr:from>
    <cdr:to>
      <cdr:x>0.82567</cdr:x>
      <cdr:y>0.43432</cdr:y>
    </cdr:to>
    <cdr:sp macro="" textlink="">
      <cdr:nvSpPr>
        <cdr:cNvPr id="2" name="Rectangle 1">
          <a:extLst xmlns:a="http://schemas.openxmlformats.org/drawingml/2006/main">
            <a:ext uri="{FF2B5EF4-FFF2-40B4-BE49-F238E27FC236}">
              <a16:creationId xmlns:a16="http://schemas.microsoft.com/office/drawing/2014/main" id="{773806CE-3EC1-F9EC-81CB-4CAA1BBFB535}"/>
            </a:ext>
          </a:extLst>
        </cdr:cNvPr>
        <cdr:cNvSpPr/>
      </cdr:nvSpPr>
      <cdr:spPr>
        <a:xfrm xmlns:a="http://schemas.openxmlformats.org/drawingml/2006/main">
          <a:off x="4662653" y="1673838"/>
          <a:ext cx="475772" cy="218061"/>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r>
            <a:rPr lang="en-US" sz="1200" b="1" kern="1200" dirty="0">
              <a:solidFill>
                <a:schemeClr val="accent4"/>
              </a:solidFill>
              <a:latin typeface="Arial" panose="020B0604020202020204" pitchFamily="34" charset="0"/>
              <a:cs typeface="Arial" panose="020B0604020202020204" pitchFamily="34" charset="0"/>
            </a:rPr>
            <a:t>3</a:t>
          </a:r>
        </a:p>
      </cdr:txBody>
    </cdr:sp>
  </cdr:relSizeAnchor>
</c:userShapes>
</file>

<file path=ppt/drawings/drawing2.xml><?xml version="1.0" encoding="utf-8"?>
<c:userShapes xmlns:c="http://schemas.openxmlformats.org/drawingml/2006/chart">
  <cdr:relSizeAnchor xmlns:cdr="http://schemas.openxmlformats.org/drawingml/2006/chartDrawing">
    <cdr:from>
      <cdr:x>0.23945</cdr:x>
      <cdr:y>0.85151</cdr:y>
    </cdr:from>
    <cdr:to>
      <cdr:x>0.35928</cdr:x>
      <cdr:y>0.89137</cdr:y>
    </cdr:to>
    <cdr:sp macro="" textlink="">
      <cdr:nvSpPr>
        <cdr:cNvPr id="2" name="TextBox 1">
          <a:extLst xmlns:a="http://schemas.openxmlformats.org/drawingml/2006/main">
            <a:ext uri="{FF2B5EF4-FFF2-40B4-BE49-F238E27FC236}">
              <a16:creationId xmlns:a16="http://schemas.microsoft.com/office/drawing/2014/main" id="{A511C99A-D5FC-24B6-187B-FC097734ADF2}"/>
            </a:ext>
          </a:extLst>
        </cdr:cNvPr>
        <cdr:cNvSpPr txBox="1"/>
      </cdr:nvSpPr>
      <cdr:spPr>
        <a:xfrm xmlns:a="http://schemas.openxmlformats.org/drawingml/2006/main">
          <a:off x="1239600" y="3451975"/>
          <a:ext cx="620363" cy="161583"/>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r>
            <a:rPr lang="en-GB" sz="1050" i="1" kern="1200" dirty="0">
              <a:solidFill>
                <a:schemeClr val="tx1"/>
              </a:solidFill>
              <a:latin typeface="Arial" panose="020B0604020202020204" pitchFamily="34" charset="0"/>
              <a:ea typeface="+mn-ea"/>
              <a:cs typeface="Arial" panose="020B0604020202020204" pitchFamily="34" charset="0"/>
            </a:rPr>
            <a:t>MET </a:t>
          </a:r>
          <a:r>
            <a:rPr lang="en-GB" sz="1050" kern="1200" dirty="0">
              <a:solidFill>
                <a:schemeClr val="tx1"/>
              </a:solidFill>
              <a:latin typeface="Arial" panose="020B0604020202020204" pitchFamily="34" charset="0"/>
              <a:ea typeface="+mn-ea"/>
              <a:cs typeface="Arial" panose="020B0604020202020204" pitchFamily="34" charset="0"/>
            </a:rPr>
            <a:t>amp </a:t>
          </a:r>
          <a:endParaRPr lang="en-GB" sz="1050" i="1" kern="1200" dirty="0">
            <a:solidFill>
              <a:schemeClr val="tx1"/>
            </a:solidFill>
            <a:latin typeface="Arial" panose="020B0604020202020204" pitchFamily="34" charset="0"/>
            <a:ea typeface="+mn-ea"/>
            <a:cs typeface="Arial" panose="020B0604020202020204" pitchFamily="34" charset="0"/>
          </a:endParaRPr>
        </a:p>
      </cdr:txBody>
    </cdr:sp>
  </cdr:relSizeAnchor>
  <cdr:relSizeAnchor xmlns:cdr="http://schemas.openxmlformats.org/drawingml/2006/chartDrawing">
    <cdr:from>
      <cdr:x>0.52618</cdr:x>
      <cdr:y>0.84542</cdr:y>
    </cdr:from>
    <cdr:to>
      <cdr:x>0.9764</cdr:x>
      <cdr:y>0.92514</cdr:y>
    </cdr:to>
    <cdr:sp macro="" textlink="">
      <cdr:nvSpPr>
        <cdr:cNvPr id="3" name="TextBox 1">
          <a:extLst xmlns:a="http://schemas.openxmlformats.org/drawingml/2006/main">
            <a:ext uri="{FF2B5EF4-FFF2-40B4-BE49-F238E27FC236}">
              <a16:creationId xmlns:a16="http://schemas.microsoft.com/office/drawing/2014/main" id="{AC1CCC8B-8307-5934-EAD9-829B091910C8}"/>
            </a:ext>
          </a:extLst>
        </cdr:cNvPr>
        <cdr:cNvSpPr txBox="1"/>
      </cdr:nvSpPr>
      <cdr:spPr>
        <a:xfrm xmlns:a="http://schemas.openxmlformats.org/drawingml/2006/main">
          <a:off x="2723944" y="3427286"/>
          <a:ext cx="2330766" cy="323165"/>
        </a:xfrm>
        <a:prstGeom xmlns:a="http://schemas.openxmlformats.org/drawingml/2006/main" prst="rect">
          <a:avLst/>
        </a:prstGeom>
        <a:noFill xmlns:a="http://schemas.openxmlformats.org/drawingml/2006/main"/>
      </cdr:spPr>
      <cdr:txBody>
        <a:bodyPr xmlns:a="http://schemas.openxmlformats.org/drawingml/2006/main" wrap="non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050" kern="1200" dirty="0">
              <a:solidFill>
                <a:schemeClr val="tx1"/>
              </a:solidFill>
              <a:latin typeface="Arial" panose="020B0604020202020204" pitchFamily="34" charset="0"/>
              <a:cs typeface="Arial" panose="020B0604020202020204" pitchFamily="34" charset="0"/>
            </a:rPr>
            <a:t>Secondary </a:t>
          </a:r>
          <a:r>
            <a:rPr lang="en-GB" sz="1050" i="1" kern="1200" dirty="0">
              <a:solidFill>
                <a:schemeClr val="tx1"/>
              </a:solidFill>
              <a:latin typeface="Arial" panose="020B0604020202020204" pitchFamily="34" charset="0"/>
              <a:ea typeface="+mn-ea"/>
              <a:cs typeface="Arial" panose="020B0604020202020204" pitchFamily="34" charset="0"/>
            </a:rPr>
            <a:t>EGFR </a:t>
          </a:r>
          <a:r>
            <a:rPr lang="en-GB" sz="1050" kern="1200" dirty="0">
              <a:solidFill>
                <a:schemeClr val="tx1"/>
              </a:solidFill>
              <a:latin typeface="Arial" panose="020B0604020202020204" pitchFamily="34" charset="0"/>
              <a:cs typeface="Arial" panose="020B0604020202020204" pitchFamily="34" charset="0"/>
            </a:rPr>
            <a:t>resistance </a:t>
          </a:r>
          <a:br>
            <a:rPr lang="en-GB" sz="1050" kern="1200" dirty="0">
              <a:solidFill>
                <a:schemeClr val="tx1"/>
              </a:solidFill>
              <a:latin typeface="Arial" panose="020B0604020202020204" pitchFamily="34" charset="0"/>
              <a:cs typeface="Arial" panose="020B0604020202020204" pitchFamily="34" charset="0"/>
            </a:rPr>
          </a:br>
          <a:r>
            <a:rPr lang="en-GB" sz="1050" kern="1200" dirty="0">
              <a:solidFill>
                <a:schemeClr val="tx1"/>
              </a:solidFill>
              <a:latin typeface="Arial" panose="020B0604020202020204" pitchFamily="34" charset="0"/>
              <a:cs typeface="Arial" panose="020B0604020202020204" pitchFamily="34" charset="0"/>
            </a:rPr>
            <a:t>mechanisms (C797S, L718X, G724X) </a:t>
          </a:r>
          <a:r>
            <a:rPr lang="en-GB" sz="1050" i="1" kern="1200" dirty="0">
              <a:solidFill>
                <a:schemeClr val="tx1"/>
              </a:solidFill>
              <a:latin typeface="Arial" panose="020B0604020202020204" pitchFamily="34" charset="0"/>
              <a:ea typeface="+mn-ea"/>
              <a:cs typeface="Arial" panose="020B0604020202020204" pitchFamily="34" charset="0"/>
            </a:rPr>
            <a:t> </a:t>
          </a:r>
        </a:p>
      </cdr:txBody>
    </cdr:sp>
  </cdr:relSizeAnchor>
</c:userShapes>
</file>

<file path=ppt/drawings/drawing3.xml><?xml version="1.0" encoding="utf-8"?>
<c:userShapes xmlns:c="http://schemas.openxmlformats.org/drawingml/2006/chart">
  <cdr:relSizeAnchor xmlns:cdr="http://schemas.openxmlformats.org/drawingml/2006/chartDrawing">
    <cdr:from>
      <cdr:x>0.74142</cdr:x>
      <cdr:y>0.50534</cdr:y>
    </cdr:from>
    <cdr:to>
      <cdr:x>0.81787</cdr:x>
      <cdr:y>0.5554</cdr:y>
    </cdr:to>
    <cdr:sp macro="" textlink="">
      <cdr:nvSpPr>
        <cdr:cNvPr id="2" name="Rectangle 1">
          <a:extLst xmlns:a="http://schemas.openxmlformats.org/drawingml/2006/main">
            <a:ext uri="{FF2B5EF4-FFF2-40B4-BE49-F238E27FC236}">
              <a16:creationId xmlns:a16="http://schemas.microsoft.com/office/drawing/2014/main" id="{773806CE-3EC1-F9EC-81CB-4CAA1BBFB535}"/>
            </a:ext>
          </a:extLst>
        </cdr:cNvPr>
        <cdr:cNvSpPr/>
      </cdr:nvSpPr>
      <cdr:spPr>
        <a:xfrm xmlns:a="http://schemas.openxmlformats.org/drawingml/2006/main">
          <a:off x="2784619" y="2403687"/>
          <a:ext cx="287114" cy="23812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r>
            <a:rPr lang="en-US" sz="1200" b="1" kern="1200" dirty="0">
              <a:solidFill>
                <a:schemeClr val="tx1"/>
              </a:solidFill>
            </a:rPr>
            <a:t>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29/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354A98-5F40-365F-0558-DC7C1FB4A8BF}"/>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BACC834C-904E-AD1C-1A60-CCFC4904C52F}"/>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7F99DA5A-50A3-9396-6A31-81A89BB2084F}"/>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E6C47FD9-4104-2E23-0CB4-AE161D68E655}"/>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397413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A8A3B3-515B-8542-ACF1-FDB85939056D}" type="slidenum">
              <a:rPr kumimoji="0" lang="it-IT" sz="1200" b="0" i="0" u="none" strike="noStrike" kern="1200" cap="none" spc="0" normalizeH="0" baseline="0" noProof="0" smtClean="0">
                <a:ln>
                  <a:noFill/>
                </a:ln>
                <a:solidFill>
                  <a:prstClr val="black"/>
                </a:solidFill>
                <a:effectLst/>
                <a:uLnTx/>
                <a:uFillTx/>
                <a:latin typeface="Johnson Display"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it-IT" sz="1200" b="0" i="0" u="none" strike="noStrike" kern="1200" cap="none" spc="0" normalizeH="0" baseline="0" noProof="0">
              <a:ln>
                <a:noFill/>
              </a:ln>
              <a:solidFill>
                <a:prstClr val="black"/>
              </a:solidFill>
              <a:effectLst/>
              <a:uLnTx/>
              <a:uFillTx/>
              <a:latin typeface="Johnson Display" pitchFamily="2" charset="77"/>
              <a:ea typeface="+mn-ea"/>
              <a:cs typeface="+mn-cs"/>
            </a:endParaRPr>
          </a:p>
        </p:txBody>
      </p:sp>
    </p:spTree>
    <p:extLst>
      <p:ext uri="{BB962C8B-B14F-4D97-AF65-F5344CB8AC3E}">
        <p14:creationId xmlns:p14="http://schemas.microsoft.com/office/powerpoint/2010/main" val="1346727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DCB5B8-46B6-0857-030D-9C0255B341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32467C-66E8-E323-1A07-326457A7A2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D911ED-239F-6D64-085B-CFB9E4C26CE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6060817-406E-9C3B-8D66-EF0BCE4D14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18E93-EE38-CB4F-AFC1-65CB91DBAD44}" type="slidenum">
              <a:rPr kumimoji="0" lang="en-US" sz="1200" b="0" i="0" u="none" strike="noStrike" kern="1200" cap="none" spc="0" normalizeH="0" baseline="0" noProof="0" smtClean="0">
                <a:ln>
                  <a:noFill/>
                </a:ln>
                <a:solidFill>
                  <a:prstClr val="black"/>
                </a:solidFill>
                <a:effectLst/>
                <a:uLnTx/>
                <a:uFillTx/>
                <a:latin typeface="Johnson Display"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Johnson Display" pitchFamily="2" charset="77"/>
              <a:ea typeface="+mn-ea"/>
              <a:cs typeface="+mn-cs"/>
            </a:endParaRPr>
          </a:p>
        </p:txBody>
      </p:sp>
    </p:spTree>
    <p:extLst>
      <p:ext uri="{BB962C8B-B14F-4D97-AF65-F5344CB8AC3E}">
        <p14:creationId xmlns:p14="http://schemas.microsoft.com/office/powerpoint/2010/main" val="835666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18E93-EE38-CB4F-AFC1-65CB91DBAD44}" type="slidenum">
              <a:rPr kumimoji="0" lang="en-US" sz="1200" b="0" i="0" u="none" strike="noStrike" kern="1200" cap="none" spc="0" normalizeH="0" baseline="0" noProof="0" smtClean="0">
                <a:ln>
                  <a:noFill/>
                </a:ln>
                <a:solidFill>
                  <a:prstClr val="black"/>
                </a:solidFill>
                <a:effectLst/>
                <a:uLnTx/>
                <a:uFillTx/>
                <a:latin typeface="Johnson Display"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Johnson Display" pitchFamily="2" charset="77"/>
              <a:ea typeface="+mn-ea"/>
              <a:cs typeface="+mn-cs"/>
            </a:endParaRPr>
          </a:p>
        </p:txBody>
      </p:sp>
    </p:spTree>
    <p:extLst>
      <p:ext uri="{BB962C8B-B14F-4D97-AF65-F5344CB8AC3E}">
        <p14:creationId xmlns:p14="http://schemas.microsoft.com/office/powerpoint/2010/main" val="3605178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096FE1-9774-165A-FE63-F9090566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50CE73-3847-F9E1-A343-C7EFE2E48D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995796-EF16-99C0-7B0B-2EB4570E473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E9DA184-F411-DC21-19E5-23DBFE01B2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18E93-EE38-CB4F-AFC1-65CB91DBAD44}" type="slidenum">
              <a:rPr kumimoji="0" lang="en-US" sz="1200" b="0" i="0" u="none" strike="noStrike" kern="1200" cap="none" spc="0" normalizeH="0" baseline="0" noProof="0" smtClean="0">
                <a:ln>
                  <a:noFill/>
                </a:ln>
                <a:solidFill>
                  <a:prstClr val="black"/>
                </a:solidFill>
                <a:effectLst/>
                <a:uLnTx/>
                <a:uFillTx/>
                <a:latin typeface="Johnson Display"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Johnson Display" pitchFamily="2" charset="77"/>
              <a:ea typeface="+mn-ea"/>
              <a:cs typeface="+mn-cs"/>
            </a:endParaRPr>
          </a:p>
        </p:txBody>
      </p:sp>
    </p:spTree>
    <p:extLst>
      <p:ext uri="{BB962C8B-B14F-4D97-AF65-F5344CB8AC3E}">
        <p14:creationId xmlns:p14="http://schemas.microsoft.com/office/powerpoint/2010/main" val="20902598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52741D-297C-C47C-3449-843362E595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EBE0FB-4674-D68C-C4CD-592F2C2FC1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48631D-1311-7617-486F-CA542F79BD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FA300F8-9440-D93B-B585-9FFF705C0D8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18E93-EE38-CB4F-AFC1-65CB91DBAD44}" type="slidenum">
              <a:rPr kumimoji="0" lang="en-US" sz="1200" b="0" i="0" u="none" strike="noStrike" kern="1200" cap="none" spc="0" normalizeH="0" baseline="0" noProof="0" smtClean="0">
                <a:ln>
                  <a:noFill/>
                </a:ln>
                <a:solidFill>
                  <a:prstClr val="black"/>
                </a:solidFill>
                <a:effectLst/>
                <a:uLnTx/>
                <a:uFillTx/>
                <a:latin typeface="Johnson Display"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Johnson Display" pitchFamily="2" charset="77"/>
              <a:ea typeface="+mn-ea"/>
              <a:cs typeface="+mn-cs"/>
            </a:endParaRPr>
          </a:p>
        </p:txBody>
      </p:sp>
    </p:spTree>
    <p:extLst>
      <p:ext uri="{BB962C8B-B14F-4D97-AF65-F5344CB8AC3E}">
        <p14:creationId xmlns:p14="http://schemas.microsoft.com/office/powerpoint/2010/main" val="3461392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2C3B6-D22B-B908-BD26-DA198BE100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00295B-105A-5675-F726-69363068E0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9D1E3C-A38A-3990-FB85-88389CBA44F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0963C59-1E54-21E9-9741-2D7A2405501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18E93-EE38-CB4F-AFC1-65CB91DBAD44}" type="slidenum">
              <a:rPr kumimoji="0" lang="en-US" sz="1200" b="0" i="0" u="none" strike="noStrike" kern="1200" cap="none" spc="0" normalizeH="0" baseline="0" noProof="0" smtClean="0">
                <a:ln>
                  <a:noFill/>
                </a:ln>
                <a:solidFill>
                  <a:prstClr val="black"/>
                </a:solidFill>
                <a:effectLst/>
                <a:uLnTx/>
                <a:uFillTx/>
                <a:latin typeface="Johnson Display"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Johnson Display" pitchFamily="2" charset="77"/>
              <a:ea typeface="+mn-ea"/>
              <a:cs typeface="+mn-cs"/>
            </a:endParaRPr>
          </a:p>
        </p:txBody>
      </p:sp>
    </p:spTree>
    <p:extLst>
      <p:ext uri="{BB962C8B-B14F-4D97-AF65-F5344CB8AC3E}">
        <p14:creationId xmlns:p14="http://schemas.microsoft.com/office/powerpoint/2010/main" val="40445961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2EB4C-A701-7AB9-50C6-38BBDEE6C0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F36B3D-865E-1734-6D69-EED3799336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8C7E0B-95B1-E2ED-88D5-79B645B56F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51EB5D-2B53-DE42-D12E-9E4499D5483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18E93-EE38-CB4F-AFC1-65CB91DBAD44}" type="slidenum">
              <a:rPr kumimoji="0" lang="en-US" sz="1200" b="0" i="0" u="none" strike="noStrike" kern="1200" cap="none" spc="0" normalizeH="0" baseline="0" noProof="0" smtClean="0">
                <a:ln>
                  <a:noFill/>
                </a:ln>
                <a:solidFill>
                  <a:prstClr val="black"/>
                </a:solidFill>
                <a:effectLst/>
                <a:uLnTx/>
                <a:uFillTx/>
                <a:latin typeface="Johnson Display"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Johnson Display" pitchFamily="2" charset="77"/>
              <a:ea typeface="+mn-ea"/>
              <a:cs typeface="+mn-cs"/>
            </a:endParaRPr>
          </a:p>
        </p:txBody>
      </p:sp>
    </p:spTree>
    <p:extLst>
      <p:ext uri="{BB962C8B-B14F-4D97-AF65-F5344CB8AC3E}">
        <p14:creationId xmlns:p14="http://schemas.microsoft.com/office/powerpoint/2010/main" val="15799108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52443-2883-1AE8-D986-37E9DC3A42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0EEAE4-4310-CE77-A673-903C9440BF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0168F7-70FE-AC1D-C372-6C77DB5479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1B2C352-F273-5390-75F2-C306698B208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18E93-EE38-CB4F-AFC1-65CB91DBAD44}" type="slidenum">
              <a:rPr kumimoji="0" lang="en-US" sz="1200" b="0" i="0" u="none" strike="noStrike" kern="1200" cap="none" spc="0" normalizeH="0" baseline="0" noProof="0" smtClean="0">
                <a:ln>
                  <a:noFill/>
                </a:ln>
                <a:solidFill>
                  <a:prstClr val="black"/>
                </a:solidFill>
                <a:effectLst/>
                <a:uLnTx/>
                <a:uFillTx/>
                <a:latin typeface="Johnson Display"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Johnson Display" pitchFamily="2" charset="77"/>
              <a:ea typeface="+mn-ea"/>
              <a:cs typeface="+mn-cs"/>
            </a:endParaRPr>
          </a:p>
        </p:txBody>
      </p:sp>
    </p:spTree>
    <p:extLst>
      <p:ext uri="{BB962C8B-B14F-4D97-AF65-F5344CB8AC3E}">
        <p14:creationId xmlns:p14="http://schemas.microsoft.com/office/powerpoint/2010/main" val="24962341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0775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601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2633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31542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4601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78052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6948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93919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7430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89A7A-45B4-395E-83D3-EF39C4A142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46691A-2C09-0C3D-32DE-F546B7B181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A3D341-017D-0104-B119-2EEEFBC8876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F5BAE57-F919-0E67-32D0-D59B585E83AF}"/>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92531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7191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9830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9976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5E3D-4FE1-47F7-8FCE-414114753EF0}" type="slidenum">
              <a:rPr kumimoji="0" lang="en-C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C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99599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5E3D-4FE1-47F7-8FCE-414114753EF0}" type="slidenum">
              <a:rPr kumimoji="0" lang="en-C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C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36038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6E5EFC-1A73-9E5A-992F-567CAAD757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87CC0C-BC6D-570A-DE80-C63CB6A9A9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D7C974-128B-A1AD-17B9-2C40E03B776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A5BD24A-4D9D-A389-3102-579F864BBB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5E3D-4FE1-47F7-8FCE-414114753EF0}" type="slidenum">
              <a:rPr kumimoji="0" lang="en-C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C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6563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3562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11669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43848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7B8B67B-6986-4C4D-9BFF-F0FAE7240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919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25CA4-0EE2-DC4D-18D3-61E290E8EF69}"/>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77CD65EC-0138-D470-9739-B1799860126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3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1EFE77D4-4F56-A0BE-78DC-BFCB21605479}"/>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250BEB4-F253-1C6E-4F8E-121E1BCD8F6C}"/>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172910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8AE103-FBD2-72F3-5F99-091397D1D62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AAA09DF-D117-E419-3402-92A4A5A1942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66DBFAC6-5A74-27C7-F2B7-48C59307466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7D85AA9C-D779-2D5D-7853-1D5821574D6A}"/>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1251188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2D97B-747A-633C-5076-6E83051488CA}"/>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CEEAB71A-AE7E-F04E-B366-3EAEF469C38F}"/>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52E5FDAD-7432-59EB-2B16-7A9F0BC9313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813D0B6-FB2D-2828-B5B7-0F90B158CF09}"/>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67807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14272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2</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 xmlns:ma14="http://schemas.microsoft.com/office/mac/drawingml/2011/main"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0443C-9D5C-19B2-A43D-69FC923BFC69}"/>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48EF5870-2D6C-ECCE-3591-23B1C164A8A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AD52A4C5-C049-3297-79F7-11B349A323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9711148-FD36-1C2B-5BA0-F0ED482AF06A}"/>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0506908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jpg"/><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jp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6.jp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7.jp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Master" Target="../slideMasters/slideMaster18.xml"/><Relationship Id="rId4" Type="http://schemas.openxmlformats.org/officeDocument/2006/relationships/image" Target="../media/image47.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Master" Target="../slideMasters/slideMaster18.xml"/><Relationship Id="rId4" Type="http://schemas.openxmlformats.org/officeDocument/2006/relationships/image" Target="../media/image47.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Master" Target="../slideMasters/slideMaster18.xml"/><Relationship Id="rId4" Type="http://schemas.openxmlformats.org/officeDocument/2006/relationships/image" Target="../media/image47.pn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52.png"/><Relationship Id="rId1" Type="http://schemas.openxmlformats.org/officeDocument/2006/relationships/slideMaster" Target="../slideMasters/slideMaster19.xml"/><Relationship Id="rId4" Type="http://schemas.openxmlformats.org/officeDocument/2006/relationships/image" Target="../media/image51.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52.png"/><Relationship Id="rId1" Type="http://schemas.openxmlformats.org/officeDocument/2006/relationships/slideMaster" Target="../slideMasters/slideMaster20.xml"/><Relationship Id="rId4" Type="http://schemas.openxmlformats.org/officeDocument/2006/relationships/image" Target="../media/image51.jpe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4.xml"/><Relationship Id="rId5" Type="http://schemas.openxmlformats.org/officeDocument/2006/relationships/image" Target="../media/image7.jpg"/><Relationship Id="rId4" Type="http://schemas.openxmlformats.org/officeDocument/2006/relationships/image" Target="../media/image6.jp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4.emf"/><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855004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44357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927749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9349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3943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61246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1928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010416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131363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95100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4275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3657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341175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9155921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7041141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7694439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3658625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2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5373339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13479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3793630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6431081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475965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225779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282526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705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086529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81863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125400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01936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4910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8174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2696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26359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605772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4186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56996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9807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769275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360591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6450717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4675157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805600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2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240875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023135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9394224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0891467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9190359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603365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5333648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6051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031192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8103314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2083263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0580995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59639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7461747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7651959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0550644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38875057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1344870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720380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41239128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3952094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0203193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5043371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583610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6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20122027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539419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7612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671637"/>
            <a:ext cx="12192000" cy="2138363"/>
          </a:xfrm>
          <a:prstGeom prst="rect">
            <a:avLst/>
          </a:prstGeom>
          <a:solidFill>
            <a:srgbClr val="449AAC"/>
          </a:solid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4189445"/>
            <a:ext cx="10972800" cy="431108"/>
          </a:xfrm>
          <a:prstGeom prst="rect">
            <a:avLst/>
          </a:prstGeom>
        </p:spPr>
        <p:txBody>
          <a:bodyPr anchor="ctr"/>
          <a:lstStyle>
            <a:lvl1pPr marL="0" indent="0">
              <a:buNone/>
              <a:defRPr b="1">
                <a:solidFill>
                  <a:srgbClr val="449AAC"/>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4620552"/>
            <a:ext cx="10972800" cy="1295400"/>
          </a:xfrm>
          <a:prstGeom prst="rect">
            <a:avLst/>
          </a:prstGeom>
        </p:spPr>
        <p:txBody>
          <a:bodyPr/>
          <a:lstStyle>
            <a:lvl1pPr marL="0" indent="0">
              <a:buNone/>
              <a:defRPr sz="2200" i="1">
                <a:solidFill>
                  <a:schemeClr val="tx1"/>
                </a:solidFill>
              </a:defRPr>
            </a:lvl1pPr>
          </a:lstStyle>
          <a:p>
            <a:r>
              <a:rPr lang="en-US" dirty="0"/>
              <a:t>Presenter’s Affiliation Here</a:t>
            </a:r>
          </a:p>
        </p:txBody>
      </p:sp>
      <p:pic>
        <p:nvPicPr>
          <p:cNvPr id="3" name="Picture 2" descr="A close up of a sign&#10;&#10;Description automatically generated">
            <a:extLst>
              <a:ext uri="{FF2B5EF4-FFF2-40B4-BE49-F238E27FC236}">
                <a16:creationId xmlns:a16="http://schemas.microsoft.com/office/drawing/2014/main" id="{19CDB3E9-C9E2-B84A-A04E-91A6B20A03D6}"/>
              </a:ext>
            </a:extLst>
          </p:cNvPr>
          <p:cNvPicPr>
            <a:picLocks noChangeAspect="1"/>
          </p:cNvPicPr>
          <p:nvPr userDrawn="1"/>
        </p:nvPicPr>
        <p:blipFill>
          <a:blip r:embed="rId2"/>
          <a:stretch>
            <a:fillRect/>
          </a:stretch>
        </p:blipFill>
        <p:spPr>
          <a:xfrm>
            <a:off x="8566727" y="376238"/>
            <a:ext cx="3096768" cy="778423"/>
          </a:xfrm>
          <a:prstGeom prst="rect">
            <a:avLst/>
          </a:prstGeom>
        </p:spPr>
      </p:pic>
    </p:spTree>
    <p:extLst>
      <p:ext uri="{BB962C8B-B14F-4D97-AF65-F5344CB8AC3E}">
        <p14:creationId xmlns:p14="http://schemas.microsoft.com/office/powerpoint/2010/main" val="39380537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bg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82429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6073902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4"/>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9" y="6066551"/>
            <a:ext cx="1532659" cy="457200"/>
          </a:xfrm>
          <a:prstGeom prst="rect">
            <a:avLst/>
          </a:prstGeom>
        </p:spPr>
      </p:pic>
    </p:spTree>
    <p:extLst>
      <p:ext uri="{BB962C8B-B14F-4D97-AF65-F5344CB8AC3E}">
        <p14:creationId xmlns:p14="http://schemas.microsoft.com/office/powerpoint/2010/main" val="35938289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6663514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0706249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4255330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84824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676815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978439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0946296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0201185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14967086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541635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0538034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1518122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2912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7544445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83123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2631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2412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4180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41825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0224476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2964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3126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45835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684895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125350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803383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314329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54614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894103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36303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8611640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694296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742290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9943579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5735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6_line title and conten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51EA6A67-4F1C-51DD-0491-B6C54148999F}"/>
              </a:ext>
            </a:extLst>
          </p:cNvPr>
          <p:cNvSpPr/>
          <p:nvPr userDrawn="1"/>
        </p:nvSpPr>
        <p:spPr>
          <a:xfrm>
            <a:off x="0" y="1247907"/>
            <a:ext cx="12192000" cy="5610093"/>
          </a:xfrm>
          <a:prstGeom prst="rect">
            <a:avLst/>
          </a:prstGeom>
          <a:solidFill>
            <a:schemeClr val="accent3">
              <a:lumMod val="20000"/>
              <a:lumOff val="80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n-lt"/>
            </a:endParaRPr>
          </a:p>
        </p:txBody>
      </p:sp>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442800" y="262800"/>
            <a:ext cx="11306174" cy="384721"/>
          </a:xfrm>
        </p:spPr>
        <p:txBody>
          <a:bodyPr anchor="t">
            <a:spAutoFit/>
          </a:bodyPr>
          <a:lstStyle>
            <a:lvl1pPr>
              <a:defRPr sz="2500" b="1">
                <a:solidFill>
                  <a:schemeClr val="accent2"/>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a:xfrm>
            <a:off x="442800" y="1708150"/>
            <a:ext cx="11306175" cy="838691"/>
          </a:xfrm>
        </p:spPr>
        <p:txBody>
          <a:bodyPr>
            <a:spAutoFit/>
          </a:bodyPr>
          <a:lstStyle>
            <a:lvl1pPr marL="228600" indent="-228600">
              <a:lnSpc>
                <a:spcPct val="100000"/>
              </a:lnSpc>
              <a:spcBef>
                <a:spcPts val="1800"/>
              </a:spcBef>
              <a:spcAft>
                <a:spcPts val="0"/>
              </a:spcAft>
              <a:buClr>
                <a:schemeClr val="accent1"/>
              </a:buClr>
              <a:buFont typeface="Arial" panose="020B0604020202020204" pitchFamily="34" charset="0"/>
              <a:buChar char="•"/>
              <a:defRPr sz="2000"/>
            </a:lvl1pPr>
            <a:lvl3pPr marL="525463" indent="-239713">
              <a:lnSpc>
                <a:spcPct val="100000"/>
              </a:lnSpc>
              <a:spcBef>
                <a:spcPts val="300"/>
              </a:spcBef>
              <a:spcAft>
                <a:spcPts val="0"/>
              </a:spcAft>
              <a:buFont typeface="Arial" panose="020B0604020202020204" pitchFamily="34" charset="0"/>
              <a:buChar char="•"/>
              <a:defRPr/>
            </a:lvl3pPr>
            <a:lvl4pPr marL="800100" indent="-230188">
              <a:lnSpc>
                <a:spcPct val="100000"/>
              </a:lnSpc>
              <a:spcAft>
                <a:spcPts val="0"/>
              </a:spcAft>
              <a:defRPr/>
            </a:lvl4pPr>
          </a:lstStyle>
          <a:p>
            <a:pPr lvl="0"/>
            <a:r>
              <a:rPr lang="en-US" dirty="0"/>
              <a:t>Click to edit Master text styles</a:t>
            </a:r>
          </a:p>
          <a:p>
            <a:pPr lvl="2"/>
            <a:r>
              <a:rPr lang="en-US" dirty="0"/>
              <a:t>Second level</a:t>
            </a:r>
          </a:p>
          <a:p>
            <a:pPr lvl="3"/>
            <a:r>
              <a:rPr lang="en-US" dirty="0"/>
              <a:t>Third level</a:t>
            </a:r>
          </a:p>
        </p:txBody>
      </p:sp>
      <p:sp>
        <p:nvSpPr>
          <p:cNvPr id="5" name="Text Placeholder 7">
            <a:extLst>
              <a:ext uri="{FF2B5EF4-FFF2-40B4-BE49-F238E27FC236}">
                <a16:creationId xmlns:a16="http://schemas.microsoft.com/office/drawing/2014/main" id="{CCBDEA0A-51F4-DD86-6DDC-EF6E05F375BA}"/>
              </a:ext>
            </a:extLst>
          </p:cNvPr>
          <p:cNvSpPr>
            <a:spLocks noGrp="1"/>
          </p:cNvSpPr>
          <p:nvPr>
            <p:ph type="body" sz="quarter" idx="13" hasCustomPrompt="1"/>
          </p:nvPr>
        </p:nvSpPr>
        <p:spPr>
          <a:xfrm>
            <a:off x="6165850" y="6524625"/>
            <a:ext cx="5593059" cy="230832"/>
          </a:xfrm>
        </p:spPr>
        <p:txBody>
          <a:bodyPr wrap="square" anchor="b">
            <a:noAutofit/>
          </a:bodyPr>
          <a:lstStyle>
            <a:lvl1pPr marL="0" indent="0" algn="r">
              <a:lnSpc>
                <a:spcPct val="90000"/>
              </a:lnSpc>
              <a:spcBef>
                <a:spcPts val="0"/>
              </a:spcBef>
              <a:spcAft>
                <a:spcPts val="0"/>
              </a:spcAft>
              <a:buNone/>
              <a:defRPr sz="700">
                <a:solidFill>
                  <a:schemeClr val="bg2"/>
                </a:solidFill>
              </a:defRPr>
            </a:lvl1pPr>
            <a:lvl5pPr marL="1828800" indent="0">
              <a:buNone/>
              <a:defRPr/>
            </a:lvl5pPr>
          </a:lstStyle>
          <a:p>
            <a:pPr lvl="0"/>
            <a:r>
              <a:rPr lang="en-US" dirty="0"/>
              <a:t>Edit Master text styles</a:t>
            </a:r>
          </a:p>
        </p:txBody>
      </p:sp>
      <p:sp>
        <p:nvSpPr>
          <p:cNvPr id="6" name="Text Placeholder 7">
            <a:extLst>
              <a:ext uri="{FF2B5EF4-FFF2-40B4-BE49-F238E27FC236}">
                <a16:creationId xmlns:a16="http://schemas.microsoft.com/office/drawing/2014/main" id="{217C914E-B4D9-E261-3746-F6BCC5C463FC}"/>
              </a:ext>
            </a:extLst>
          </p:cNvPr>
          <p:cNvSpPr>
            <a:spLocks noGrp="1"/>
          </p:cNvSpPr>
          <p:nvPr>
            <p:ph type="body" sz="quarter" idx="15" hasCustomPrompt="1"/>
          </p:nvPr>
        </p:nvSpPr>
        <p:spPr>
          <a:xfrm>
            <a:off x="442912" y="6524625"/>
            <a:ext cx="5593059" cy="230832"/>
          </a:xfrm>
        </p:spPr>
        <p:txBody>
          <a:bodyPr anchor="b">
            <a:noAutofit/>
          </a:bodyPr>
          <a:lstStyle>
            <a:lvl1pPr marL="0" indent="0" algn="l">
              <a:lnSpc>
                <a:spcPct val="90000"/>
              </a:lnSpc>
              <a:spcBef>
                <a:spcPts val="0"/>
              </a:spcBef>
              <a:spcAft>
                <a:spcPts val="0"/>
              </a:spcAft>
              <a:buNone/>
              <a:defRPr sz="700">
                <a:solidFill>
                  <a:schemeClr val="bg2"/>
                </a:solidFill>
              </a:defRPr>
            </a:lvl1pPr>
            <a:lvl5pPr marL="1828800" indent="0">
              <a:buNone/>
              <a:defRPr/>
            </a:lvl5pPr>
          </a:lstStyle>
          <a:p>
            <a:pPr lvl="0"/>
            <a:r>
              <a:rPr lang="en-US" dirty="0"/>
              <a:t>Edit Master text styles</a:t>
            </a:r>
          </a:p>
        </p:txBody>
      </p:sp>
      <p:cxnSp>
        <p:nvCxnSpPr>
          <p:cNvPr id="118" name="Straight Connector 117">
            <a:extLst>
              <a:ext uri="{FF2B5EF4-FFF2-40B4-BE49-F238E27FC236}">
                <a16:creationId xmlns:a16="http://schemas.microsoft.com/office/drawing/2014/main" id="{F8D7DEA3-A5A3-27F2-A6DD-04FFED4964FC}"/>
              </a:ext>
            </a:extLst>
          </p:cNvPr>
          <p:cNvCxnSpPr>
            <a:cxnSpLocks/>
          </p:cNvCxnSpPr>
          <p:nvPr userDrawn="1"/>
        </p:nvCxnSpPr>
        <p:spPr bwMode="auto">
          <a:xfrm>
            <a:off x="24000" y="1247907"/>
            <a:ext cx="12168000" cy="0"/>
          </a:xfrm>
          <a:prstGeom prst="line">
            <a:avLst/>
          </a:prstGeom>
          <a:solidFill>
            <a:srgbClr val="C0C0C0"/>
          </a:solidFill>
          <a:ln w="28575" cap="flat" cmpd="sng" algn="ctr">
            <a:gradFill flip="none" rotWithShape="1">
              <a:gsLst>
                <a:gs pos="4000">
                  <a:schemeClr val="bg1">
                    <a:alpha val="54000"/>
                  </a:schemeClr>
                </a:gs>
                <a:gs pos="100000">
                  <a:schemeClr val="bg1">
                    <a:alpha val="0"/>
                  </a:schemeClr>
                </a:gs>
                <a:gs pos="54000">
                  <a:schemeClr val="bg2"/>
                </a:gs>
                <a:gs pos="65000">
                  <a:schemeClr val="accent2"/>
                </a:gs>
              </a:gsLst>
              <a:lin ang="0" scaled="1"/>
              <a:tileRect/>
            </a:gradFill>
            <a:prstDash val="solid"/>
            <a:round/>
            <a:headEnd type="none" w="med" len="med"/>
            <a:tailEnd type="none" w="med" len="med"/>
          </a:ln>
          <a:effectLst/>
        </p:spPr>
      </p:cxnSp>
    </p:spTree>
    <p:extLst>
      <p:ext uri="{BB962C8B-B14F-4D97-AF65-F5344CB8AC3E}">
        <p14:creationId xmlns:p14="http://schemas.microsoft.com/office/powerpoint/2010/main" val="17384298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5_line 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8580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6" y="262670"/>
            <a:ext cx="8676632" cy="3930563"/>
          </a:xfrm>
        </p:spPr>
        <p:txBody>
          <a:bodyPr anchor="t">
            <a:normAutofit/>
          </a:bodyPr>
          <a:lstStyle>
            <a:lvl1pPr algn="l">
              <a:lnSpc>
                <a:spcPct val="80000"/>
              </a:lnSpc>
              <a:defRPr sz="10500" b="0" i="0" spc="0" baseline="0">
                <a:solidFill>
                  <a:schemeClr val="bg1"/>
                </a:solidFill>
                <a:latin typeface="Arial" panose="020B0604020202020204" pitchFamily="34" charset="0"/>
                <a:cs typeface="Arial" panose="020B0604020202020204" pitchFamily="34" charset="0"/>
              </a:defRPr>
            </a:lvl1pPr>
          </a:lstStyle>
          <a:p>
            <a:r>
              <a:rPr lang="en-GB" dirty="0"/>
              <a:t>Longer titles will shrink automatically</a:t>
            </a:r>
          </a:p>
        </p:txBody>
      </p:sp>
      <p:sp>
        <p:nvSpPr>
          <p:cNvPr id="4" name="TextBox 3">
            <a:extLst>
              <a:ext uri="{FF2B5EF4-FFF2-40B4-BE49-F238E27FC236}">
                <a16:creationId xmlns:a16="http://schemas.microsoft.com/office/drawing/2014/main" id="{25C0BB7E-298C-C952-0B72-519501CE72E9}"/>
              </a:ext>
            </a:extLst>
          </p:cNvPr>
          <p:cNvSpPr txBox="1"/>
          <p:nvPr userDrawn="1"/>
        </p:nvSpPr>
        <p:spPr>
          <a:xfrm>
            <a:off x="11049968" y="6347868"/>
            <a:ext cx="1616544" cy="246221"/>
          </a:xfrm>
          <a:prstGeom prst="rect">
            <a:avLst/>
          </a:prstGeom>
          <a:noFill/>
        </p:spPr>
        <p:txBody>
          <a:bodyPr wrap="square" lIns="0" tIns="0" rIns="0" bIns="0" rtlCol="0">
            <a:spAutoFit/>
          </a:bodyPr>
          <a:lstStyle/>
          <a:p>
            <a:pPr algn="l"/>
            <a:r>
              <a:rPr lang="en-US" sz="1600" kern="1200">
                <a:solidFill>
                  <a:schemeClr val="bg1"/>
                </a:solidFill>
                <a:latin typeface="+mn-lt"/>
                <a:ea typeface="+mn-ea"/>
                <a:cs typeface="+mn-cs"/>
              </a:rPr>
              <a:t>Oncology</a:t>
            </a:r>
          </a:p>
        </p:txBody>
      </p:sp>
      <p:sp>
        <p:nvSpPr>
          <p:cNvPr id="5" name="Rectangle 4">
            <a:extLst>
              <a:ext uri="{FF2B5EF4-FFF2-40B4-BE49-F238E27FC236}">
                <a16:creationId xmlns:a16="http://schemas.microsoft.com/office/drawing/2014/main" id="{27F41B1E-CA86-CE81-A9E0-FDB8862BE7C2}"/>
              </a:ext>
            </a:extLst>
          </p:cNvPr>
          <p:cNvSpPr/>
          <p:nvPr userDrawn="1"/>
        </p:nvSpPr>
        <p:spPr>
          <a:xfrm>
            <a:off x="10921952" y="6379539"/>
            <a:ext cx="18288"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7" name="Graphic 2">
            <a:extLst>
              <a:ext uri="{FF2B5EF4-FFF2-40B4-BE49-F238E27FC236}">
                <a16:creationId xmlns:a16="http://schemas.microsoft.com/office/drawing/2014/main" id="{9B2AC03B-1741-80DE-61BF-D5F104F8EEF7}"/>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
        <p:nvSpPr>
          <p:cNvPr id="3" name="Subtitle 2">
            <a:extLst>
              <a:ext uri="{FF2B5EF4-FFF2-40B4-BE49-F238E27FC236}">
                <a16:creationId xmlns:a16="http://schemas.microsoft.com/office/drawing/2014/main" id="{6CB6DC8B-F860-B6A2-BF16-896FEA31623A}"/>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Tree>
    <p:extLst>
      <p:ext uri="{BB962C8B-B14F-4D97-AF65-F5344CB8AC3E}">
        <p14:creationId xmlns:p14="http://schemas.microsoft.com/office/powerpoint/2010/main" val="10464263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Slide [Accessible Versi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5" y="261082"/>
            <a:ext cx="8676633" cy="3930563"/>
          </a:xfrm>
        </p:spPr>
        <p:txBody>
          <a:bodyPr anchor="t">
            <a:normAutofit/>
          </a:bodyPr>
          <a:lstStyle>
            <a:lvl1pPr algn="l">
              <a:lnSpc>
                <a:spcPct val="80000"/>
              </a:lnSpc>
              <a:defRPr sz="10500" b="0" i="0" spc="0" baseline="0">
                <a:solidFill>
                  <a:schemeClr val="accent1"/>
                </a:solidFill>
                <a:latin typeface="Arial" panose="020B0604020202020204" pitchFamily="34" charset="0"/>
                <a:cs typeface="Arial" panose="020B0604020202020204" pitchFamily="34" charset="0"/>
              </a:defRPr>
            </a:lvl1pPr>
          </a:lstStyle>
          <a:p>
            <a:r>
              <a:rPr lang="en-GB" dirty="0"/>
              <a:t>Longer titles will shrink automatically</a:t>
            </a:r>
          </a:p>
        </p:txBody>
      </p:sp>
      <p:sp>
        <p:nvSpPr>
          <p:cNvPr id="9" name="Graphic 2">
            <a:extLst>
              <a:ext uri="{FF2B5EF4-FFF2-40B4-BE49-F238E27FC236}">
                <a16:creationId xmlns:a16="http://schemas.microsoft.com/office/drawing/2014/main" id="{26B7BE8A-A0BD-1E6C-6CDE-E3F982603FAE}"/>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accent1"/>
          </a:solidFill>
          <a:ln w="9509" cap="flat">
            <a:noFill/>
            <a:prstDash val="solid"/>
            <a:miter/>
          </a:ln>
        </p:spPr>
        <p:txBody>
          <a:bodyPr rtlCol="0" anchor="ctr"/>
          <a:lstStyle/>
          <a:p>
            <a:endParaRPr lang="en-GB"/>
          </a:p>
        </p:txBody>
      </p:sp>
      <p:sp>
        <p:nvSpPr>
          <p:cNvPr id="2" name="Subtitle 2">
            <a:extLst>
              <a:ext uri="{FF2B5EF4-FFF2-40B4-BE49-F238E27FC236}">
                <a16:creationId xmlns:a16="http://schemas.microsoft.com/office/drawing/2014/main" id="{55381F9E-8859-ADF8-D54A-1ABFE6EFC01B}"/>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
        <p:nvSpPr>
          <p:cNvPr id="5" name="TextBox 4">
            <a:extLst>
              <a:ext uri="{FF2B5EF4-FFF2-40B4-BE49-F238E27FC236}">
                <a16:creationId xmlns:a16="http://schemas.microsoft.com/office/drawing/2014/main" id="{EF420688-6CCA-8B32-810B-C8361824D178}"/>
              </a:ext>
            </a:extLst>
          </p:cNvPr>
          <p:cNvSpPr txBox="1"/>
          <p:nvPr userDrawn="1"/>
        </p:nvSpPr>
        <p:spPr>
          <a:xfrm>
            <a:off x="11049968" y="6347868"/>
            <a:ext cx="1616544" cy="246221"/>
          </a:xfrm>
          <a:prstGeom prst="rect">
            <a:avLst/>
          </a:prstGeom>
          <a:noFill/>
        </p:spPr>
        <p:txBody>
          <a:bodyPr wrap="square" lIns="0" tIns="0" rIns="0" bIns="0" rtlCol="0">
            <a:spAutoFit/>
          </a:bodyPr>
          <a:lstStyle/>
          <a:p>
            <a:pPr algn="l"/>
            <a:r>
              <a:rPr lang="en-US" sz="1600" kern="1200">
                <a:solidFill>
                  <a:schemeClr val="accent1"/>
                </a:solidFill>
                <a:latin typeface="+mn-lt"/>
                <a:ea typeface="+mn-ea"/>
                <a:cs typeface="+mn-cs"/>
              </a:rPr>
              <a:t>Oncology</a:t>
            </a:r>
          </a:p>
        </p:txBody>
      </p:sp>
      <p:sp>
        <p:nvSpPr>
          <p:cNvPr id="6" name="Rectangle 5">
            <a:extLst>
              <a:ext uri="{FF2B5EF4-FFF2-40B4-BE49-F238E27FC236}">
                <a16:creationId xmlns:a16="http://schemas.microsoft.com/office/drawing/2014/main" id="{50799DBD-BBCF-DF96-1C1D-25C8C7C574BE}"/>
              </a:ext>
            </a:extLst>
          </p:cNvPr>
          <p:cNvSpPr/>
          <p:nvPr userDrawn="1"/>
        </p:nvSpPr>
        <p:spPr>
          <a:xfrm>
            <a:off x="10921952" y="6379539"/>
            <a:ext cx="18288" cy="1828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mn-lt"/>
            </a:endParaRPr>
          </a:p>
        </p:txBody>
      </p:sp>
    </p:spTree>
    <p:extLst>
      <p:ext uri="{BB962C8B-B14F-4D97-AF65-F5344CB8AC3E}">
        <p14:creationId xmlns:p14="http://schemas.microsoft.com/office/powerpoint/2010/main" val="10608882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51EA6A67-4F1C-51DD-0491-B6C54148999F}"/>
              </a:ext>
            </a:extLst>
          </p:cNvPr>
          <p:cNvSpPr/>
          <p:nvPr userDrawn="1"/>
        </p:nvSpPr>
        <p:spPr>
          <a:xfrm>
            <a:off x="0" y="799007"/>
            <a:ext cx="12192000" cy="6058993"/>
          </a:xfrm>
          <a:prstGeom prst="rect">
            <a:avLst/>
          </a:prstGeom>
          <a:solidFill>
            <a:schemeClr val="accent3">
              <a:lumMod val="20000"/>
              <a:lumOff val="80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442800" y="262800"/>
            <a:ext cx="11306174" cy="384721"/>
          </a:xfrm>
        </p:spPr>
        <p:txBody>
          <a:bodyPr anchor="t">
            <a:spAutoFit/>
          </a:bodyPr>
          <a:lstStyle>
            <a:lvl1pPr>
              <a:defRPr sz="2500" b="1">
                <a:solidFill>
                  <a:schemeClr val="accent2"/>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a:xfrm>
            <a:off x="442800" y="1308100"/>
            <a:ext cx="11306175" cy="838691"/>
          </a:xfrm>
        </p:spPr>
        <p:txBody>
          <a:bodyPr>
            <a:spAutoFit/>
          </a:bodyPr>
          <a:lstStyle>
            <a:lvl1pPr marL="228600" indent="-228600">
              <a:lnSpc>
                <a:spcPct val="100000"/>
              </a:lnSpc>
              <a:spcBef>
                <a:spcPts val="1800"/>
              </a:spcBef>
              <a:spcAft>
                <a:spcPts val="0"/>
              </a:spcAft>
              <a:buClr>
                <a:schemeClr val="accent1"/>
              </a:buClr>
              <a:buFont typeface="Arial" panose="020B0604020202020204" pitchFamily="34" charset="0"/>
              <a:buChar char="•"/>
              <a:defRPr sz="2000"/>
            </a:lvl1pPr>
            <a:lvl3pPr marL="525463" indent="-239713">
              <a:lnSpc>
                <a:spcPct val="100000"/>
              </a:lnSpc>
              <a:spcBef>
                <a:spcPts val="300"/>
              </a:spcBef>
              <a:spcAft>
                <a:spcPts val="0"/>
              </a:spcAft>
              <a:buFont typeface="Arial" panose="020B0604020202020204" pitchFamily="34" charset="0"/>
              <a:buChar char="•"/>
              <a:defRPr/>
            </a:lvl3pPr>
            <a:lvl4pPr marL="800100" indent="-230188">
              <a:lnSpc>
                <a:spcPct val="100000"/>
              </a:lnSpc>
              <a:spcAft>
                <a:spcPts val="0"/>
              </a:spcAft>
              <a:defRPr/>
            </a:lvl4pPr>
          </a:lstStyle>
          <a:p>
            <a:pPr lvl="0"/>
            <a:r>
              <a:rPr lang="en-US" dirty="0"/>
              <a:t>Click to edit Master text styles</a:t>
            </a:r>
          </a:p>
          <a:p>
            <a:pPr lvl="1"/>
            <a:r>
              <a:rPr lang="en-US" dirty="0"/>
              <a:t>Second level</a:t>
            </a:r>
          </a:p>
          <a:p>
            <a:pPr lvl="2"/>
            <a:r>
              <a:rPr lang="en-US" dirty="0"/>
              <a:t>Third level</a:t>
            </a:r>
          </a:p>
        </p:txBody>
      </p:sp>
      <p:sp>
        <p:nvSpPr>
          <p:cNvPr id="5" name="Text Placeholder 7">
            <a:extLst>
              <a:ext uri="{FF2B5EF4-FFF2-40B4-BE49-F238E27FC236}">
                <a16:creationId xmlns:a16="http://schemas.microsoft.com/office/drawing/2014/main" id="{CCBDEA0A-51F4-DD86-6DDC-EF6E05F375BA}"/>
              </a:ext>
            </a:extLst>
          </p:cNvPr>
          <p:cNvSpPr>
            <a:spLocks noGrp="1"/>
          </p:cNvSpPr>
          <p:nvPr>
            <p:ph type="body" sz="quarter" idx="13" hasCustomPrompt="1"/>
          </p:nvPr>
        </p:nvSpPr>
        <p:spPr>
          <a:xfrm>
            <a:off x="6165850" y="6524625"/>
            <a:ext cx="5593059" cy="230832"/>
          </a:xfrm>
        </p:spPr>
        <p:txBody>
          <a:bodyPr wrap="square" anchor="b">
            <a:noAutofit/>
          </a:bodyPr>
          <a:lstStyle>
            <a:lvl1pPr marL="0" indent="0" algn="r">
              <a:lnSpc>
                <a:spcPct val="90000"/>
              </a:lnSpc>
              <a:spcBef>
                <a:spcPts val="0"/>
              </a:spcBef>
              <a:spcAft>
                <a:spcPts val="0"/>
              </a:spcAft>
              <a:buNone/>
              <a:defRPr sz="700">
                <a:solidFill>
                  <a:schemeClr val="bg2"/>
                </a:solidFill>
              </a:defRPr>
            </a:lvl1pPr>
            <a:lvl5pPr marL="1828800" indent="0">
              <a:buNone/>
              <a:defRPr/>
            </a:lvl5pPr>
          </a:lstStyle>
          <a:p>
            <a:pPr lvl="0"/>
            <a:r>
              <a:rPr lang="en-US" dirty="0"/>
              <a:t>Edit Master text styles</a:t>
            </a:r>
          </a:p>
        </p:txBody>
      </p:sp>
      <p:sp>
        <p:nvSpPr>
          <p:cNvPr id="6" name="Text Placeholder 7">
            <a:extLst>
              <a:ext uri="{FF2B5EF4-FFF2-40B4-BE49-F238E27FC236}">
                <a16:creationId xmlns:a16="http://schemas.microsoft.com/office/drawing/2014/main" id="{217C914E-B4D9-E261-3746-F6BCC5C463FC}"/>
              </a:ext>
            </a:extLst>
          </p:cNvPr>
          <p:cNvSpPr>
            <a:spLocks noGrp="1"/>
          </p:cNvSpPr>
          <p:nvPr>
            <p:ph type="body" sz="quarter" idx="15" hasCustomPrompt="1"/>
          </p:nvPr>
        </p:nvSpPr>
        <p:spPr>
          <a:xfrm>
            <a:off x="442912" y="6524625"/>
            <a:ext cx="5593059" cy="230832"/>
          </a:xfrm>
        </p:spPr>
        <p:txBody>
          <a:bodyPr anchor="b">
            <a:noAutofit/>
          </a:bodyPr>
          <a:lstStyle>
            <a:lvl1pPr marL="0" indent="0" algn="l">
              <a:lnSpc>
                <a:spcPct val="90000"/>
              </a:lnSpc>
              <a:spcBef>
                <a:spcPts val="0"/>
              </a:spcBef>
              <a:spcAft>
                <a:spcPts val="0"/>
              </a:spcAft>
              <a:buNone/>
              <a:defRPr sz="700">
                <a:solidFill>
                  <a:schemeClr val="bg2"/>
                </a:solidFill>
              </a:defRPr>
            </a:lvl1pPr>
            <a:lvl5pPr marL="1828800" indent="0">
              <a:buNone/>
              <a:defRPr/>
            </a:lvl5pPr>
          </a:lstStyle>
          <a:p>
            <a:pPr lvl="0"/>
            <a:r>
              <a:rPr lang="en-US" dirty="0"/>
              <a:t>Edit Master text styles</a:t>
            </a:r>
          </a:p>
        </p:txBody>
      </p:sp>
      <p:cxnSp>
        <p:nvCxnSpPr>
          <p:cNvPr id="118" name="Straight Connector 117">
            <a:extLst>
              <a:ext uri="{FF2B5EF4-FFF2-40B4-BE49-F238E27FC236}">
                <a16:creationId xmlns:a16="http://schemas.microsoft.com/office/drawing/2014/main" id="{F8D7DEA3-A5A3-27F2-A6DD-04FFED4964FC}"/>
              </a:ext>
            </a:extLst>
          </p:cNvPr>
          <p:cNvCxnSpPr>
            <a:cxnSpLocks/>
          </p:cNvCxnSpPr>
          <p:nvPr userDrawn="1"/>
        </p:nvCxnSpPr>
        <p:spPr bwMode="auto">
          <a:xfrm>
            <a:off x="24000" y="813567"/>
            <a:ext cx="12168000" cy="0"/>
          </a:xfrm>
          <a:prstGeom prst="line">
            <a:avLst/>
          </a:prstGeom>
          <a:solidFill>
            <a:srgbClr val="C0C0C0"/>
          </a:solidFill>
          <a:ln w="28575" cap="flat" cmpd="sng" algn="ctr">
            <a:gradFill flip="none" rotWithShape="1">
              <a:gsLst>
                <a:gs pos="4000">
                  <a:schemeClr val="bg1">
                    <a:alpha val="54000"/>
                  </a:schemeClr>
                </a:gs>
                <a:gs pos="100000">
                  <a:schemeClr val="bg1">
                    <a:alpha val="0"/>
                  </a:schemeClr>
                </a:gs>
                <a:gs pos="54000">
                  <a:schemeClr val="bg2"/>
                </a:gs>
                <a:gs pos="65000">
                  <a:schemeClr val="accent2"/>
                </a:gs>
              </a:gsLst>
              <a:lin ang="0" scaled="1"/>
              <a:tileRect/>
            </a:gradFill>
            <a:prstDash val="solid"/>
            <a:round/>
            <a:headEnd type="none" w="med" len="med"/>
            <a:tailEnd type="none" w="med" len="med"/>
          </a:ln>
          <a:effectLst/>
        </p:spPr>
      </p:cxnSp>
    </p:spTree>
    <p:extLst>
      <p:ext uri="{BB962C8B-B14F-4D97-AF65-F5344CB8AC3E}">
        <p14:creationId xmlns:p14="http://schemas.microsoft.com/office/powerpoint/2010/main" val="6852955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line title and conten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51EA6A67-4F1C-51DD-0491-B6C54148999F}"/>
              </a:ext>
            </a:extLst>
          </p:cNvPr>
          <p:cNvSpPr/>
          <p:nvPr userDrawn="1"/>
        </p:nvSpPr>
        <p:spPr>
          <a:xfrm>
            <a:off x="0" y="1247907"/>
            <a:ext cx="12192000" cy="5610093"/>
          </a:xfrm>
          <a:prstGeom prst="rect">
            <a:avLst/>
          </a:prstGeom>
          <a:solidFill>
            <a:schemeClr val="accent3">
              <a:lumMod val="20000"/>
              <a:lumOff val="80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442800" y="262800"/>
            <a:ext cx="11306174" cy="384721"/>
          </a:xfrm>
        </p:spPr>
        <p:txBody>
          <a:bodyPr anchor="t">
            <a:spAutoFit/>
          </a:bodyPr>
          <a:lstStyle>
            <a:lvl1pPr>
              <a:defRPr sz="2500" b="1">
                <a:solidFill>
                  <a:schemeClr val="accent2"/>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a:xfrm>
            <a:off x="442800" y="1708150"/>
            <a:ext cx="11306175" cy="838691"/>
          </a:xfrm>
        </p:spPr>
        <p:txBody>
          <a:bodyPr>
            <a:spAutoFit/>
          </a:bodyPr>
          <a:lstStyle>
            <a:lvl1pPr marL="228600" indent="-228600">
              <a:lnSpc>
                <a:spcPct val="100000"/>
              </a:lnSpc>
              <a:spcBef>
                <a:spcPts val="1800"/>
              </a:spcBef>
              <a:spcAft>
                <a:spcPts val="0"/>
              </a:spcAft>
              <a:buClr>
                <a:schemeClr val="accent1"/>
              </a:buClr>
              <a:buFont typeface="Arial" panose="020B0604020202020204" pitchFamily="34" charset="0"/>
              <a:buChar char="•"/>
              <a:defRPr sz="2000"/>
            </a:lvl1pPr>
            <a:lvl3pPr marL="525463" indent="-239713">
              <a:lnSpc>
                <a:spcPct val="100000"/>
              </a:lnSpc>
              <a:spcBef>
                <a:spcPts val="300"/>
              </a:spcBef>
              <a:spcAft>
                <a:spcPts val="0"/>
              </a:spcAft>
              <a:buFont typeface="Arial" panose="020B0604020202020204" pitchFamily="34" charset="0"/>
              <a:buChar char="•"/>
              <a:defRPr/>
            </a:lvl3pPr>
            <a:lvl4pPr marL="800100" indent="-230188">
              <a:lnSpc>
                <a:spcPct val="100000"/>
              </a:lnSpc>
              <a:spcAft>
                <a:spcPts val="0"/>
              </a:spcAft>
              <a:defRPr/>
            </a:lvl4pPr>
          </a:lstStyle>
          <a:p>
            <a:pPr lvl="0"/>
            <a:r>
              <a:rPr lang="en-US" dirty="0"/>
              <a:t>Click to edit Master text styles</a:t>
            </a:r>
          </a:p>
          <a:p>
            <a:pPr lvl="1"/>
            <a:r>
              <a:rPr lang="en-US" dirty="0"/>
              <a:t>Second level</a:t>
            </a:r>
          </a:p>
          <a:p>
            <a:pPr lvl="2"/>
            <a:r>
              <a:rPr lang="en-US" dirty="0"/>
              <a:t>Third level</a:t>
            </a:r>
          </a:p>
        </p:txBody>
      </p:sp>
      <p:sp>
        <p:nvSpPr>
          <p:cNvPr id="5" name="Text Placeholder 7">
            <a:extLst>
              <a:ext uri="{FF2B5EF4-FFF2-40B4-BE49-F238E27FC236}">
                <a16:creationId xmlns:a16="http://schemas.microsoft.com/office/drawing/2014/main" id="{CCBDEA0A-51F4-DD86-6DDC-EF6E05F375BA}"/>
              </a:ext>
            </a:extLst>
          </p:cNvPr>
          <p:cNvSpPr>
            <a:spLocks noGrp="1"/>
          </p:cNvSpPr>
          <p:nvPr>
            <p:ph type="body" sz="quarter" idx="13" hasCustomPrompt="1"/>
          </p:nvPr>
        </p:nvSpPr>
        <p:spPr>
          <a:xfrm>
            <a:off x="6165850" y="6524625"/>
            <a:ext cx="5593059" cy="230832"/>
          </a:xfrm>
        </p:spPr>
        <p:txBody>
          <a:bodyPr wrap="square" anchor="b">
            <a:noAutofit/>
          </a:bodyPr>
          <a:lstStyle>
            <a:lvl1pPr marL="0" indent="0" algn="r">
              <a:lnSpc>
                <a:spcPct val="90000"/>
              </a:lnSpc>
              <a:spcBef>
                <a:spcPts val="0"/>
              </a:spcBef>
              <a:spcAft>
                <a:spcPts val="0"/>
              </a:spcAft>
              <a:buNone/>
              <a:defRPr sz="700">
                <a:solidFill>
                  <a:schemeClr val="bg2"/>
                </a:solidFill>
              </a:defRPr>
            </a:lvl1pPr>
            <a:lvl5pPr marL="1828800" indent="0">
              <a:buNone/>
              <a:defRPr/>
            </a:lvl5pPr>
          </a:lstStyle>
          <a:p>
            <a:pPr lvl="0"/>
            <a:r>
              <a:rPr lang="en-US" dirty="0"/>
              <a:t>Edit Master text styles</a:t>
            </a:r>
          </a:p>
        </p:txBody>
      </p:sp>
      <p:sp>
        <p:nvSpPr>
          <p:cNvPr id="6" name="Text Placeholder 7">
            <a:extLst>
              <a:ext uri="{FF2B5EF4-FFF2-40B4-BE49-F238E27FC236}">
                <a16:creationId xmlns:a16="http://schemas.microsoft.com/office/drawing/2014/main" id="{217C914E-B4D9-E261-3746-F6BCC5C463FC}"/>
              </a:ext>
            </a:extLst>
          </p:cNvPr>
          <p:cNvSpPr>
            <a:spLocks noGrp="1"/>
          </p:cNvSpPr>
          <p:nvPr>
            <p:ph type="body" sz="quarter" idx="15" hasCustomPrompt="1"/>
          </p:nvPr>
        </p:nvSpPr>
        <p:spPr>
          <a:xfrm>
            <a:off x="442912" y="6524625"/>
            <a:ext cx="5593059" cy="230832"/>
          </a:xfrm>
        </p:spPr>
        <p:txBody>
          <a:bodyPr anchor="b">
            <a:noAutofit/>
          </a:bodyPr>
          <a:lstStyle>
            <a:lvl1pPr marL="0" indent="0" algn="l">
              <a:lnSpc>
                <a:spcPct val="90000"/>
              </a:lnSpc>
              <a:spcBef>
                <a:spcPts val="0"/>
              </a:spcBef>
              <a:spcAft>
                <a:spcPts val="0"/>
              </a:spcAft>
              <a:buNone/>
              <a:defRPr sz="700">
                <a:solidFill>
                  <a:schemeClr val="bg2"/>
                </a:solidFill>
              </a:defRPr>
            </a:lvl1pPr>
            <a:lvl5pPr marL="1828800" indent="0">
              <a:buNone/>
              <a:defRPr/>
            </a:lvl5pPr>
          </a:lstStyle>
          <a:p>
            <a:pPr lvl="0"/>
            <a:r>
              <a:rPr lang="en-US" dirty="0"/>
              <a:t>Edit Master text styles</a:t>
            </a:r>
          </a:p>
        </p:txBody>
      </p:sp>
      <p:cxnSp>
        <p:nvCxnSpPr>
          <p:cNvPr id="118" name="Straight Connector 117">
            <a:extLst>
              <a:ext uri="{FF2B5EF4-FFF2-40B4-BE49-F238E27FC236}">
                <a16:creationId xmlns:a16="http://schemas.microsoft.com/office/drawing/2014/main" id="{F8D7DEA3-A5A3-27F2-A6DD-04FFED4964FC}"/>
              </a:ext>
            </a:extLst>
          </p:cNvPr>
          <p:cNvCxnSpPr>
            <a:cxnSpLocks/>
          </p:cNvCxnSpPr>
          <p:nvPr userDrawn="1"/>
        </p:nvCxnSpPr>
        <p:spPr bwMode="auto">
          <a:xfrm>
            <a:off x="24000" y="1247907"/>
            <a:ext cx="12168000" cy="0"/>
          </a:xfrm>
          <a:prstGeom prst="line">
            <a:avLst/>
          </a:prstGeom>
          <a:solidFill>
            <a:srgbClr val="C0C0C0"/>
          </a:solidFill>
          <a:ln w="28575" cap="flat" cmpd="sng" algn="ctr">
            <a:gradFill flip="none" rotWithShape="1">
              <a:gsLst>
                <a:gs pos="4000">
                  <a:schemeClr val="bg1">
                    <a:alpha val="54000"/>
                  </a:schemeClr>
                </a:gs>
                <a:gs pos="100000">
                  <a:schemeClr val="bg1">
                    <a:alpha val="0"/>
                  </a:schemeClr>
                </a:gs>
                <a:gs pos="54000">
                  <a:schemeClr val="bg2"/>
                </a:gs>
                <a:gs pos="65000">
                  <a:schemeClr val="accent2"/>
                </a:gs>
              </a:gsLst>
              <a:lin ang="0" scaled="1"/>
              <a:tileRect/>
            </a:gradFill>
            <a:prstDash val="solid"/>
            <a:round/>
            <a:headEnd type="none" w="med" len="med"/>
            <a:tailEnd type="none" w="med" len="med"/>
          </a:ln>
          <a:effectLst/>
        </p:spPr>
      </p:cxnSp>
    </p:spTree>
    <p:extLst>
      <p:ext uri="{BB962C8B-B14F-4D97-AF65-F5344CB8AC3E}">
        <p14:creationId xmlns:p14="http://schemas.microsoft.com/office/powerpoint/2010/main" val="21077400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line title and content">
    <p:bg>
      <p:bgPr>
        <a:solidFill>
          <a:schemeClr val="accent3">
            <a:lumMod val="20000"/>
            <a:lumOff val="80000"/>
            <a:alpha val="60000"/>
          </a:schemeClr>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442800" y="262800"/>
            <a:ext cx="11306174" cy="384721"/>
          </a:xfrm>
        </p:spPr>
        <p:txBody>
          <a:bodyPr anchor="t">
            <a:spAutoFit/>
          </a:bodyPr>
          <a:lstStyle>
            <a:lvl1pPr>
              <a:defRPr sz="2500" b="1">
                <a:solidFill>
                  <a:schemeClr val="accent2"/>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a:xfrm>
            <a:off x="442800" y="1708150"/>
            <a:ext cx="11306175" cy="838691"/>
          </a:xfrm>
        </p:spPr>
        <p:txBody>
          <a:bodyPr>
            <a:spAutoFit/>
          </a:bodyPr>
          <a:lstStyle>
            <a:lvl1pPr marL="228600" indent="-228600">
              <a:lnSpc>
                <a:spcPct val="100000"/>
              </a:lnSpc>
              <a:spcBef>
                <a:spcPts val="1800"/>
              </a:spcBef>
              <a:spcAft>
                <a:spcPts val="0"/>
              </a:spcAft>
              <a:buClr>
                <a:schemeClr val="accent1"/>
              </a:buClr>
              <a:buFont typeface="Arial" panose="020B0604020202020204" pitchFamily="34" charset="0"/>
              <a:buChar char="•"/>
              <a:defRPr sz="2000"/>
            </a:lvl1pPr>
            <a:lvl3pPr marL="525463" indent="-239713">
              <a:lnSpc>
                <a:spcPct val="100000"/>
              </a:lnSpc>
              <a:spcBef>
                <a:spcPts val="300"/>
              </a:spcBef>
              <a:spcAft>
                <a:spcPts val="0"/>
              </a:spcAft>
              <a:buFont typeface="Arial" panose="020B0604020202020204" pitchFamily="34" charset="0"/>
              <a:buChar char="•"/>
              <a:defRPr/>
            </a:lvl3pPr>
            <a:lvl4pPr marL="800100" indent="-230188">
              <a:lnSpc>
                <a:spcPct val="100000"/>
              </a:lnSpc>
              <a:spcAft>
                <a:spcPts val="0"/>
              </a:spcAft>
              <a:defRPr/>
            </a:lvl4pPr>
          </a:lstStyle>
          <a:p>
            <a:pPr lvl="0"/>
            <a:r>
              <a:rPr lang="en-US" dirty="0"/>
              <a:t>Click to edit Master text styles</a:t>
            </a:r>
          </a:p>
          <a:p>
            <a:pPr lvl="1"/>
            <a:r>
              <a:rPr lang="en-US" dirty="0"/>
              <a:t>Second level</a:t>
            </a:r>
          </a:p>
          <a:p>
            <a:pPr lvl="2"/>
            <a:r>
              <a:rPr lang="en-US" dirty="0"/>
              <a:t>Third level</a:t>
            </a:r>
          </a:p>
        </p:txBody>
      </p:sp>
      <p:sp>
        <p:nvSpPr>
          <p:cNvPr id="5" name="Text Placeholder 7">
            <a:extLst>
              <a:ext uri="{FF2B5EF4-FFF2-40B4-BE49-F238E27FC236}">
                <a16:creationId xmlns:a16="http://schemas.microsoft.com/office/drawing/2014/main" id="{CCBDEA0A-51F4-DD86-6DDC-EF6E05F375BA}"/>
              </a:ext>
            </a:extLst>
          </p:cNvPr>
          <p:cNvSpPr>
            <a:spLocks noGrp="1"/>
          </p:cNvSpPr>
          <p:nvPr>
            <p:ph type="body" sz="quarter" idx="13" hasCustomPrompt="1"/>
          </p:nvPr>
        </p:nvSpPr>
        <p:spPr>
          <a:xfrm>
            <a:off x="6165850" y="6524625"/>
            <a:ext cx="5593059" cy="230832"/>
          </a:xfrm>
        </p:spPr>
        <p:txBody>
          <a:bodyPr wrap="square" anchor="b">
            <a:noAutofit/>
          </a:bodyPr>
          <a:lstStyle>
            <a:lvl1pPr marL="0" indent="0" algn="r">
              <a:lnSpc>
                <a:spcPct val="90000"/>
              </a:lnSpc>
              <a:spcBef>
                <a:spcPts val="0"/>
              </a:spcBef>
              <a:spcAft>
                <a:spcPts val="0"/>
              </a:spcAft>
              <a:buNone/>
              <a:defRPr sz="700">
                <a:solidFill>
                  <a:schemeClr val="bg2"/>
                </a:solidFill>
              </a:defRPr>
            </a:lvl1pPr>
            <a:lvl5pPr marL="1828800" indent="0">
              <a:buNone/>
              <a:defRPr/>
            </a:lvl5pPr>
          </a:lstStyle>
          <a:p>
            <a:pPr lvl="0"/>
            <a:r>
              <a:rPr lang="en-US" dirty="0"/>
              <a:t>Edit Master text styles</a:t>
            </a:r>
          </a:p>
        </p:txBody>
      </p:sp>
      <p:sp>
        <p:nvSpPr>
          <p:cNvPr id="6" name="Text Placeholder 7">
            <a:extLst>
              <a:ext uri="{FF2B5EF4-FFF2-40B4-BE49-F238E27FC236}">
                <a16:creationId xmlns:a16="http://schemas.microsoft.com/office/drawing/2014/main" id="{217C914E-B4D9-E261-3746-F6BCC5C463FC}"/>
              </a:ext>
            </a:extLst>
          </p:cNvPr>
          <p:cNvSpPr>
            <a:spLocks noGrp="1"/>
          </p:cNvSpPr>
          <p:nvPr>
            <p:ph type="body" sz="quarter" idx="15" hasCustomPrompt="1"/>
          </p:nvPr>
        </p:nvSpPr>
        <p:spPr>
          <a:xfrm>
            <a:off x="442912" y="6524625"/>
            <a:ext cx="5593059" cy="230832"/>
          </a:xfrm>
        </p:spPr>
        <p:txBody>
          <a:bodyPr anchor="b">
            <a:noAutofit/>
          </a:bodyPr>
          <a:lstStyle>
            <a:lvl1pPr marL="0" indent="0" algn="l">
              <a:lnSpc>
                <a:spcPct val="90000"/>
              </a:lnSpc>
              <a:spcBef>
                <a:spcPts val="0"/>
              </a:spcBef>
              <a:spcAft>
                <a:spcPts val="0"/>
              </a:spcAft>
              <a:buNone/>
              <a:defRPr sz="700">
                <a:solidFill>
                  <a:schemeClr val="bg2"/>
                </a:solidFill>
              </a:defRPr>
            </a:lvl1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20848507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line 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6469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8E7F412-7F18-99BB-673D-375C4275150C}"/>
              </a:ext>
            </a:extLst>
          </p:cNvPr>
          <p:cNvGrpSpPr/>
          <p:nvPr userDrawn="1"/>
        </p:nvGrpSpPr>
        <p:grpSpPr>
          <a:xfrm>
            <a:off x="0" y="1400175"/>
            <a:ext cx="12192000" cy="4057651"/>
            <a:chOff x="0" y="1579377"/>
            <a:chExt cx="12192000" cy="4057651"/>
          </a:xfrm>
        </p:grpSpPr>
        <p:sp>
          <p:nvSpPr>
            <p:cNvPr id="4" name="Rectangle 3">
              <a:extLst>
                <a:ext uri="{FF2B5EF4-FFF2-40B4-BE49-F238E27FC236}">
                  <a16:creationId xmlns:a16="http://schemas.microsoft.com/office/drawing/2014/main" id="{51EA6A67-4F1C-51DD-0491-B6C54148999F}"/>
                </a:ext>
              </a:extLst>
            </p:cNvPr>
            <p:cNvSpPr/>
            <p:nvPr userDrawn="1"/>
          </p:nvSpPr>
          <p:spPr>
            <a:xfrm>
              <a:off x="0" y="1579378"/>
              <a:ext cx="12192000" cy="4057650"/>
            </a:xfrm>
            <a:prstGeom prst="rect">
              <a:avLst/>
            </a:prstGeom>
            <a:solidFill>
              <a:schemeClr val="accent3">
                <a:lumMod val="20000"/>
                <a:lumOff val="80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cxnSp>
          <p:nvCxnSpPr>
            <p:cNvPr id="7" name="Straight Connector 6">
              <a:extLst>
                <a:ext uri="{FF2B5EF4-FFF2-40B4-BE49-F238E27FC236}">
                  <a16:creationId xmlns:a16="http://schemas.microsoft.com/office/drawing/2014/main" id="{F8D7DEA3-A5A3-27F2-A6DD-04FFED4964FC}"/>
                </a:ext>
              </a:extLst>
            </p:cNvPr>
            <p:cNvCxnSpPr>
              <a:cxnSpLocks/>
            </p:cNvCxnSpPr>
            <p:nvPr userDrawn="1"/>
          </p:nvCxnSpPr>
          <p:spPr bwMode="auto">
            <a:xfrm>
              <a:off x="24000" y="1579377"/>
              <a:ext cx="12168000" cy="0"/>
            </a:xfrm>
            <a:prstGeom prst="line">
              <a:avLst/>
            </a:prstGeom>
            <a:solidFill>
              <a:srgbClr val="C0C0C0"/>
            </a:solidFill>
            <a:ln w="28575" cap="flat" cmpd="sng" algn="ctr">
              <a:gradFill flip="none" rotWithShape="1">
                <a:gsLst>
                  <a:gs pos="4000">
                    <a:schemeClr val="bg1">
                      <a:alpha val="54000"/>
                    </a:schemeClr>
                  </a:gs>
                  <a:gs pos="100000">
                    <a:schemeClr val="bg1">
                      <a:alpha val="0"/>
                    </a:schemeClr>
                  </a:gs>
                  <a:gs pos="54000">
                    <a:schemeClr val="accent1"/>
                  </a:gs>
                  <a:gs pos="65000">
                    <a:schemeClr val="accent2"/>
                  </a:gs>
                </a:gsLst>
                <a:lin ang="0" scaled="1"/>
                <a:tileRect/>
              </a:gra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6227E822-D798-0D9D-ACE8-AE4275B7D1A6}"/>
                </a:ext>
              </a:extLst>
            </p:cNvPr>
            <p:cNvCxnSpPr>
              <a:cxnSpLocks/>
            </p:cNvCxnSpPr>
            <p:nvPr userDrawn="1"/>
          </p:nvCxnSpPr>
          <p:spPr bwMode="auto">
            <a:xfrm flipH="1">
              <a:off x="24000" y="5637027"/>
              <a:ext cx="12168000" cy="0"/>
            </a:xfrm>
            <a:prstGeom prst="line">
              <a:avLst/>
            </a:prstGeom>
            <a:solidFill>
              <a:srgbClr val="C0C0C0"/>
            </a:solidFill>
            <a:ln w="28575" cap="flat" cmpd="sng" algn="ctr">
              <a:gradFill flip="none" rotWithShape="1">
                <a:gsLst>
                  <a:gs pos="4000">
                    <a:schemeClr val="bg1">
                      <a:alpha val="54000"/>
                    </a:schemeClr>
                  </a:gs>
                  <a:gs pos="100000">
                    <a:schemeClr val="bg1">
                      <a:alpha val="0"/>
                    </a:schemeClr>
                  </a:gs>
                  <a:gs pos="54000">
                    <a:schemeClr val="accent1"/>
                  </a:gs>
                  <a:gs pos="65000">
                    <a:schemeClr val="accent2"/>
                  </a:gs>
                </a:gsLst>
                <a:lin ang="0" scaled="1"/>
                <a:tileRect/>
              </a:gradFill>
              <a:prstDash val="solid"/>
              <a:round/>
              <a:headEnd type="none" w="med" len="med"/>
              <a:tailEnd type="none" w="med" len="med"/>
            </a:ln>
            <a:effectLst/>
          </p:spPr>
        </p:cxnSp>
      </p:grpSp>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442800" y="2583090"/>
            <a:ext cx="11306174" cy="523220"/>
          </a:xfrm>
        </p:spPr>
        <p:txBody>
          <a:bodyPr anchor="t">
            <a:spAutoFit/>
          </a:bodyPr>
          <a:lstStyle>
            <a:lvl1pPr>
              <a:defRPr sz="3400" b="1">
                <a:solidFill>
                  <a:srgbClr val="FF0000"/>
                </a:solidFill>
              </a:defRPr>
            </a:lvl1pPr>
          </a:lstStyle>
          <a:p>
            <a:r>
              <a:rPr lang="en-US" dirty="0"/>
              <a:t>Click to edit Master title style</a:t>
            </a:r>
            <a:endParaRPr lang="en-GB" dirty="0"/>
          </a:p>
        </p:txBody>
      </p:sp>
      <p:sp>
        <p:nvSpPr>
          <p:cNvPr id="5" name="Text Placeholder 7">
            <a:extLst>
              <a:ext uri="{FF2B5EF4-FFF2-40B4-BE49-F238E27FC236}">
                <a16:creationId xmlns:a16="http://schemas.microsoft.com/office/drawing/2014/main" id="{CCBDEA0A-51F4-DD86-6DDC-EF6E05F375BA}"/>
              </a:ext>
            </a:extLst>
          </p:cNvPr>
          <p:cNvSpPr>
            <a:spLocks noGrp="1"/>
          </p:cNvSpPr>
          <p:nvPr>
            <p:ph type="body" sz="quarter" idx="13" hasCustomPrompt="1"/>
          </p:nvPr>
        </p:nvSpPr>
        <p:spPr>
          <a:xfrm>
            <a:off x="6165850" y="6524625"/>
            <a:ext cx="5593059" cy="230832"/>
          </a:xfrm>
        </p:spPr>
        <p:txBody>
          <a:bodyPr wrap="square" anchor="b">
            <a:noAutofit/>
          </a:bodyPr>
          <a:lstStyle>
            <a:lvl1pPr marL="0" indent="0" algn="r">
              <a:lnSpc>
                <a:spcPct val="90000"/>
              </a:lnSpc>
              <a:spcBef>
                <a:spcPts val="0"/>
              </a:spcBef>
              <a:spcAft>
                <a:spcPts val="0"/>
              </a:spcAft>
              <a:buNone/>
              <a:defRPr sz="700">
                <a:solidFill>
                  <a:schemeClr val="bg2"/>
                </a:solidFill>
              </a:defRPr>
            </a:lvl1pPr>
            <a:lvl5pPr marL="1828800" indent="0">
              <a:buNone/>
              <a:defRPr/>
            </a:lvl5pPr>
          </a:lstStyle>
          <a:p>
            <a:pPr lvl="0"/>
            <a:r>
              <a:rPr lang="en-US" dirty="0"/>
              <a:t>Edit Master text styles</a:t>
            </a:r>
          </a:p>
        </p:txBody>
      </p:sp>
      <p:sp>
        <p:nvSpPr>
          <p:cNvPr id="6" name="Text Placeholder 7">
            <a:extLst>
              <a:ext uri="{FF2B5EF4-FFF2-40B4-BE49-F238E27FC236}">
                <a16:creationId xmlns:a16="http://schemas.microsoft.com/office/drawing/2014/main" id="{217C914E-B4D9-E261-3746-F6BCC5C463FC}"/>
              </a:ext>
            </a:extLst>
          </p:cNvPr>
          <p:cNvSpPr>
            <a:spLocks noGrp="1"/>
          </p:cNvSpPr>
          <p:nvPr>
            <p:ph type="body" sz="quarter" idx="15" hasCustomPrompt="1"/>
          </p:nvPr>
        </p:nvSpPr>
        <p:spPr>
          <a:xfrm>
            <a:off x="442912" y="6524625"/>
            <a:ext cx="5593059" cy="230832"/>
          </a:xfrm>
        </p:spPr>
        <p:txBody>
          <a:bodyPr anchor="b">
            <a:noAutofit/>
          </a:bodyPr>
          <a:lstStyle>
            <a:lvl1pPr marL="0" indent="0" algn="l">
              <a:lnSpc>
                <a:spcPct val="90000"/>
              </a:lnSpc>
              <a:spcBef>
                <a:spcPts val="0"/>
              </a:spcBef>
              <a:spcAft>
                <a:spcPts val="0"/>
              </a:spcAft>
              <a:buNone/>
              <a:defRPr sz="700">
                <a:solidFill>
                  <a:schemeClr val="bg2"/>
                </a:solidFill>
              </a:defRPr>
            </a:lvl1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37061396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p:txBody>
          <a:bodyPr/>
          <a:lstStyle/>
          <a:p>
            <a:fld id="{25F36468-588E-C345-8A76-7288C0DA259F}" type="datetimeFigureOut">
              <a:rPr lang="it-IT" smtClean="0"/>
              <a:t>29/05/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0DB02B0F-A0B4-584A-9BCA-B6307EE706BB}" type="slidenum">
              <a:rPr lang="it-IT" smtClean="0"/>
              <a:t>‹#›</a:t>
            </a:fld>
            <a:endParaRPr lang="it-IT"/>
          </a:p>
        </p:txBody>
      </p:sp>
    </p:spTree>
    <p:extLst>
      <p:ext uri="{BB962C8B-B14F-4D97-AF65-F5344CB8AC3E}">
        <p14:creationId xmlns:p14="http://schemas.microsoft.com/office/powerpoint/2010/main" val="10152523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8" y="378458"/>
            <a:ext cx="10981266" cy="387798"/>
          </a:xfrm>
          <a:prstGeom prst="rect">
            <a:avLst/>
          </a:prstGeom>
        </p:spPr>
        <p:txBody>
          <a:bodyPr lIns="0" tIns="0" rIns="0" bIns="0"/>
          <a:lstStyle>
            <a:lvl1pPr>
              <a:defRPr sz="2800">
                <a:solidFill>
                  <a:schemeClr val="bg2"/>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9"/>
            <a:ext cx="10985780" cy="4169411"/>
          </a:xfrm>
          <a:prstGeom prst="rect">
            <a:avLst/>
          </a:prstGeom>
        </p:spPr>
        <p:txBody>
          <a:bodyPr lIns="0" tIns="0" rIns="0" bIns="0"/>
          <a:lstStyle>
            <a:lvl1pPr marL="234137" marR="0" indent="-234137" algn="l" defTabSz="761940" rtl="0" eaLnBrk="1" fontAlgn="base" latinLnBrk="0" hangingPunct="1">
              <a:lnSpc>
                <a:spcPct val="100000"/>
              </a:lnSpc>
              <a:spcBef>
                <a:spcPts val="1800"/>
              </a:spcBef>
              <a:spcAft>
                <a:spcPct val="0"/>
              </a:spcAft>
              <a:buClr>
                <a:schemeClr val="accent1"/>
              </a:buClr>
              <a:buSzPct val="100000"/>
              <a:buFont typeface="Arial" pitchFamily="-65" charset="0"/>
              <a:buChar char="•"/>
              <a:tabLst/>
              <a:defRPr sz="2000">
                <a:solidFill>
                  <a:schemeClr val="tx2"/>
                </a:solidFill>
              </a:defRPr>
            </a:lvl1pPr>
            <a:lvl2pPr marL="534415" marR="0" indent="-234137" algn="l" defTabSz="761940" rtl="0" eaLnBrk="1" fontAlgn="base" latinLnBrk="0" hangingPunct="1">
              <a:lnSpc>
                <a:spcPct val="100000"/>
              </a:lnSpc>
              <a:spcBef>
                <a:spcPts val="0"/>
              </a:spcBef>
              <a:spcAft>
                <a:spcPct val="0"/>
              </a:spcAft>
              <a:buClr>
                <a:schemeClr val="accent1"/>
              </a:buClr>
              <a:buSzPct val="100000"/>
              <a:buFont typeface="Arial" pitchFamily="-65" charset="0"/>
              <a:buChar char="–"/>
              <a:tabLst/>
              <a:defRPr>
                <a:solidFill>
                  <a:schemeClr val="tx2"/>
                </a:solidFill>
              </a:defRPr>
            </a:lvl2pPr>
            <a:lvl3pPr marL="731462" marR="0" indent="-201152" algn="l" defTabSz="761940" rtl="0" eaLnBrk="1" fontAlgn="base" latinLnBrk="0" hangingPunct="1">
              <a:lnSpc>
                <a:spcPct val="100000"/>
              </a:lnSpc>
              <a:spcBef>
                <a:spcPts val="0"/>
              </a:spcBef>
              <a:spcAft>
                <a:spcPct val="0"/>
              </a:spcAft>
              <a:buClr>
                <a:schemeClr val="accent1"/>
              </a:buClr>
              <a:buSzPct val="100000"/>
              <a:buFont typeface="Arial" pitchFamily="-65" charset="0"/>
              <a:buChar char="•"/>
              <a:tabLst/>
              <a:defRPr>
                <a:solidFill>
                  <a:schemeClr val="tx2"/>
                </a:solidFill>
              </a:defRPr>
            </a:lvl3pPr>
            <a:lvl4pPr marL="1097192" marR="0" indent="-201152" algn="l" defTabSz="761940" rtl="0" eaLnBrk="1" fontAlgn="base" latinLnBrk="0" hangingPunct="1">
              <a:lnSpc>
                <a:spcPct val="100000"/>
              </a:lnSpc>
              <a:spcBef>
                <a:spcPts val="0"/>
              </a:spcBef>
              <a:spcAft>
                <a:spcPct val="0"/>
              </a:spcAft>
              <a:buClr>
                <a:schemeClr val="accent1"/>
              </a:buClr>
              <a:buSzPct val="100000"/>
              <a:buFont typeface="Arial" pitchFamily="-65" charset="0"/>
              <a:buChar char="–"/>
              <a:tabLst/>
              <a:defRPr>
                <a:solidFill>
                  <a:schemeClr val="tx2"/>
                </a:solidFill>
              </a:defRPr>
            </a:lvl4pPr>
            <a:lvl5pPr marL="1487845" marR="0" indent="-191119" algn="l" defTabSz="761940" rtl="0" eaLnBrk="1" fontAlgn="base" latinLnBrk="0" hangingPunct="1">
              <a:lnSpc>
                <a:spcPct val="100000"/>
              </a:lnSpc>
              <a:spcBef>
                <a:spcPts val="0"/>
              </a:spcBef>
              <a:spcAft>
                <a:spcPct val="0"/>
              </a:spcAft>
              <a:buClr>
                <a:schemeClr val="accent1"/>
              </a:buClr>
              <a:buSzPct val="100000"/>
              <a:buFont typeface="Arial" pitchFamily="-65" charset="0"/>
              <a:buChar char="»"/>
              <a:tabLst/>
              <a:defRPr>
                <a:solidFill>
                  <a:schemeClr val="tx2"/>
                </a:solidFill>
              </a:defRPr>
            </a:lvl5pPr>
          </a:lstStyle>
          <a:p>
            <a:pPr marL="234137" marR="0" lvl="0" indent="-234137" algn="l" defTabSz="76194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15" marR="0" lvl="1" indent="-234137"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62" marR="0" lvl="2" indent="-201152"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192" marR="0" lvl="3" indent="-201152"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845" marR="0" lvl="4" indent="-191119"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7"/>
            <a:ext cx="10981267" cy="358303"/>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bg2"/>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a:prstGeom prst="rect">
            <a:avLst/>
          </a:prstGeom>
        </p:spPr>
        <p:txBody>
          <a:bodyPr lIns="0" anchor="b"/>
          <a:lstStyle>
            <a:lvl1pPr marL="0" indent="0">
              <a:spcBef>
                <a:spcPts val="167"/>
              </a:spcBef>
              <a:buNone/>
              <a:defRPr sz="700">
                <a:solidFill>
                  <a:schemeClr val="tx2"/>
                </a:solidFill>
              </a:defRPr>
            </a:lvl1pPr>
          </a:lstStyle>
          <a:p>
            <a:pPr lvl="0"/>
            <a:r>
              <a:rPr lang="en-US"/>
              <a:t>Footnotes and Sources</a:t>
            </a:r>
          </a:p>
        </p:txBody>
      </p:sp>
    </p:spTree>
    <p:extLst>
      <p:ext uri="{BB962C8B-B14F-4D97-AF65-F5344CB8AC3E}">
        <p14:creationId xmlns:p14="http://schemas.microsoft.com/office/powerpoint/2010/main" val="4845595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68CD7-CBC8-4D6F-9114-29A1A27597C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A2041-7A42-4492-8517-F4F473457A7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439C208-511C-4855-AC71-EDB007A71D7C}"/>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5" name="Footer Placeholder 4">
            <a:extLst>
              <a:ext uri="{FF2B5EF4-FFF2-40B4-BE49-F238E27FC236}">
                <a16:creationId xmlns:a16="http://schemas.microsoft.com/office/drawing/2014/main" id="{E8633F6B-A717-4E7A-8C92-8E9A2C0E46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D46833-D49D-4028-8F71-F9AEFC00DE6D}"/>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19121075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8CF44-B4CF-44ED-9C7F-777C06390E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1D35BC2-E5CE-4532-B24A-3ED5CE9BDC4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7757A-A6FC-490F-8B22-82EA8AC536EC}"/>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5" name="Footer Placeholder 4">
            <a:extLst>
              <a:ext uri="{FF2B5EF4-FFF2-40B4-BE49-F238E27FC236}">
                <a16:creationId xmlns:a16="http://schemas.microsoft.com/office/drawing/2014/main" id="{63AABB36-2DE3-421B-9713-9457727C7D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5E110F-8A58-4C7D-A024-FFFAE3C3D800}"/>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10542396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1B1B2-E573-462A-8176-993A2C45D76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BD12CD-6378-40EF-A2BD-78E05750A47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A9C473D-D6FD-45D9-81AF-CBE8DA2B19E6}"/>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5" name="Footer Placeholder 4">
            <a:extLst>
              <a:ext uri="{FF2B5EF4-FFF2-40B4-BE49-F238E27FC236}">
                <a16:creationId xmlns:a16="http://schemas.microsoft.com/office/drawing/2014/main" id="{45A09F99-6601-4069-B0F2-D7EF19EBF0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897E67-6B7F-498A-8D5B-FDC199149FCF}"/>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26508463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13B4F-8D9A-4BCB-9193-4BC7B14326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A25359-B8D6-4EE4-BD39-FEF684A7DF3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8801A0D-1C10-403A-8628-A7FF2DCB9D5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93A923-D82D-4BB2-AF16-2B0F6EDCF150}"/>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6" name="Footer Placeholder 5">
            <a:extLst>
              <a:ext uri="{FF2B5EF4-FFF2-40B4-BE49-F238E27FC236}">
                <a16:creationId xmlns:a16="http://schemas.microsoft.com/office/drawing/2014/main" id="{AE3695A0-D7E3-4A0C-BC77-7A79A52D96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33650E-3C16-4DFE-951D-EA10455C3538}"/>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10769014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25560-D434-4C14-86E6-A0D7C732DEB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26D370-70D8-4FB2-A4CA-3B0B055A96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68A9D6-EB8D-4CEB-8C86-C56AC915389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CE583A9-4CED-4E49-AD04-306B8A7A31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7051A27-8631-47DE-9462-A0A4DD1EA0F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14BE91D-7A5F-4304-B4AE-A6308AA14C3A}"/>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8" name="Footer Placeholder 7">
            <a:extLst>
              <a:ext uri="{FF2B5EF4-FFF2-40B4-BE49-F238E27FC236}">
                <a16:creationId xmlns:a16="http://schemas.microsoft.com/office/drawing/2014/main" id="{0577632C-9F59-4E8B-9194-4E1CFA325F1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44A0E5F-6377-4C7E-B952-154A313E2E1E}"/>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11235082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37C0E-5A45-4262-8B6B-8B6CABF6C3B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FC6623D-0AAE-4984-B774-2088C2EBF39C}"/>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4" name="Footer Placeholder 3">
            <a:extLst>
              <a:ext uri="{FF2B5EF4-FFF2-40B4-BE49-F238E27FC236}">
                <a16:creationId xmlns:a16="http://schemas.microsoft.com/office/drawing/2014/main" id="{A439CA15-0DC6-4F10-9AE0-9EC144B0188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12B078E-25A2-4BB6-858F-CA1BF751A071}"/>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952992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51A282-D50D-45B4-B2C1-A7AB91722FE2}"/>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3" name="Footer Placeholder 2">
            <a:extLst>
              <a:ext uri="{FF2B5EF4-FFF2-40B4-BE49-F238E27FC236}">
                <a16:creationId xmlns:a16="http://schemas.microsoft.com/office/drawing/2014/main" id="{E5BADFDE-B60C-48CA-9FD4-46C61117A8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24CF6BE-FCA0-46B8-BF31-6126408F418E}"/>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41271536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27A92-3F2D-4B93-8232-780E2268AA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48E58B8-3AA4-4457-A1C6-D3E005E5C0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94367E0-8357-4FA9-8625-7284B4EC47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12BC541-5B9C-4F97-9FEE-2C0526112713}"/>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6" name="Footer Placeholder 5">
            <a:extLst>
              <a:ext uri="{FF2B5EF4-FFF2-40B4-BE49-F238E27FC236}">
                <a16:creationId xmlns:a16="http://schemas.microsoft.com/office/drawing/2014/main" id="{3A58770F-463B-4FD9-B8BF-316132FADE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3185E3-0C0B-43AD-A1B0-9CFA047215B0}"/>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38782686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67FED0-F1B2-4C69-AA91-67FF9F674F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C80035-906A-4D32-9A6B-26A357F6795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1227A96-6B22-42F3-BB00-22CC1F24DE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2F9C870-7BF5-40A4-8834-E603E093EB71}"/>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6" name="Footer Placeholder 5">
            <a:extLst>
              <a:ext uri="{FF2B5EF4-FFF2-40B4-BE49-F238E27FC236}">
                <a16:creationId xmlns:a16="http://schemas.microsoft.com/office/drawing/2014/main" id="{4B164C44-1886-4498-83DF-0A3C9D5CC1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6D2581-6E53-4DAE-82F5-7693A6F9E42B}"/>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8773938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99A1D-BF18-405E-8D68-6335A171874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15A0249-4C1C-4DD5-AB31-E5B46DB2B1F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7107C6-5933-4DD6-8BE7-59FAEDC27B1E}"/>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5" name="Footer Placeholder 4">
            <a:extLst>
              <a:ext uri="{FF2B5EF4-FFF2-40B4-BE49-F238E27FC236}">
                <a16:creationId xmlns:a16="http://schemas.microsoft.com/office/drawing/2014/main" id="{A5DBFE2A-CC13-476E-9AB4-DB44E8E678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95D933-FD5B-42CC-9596-8504B7C7F99D}"/>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36107640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BA2FBA3-DFDF-4DEF-B914-4C006F7F2ED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7A8F6C3-0DBF-4E53-B92A-0B708389246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3DD674-202A-4CF0-9049-6AD2300BE16C}"/>
              </a:ext>
            </a:extLst>
          </p:cNvPr>
          <p:cNvSpPr>
            <a:spLocks noGrp="1"/>
          </p:cNvSpPr>
          <p:nvPr>
            <p:ph type="dt" sz="half" idx="10"/>
          </p:nvPr>
        </p:nvSpPr>
        <p:spPr/>
        <p:txBody>
          <a:bodyPr/>
          <a:lstStyle/>
          <a:p>
            <a:fld id="{D223BBB2-8668-495F-BD94-6DF8F7343211}" type="datetimeFigureOut">
              <a:rPr lang="en-US" smtClean="0"/>
              <a:t>5/29/26</a:t>
            </a:fld>
            <a:endParaRPr lang="en-US"/>
          </a:p>
        </p:txBody>
      </p:sp>
      <p:sp>
        <p:nvSpPr>
          <p:cNvPr id="5" name="Footer Placeholder 4">
            <a:extLst>
              <a:ext uri="{FF2B5EF4-FFF2-40B4-BE49-F238E27FC236}">
                <a16:creationId xmlns:a16="http://schemas.microsoft.com/office/drawing/2014/main" id="{ED5AA123-8193-40FC-BC12-394F2FBA08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0FFB28-CD3A-48E0-9E6C-CE1989862E4D}"/>
              </a:ext>
            </a:extLst>
          </p:cNvPr>
          <p:cNvSpPr>
            <a:spLocks noGrp="1"/>
          </p:cNvSpPr>
          <p:nvPr>
            <p:ph type="sldNum" sz="quarter" idx="12"/>
          </p:nvPr>
        </p:nvSpPr>
        <p:spPr/>
        <p:txBody>
          <a:bodyPr/>
          <a:lstStyle/>
          <a:p>
            <a:fld id="{89AA23BE-7B6E-4FAD-8174-85F2F109BD1A}" type="slidenum">
              <a:rPr lang="en-US" smtClean="0"/>
              <a:t>‹#›</a:t>
            </a:fld>
            <a:endParaRPr lang="en-US"/>
          </a:p>
        </p:txBody>
      </p:sp>
    </p:spTree>
    <p:extLst>
      <p:ext uri="{BB962C8B-B14F-4D97-AF65-F5344CB8AC3E}">
        <p14:creationId xmlns:p14="http://schemas.microsoft.com/office/powerpoint/2010/main" val="5943709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859864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Opener">
    <p:spTree>
      <p:nvGrpSpPr>
        <p:cNvPr id="1" name=""/>
        <p:cNvGrpSpPr/>
        <p:nvPr/>
      </p:nvGrpSpPr>
      <p:grpSpPr>
        <a:xfrm>
          <a:off x="0" y="0"/>
          <a:ext cx="0" cy="0"/>
          <a:chOff x="0" y="0"/>
          <a:chExt cx="0" cy="0"/>
        </a:xfrm>
      </p:grpSpPr>
      <p:sp>
        <p:nvSpPr>
          <p:cNvPr id="5" name="Header rule">
            <a:extLst>
              <a:ext uri="{FF2B5EF4-FFF2-40B4-BE49-F238E27FC236}">
                <a16:creationId xmlns:a16="http://schemas.microsoft.com/office/drawing/2014/main" id="{198C97F7-A4B7-A44F-8837-702C9EA03268}"/>
              </a:ext>
            </a:extLst>
          </p:cNvPr>
          <p:cNvSpPr/>
          <p:nvPr userDrawn="1"/>
        </p:nvSpPr>
        <p:spPr>
          <a:xfrm>
            <a:off x="853440" y="4023360"/>
            <a:ext cx="10363200" cy="48768"/>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endParaRPr lang="en-US" sz="2400" b="0" i="0" dirty="0">
              <a:latin typeface="Helvetica Regular" pitchFamily="2" charset="0"/>
            </a:endParaRPr>
          </a:p>
        </p:txBody>
      </p:sp>
      <p:sp>
        <p:nvSpPr>
          <p:cNvPr id="6" name="Header rule">
            <a:extLst>
              <a:ext uri="{FF2B5EF4-FFF2-40B4-BE49-F238E27FC236}">
                <a16:creationId xmlns:a16="http://schemas.microsoft.com/office/drawing/2014/main" id="{597315B1-292E-3D41-AFF6-A072259E441C}"/>
              </a:ext>
            </a:extLst>
          </p:cNvPr>
          <p:cNvSpPr/>
          <p:nvPr userDrawn="1"/>
        </p:nvSpPr>
        <p:spPr>
          <a:xfrm>
            <a:off x="853440" y="2438400"/>
            <a:ext cx="10363200" cy="48768"/>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endParaRPr lang="en-US" sz="2400" b="0" i="0" dirty="0">
              <a:latin typeface="Helvetica Regular" pitchFamily="2" charset="0"/>
            </a:endParaRPr>
          </a:p>
        </p:txBody>
      </p:sp>
      <p:sp>
        <p:nvSpPr>
          <p:cNvPr id="9" name="Content Placeholder 4">
            <a:extLst>
              <a:ext uri="{FF2B5EF4-FFF2-40B4-BE49-F238E27FC236}">
                <a16:creationId xmlns:a16="http://schemas.microsoft.com/office/drawing/2014/main" id="{51842526-596D-444C-831F-EDD586E710D2}"/>
              </a:ext>
            </a:extLst>
          </p:cNvPr>
          <p:cNvSpPr>
            <a:spLocks noGrp="1"/>
          </p:cNvSpPr>
          <p:nvPr>
            <p:ph sz="quarter" idx="23" hasCustomPrompt="1"/>
          </p:nvPr>
        </p:nvSpPr>
        <p:spPr>
          <a:xfrm>
            <a:off x="853437" y="5216881"/>
            <a:ext cx="3261064" cy="334280"/>
          </a:xfrm>
          <a:prstGeom prst="rect">
            <a:avLst/>
          </a:prstGeom>
        </p:spPr>
        <p:txBody>
          <a:bodyPr wrap="none" lIns="9144" tIns="0" rIns="0" bIns="0" anchor="b" anchorCtr="0">
            <a:spAutoFit/>
          </a:bodyPr>
          <a:lstStyle>
            <a:lvl1pPr marL="0" indent="0">
              <a:buNone/>
              <a:defRPr sz="2400">
                <a:solidFill>
                  <a:schemeClr val="bg1"/>
                </a:solidFill>
              </a:defRPr>
            </a:lvl1pPr>
          </a:lstStyle>
          <a:p>
            <a:r>
              <a:rPr lang="en-US" dirty="0"/>
              <a:t>Jonathan Goldman, MD</a:t>
            </a:r>
          </a:p>
        </p:txBody>
      </p:sp>
      <p:sp>
        <p:nvSpPr>
          <p:cNvPr id="10" name="Content Placeholder 4">
            <a:extLst>
              <a:ext uri="{FF2B5EF4-FFF2-40B4-BE49-F238E27FC236}">
                <a16:creationId xmlns:a16="http://schemas.microsoft.com/office/drawing/2014/main" id="{7614E81D-36BE-0843-8E17-35D959F5ADC3}"/>
              </a:ext>
            </a:extLst>
          </p:cNvPr>
          <p:cNvSpPr>
            <a:spLocks noGrp="1"/>
          </p:cNvSpPr>
          <p:nvPr>
            <p:ph sz="quarter" idx="24" hasCustomPrompt="1"/>
          </p:nvPr>
        </p:nvSpPr>
        <p:spPr>
          <a:xfrm>
            <a:off x="853438" y="5551247"/>
            <a:ext cx="2303793" cy="334195"/>
          </a:xfrm>
          <a:prstGeom prst="rect">
            <a:avLst/>
          </a:prstGeom>
        </p:spPr>
        <p:txBody>
          <a:bodyPr wrap="none" lIns="9144" tIns="0" rIns="0" bIns="0" anchor="b" anchorCtr="0">
            <a:spAutoFit/>
          </a:bodyPr>
          <a:lstStyle>
            <a:lvl1pPr marL="0" indent="0">
              <a:buNone/>
              <a:defRPr sz="2400">
                <a:solidFill>
                  <a:schemeClr val="bg1"/>
                </a:solidFill>
              </a:defRPr>
            </a:lvl1pPr>
          </a:lstStyle>
          <a:p>
            <a:r>
              <a:rPr lang="en-US" dirty="0"/>
              <a:t>Professor, UCLA</a:t>
            </a:r>
          </a:p>
        </p:txBody>
      </p:sp>
      <p:sp>
        <p:nvSpPr>
          <p:cNvPr id="11" name="Text Placeholder 5">
            <a:extLst>
              <a:ext uri="{FF2B5EF4-FFF2-40B4-BE49-F238E27FC236}">
                <a16:creationId xmlns:a16="http://schemas.microsoft.com/office/drawing/2014/main" id="{F1570365-4D0D-EC45-BEDD-AB605BCD2DE9}"/>
              </a:ext>
            </a:extLst>
          </p:cNvPr>
          <p:cNvSpPr>
            <a:spLocks noGrp="1"/>
          </p:cNvSpPr>
          <p:nvPr>
            <p:ph type="body" sz="quarter" idx="25" hasCustomPrompt="1"/>
          </p:nvPr>
        </p:nvSpPr>
        <p:spPr>
          <a:xfrm>
            <a:off x="853440" y="2194560"/>
            <a:ext cx="4474815" cy="148630"/>
          </a:xfrm>
          <a:prstGeom prst="rect">
            <a:avLst/>
          </a:prstGeom>
        </p:spPr>
        <p:txBody>
          <a:bodyPr wrap="none" lIns="18288" tIns="0" rIns="0" bIns="0">
            <a:spAutoFit/>
          </a:bodyPr>
          <a:lstStyle>
            <a:lvl1pPr marL="0" indent="0">
              <a:buNone/>
              <a:defRPr sz="1067" cap="all" baseline="0">
                <a:latin typeface="+mn-lt"/>
              </a:defRPr>
            </a:lvl1pPr>
            <a:lvl2pPr marL="0" indent="0">
              <a:buFont typeface="Arial" panose="020B0604020202020204" pitchFamily="34" charset="0"/>
              <a:buNone/>
              <a:defRPr sz="1067">
                <a:latin typeface="+mn-lt"/>
              </a:defRPr>
            </a:lvl2pPr>
            <a:lvl3pPr marL="484620" indent="0">
              <a:buNone/>
              <a:defRPr sz="1067">
                <a:latin typeface="+mn-lt"/>
              </a:defRPr>
            </a:lvl3pPr>
            <a:lvl4pPr marL="0" indent="0">
              <a:buNone/>
              <a:defRPr sz="1067">
                <a:latin typeface="+mn-lt"/>
              </a:defRPr>
            </a:lvl4pPr>
            <a:lvl5pPr marL="0" indent="0">
              <a:buNone/>
              <a:defRPr sz="1067">
                <a:latin typeface="+mn-lt"/>
              </a:defRPr>
            </a:lvl5pPr>
          </a:lstStyle>
          <a:p>
            <a:pPr lvl="0"/>
            <a:r>
              <a:rPr lang="en-US" dirty="0"/>
              <a:t>JOB # GOES HERE [REMOVE FOR LIVE AUDIENCE PRESENTATION]</a:t>
            </a:r>
          </a:p>
        </p:txBody>
      </p:sp>
      <p:sp>
        <p:nvSpPr>
          <p:cNvPr id="13" name="Text Placeholder 12">
            <a:extLst>
              <a:ext uri="{FF2B5EF4-FFF2-40B4-BE49-F238E27FC236}">
                <a16:creationId xmlns:a16="http://schemas.microsoft.com/office/drawing/2014/main" id="{4845E9B1-083C-B34E-AC7C-964685DBFAAB}"/>
              </a:ext>
            </a:extLst>
          </p:cNvPr>
          <p:cNvSpPr>
            <a:spLocks noGrp="1"/>
          </p:cNvSpPr>
          <p:nvPr>
            <p:ph type="body" sz="quarter" idx="32" hasCustomPrompt="1"/>
          </p:nvPr>
        </p:nvSpPr>
        <p:spPr>
          <a:xfrm>
            <a:off x="853440" y="2523743"/>
            <a:ext cx="10363200" cy="1475232"/>
          </a:xfrm>
          <a:prstGeom prst="rect">
            <a:avLst/>
          </a:prstGeom>
        </p:spPr>
        <p:txBody>
          <a:bodyPr lIns="0" tIns="0" rIns="0" bIns="0" anchor="ctr" anchorCtr="0"/>
          <a:lstStyle>
            <a:lvl1pPr marL="0" indent="0">
              <a:buNone/>
              <a:defRPr sz="4800" b="1"/>
            </a:lvl1pPr>
            <a:lvl2pPr marL="457189" indent="0">
              <a:buNone/>
              <a:defRPr sz="4800" b="1"/>
            </a:lvl2pPr>
            <a:lvl3pPr marL="914377" indent="0">
              <a:buNone/>
              <a:defRPr sz="4800" b="1"/>
            </a:lvl3pPr>
            <a:lvl4pPr marL="1371566" indent="0">
              <a:buNone/>
              <a:defRPr sz="4800" b="1"/>
            </a:lvl4pPr>
            <a:lvl5pPr marL="1828754" indent="0">
              <a:buNone/>
              <a:defRPr sz="4800" b="1"/>
            </a:lvl5pPr>
          </a:lstStyle>
          <a:p>
            <a:pPr lvl="0"/>
            <a:r>
              <a:rPr lang="en-US" dirty="0"/>
              <a:t>Presentation Opener</a:t>
            </a:r>
          </a:p>
          <a:p>
            <a:pPr lvl="0"/>
            <a:r>
              <a:rPr lang="en-US" dirty="0"/>
              <a:t>Title Goes Here</a:t>
            </a:r>
          </a:p>
        </p:txBody>
      </p:sp>
      <p:pic>
        <p:nvPicPr>
          <p:cNvPr id="4" name="Picture 3">
            <a:extLst>
              <a:ext uri="{FF2B5EF4-FFF2-40B4-BE49-F238E27FC236}">
                <a16:creationId xmlns:a16="http://schemas.microsoft.com/office/drawing/2014/main" id="{2DB192B6-C67A-E3F5-6DE8-5B9640DE4A3C}"/>
              </a:ext>
            </a:extLst>
          </p:cNvPr>
          <p:cNvPicPr>
            <a:picLocks noChangeAspect="1"/>
          </p:cNvPicPr>
          <p:nvPr userDrawn="1"/>
        </p:nvPicPr>
        <p:blipFill>
          <a:blip r:embed="rId2"/>
          <a:stretch>
            <a:fillRect/>
          </a:stretch>
        </p:blipFill>
        <p:spPr>
          <a:xfrm>
            <a:off x="9415604" y="158633"/>
            <a:ext cx="1496840" cy="1496840"/>
          </a:xfrm>
          <a:prstGeom prst="rect">
            <a:avLst/>
          </a:prstGeom>
        </p:spPr>
      </p:pic>
    </p:spTree>
    <p:extLst>
      <p:ext uri="{BB962C8B-B14F-4D97-AF65-F5344CB8AC3E}">
        <p14:creationId xmlns:p14="http://schemas.microsoft.com/office/powerpoint/2010/main" val="29394037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592">
          <p15:clr>
            <a:srgbClr val="FBAE40"/>
          </p15:clr>
        </p15:guide>
        <p15:guide id="2" orient="horz" pos="368">
          <p15:clr>
            <a:srgbClr val="FBAE40"/>
          </p15:clr>
        </p15:guide>
        <p15:guide id="3" pos="544">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3" name="Header rule">
            <a:extLst>
              <a:ext uri="{FF2B5EF4-FFF2-40B4-BE49-F238E27FC236}">
                <a16:creationId xmlns:a16="http://schemas.microsoft.com/office/drawing/2014/main" id="{7A6017F5-68B7-D944-A014-D63BB33FFFAF}"/>
              </a:ext>
            </a:extLst>
          </p:cNvPr>
          <p:cNvSpPr/>
          <p:nvPr userDrawn="1"/>
        </p:nvSpPr>
        <p:spPr>
          <a:xfrm>
            <a:off x="853440" y="3291840"/>
            <a:ext cx="10363200" cy="48768"/>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endParaRPr lang="en-US" sz="2400" b="0" i="0" dirty="0">
              <a:latin typeface="Helvetica Regular" pitchFamily="2" charset="0"/>
            </a:endParaRPr>
          </a:p>
        </p:txBody>
      </p:sp>
      <p:sp>
        <p:nvSpPr>
          <p:cNvPr id="4" name="TextBox 3">
            <a:extLst>
              <a:ext uri="{FF2B5EF4-FFF2-40B4-BE49-F238E27FC236}">
                <a16:creationId xmlns:a16="http://schemas.microsoft.com/office/drawing/2014/main" id="{95D8306F-5F87-7847-B58F-BCA4CBD4690B}"/>
              </a:ext>
            </a:extLst>
          </p:cNvPr>
          <p:cNvSpPr txBox="1"/>
          <p:nvPr userDrawn="1"/>
        </p:nvSpPr>
        <p:spPr>
          <a:xfrm>
            <a:off x="853440" y="2499360"/>
            <a:ext cx="10363200" cy="738664"/>
          </a:xfrm>
          <a:prstGeom prst="rect">
            <a:avLst/>
          </a:prstGeom>
          <a:noFill/>
        </p:spPr>
        <p:txBody>
          <a:bodyPr wrap="square" lIns="0" tIns="0" rIns="0" bIns="0" rtlCol="0" anchor="b" anchorCtr="0">
            <a:spAutoFit/>
          </a:bodyPr>
          <a:lstStyle/>
          <a:p>
            <a:r>
              <a:rPr lang="en-US" sz="4800" b="1" i="0" baseline="0" dirty="0">
                <a:solidFill>
                  <a:schemeClr val="bg1"/>
                </a:solidFill>
                <a:latin typeface="Helvetica" pitchFamily="2" charset="0"/>
              </a:rPr>
              <a:t>Section Divider</a:t>
            </a:r>
          </a:p>
        </p:txBody>
      </p:sp>
      <p:sp>
        <p:nvSpPr>
          <p:cNvPr id="5" name="Text Placeholder 3">
            <a:extLst>
              <a:ext uri="{FF2B5EF4-FFF2-40B4-BE49-F238E27FC236}">
                <a16:creationId xmlns:a16="http://schemas.microsoft.com/office/drawing/2014/main" id="{461EF51F-6AE7-6944-9BE5-D164F3B6239A}"/>
              </a:ext>
            </a:extLst>
          </p:cNvPr>
          <p:cNvSpPr>
            <a:spLocks noGrp="1"/>
          </p:cNvSpPr>
          <p:nvPr>
            <p:ph type="body" sz="quarter" idx="20" hasCustomPrompt="1"/>
          </p:nvPr>
        </p:nvSpPr>
        <p:spPr>
          <a:xfrm>
            <a:off x="853439" y="3535680"/>
            <a:ext cx="10363200" cy="297091"/>
          </a:xfrm>
          <a:prstGeom prst="rect">
            <a:avLst/>
          </a:prstGeom>
        </p:spPr>
        <p:txBody>
          <a:bodyPr lIns="0" tIns="0" rIns="0" bIns="0">
            <a:spAutoFit/>
          </a:bodyPr>
          <a:lstStyle>
            <a:lvl1pPr marL="0" indent="0">
              <a:buFontTx/>
              <a:buNone/>
              <a:defRPr sz="2133" b="1" i="0" cap="all" baseline="0">
                <a:solidFill>
                  <a:schemeClr val="bg1"/>
                </a:solidFill>
                <a:latin typeface="Helvetica" pitchFamily="2" charset="0"/>
              </a:defRPr>
            </a:lvl1pPr>
            <a:lvl2pPr>
              <a:buFontTx/>
              <a:buNone/>
              <a:defRPr b="1"/>
            </a:lvl2pPr>
            <a:lvl3pPr marL="914377" indent="0">
              <a:buFontTx/>
              <a:buNone/>
              <a:defRPr b="1"/>
            </a:lvl3pPr>
            <a:lvl4pPr marL="1371566" indent="0">
              <a:buFontTx/>
              <a:buNone/>
              <a:defRPr b="1"/>
            </a:lvl4pPr>
            <a:lvl5pPr marL="1828754" indent="0">
              <a:buFontTx/>
              <a:buNone/>
              <a:defRPr b="1"/>
            </a:lvl5pPr>
          </a:lstStyle>
          <a:p>
            <a:pPr lvl="0"/>
            <a:r>
              <a:rPr lang="en-US" dirty="0"/>
              <a:t>ADDITIONAL TEXT GOES HERE </a:t>
            </a:r>
          </a:p>
        </p:txBody>
      </p:sp>
      <p:sp>
        <p:nvSpPr>
          <p:cNvPr id="7" name="Slide Number Placeholder 6">
            <a:extLst>
              <a:ext uri="{FF2B5EF4-FFF2-40B4-BE49-F238E27FC236}">
                <a16:creationId xmlns:a16="http://schemas.microsoft.com/office/drawing/2014/main" id="{DDC6E991-AFE5-8A47-BE30-B779E069309C}"/>
              </a:ext>
            </a:extLst>
          </p:cNvPr>
          <p:cNvSpPr>
            <a:spLocks noGrp="1"/>
          </p:cNvSpPr>
          <p:nvPr>
            <p:ph type="sldNum" sz="quarter" idx="22"/>
          </p:nvPr>
        </p:nvSpPr>
        <p:spPr>
          <a:xfrm>
            <a:off x="11228832" y="6339841"/>
            <a:ext cx="609600" cy="508857"/>
          </a:xfrm>
          <a:prstGeom prst="rect">
            <a:avLst/>
          </a:prstGeom>
        </p:spPr>
        <p:txBody>
          <a:bodyPr/>
          <a:lstStyle/>
          <a:p>
            <a:fld id="{BD59DAAA-0634-FC41-A826-8BC222AF9A3E}" type="slidenum">
              <a:rPr lang="en-US" smtClean="0"/>
              <a:pPr/>
              <a:t>‹#›</a:t>
            </a:fld>
            <a:endParaRPr lang="en-US" dirty="0"/>
          </a:p>
        </p:txBody>
      </p:sp>
    </p:spTree>
    <p:extLst>
      <p:ext uri="{BB962C8B-B14F-4D97-AF65-F5344CB8AC3E}">
        <p14:creationId xmlns:p14="http://schemas.microsoft.com/office/powerpoint/2010/main" val="10050684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tatement w/dark backgroun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5D5063-146A-044A-80F5-2156075E54D7}"/>
              </a:ext>
            </a:extLst>
          </p:cNvPr>
          <p:cNvSpPr>
            <a:spLocks noGrp="1"/>
          </p:cNvSpPr>
          <p:nvPr>
            <p:ph type="sldNum" sz="quarter" idx="22"/>
          </p:nvPr>
        </p:nvSpPr>
        <p:spPr>
          <a:xfrm>
            <a:off x="11228832" y="6339841"/>
            <a:ext cx="609600" cy="508857"/>
          </a:xfrm>
          <a:prstGeom prst="rect">
            <a:avLst/>
          </a:prstGeom>
        </p:spPr>
        <p:txBody>
          <a:bodyPr/>
          <a:lstStyle/>
          <a:p>
            <a:fld id="{BD59DAAA-0634-FC41-A826-8BC222AF9A3E}" type="slidenum">
              <a:rPr lang="en-US" smtClean="0"/>
              <a:pPr/>
              <a:t>‹#›</a:t>
            </a:fld>
            <a:endParaRPr lang="en-US" dirty="0"/>
          </a:p>
        </p:txBody>
      </p:sp>
      <p:sp>
        <p:nvSpPr>
          <p:cNvPr id="6" name="Text Placeholder 5">
            <a:extLst>
              <a:ext uri="{FF2B5EF4-FFF2-40B4-BE49-F238E27FC236}">
                <a16:creationId xmlns:a16="http://schemas.microsoft.com/office/drawing/2014/main" id="{3A64EE3B-0EE4-F14E-B999-7AA86E1012D2}"/>
              </a:ext>
            </a:extLst>
          </p:cNvPr>
          <p:cNvSpPr>
            <a:spLocks noGrp="1"/>
          </p:cNvSpPr>
          <p:nvPr>
            <p:ph type="body" sz="quarter" idx="23" hasCustomPrompt="1"/>
          </p:nvPr>
        </p:nvSpPr>
        <p:spPr>
          <a:xfrm>
            <a:off x="1828800" y="1877569"/>
            <a:ext cx="8534400" cy="2220095"/>
          </a:xfrm>
          <a:prstGeom prst="rect">
            <a:avLst/>
          </a:prstGeom>
        </p:spPr>
        <p:txBody>
          <a:bodyPr lIns="0" tIns="0" rIns="0" bIns="0" anchor="ctr" anchorCtr="0">
            <a:spAutoFit/>
          </a:bodyPr>
          <a:lstStyle>
            <a:lvl1pPr marL="0" indent="0" algn="ctr">
              <a:buNone/>
              <a:defRPr sz="5333"/>
            </a:lvl1pPr>
            <a:lvl2pPr marL="457189" indent="0" algn="ctr">
              <a:buNone/>
              <a:defRPr sz="5333"/>
            </a:lvl2pPr>
            <a:lvl3pPr marL="914377" indent="0" algn="ctr">
              <a:buNone/>
              <a:defRPr sz="5333"/>
            </a:lvl3pPr>
            <a:lvl4pPr marL="1371566" indent="0" algn="ctr">
              <a:buNone/>
              <a:defRPr sz="5333"/>
            </a:lvl4pPr>
            <a:lvl5pPr marL="1828754" indent="0" algn="ctr">
              <a:buNone/>
              <a:defRPr sz="5333"/>
            </a:lvl5pPr>
          </a:lstStyle>
          <a:p>
            <a:pPr lvl="0"/>
            <a:r>
              <a:rPr lang="en-US" dirty="0"/>
              <a:t>Lorem ipsum dolor sit </a:t>
            </a:r>
            <a:r>
              <a:rPr lang="en-US" dirty="0" err="1"/>
              <a:t>amet</a:t>
            </a:r>
            <a:r>
              <a:rPr lang="en-US" dirty="0"/>
              <a:t> ex </a:t>
            </a:r>
            <a:r>
              <a:rPr lang="en-US" dirty="0" err="1"/>
              <a:t>eum</a:t>
            </a:r>
            <a:r>
              <a:rPr lang="en-US" dirty="0"/>
              <a:t> </a:t>
            </a:r>
            <a:r>
              <a:rPr lang="en-US" dirty="0" err="1"/>
              <a:t>reque</a:t>
            </a:r>
            <a:r>
              <a:rPr lang="en-US" dirty="0"/>
              <a:t> </a:t>
            </a:r>
            <a:r>
              <a:rPr lang="en-US" dirty="0" err="1"/>
              <a:t>graece</a:t>
            </a:r>
            <a:r>
              <a:rPr lang="en-US" dirty="0"/>
              <a:t> </a:t>
            </a:r>
            <a:r>
              <a:rPr lang="en-US" dirty="0" err="1"/>
              <a:t>nam</a:t>
            </a:r>
            <a:r>
              <a:rPr lang="en-US" dirty="0"/>
              <a:t> </a:t>
            </a:r>
            <a:r>
              <a:rPr lang="en-US" dirty="0" err="1"/>
              <a:t>harum</a:t>
            </a:r>
            <a:r>
              <a:rPr lang="en-US" dirty="0"/>
              <a:t> </a:t>
            </a:r>
            <a:r>
              <a:rPr lang="en-US" dirty="0" err="1"/>
              <a:t>vonsequat</a:t>
            </a:r>
            <a:endParaRPr lang="en-US" dirty="0"/>
          </a:p>
        </p:txBody>
      </p:sp>
    </p:spTree>
    <p:extLst>
      <p:ext uri="{BB962C8B-B14F-4D97-AF65-F5344CB8AC3E}">
        <p14:creationId xmlns:p14="http://schemas.microsoft.com/office/powerpoint/2010/main" val="35207737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3" name="Header rule">
            <a:extLst>
              <a:ext uri="{FF2B5EF4-FFF2-40B4-BE49-F238E27FC236}">
                <a16:creationId xmlns:a16="http://schemas.microsoft.com/office/drawing/2014/main" id="{7A6017F5-68B7-D944-A014-D63BB33FFFAF}"/>
              </a:ext>
            </a:extLst>
          </p:cNvPr>
          <p:cNvSpPr/>
          <p:nvPr userDrawn="1"/>
        </p:nvSpPr>
        <p:spPr>
          <a:xfrm>
            <a:off x="853440" y="3291840"/>
            <a:ext cx="10363200" cy="48768"/>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endParaRPr lang="en-US" sz="2400" b="0" i="0" dirty="0">
              <a:latin typeface="Helvetica Regular" pitchFamily="2" charset="0"/>
            </a:endParaRPr>
          </a:p>
        </p:txBody>
      </p:sp>
      <p:sp>
        <p:nvSpPr>
          <p:cNvPr id="4" name="TextBox 3">
            <a:extLst>
              <a:ext uri="{FF2B5EF4-FFF2-40B4-BE49-F238E27FC236}">
                <a16:creationId xmlns:a16="http://schemas.microsoft.com/office/drawing/2014/main" id="{95D8306F-5F87-7847-B58F-BCA4CBD4690B}"/>
              </a:ext>
            </a:extLst>
          </p:cNvPr>
          <p:cNvSpPr txBox="1"/>
          <p:nvPr userDrawn="1"/>
        </p:nvSpPr>
        <p:spPr>
          <a:xfrm>
            <a:off x="853440" y="2499360"/>
            <a:ext cx="10363200" cy="738664"/>
          </a:xfrm>
          <a:prstGeom prst="rect">
            <a:avLst/>
          </a:prstGeom>
          <a:noFill/>
        </p:spPr>
        <p:txBody>
          <a:bodyPr wrap="square" lIns="0" tIns="0" rIns="0" bIns="0" rtlCol="0" anchor="b" anchorCtr="0">
            <a:spAutoFit/>
          </a:bodyPr>
          <a:lstStyle/>
          <a:p>
            <a:r>
              <a:rPr lang="en-US" sz="4800" b="1" i="0" baseline="0" dirty="0">
                <a:solidFill>
                  <a:schemeClr val="bg1"/>
                </a:solidFill>
                <a:latin typeface="Helvetica" pitchFamily="2" charset="0"/>
              </a:rPr>
              <a:t>Thank You</a:t>
            </a:r>
          </a:p>
        </p:txBody>
      </p:sp>
      <p:sp>
        <p:nvSpPr>
          <p:cNvPr id="5" name="Slide Number Placeholder 4">
            <a:extLst>
              <a:ext uri="{FF2B5EF4-FFF2-40B4-BE49-F238E27FC236}">
                <a16:creationId xmlns:a16="http://schemas.microsoft.com/office/drawing/2014/main" id="{E23D9880-B92E-0743-A2B3-53C6C562B25F}"/>
              </a:ext>
            </a:extLst>
          </p:cNvPr>
          <p:cNvSpPr>
            <a:spLocks noGrp="1"/>
          </p:cNvSpPr>
          <p:nvPr>
            <p:ph type="sldNum" sz="quarter" idx="11"/>
          </p:nvPr>
        </p:nvSpPr>
        <p:spPr>
          <a:xfrm>
            <a:off x="11228832" y="6339840"/>
            <a:ext cx="609600" cy="487680"/>
          </a:xfrm>
          <a:prstGeom prst="rect">
            <a:avLst/>
          </a:prstGeom>
        </p:spPr>
        <p:txBody>
          <a:bodyPr/>
          <a:lstStyle/>
          <a:p>
            <a:fld id="{BD59DAAA-0634-FC41-A826-8BC222AF9A3E}" type="slidenum">
              <a:rPr lang="en-US" smtClean="0"/>
              <a:pPr/>
              <a:t>‹#›</a:t>
            </a:fld>
            <a:endParaRPr lang="en-US" dirty="0"/>
          </a:p>
        </p:txBody>
      </p:sp>
    </p:spTree>
    <p:extLst>
      <p:ext uri="{BB962C8B-B14F-4D97-AF65-F5344CB8AC3E}">
        <p14:creationId xmlns:p14="http://schemas.microsoft.com/office/powerpoint/2010/main" val="37403521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ln/>
        </p:spPr>
        <p:txBody>
          <a:bodyPr/>
          <a:lstStyle>
            <a:lvl1pPr>
              <a:defRPr/>
            </a:lvl1pPr>
          </a:lstStyle>
          <a:p>
            <a:pPr>
              <a:defRPr/>
            </a:pPr>
            <a:fld id="{7486EF8F-97F8-43F9-9583-D336B9A33131}" type="slidenum">
              <a:rPr lang="en-US" altLang="en-US"/>
              <a:pPr>
                <a:defRPr/>
              </a:pPr>
              <a:t>‹#›</a:t>
            </a:fld>
            <a:endParaRPr lang="en-US" altLang="en-US"/>
          </a:p>
        </p:txBody>
      </p:sp>
    </p:spTree>
    <p:extLst>
      <p:ext uri="{BB962C8B-B14F-4D97-AF65-F5344CB8AC3E}">
        <p14:creationId xmlns:p14="http://schemas.microsoft.com/office/powerpoint/2010/main" val="312429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Header w/copy">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A3E27AB-E22C-2E4F-A3EA-44DAE3ABD63C}"/>
              </a:ext>
            </a:extLst>
          </p:cNvPr>
          <p:cNvSpPr>
            <a:spLocks noGrp="1"/>
          </p:cNvSpPr>
          <p:nvPr>
            <p:ph type="body" sz="quarter" idx="13" hasCustomPrompt="1"/>
          </p:nvPr>
        </p:nvSpPr>
        <p:spPr>
          <a:xfrm>
            <a:off x="1463040" y="2438401"/>
            <a:ext cx="9144000" cy="777264"/>
          </a:xfrm>
          <a:prstGeom prst="rect">
            <a:avLst/>
          </a:prstGeom>
        </p:spPr>
        <p:txBody>
          <a:bodyPr>
            <a:spAutoFit/>
          </a:bodyPr>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baseline="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 magna </a:t>
            </a:r>
            <a:r>
              <a:rPr lang="en-US" sz="1867" b="0" i="0" kern="1200" dirty="0" err="1">
                <a:solidFill>
                  <a:srgbClr val="58595B"/>
                </a:solidFill>
                <a:effectLst/>
                <a:latin typeface="Helvetica" pitchFamily="2" charset="0"/>
                <a:ea typeface="+mn-ea"/>
                <a:cs typeface="+mn-cs"/>
              </a:rPr>
              <a:t>aliqua</a:t>
            </a:r>
            <a:r>
              <a:rPr lang="en-US" sz="1867" b="0" i="0" kern="1200" dirty="0">
                <a:solidFill>
                  <a:srgbClr val="58595B"/>
                </a:solidFill>
                <a:effectLst/>
                <a:latin typeface="Helvetica" pitchFamily="2" charset="0"/>
                <a:ea typeface="+mn-ea"/>
                <a:cs typeface="+mn-cs"/>
              </a:rPr>
              <a:t>. Ut </a:t>
            </a:r>
            <a:r>
              <a:rPr lang="en-US" sz="1867" b="0" i="0" kern="1200" dirty="0" err="1">
                <a:solidFill>
                  <a:srgbClr val="58595B"/>
                </a:solidFill>
                <a:effectLst/>
                <a:latin typeface="Helvetica" pitchFamily="2" charset="0"/>
                <a:ea typeface="+mn-ea"/>
                <a:cs typeface="+mn-cs"/>
              </a:rPr>
              <a:t>enim</a:t>
            </a:r>
            <a:r>
              <a:rPr lang="en-US" sz="1867" b="0" i="0" kern="1200" dirty="0">
                <a:solidFill>
                  <a:srgbClr val="58595B"/>
                </a:solidFill>
                <a:effectLst/>
                <a:latin typeface="Helvetica" pitchFamily="2" charset="0"/>
                <a:ea typeface="+mn-ea"/>
                <a:cs typeface="+mn-cs"/>
              </a:rPr>
              <a:t> ad minim </a:t>
            </a:r>
            <a:r>
              <a:rPr lang="en-US" sz="1867" b="0" i="0" kern="1200" dirty="0" err="1">
                <a:solidFill>
                  <a:srgbClr val="58595B"/>
                </a:solidFill>
                <a:effectLst/>
                <a:latin typeface="Helvetica" pitchFamily="2" charset="0"/>
                <a:ea typeface="+mn-ea"/>
                <a:cs typeface="+mn-cs"/>
              </a:rPr>
              <a:t>veniam</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quis</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nostrud</a:t>
            </a:r>
            <a:r>
              <a:rPr lang="en-US" sz="1867" b="0" i="0" kern="1200" dirty="0">
                <a:solidFill>
                  <a:srgbClr val="58595B"/>
                </a:solidFill>
                <a:effectLst/>
                <a:latin typeface="Helvetica" pitchFamily="2" charset="0"/>
                <a:ea typeface="+mn-ea"/>
                <a:cs typeface="+mn-cs"/>
              </a:rPr>
              <a:t> exercitation </a:t>
            </a:r>
            <a:r>
              <a:rPr lang="en-US" sz="1867" b="0" i="0" kern="1200" dirty="0" err="1">
                <a:solidFill>
                  <a:srgbClr val="58595B"/>
                </a:solidFill>
                <a:effectLst/>
                <a:latin typeface="Helvetica" pitchFamily="2" charset="0"/>
                <a:ea typeface="+mn-ea"/>
                <a:cs typeface="+mn-cs"/>
              </a:rPr>
              <a:t>ullamco</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is</a:t>
            </a:r>
            <a:r>
              <a:rPr lang="en-US" sz="1867" b="0" i="0" kern="1200" dirty="0">
                <a:solidFill>
                  <a:srgbClr val="58595B"/>
                </a:solidFill>
                <a:effectLst/>
                <a:latin typeface="Helvetica" pitchFamily="2" charset="0"/>
                <a:ea typeface="+mn-ea"/>
                <a:cs typeface="+mn-cs"/>
              </a:rPr>
              <a:t> nisi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liquip</a:t>
            </a:r>
            <a:r>
              <a:rPr lang="en-US" sz="1867" b="0" i="0" kern="1200" dirty="0">
                <a:solidFill>
                  <a:srgbClr val="58595B"/>
                </a:solidFill>
                <a:effectLst/>
                <a:latin typeface="Helvetica" pitchFamily="2" charset="0"/>
                <a:ea typeface="+mn-ea"/>
                <a:cs typeface="+mn-cs"/>
              </a:rPr>
              <a:t> ex </a:t>
            </a:r>
            <a:r>
              <a:rPr lang="en-US" sz="1867" b="0" i="0" kern="1200" dirty="0" err="1">
                <a:solidFill>
                  <a:srgbClr val="58595B"/>
                </a:solidFill>
                <a:effectLst/>
                <a:latin typeface="Helvetica" pitchFamily="2" charset="0"/>
                <a:ea typeface="+mn-ea"/>
                <a:cs typeface="+mn-cs"/>
              </a:rPr>
              <a:t>ead</a:t>
            </a:r>
            <a:r>
              <a:rPr lang="en-US" sz="1867" b="0" i="0" kern="1200" dirty="0">
                <a:solidFill>
                  <a:srgbClr val="58595B"/>
                </a:solidFill>
                <a:effectLst/>
                <a:latin typeface="Helvetica" pitchFamily="2" charset="0"/>
                <a:ea typeface="+mn-ea"/>
                <a:cs typeface="+mn-cs"/>
              </a:rPr>
              <a:t>.</a:t>
            </a:r>
          </a:p>
        </p:txBody>
      </p:sp>
      <p:sp>
        <p:nvSpPr>
          <p:cNvPr id="24" name="Text Placeholder 23">
            <a:extLst>
              <a:ext uri="{FF2B5EF4-FFF2-40B4-BE49-F238E27FC236}">
                <a16:creationId xmlns:a16="http://schemas.microsoft.com/office/drawing/2014/main" id="{B75E8B6C-2945-AB43-B572-F1D51C630C53}"/>
              </a:ext>
            </a:extLst>
          </p:cNvPr>
          <p:cNvSpPr>
            <a:spLocks noGrp="1"/>
          </p:cNvSpPr>
          <p:nvPr>
            <p:ph type="body" sz="quarter" idx="15" hasCustomPrompt="1"/>
          </p:nvPr>
        </p:nvSpPr>
        <p:spPr>
          <a:xfrm>
            <a:off x="1463040" y="1950720"/>
            <a:ext cx="9144000" cy="287259"/>
          </a:xfrm>
          <a:prstGeom prst="rect">
            <a:avLst/>
          </a:prstGeom>
        </p:spPr>
        <p:txBody>
          <a:bodyPr>
            <a:spAutoFit/>
          </a:bodyPr>
          <a:lstStyle>
            <a:lvl1pPr marL="0" indent="0">
              <a:lnSpc>
                <a:spcPct val="100000"/>
              </a:lnSpc>
              <a:buFontTx/>
              <a:buNone/>
              <a:defRPr b="1" i="0" cap="all" baseline="0">
                <a:latin typeface="Helvetica" pitchFamily="2" charset="0"/>
              </a:defRPr>
            </a:lvl1pPr>
          </a:lstStyle>
          <a:p>
            <a:pPr lvl="0"/>
            <a:r>
              <a:rPr lang="en-US" dirty="0"/>
              <a:t>SUBHEAD</a:t>
            </a:r>
          </a:p>
        </p:txBody>
      </p:sp>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3" name="Title 2">
            <a:extLst>
              <a:ext uri="{FF2B5EF4-FFF2-40B4-BE49-F238E27FC236}">
                <a16:creationId xmlns:a16="http://schemas.microsoft.com/office/drawing/2014/main" id="{8B117F2E-F782-844A-A783-F9F40B77A93D}"/>
              </a:ext>
            </a:extLst>
          </p:cNvPr>
          <p:cNvSpPr>
            <a:spLocks noGrp="1"/>
          </p:cNvSpPr>
          <p:nvPr>
            <p:ph type="title" hasCustomPrompt="1"/>
          </p:nvPr>
        </p:nvSpPr>
        <p:spPr/>
        <p:txBody>
          <a:bodyPr/>
          <a:lstStyle/>
          <a:p>
            <a:r>
              <a:rPr lang="en-US" dirty="0"/>
              <a:t>Header w/copy</a:t>
            </a:r>
          </a:p>
        </p:txBody>
      </p:sp>
    </p:spTree>
    <p:extLst>
      <p:ext uri="{BB962C8B-B14F-4D97-AF65-F5344CB8AC3E}">
        <p14:creationId xmlns:p14="http://schemas.microsoft.com/office/powerpoint/2010/main" val="34682000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er w/bullets">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A3E27AB-E22C-2E4F-A3EA-44DAE3ABD63C}"/>
              </a:ext>
            </a:extLst>
          </p:cNvPr>
          <p:cNvSpPr>
            <a:spLocks noGrp="1"/>
          </p:cNvSpPr>
          <p:nvPr>
            <p:ph type="body" sz="quarter" idx="13" hasCustomPrompt="1"/>
          </p:nvPr>
        </p:nvSpPr>
        <p:spPr>
          <a:xfrm>
            <a:off x="1463040" y="2438402"/>
            <a:ext cx="9144000" cy="777264"/>
          </a:xfrm>
          <a:prstGeom prst="rect">
            <a:avLst/>
          </a:prstGeom>
        </p:spPr>
        <p:txBody>
          <a:bodyPr>
            <a:spAutoFit/>
          </a:bodyPr>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baseline="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 magna </a:t>
            </a:r>
            <a:r>
              <a:rPr lang="en-US" sz="1867" b="0" i="0" kern="1200" dirty="0" err="1">
                <a:solidFill>
                  <a:srgbClr val="58595B"/>
                </a:solidFill>
                <a:effectLst/>
                <a:latin typeface="Helvetica" pitchFamily="2" charset="0"/>
                <a:ea typeface="+mn-ea"/>
                <a:cs typeface="+mn-cs"/>
              </a:rPr>
              <a:t>aliqua</a:t>
            </a:r>
            <a:r>
              <a:rPr lang="en-US" sz="1867" b="0" i="0" kern="1200" dirty="0">
                <a:solidFill>
                  <a:srgbClr val="58595B"/>
                </a:solidFill>
                <a:effectLst/>
                <a:latin typeface="Helvetica" pitchFamily="2" charset="0"/>
                <a:ea typeface="+mn-ea"/>
                <a:cs typeface="+mn-cs"/>
              </a:rPr>
              <a:t>. Ut </a:t>
            </a:r>
            <a:r>
              <a:rPr lang="en-US" sz="1867" b="0" i="0" kern="1200" dirty="0" err="1">
                <a:solidFill>
                  <a:srgbClr val="58595B"/>
                </a:solidFill>
                <a:effectLst/>
                <a:latin typeface="Helvetica" pitchFamily="2" charset="0"/>
                <a:ea typeface="+mn-ea"/>
                <a:cs typeface="+mn-cs"/>
              </a:rPr>
              <a:t>enim</a:t>
            </a:r>
            <a:r>
              <a:rPr lang="en-US" sz="1867" b="0" i="0" kern="1200" dirty="0">
                <a:solidFill>
                  <a:srgbClr val="58595B"/>
                </a:solidFill>
                <a:effectLst/>
                <a:latin typeface="Helvetica" pitchFamily="2" charset="0"/>
                <a:ea typeface="+mn-ea"/>
                <a:cs typeface="+mn-cs"/>
              </a:rPr>
              <a:t> ad minim </a:t>
            </a:r>
            <a:r>
              <a:rPr lang="en-US" sz="1867" b="0" i="0" kern="1200" dirty="0" err="1">
                <a:solidFill>
                  <a:srgbClr val="58595B"/>
                </a:solidFill>
                <a:effectLst/>
                <a:latin typeface="Helvetica" pitchFamily="2" charset="0"/>
                <a:ea typeface="+mn-ea"/>
                <a:cs typeface="+mn-cs"/>
              </a:rPr>
              <a:t>veniam</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quis</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nostrud</a:t>
            </a:r>
            <a:r>
              <a:rPr lang="en-US" sz="1867" b="0" i="0" kern="1200" dirty="0">
                <a:solidFill>
                  <a:srgbClr val="58595B"/>
                </a:solidFill>
                <a:effectLst/>
                <a:latin typeface="Helvetica" pitchFamily="2" charset="0"/>
                <a:ea typeface="+mn-ea"/>
                <a:cs typeface="+mn-cs"/>
              </a:rPr>
              <a:t> exercitation </a:t>
            </a:r>
            <a:r>
              <a:rPr lang="en-US" sz="1867" b="0" i="0" kern="1200" dirty="0" err="1">
                <a:solidFill>
                  <a:srgbClr val="58595B"/>
                </a:solidFill>
                <a:effectLst/>
                <a:latin typeface="Helvetica" pitchFamily="2" charset="0"/>
                <a:ea typeface="+mn-ea"/>
                <a:cs typeface="+mn-cs"/>
              </a:rPr>
              <a:t>ullamco</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is</a:t>
            </a:r>
            <a:r>
              <a:rPr lang="en-US" sz="1867" b="0" i="0" kern="1200" dirty="0">
                <a:solidFill>
                  <a:srgbClr val="58595B"/>
                </a:solidFill>
                <a:effectLst/>
                <a:latin typeface="Helvetica" pitchFamily="2" charset="0"/>
                <a:ea typeface="+mn-ea"/>
                <a:cs typeface="+mn-cs"/>
              </a:rPr>
              <a:t> nisi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liquip</a:t>
            </a:r>
            <a:r>
              <a:rPr lang="en-US" sz="1867" b="0" i="0" kern="1200" dirty="0">
                <a:solidFill>
                  <a:srgbClr val="58595B"/>
                </a:solidFill>
                <a:effectLst/>
                <a:latin typeface="Helvetica" pitchFamily="2" charset="0"/>
                <a:ea typeface="+mn-ea"/>
                <a:cs typeface="+mn-cs"/>
              </a:rPr>
              <a:t> ex </a:t>
            </a:r>
            <a:r>
              <a:rPr lang="en-US" sz="1867" b="0" i="0" kern="1200" dirty="0" err="1">
                <a:solidFill>
                  <a:srgbClr val="58595B"/>
                </a:solidFill>
                <a:effectLst/>
                <a:latin typeface="Helvetica" pitchFamily="2" charset="0"/>
                <a:ea typeface="+mn-ea"/>
                <a:cs typeface="+mn-cs"/>
              </a:rPr>
              <a:t>ead</a:t>
            </a:r>
            <a:r>
              <a:rPr lang="en-US" sz="1867" b="0" i="0" kern="1200" dirty="0">
                <a:solidFill>
                  <a:srgbClr val="58595B"/>
                </a:solidFill>
                <a:effectLst/>
                <a:latin typeface="Helvetica" pitchFamily="2" charset="0"/>
                <a:ea typeface="+mn-ea"/>
                <a:cs typeface="+mn-cs"/>
              </a:rPr>
              <a:t>.</a:t>
            </a:r>
          </a:p>
        </p:txBody>
      </p:sp>
      <p:sp>
        <p:nvSpPr>
          <p:cNvPr id="24" name="Text Placeholder 23">
            <a:extLst>
              <a:ext uri="{FF2B5EF4-FFF2-40B4-BE49-F238E27FC236}">
                <a16:creationId xmlns:a16="http://schemas.microsoft.com/office/drawing/2014/main" id="{B75E8B6C-2945-AB43-B572-F1D51C630C53}"/>
              </a:ext>
            </a:extLst>
          </p:cNvPr>
          <p:cNvSpPr>
            <a:spLocks noGrp="1"/>
          </p:cNvSpPr>
          <p:nvPr>
            <p:ph type="body" sz="quarter" idx="15" hasCustomPrompt="1"/>
          </p:nvPr>
        </p:nvSpPr>
        <p:spPr>
          <a:xfrm>
            <a:off x="1463040" y="1950720"/>
            <a:ext cx="9144000" cy="287259"/>
          </a:xfrm>
          <a:prstGeom prst="rect">
            <a:avLst/>
          </a:prstGeom>
        </p:spPr>
        <p:txBody>
          <a:bodyPr>
            <a:spAutoFit/>
          </a:bodyPr>
          <a:lstStyle>
            <a:lvl1pPr marL="0" indent="0">
              <a:lnSpc>
                <a:spcPct val="100000"/>
              </a:lnSpc>
              <a:buFontTx/>
              <a:buNone/>
              <a:defRPr b="1" i="0" cap="all" baseline="0">
                <a:latin typeface="Helvetica" pitchFamily="2" charset="0"/>
              </a:defRPr>
            </a:lvl1pPr>
          </a:lstStyle>
          <a:p>
            <a:pPr lvl="0"/>
            <a:r>
              <a:rPr lang="en-US" dirty="0"/>
              <a:t>SUBHEAD</a:t>
            </a:r>
          </a:p>
        </p:txBody>
      </p:sp>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4" name="Title 3">
            <a:extLst>
              <a:ext uri="{FF2B5EF4-FFF2-40B4-BE49-F238E27FC236}">
                <a16:creationId xmlns:a16="http://schemas.microsoft.com/office/drawing/2014/main" id="{34576D38-1D07-4944-9AE7-710415891258}"/>
              </a:ext>
            </a:extLst>
          </p:cNvPr>
          <p:cNvSpPr>
            <a:spLocks noGrp="1"/>
          </p:cNvSpPr>
          <p:nvPr>
            <p:ph type="title" hasCustomPrompt="1"/>
          </p:nvPr>
        </p:nvSpPr>
        <p:spPr/>
        <p:txBody>
          <a:bodyPr/>
          <a:lstStyle/>
          <a:p>
            <a:r>
              <a:rPr lang="en-US" dirty="0"/>
              <a:t>Header w/copy and bullets</a:t>
            </a:r>
          </a:p>
        </p:txBody>
      </p:sp>
      <p:sp>
        <p:nvSpPr>
          <p:cNvPr id="5" name="Text Placeholder 4">
            <a:extLst>
              <a:ext uri="{FF2B5EF4-FFF2-40B4-BE49-F238E27FC236}">
                <a16:creationId xmlns:a16="http://schemas.microsoft.com/office/drawing/2014/main" id="{0FFD0577-5F1A-6D46-A761-EF474AB9FB11}"/>
              </a:ext>
            </a:extLst>
          </p:cNvPr>
          <p:cNvSpPr>
            <a:spLocks noGrp="1"/>
          </p:cNvSpPr>
          <p:nvPr>
            <p:ph type="body" sz="quarter" idx="20" hasCustomPrompt="1"/>
          </p:nvPr>
        </p:nvSpPr>
        <p:spPr>
          <a:xfrm>
            <a:off x="1463039" y="3413761"/>
            <a:ext cx="9144000" cy="518519"/>
          </a:xfrm>
        </p:spPr>
        <p:txBody>
          <a:bodyPr lIns="365760">
            <a:spAutoFit/>
          </a:bodyPr>
          <a:lstStyle>
            <a:lvl1pPr>
              <a:defRPr/>
            </a:lvl1pPr>
          </a:lstStyle>
          <a:p>
            <a:pPr lvl="0"/>
            <a:r>
              <a:rPr lang="en-US" dirty="0"/>
              <a:t>Most bulleted slides should have no more than 5 bullets with only about 5-6 words per bullet.</a:t>
            </a:r>
          </a:p>
        </p:txBody>
      </p:sp>
    </p:spTree>
    <p:extLst>
      <p:ext uri="{BB962C8B-B14F-4D97-AF65-F5344CB8AC3E}">
        <p14:creationId xmlns:p14="http://schemas.microsoft.com/office/powerpoint/2010/main" val="30581517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Header w/two columns">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A3E27AB-E22C-2E4F-A3EA-44DAE3ABD63C}"/>
              </a:ext>
            </a:extLst>
          </p:cNvPr>
          <p:cNvSpPr>
            <a:spLocks noGrp="1"/>
          </p:cNvSpPr>
          <p:nvPr>
            <p:ph type="body" sz="quarter" idx="13" hasCustomPrompt="1"/>
          </p:nvPr>
        </p:nvSpPr>
        <p:spPr>
          <a:xfrm>
            <a:off x="1463040" y="2438400"/>
            <a:ext cx="4511040" cy="1553054"/>
          </a:xfrm>
          <a:prstGeom prst="rect">
            <a:avLst/>
          </a:prstGeom>
        </p:spPr>
        <p:txBody>
          <a:bodyPr>
            <a:spAutoFit/>
          </a:bodyPr>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 magna </a:t>
            </a:r>
            <a:r>
              <a:rPr lang="en-US" sz="1867" b="0" i="0" kern="1200" dirty="0" err="1">
                <a:solidFill>
                  <a:srgbClr val="58595B"/>
                </a:solidFill>
                <a:effectLst/>
                <a:latin typeface="Helvetica" pitchFamily="2" charset="0"/>
                <a:ea typeface="+mn-ea"/>
                <a:cs typeface="+mn-cs"/>
              </a:rPr>
              <a:t>aliqua</a:t>
            </a:r>
            <a:r>
              <a:rPr lang="en-US" sz="1867" b="0" i="0" kern="1200" dirty="0">
                <a:solidFill>
                  <a:srgbClr val="58595B"/>
                </a:solidFill>
                <a:effectLst/>
                <a:latin typeface="Helvetica" pitchFamily="2" charset="0"/>
                <a:ea typeface="+mn-ea"/>
                <a:cs typeface="+mn-cs"/>
              </a:rPr>
              <a:t>. Ut </a:t>
            </a:r>
            <a:r>
              <a:rPr lang="en-US" sz="1867" b="0" i="0" kern="1200" dirty="0" err="1">
                <a:solidFill>
                  <a:srgbClr val="58595B"/>
                </a:solidFill>
                <a:effectLst/>
                <a:latin typeface="Helvetica" pitchFamily="2" charset="0"/>
                <a:ea typeface="+mn-ea"/>
                <a:cs typeface="+mn-cs"/>
              </a:rPr>
              <a:t>enim</a:t>
            </a:r>
            <a:r>
              <a:rPr lang="en-US" sz="1867" b="0" i="0" kern="1200" dirty="0">
                <a:solidFill>
                  <a:srgbClr val="58595B"/>
                </a:solidFill>
                <a:effectLst/>
                <a:latin typeface="Helvetica" pitchFamily="2" charset="0"/>
                <a:ea typeface="+mn-ea"/>
                <a:cs typeface="+mn-cs"/>
              </a:rPr>
              <a:t> ad minim </a:t>
            </a:r>
            <a:r>
              <a:rPr lang="en-US" sz="1867" b="0" i="0" kern="1200" dirty="0" err="1">
                <a:solidFill>
                  <a:srgbClr val="58595B"/>
                </a:solidFill>
                <a:effectLst/>
                <a:latin typeface="Helvetica" pitchFamily="2" charset="0"/>
                <a:ea typeface="+mn-ea"/>
                <a:cs typeface="+mn-cs"/>
              </a:rPr>
              <a:t>veniam</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quis</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nostrud</a:t>
            </a:r>
            <a:r>
              <a:rPr lang="en-US" sz="1867" b="0" i="0" kern="1200" dirty="0">
                <a:solidFill>
                  <a:srgbClr val="58595B"/>
                </a:solidFill>
                <a:effectLst/>
                <a:latin typeface="Helvetica" pitchFamily="2" charset="0"/>
                <a:ea typeface="+mn-ea"/>
                <a:cs typeface="+mn-cs"/>
              </a:rPr>
              <a:t> exercitation </a:t>
            </a:r>
            <a:r>
              <a:rPr lang="en-US" sz="1867" b="0" i="0" kern="1200" dirty="0" err="1">
                <a:solidFill>
                  <a:srgbClr val="58595B"/>
                </a:solidFill>
                <a:effectLst/>
                <a:latin typeface="Helvetica" pitchFamily="2" charset="0"/>
                <a:ea typeface="+mn-ea"/>
                <a:cs typeface="+mn-cs"/>
              </a:rPr>
              <a:t>ullamco</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is</a:t>
            </a:r>
            <a:r>
              <a:rPr lang="en-US" sz="1867" b="0" i="0" kern="1200" dirty="0">
                <a:solidFill>
                  <a:srgbClr val="58595B"/>
                </a:solidFill>
                <a:effectLst/>
                <a:latin typeface="Helvetica" pitchFamily="2" charset="0"/>
                <a:ea typeface="+mn-ea"/>
                <a:cs typeface="+mn-cs"/>
              </a:rPr>
              <a:t> nisi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liquip</a:t>
            </a:r>
            <a:r>
              <a:rPr lang="en-US" sz="1867" b="0" i="0" kern="1200" dirty="0">
                <a:solidFill>
                  <a:srgbClr val="58595B"/>
                </a:solidFill>
                <a:effectLst/>
                <a:latin typeface="Helvetica" pitchFamily="2" charset="0"/>
                <a:ea typeface="+mn-ea"/>
                <a:cs typeface="+mn-cs"/>
              </a:rPr>
              <a:t> ex </a:t>
            </a:r>
            <a:r>
              <a:rPr lang="en-US" sz="1867" b="0" i="0" kern="1200" dirty="0" err="1">
                <a:solidFill>
                  <a:srgbClr val="58595B"/>
                </a:solidFill>
                <a:effectLst/>
                <a:latin typeface="Helvetica" pitchFamily="2" charset="0"/>
                <a:ea typeface="+mn-ea"/>
                <a:cs typeface="+mn-cs"/>
              </a:rPr>
              <a:t>ead</a:t>
            </a:r>
            <a:r>
              <a:rPr lang="en-US" sz="1867" b="0" i="0" kern="1200" dirty="0">
                <a:solidFill>
                  <a:srgbClr val="58595B"/>
                </a:solidFill>
                <a:effectLst/>
                <a:latin typeface="Helvetica" pitchFamily="2" charset="0"/>
                <a:ea typeface="+mn-ea"/>
                <a:cs typeface="+mn-cs"/>
              </a:rPr>
              <a:t>.</a:t>
            </a:r>
          </a:p>
        </p:txBody>
      </p:sp>
      <p:sp>
        <p:nvSpPr>
          <p:cNvPr id="24" name="Text Placeholder 23">
            <a:extLst>
              <a:ext uri="{FF2B5EF4-FFF2-40B4-BE49-F238E27FC236}">
                <a16:creationId xmlns:a16="http://schemas.microsoft.com/office/drawing/2014/main" id="{B75E8B6C-2945-AB43-B572-F1D51C630C53}"/>
              </a:ext>
            </a:extLst>
          </p:cNvPr>
          <p:cNvSpPr>
            <a:spLocks noGrp="1"/>
          </p:cNvSpPr>
          <p:nvPr>
            <p:ph type="body" sz="quarter" idx="15" hasCustomPrompt="1"/>
          </p:nvPr>
        </p:nvSpPr>
        <p:spPr>
          <a:xfrm>
            <a:off x="1463040" y="1950720"/>
            <a:ext cx="4511040" cy="287259"/>
          </a:xfrm>
          <a:prstGeom prst="rect">
            <a:avLst/>
          </a:prstGeom>
        </p:spPr>
        <p:txBody>
          <a:bodyPr>
            <a:spAutoFit/>
          </a:bodyPr>
          <a:lstStyle>
            <a:lvl1pPr marL="0" indent="0">
              <a:lnSpc>
                <a:spcPct val="100000"/>
              </a:lnSpc>
              <a:buFontTx/>
              <a:buNone/>
              <a:defRPr b="1" i="0" cap="all" baseline="0">
                <a:latin typeface="Helvetica" pitchFamily="2" charset="0"/>
              </a:defRPr>
            </a:lvl1pPr>
          </a:lstStyle>
          <a:p>
            <a:pPr lvl="0"/>
            <a:r>
              <a:rPr lang="en-US" dirty="0"/>
              <a:t>Column One Subhead</a:t>
            </a:r>
          </a:p>
        </p:txBody>
      </p:sp>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9" name="Text Placeholder 19">
            <a:extLst>
              <a:ext uri="{FF2B5EF4-FFF2-40B4-BE49-F238E27FC236}">
                <a16:creationId xmlns:a16="http://schemas.microsoft.com/office/drawing/2014/main" id="{B011BE62-FF06-D74A-B248-36401D84BE10}"/>
              </a:ext>
            </a:extLst>
          </p:cNvPr>
          <p:cNvSpPr>
            <a:spLocks noGrp="1"/>
          </p:cNvSpPr>
          <p:nvPr>
            <p:ph type="body" sz="quarter" idx="20" hasCustomPrompt="1"/>
          </p:nvPr>
        </p:nvSpPr>
        <p:spPr>
          <a:xfrm>
            <a:off x="6705600" y="2438400"/>
            <a:ext cx="4511040" cy="1553054"/>
          </a:xfrm>
          <a:prstGeom prst="rect">
            <a:avLst/>
          </a:prstGeom>
        </p:spPr>
        <p:txBody>
          <a:bodyPr>
            <a:spAutoFit/>
          </a:bodyPr>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 magna </a:t>
            </a:r>
            <a:r>
              <a:rPr lang="en-US" sz="1867" b="0" i="0" kern="1200" dirty="0" err="1">
                <a:solidFill>
                  <a:srgbClr val="58595B"/>
                </a:solidFill>
                <a:effectLst/>
                <a:latin typeface="Helvetica" pitchFamily="2" charset="0"/>
                <a:ea typeface="+mn-ea"/>
                <a:cs typeface="+mn-cs"/>
              </a:rPr>
              <a:t>aliqua</a:t>
            </a:r>
            <a:r>
              <a:rPr lang="en-US" sz="1867" b="0" i="0" kern="1200" dirty="0">
                <a:solidFill>
                  <a:srgbClr val="58595B"/>
                </a:solidFill>
                <a:effectLst/>
                <a:latin typeface="Helvetica" pitchFamily="2" charset="0"/>
                <a:ea typeface="+mn-ea"/>
                <a:cs typeface="+mn-cs"/>
              </a:rPr>
              <a:t>. Ut </a:t>
            </a:r>
            <a:r>
              <a:rPr lang="en-US" sz="1867" b="0" i="0" kern="1200" dirty="0" err="1">
                <a:solidFill>
                  <a:srgbClr val="58595B"/>
                </a:solidFill>
                <a:effectLst/>
                <a:latin typeface="Helvetica" pitchFamily="2" charset="0"/>
                <a:ea typeface="+mn-ea"/>
                <a:cs typeface="+mn-cs"/>
              </a:rPr>
              <a:t>enim</a:t>
            </a:r>
            <a:r>
              <a:rPr lang="en-US" sz="1867" b="0" i="0" kern="1200" dirty="0">
                <a:solidFill>
                  <a:srgbClr val="58595B"/>
                </a:solidFill>
                <a:effectLst/>
                <a:latin typeface="Helvetica" pitchFamily="2" charset="0"/>
                <a:ea typeface="+mn-ea"/>
                <a:cs typeface="+mn-cs"/>
              </a:rPr>
              <a:t> ad minim </a:t>
            </a:r>
            <a:r>
              <a:rPr lang="en-US" sz="1867" b="0" i="0" kern="1200" dirty="0" err="1">
                <a:solidFill>
                  <a:srgbClr val="58595B"/>
                </a:solidFill>
                <a:effectLst/>
                <a:latin typeface="Helvetica" pitchFamily="2" charset="0"/>
                <a:ea typeface="+mn-ea"/>
                <a:cs typeface="+mn-cs"/>
              </a:rPr>
              <a:t>veniam</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quis</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nostrud</a:t>
            </a:r>
            <a:r>
              <a:rPr lang="en-US" sz="1867" b="0" i="0" kern="1200" dirty="0">
                <a:solidFill>
                  <a:srgbClr val="58595B"/>
                </a:solidFill>
                <a:effectLst/>
                <a:latin typeface="Helvetica" pitchFamily="2" charset="0"/>
                <a:ea typeface="+mn-ea"/>
                <a:cs typeface="+mn-cs"/>
              </a:rPr>
              <a:t> exercitation </a:t>
            </a:r>
            <a:r>
              <a:rPr lang="en-US" sz="1867" b="0" i="0" kern="1200" dirty="0" err="1">
                <a:solidFill>
                  <a:srgbClr val="58595B"/>
                </a:solidFill>
                <a:effectLst/>
                <a:latin typeface="Helvetica" pitchFamily="2" charset="0"/>
                <a:ea typeface="+mn-ea"/>
                <a:cs typeface="+mn-cs"/>
              </a:rPr>
              <a:t>ullamco</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is</a:t>
            </a:r>
            <a:r>
              <a:rPr lang="en-US" sz="1867" b="0" i="0" kern="1200" dirty="0">
                <a:solidFill>
                  <a:srgbClr val="58595B"/>
                </a:solidFill>
                <a:effectLst/>
                <a:latin typeface="Helvetica" pitchFamily="2" charset="0"/>
                <a:ea typeface="+mn-ea"/>
                <a:cs typeface="+mn-cs"/>
              </a:rPr>
              <a:t> nisi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liquip</a:t>
            </a:r>
            <a:r>
              <a:rPr lang="en-US" sz="1867" b="0" i="0" kern="1200" dirty="0">
                <a:solidFill>
                  <a:srgbClr val="58595B"/>
                </a:solidFill>
                <a:effectLst/>
                <a:latin typeface="Helvetica" pitchFamily="2" charset="0"/>
                <a:ea typeface="+mn-ea"/>
                <a:cs typeface="+mn-cs"/>
              </a:rPr>
              <a:t> ex </a:t>
            </a:r>
            <a:r>
              <a:rPr lang="en-US" sz="1867" b="0" i="0" kern="1200" dirty="0" err="1">
                <a:solidFill>
                  <a:srgbClr val="58595B"/>
                </a:solidFill>
                <a:effectLst/>
                <a:latin typeface="Helvetica" pitchFamily="2" charset="0"/>
                <a:ea typeface="+mn-ea"/>
                <a:cs typeface="+mn-cs"/>
              </a:rPr>
              <a:t>ead</a:t>
            </a:r>
            <a:r>
              <a:rPr lang="en-US" sz="1867" b="0" i="0" kern="1200" dirty="0">
                <a:solidFill>
                  <a:srgbClr val="58595B"/>
                </a:solidFill>
                <a:effectLst/>
                <a:latin typeface="Helvetica" pitchFamily="2" charset="0"/>
                <a:ea typeface="+mn-ea"/>
                <a:cs typeface="+mn-cs"/>
              </a:rPr>
              <a:t>.</a:t>
            </a:r>
          </a:p>
        </p:txBody>
      </p:sp>
      <p:sp>
        <p:nvSpPr>
          <p:cNvPr id="10" name="Text Placeholder 23">
            <a:extLst>
              <a:ext uri="{FF2B5EF4-FFF2-40B4-BE49-F238E27FC236}">
                <a16:creationId xmlns:a16="http://schemas.microsoft.com/office/drawing/2014/main" id="{EB34CDE8-07FA-F046-AA33-DDF5668DE685}"/>
              </a:ext>
            </a:extLst>
          </p:cNvPr>
          <p:cNvSpPr>
            <a:spLocks noGrp="1"/>
          </p:cNvSpPr>
          <p:nvPr>
            <p:ph type="body" sz="quarter" idx="21" hasCustomPrompt="1"/>
          </p:nvPr>
        </p:nvSpPr>
        <p:spPr>
          <a:xfrm>
            <a:off x="6705600" y="1950720"/>
            <a:ext cx="4511040" cy="292608"/>
          </a:xfrm>
          <a:prstGeom prst="rect">
            <a:avLst/>
          </a:prstGeom>
        </p:spPr>
        <p:txBody>
          <a:bodyPr/>
          <a:lstStyle>
            <a:lvl1pPr marL="0" indent="0">
              <a:lnSpc>
                <a:spcPct val="100000"/>
              </a:lnSpc>
              <a:buFontTx/>
              <a:buNone/>
              <a:defRPr b="1" i="0" cap="all" baseline="0">
                <a:latin typeface="Helvetica" pitchFamily="2" charset="0"/>
              </a:defRPr>
            </a:lvl1pPr>
          </a:lstStyle>
          <a:p>
            <a:pPr lvl="0"/>
            <a:r>
              <a:rPr lang="en-US" dirty="0"/>
              <a:t>Column Two Subhead</a:t>
            </a:r>
          </a:p>
        </p:txBody>
      </p:sp>
      <p:sp>
        <p:nvSpPr>
          <p:cNvPr id="2" name="Title 1">
            <a:extLst>
              <a:ext uri="{FF2B5EF4-FFF2-40B4-BE49-F238E27FC236}">
                <a16:creationId xmlns:a16="http://schemas.microsoft.com/office/drawing/2014/main" id="{B3E3FFDB-27DF-174A-9ED2-F20F22E29A5C}"/>
              </a:ext>
            </a:extLst>
          </p:cNvPr>
          <p:cNvSpPr>
            <a:spLocks noGrp="1"/>
          </p:cNvSpPr>
          <p:nvPr>
            <p:ph type="title" hasCustomPrompt="1"/>
          </p:nvPr>
        </p:nvSpPr>
        <p:spPr/>
        <p:txBody>
          <a:bodyPr/>
          <a:lstStyle/>
          <a:p>
            <a:r>
              <a:rPr lang="en-US" dirty="0"/>
              <a:t>Header w/two columns</a:t>
            </a:r>
          </a:p>
        </p:txBody>
      </p:sp>
    </p:spTree>
    <p:extLst>
      <p:ext uri="{BB962C8B-B14F-4D97-AF65-F5344CB8AC3E}">
        <p14:creationId xmlns:p14="http://schemas.microsoft.com/office/powerpoint/2010/main" val="19396142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Header w/table">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3" name="Title 2">
            <a:extLst>
              <a:ext uri="{FF2B5EF4-FFF2-40B4-BE49-F238E27FC236}">
                <a16:creationId xmlns:a16="http://schemas.microsoft.com/office/drawing/2014/main" id="{3BE623E0-A664-AE40-BA0B-DD28927DB98C}"/>
              </a:ext>
            </a:extLst>
          </p:cNvPr>
          <p:cNvSpPr>
            <a:spLocks noGrp="1"/>
          </p:cNvSpPr>
          <p:nvPr>
            <p:ph type="title" hasCustomPrompt="1"/>
          </p:nvPr>
        </p:nvSpPr>
        <p:spPr/>
        <p:txBody>
          <a:bodyPr/>
          <a:lstStyle/>
          <a:p>
            <a:r>
              <a:rPr lang="en-US" dirty="0"/>
              <a:t>Header w/table</a:t>
            </a:r>
          </a:p>
        </p:txBody>
      </p:sp>
      <p:sp>
        <p:nvSpPr>
          <p:cNvPr id="4" name="Table Placeholder 3">
            <a:extLst>
              <a:ext uri="{FF2B5EF4-FFF2-40B4-BE49-F238E27FC236}">
                <a16:creationId xmlns:a16="http://schemas.microsoft.com/office/drawing/2014/main" id="{DC239404-90E7-C24E-AFE4-2269257F0B4F}"/>
              </a:ext>
            </a:extLst>
          </p:cNvPr>
          <p:cNvSpPr>
            <a:spLocks noGrp="1"/>
          </p:cNvSpPr>
          <p:nvPr>
            <p:ph type="tbl" sz="quarter" idx="20"/>
          </p:nvPr>
        </p:nvSpPr>
        <p:spPr>
          <a:xfrm>
            <a:off x="1463040" y="1950720"/>
            <a:ext cx="8534400" cy="4145280"/>
          </a:xfrm>
          <a:prstGeom prst="rect">
            <a:avLst/>
          </a:prstGeom>
          <a:solidFill>
            <a:srgbClr val="DBE7F5"/>
          </a:solidFill>
        </p:spPr>
        <p:txBody>
          <a:bodyPr wrap="none" anchor="t" anchorCtr="1">
            <a:noAutofit/>
          </a:bodyPr>
          <a:lstStyle>
            <a:lvl1pPr marL="0" indent="0" algn="ctr">
              <a:buNone/>
              <a:defRPr>
                <a:solidFill>
                  <a:srgbClr val="898989"/>
                </a:solidFill>
              </a:defRPr>
            </a:lvl1pPr>
          </a:lstStyle>
          <a:p>
            <a:r>
              <a:rPr lang="en-US" dirty="0"/>
              <a:t>Click icon to add table</a:t>
            </a:r>
          </a:p>
        </p:txBody>
      </p:sp>
      <p:sp>
        <p:nvSpPr>
          <p:cNvPr id="7" name="Text Placeholder 3">
            <a:extLst>
              <a:ext uri="{FF2B5EF4-FFF2-40B4-BE49-F238E27FC236}">
                <a16:creationId xmlns:a16="http://schemas.microsoft.com/office/drawing/2014/main" id="{333AD3F6-9F07-D947-93D3-62C883A521CD}"/>
              </a:ext>
            </a:extLst>
          </p:cNvPr>
          <p:cNvSpPr>
            <a:spLocks noGrp="1"/>
          </p:cNvSpPr>
          <p:nvPr>
            <p:ph type="body" sz="quarter" idx="12" hasCustomPrompt="1"/>
          </p:nvPr>
        </p:nvSpPr>
        <p:spPr>
          <a:xfrm>
            <a:off x="10319745" y="1950720"/>
            <a:ext cx="1518687" cy="1641475"/>
          </a:xfrm>
          <a:prstGeom prst="rect">
            <a:avLst/>
          </a:prstGeom>
        </p:spPr>
        <p:txBody>
          <a:bodyPr wrap="square" lIns="0">
            <a:spAutoFit/>
          </a:bodyPr>
          <a:lstStyle>
            <a:lvl1pPr marL="0" indent="0" algn="l">
              <a:lnSpc>
                <a:spcPct val="100000"/>
              </a:lnSpc>
              <a:buNone/>
              <a:defRPr sz="1067" b="0">
                <a:solidFill>
                  <a:srgbClr val="FF00FF"/>
                </a:solidFill>
              </a:defRPr>
            </a:lvl1pPr>
            <a:lvl2pPr marL="457189" indent="0">
              <a:buNone/>
              <a:defRPr>
                <a:solidFill>
                  <a:srgbClr val="FF0000"/>
                </a:solidFill>
              </a:defRPr>
            </a:lvl2pPr>
            <a:lvl3pPr marL="914377" indent="0">
              <a:buNone/>
              <a:defRPr>
                <a:solidFill>
                  <a:srgbClr val="FF0000"/>
                </a:solidFill>
              </a:defRPr>
            </a:lvl3pPr>
            <a:lvl4pPr marL="1371566" indent="0">
              <a:buNone/>
              <a:defRPr>
                <a:solidFill>
                  <a:srgbClr val="FF0000"/>
                </a:solidFill>
              </a:defRPr>
            </a:lvl4pPr>
            <a:lvl5pPr marL="1828754" indent="0">
              <a:buNone/>
              <a:defRPr>
                <a:solidFill>
                  <a:srgbClr val="FF0000"/>
                </a:solidFill>
              </a:defRPr>
            </a:lvl5pPr>
          </a:lstStyle>
          <a:p>
            <a:pPr lvl="0"/>
            <a:r>
              <a:rPr lang="en-US" dirty="0"/>
              <a:t>Input data using this custom table. If you’re not sure you’ll need this table, we recommend HIDING the slide temporarily instead of deleting it. If deleted, the custom table can be recovered from the master source file. </a:t>
            </a:r>
          </a:p>
        </p:txBody>
      </p:sp>
    </p:spTree>
    <p:extLst>
      <p:ext uri="{BB962C8B-B14F-4D97-AF65-F5344CB8AC3E}">
        <p14:creationId xmlns:p14="http://schemas.microsoft.com/office/powerpoint/2010/main" val="1943190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Header w/one image on Left">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9" name="Text Placeholder 19">
            <a:extLst>
              <a:ext uri="{FF2B5EF4-FFF2-40B4-BE49-F238E27FC236}">
                <a16:creationId xmlns:a16="http://schemas.microsoft.com/office/drawing/2014/main" id="{B011BE62-FF06-D74A-B248-36401D84BE10}"/>
              </a:ext>
            </a:extLst>
          </p:cNvPr>
          <p:cNvSpPr>
            <a:spLocks noGrp="1"/>
          </p:cNvSpPr>
          <p:nvPr>
            <p:ph type="body" sz="quarter" idx="20" hasCustomPrompt="1"/>
          </p:nvPr>
        </p:nvSpPr>
        <p:spPr>
          <a:xfrm>
            <a:off x="6096000" y="2438400"/>
            <a:ext cx="5120637" cy="1553054"/>
          </a:xfrm>
          <a:prstGeom prst="rect">
            <a:avLst/>
          </a:prstGeom>
        </p:spPr>
        <p:txBody>
          <a:bodyPr lIns="365760">
            <a:spAutoFit/>
          </a:bodyPr>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baseline="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 magna </a:t>
            </a:r>
            <a:r>
              <a:rPr lang="en-US" sz="1867" b="0" i="0" kern="1200" dirty="0" err="1">
                <a:solidFill>
                  <a:srgbClr val="58595B"/>
                </a:solidFill>
                <a:effectLst/>
                <a:latin typeface="Helvetica" pitchFamily="2" charset="0"/>
                <a:ea typeface="+mn-ea"/>
                <a:cs typeface="+mn-cs"/>
              </a:rPr>
              <a:t>aliqua</a:t>
            </a:r>
            <a:r>
              <a:rPr lang="en-US" sz="1867" b="0" i="0" kern="1200" dirty="0">
                <a:solidFill>
                  <a:srgbClr val="58595B"/>
                </a:solidFill>
                <a:effectLst/>
                <a:latin typeface="Helvetica" pitchFamily="2" charset="0"/>
                <a:ea typeface="+mn-ea"/>
                <a:cs typeface="+mn-cs"/>
              </a:rPr>
              <a:t>. Ut </a:t>
            </a:r>
            <a:r>
              <a:rPr lang="en-US" sz="1867" b="0" i="0" kern="1200" dirty="0" err="1">
                <a:solidFill>
                  <a:srgbClr val="58595B"/>
                </a:solidFill>
                <a:effectLst/>
                <a:latin typeface="Helvetica" pitchFamily="2" charset="0"/>
                <a:ea typeface="+mn-ea"/>
                <a:cs typeface="+mn-cs"/>
              </a:rPr>
              <a:t>enim</a:t>
            </a:r>
            <a:r>
              <a:rPr lang="en-US" sz="1867" b="0" i="0" kern="1200" dirty="0">
                <a:solidFill>
                  <a:srgbClr val="58595B"/>
                </a:solidFill>
                <a:effectLst/>
                <a:latin typeface="Helvetica" pitchFamily="2" charset="0"/>
                <a:ea typeface="+mn-ea"/>
                <a:cs typeface="+mn-cs"/>
              </a:rPr>
              <a:t> ad minim </a:t>
            </a:r>
            <a:r>
              <a:rPr lang="en-US" sz="1867" b="0" i="0" kern="1200" dirty="0" err="1">
                <a:solidFill>
                  <a:srgbClr val="58595B"/>
                </a:solidFill>
                <a:effectLst/>
                <a:latin typeface="Helvetica" pitchFamily="2" charset="0"/>
                <a:ea typeface="+mn-ea"/>
                <a:cs typeface="+mn-cs"/>
              </a:rPr>
              <a:t>veniam</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quis</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nostrud</a:t>
            </a:r>
            <a:r>
              <a:rPr lang="en-US" sz="1867" b="0" i="0" kern="1200" dirty="0">
                <a:solidFill>
                  <a:srgbClr val="58595B"/>
                </a:solidFill>
                <a:effectLst/>
                <a:latin typeface="Helvetica" pitchFamily="2" charset="0"/>
                <a:ea typeface="+mn-ea"/>
                <a:cs typeface="+mn-cs"/>
              </a:rPr>
              <a:t> exercitation </a:t>
            </a:r>
            <a:r>
              <a:rPr lang="en-US" sz="1867" b="0" i="0" kern="1200" dirty="0" err="1">
                <a:solidFill>
                  <a:srgbClr val="58595B"/>
                </a:solidFill>
                <a:effectLst/>
                <a:latin typeface="Helvetica" pitchFamily="2" charset="0"/>
                <a:ea typeface="+mn-ea"/>
                <a:cs typeface="+mn-cs"/>
              </a:rPr>
              <a:t>ullamco</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is</a:t>
            </a:r>
            <a:r>
              <a:rPr lang="en-US" sz="1867" b="0" i="0" kern="1200" dirty="0">
                <a:solidFill>
                  <a:srgbClr val="58595B"/>
                </a:solidFill>
                <a:effectLst/>
                <a:latin typeface="Helvetica" pitchFamily="2" charset="0"/>
                <a:ea typeface="+mn-ea"/>
                <a:cs typeface="+mn-cs"/>
              </a:rPr>
              <a:t> nisi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liquip</a:t>
            </a:r>
            <a:r>
              <a:rPr lang="en-US" sz="1867" b="0" i="0" kern="1200" dirty="0">
                <a:solidFill>
                  <a:srgbClr val="58595B"/>
                </a:solidFill>
                <a:effectLst/>
                <a:latin typeface="Helvetica" pitchFamily="2" charset="0"/>
                <a:ea typeface="+mn-ea"/>
                <a:cs typeface="+mn-cs"/>
              </a:rPr>
              <a:t> ex </a:t>
            </a:r>
            <a:r>
              <a:rPr lang="en-US" sz="1867" b="0" i="0" kern="1200" dirty="0" err="1">
                <a:solidFill>
                  <a:srgbClr val="58595B"/>
                </a:solidFill>
                <a:effectLst/>
                <a:latin typeface="Helvetica" pitchFamily="2" charset="0"/>
                <a:ea typeface="+mn-ea"/>
                <a:cs typeface="+mn-cs"/>
              </a:rPr>
              <a:t>ead</a:t>
            </a:r>
            <a:r>
              <a:rPr lang="en-US" sz="1867" b="0" i="0" kern="1200" dirty="0">
                <a:solidFill>
                  <a:srgbClr val="58595B"/>
                </a:solidFill>
                <a:effectLst/>
                <a:latin typeface="Helvetica" pitchFamily="2" charset="0"/>
                <a:ea typeface="+mn-ea"/>
                <a:cs typeface="+mn-cs"/>
              </a:rPr>
              <a:t>.</a:t>
            </a:r>
          </a:p>
        </p:txBody>
      </p:sp>
      <p:sp>
        <p:nvSpPr>
          <p:cNvPr id="10" name="Text Placeholder 23">
            <a:extLst>
              <a:ext uri="{FF2B5EF4-FFF2-40B4-BE49-F238E27FC236}">
                <a16:creationId xmlns:a16="http://schemas.microsoft.com/office/drawing/2014/main" id="{EB34CDE8-07FA-F046-AA33-DDF5668DE685}"/>
              </a:ext>
            </a:extLst>
          </p:cNvPr>
          <p:cNvSpPr>
            <a:spLocks noGrp="1"/>
          </p:cNvSpPr>
          <p:nvPr>
            <p:ph type="body" sz="quarter" idx="21" hasCustomPrompt="1"/>
          </p:nvPr>
        </p:nvSpPr>
        <p:spPr>
          <a:xfrm>
            <a:off x="6095999" y="1950720"/>
            <a:ext cx="5120639" cy="292608"/>
          </a:xfrm>
          <a:prstGeom prst="rect">
            <a:avLst/>
          </a:prstGeom>
        </p:spPr>
        <p:txBody>
          <a:bodyPr lIns="365760" rIns="0"/>
          <a:lstStyle>
            <a:lvl1pPr marL="0" indent="0">
              <a:lnSpc>
                <a:spcPct val="100000"/>
              </a:lnSpc>
              <a:buFontTx/>
              <a:buNone/>
              <a:defRPr b="1" i="0" cap="all" baseline="0">
                <a:latin typeface="Helvetica" pitchFamily="2" charset="0"/>
              </a:defRPr>
            </a:lvl1pPr>
          </a:lstStyle>
          <a:p>
            <a:pPr lvl="0"/>
            <a:r>
              <a:rPr lang="en-US" dirty="0"/>
              <a:t>SUBHEAD</a:t>
            </a:r>
          </a:p>
        </p:txBody>
      </p:sp>
      <p:sp>
        <p:nvSpPr>
          <p:cNvPr id="3" name="Picture Placeholder 2">
            <a:extLst>
              <a:ext uri="{FF2B5EF4-FFF2-40B4-BE49-F238E27FC236}">
                <a16:creationId xmlns:a16="http://schemas.microsoft.com/office/drawing/2014/main" id="{3567B317-BBC9-8047-B52F-0FE9612A42BF}"/>
              </a:ext>
            </a:extLst>
          </p:cNvPr>
          <p:cNvSpPr>
            <a:spLocks noGrp="1"/>
          </p:cNvSpPr>
          <p:nvPr>
            <p:ph type="pic" sz="quarter" idx="22"/>
          </p:nvPr>
        </p:nvSpPr>
        <p:spPr>
          <a:xfrm>
            <a:off x="853440" y="1950720"/>
            <a:ext cx="5242560" cy="4145280"/>
          </a:xfrm>
          <a:prstGeom prst="rect">
            <a:avLst/>
          </a:prstGeom>
          <a:solidFill>
            <a:srgbClr val="DBE7F5"/>
          </a:solidFill>
        </p:spPr>
        <p:txBody>
          <a:bodyPr wrap="none" anchor="t" anchorCtr="1">
            <a:noAutofit/>
          </a:bodyPr>
          <a:lstStyle>
            <a:lvl1pPr marL="0" indent="0" algn="ctr">
              <a:buFontTx/>
              <a:buNone/>
              <a:defRPr b="0" i="0">
                <a:solidFill>
                  <a:srgbClr val="898989"/>
                </a:solidFill>
                <a:latin typeface="Helvetica Regular" pitchFamily="2" charset="0"/>
              </a:defRPr>
            </a:lvl1pPr>
          </a:lstStyle>
          <a:p>
            <a:r>
              <a:rPr lang="en-US" dirty="0"/>
              <a:t>Click icon to add picture</a:t>
            </a:r>
          </a:p>
        </p:txBody>
      </p:sp>
      <p:sp>
        <p:nvSpPr>
          <p:cNvPr id="2" name="Title 1">
            <a:extLst>
              <a:ext uri="{FF2B5EF4-FFF2-40B4-BE49-F238E27FC236}">
                <a16:creationId xmlns:a16="http://schemas.microsoft.com/office/drawing/2014/main" id="{E9E129D3-DC40-9145-85FB-07D3D32FEFDC}"/>
              </a:ext>
            </a:extLst>
          </p:cNvPr>
          <p:cNvSpPr>
            <a:spLocks noGrp="1"/>
          </p:cNvSpPr>
          <p:nvPr>
            <p:ph type="title" hasCustomPrompt="1"/>
          </p:nvPr>
        </p:nvSpPr>
        <p:spPr/>
        <p:txBody>
          <a:bodyPr/>
          <a:lstStyle/>
          <a:p>
            <a:r>
              <a:rPr lang="en-US" dirty="0"/>
              <a:t>Header w/one image on left</a:t>
            </a:r>
          </a:p>
        </p:txBody>
      </p:sp>
    </p:spTree>
    <p:extLst>
      <p:ext uri="{BB962C8B-B14F-4D97-AF65-F5344CB8AC3E}">
        <p14:creationId xmlns:p14="http://schemas.microsoft.com/office/powerpoint/2010/main" val="37996029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Header w/one image on Right">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9" name="Text Placeholder 19">
            <a:extLst>
              <a:ext uri="{FF2B5EF4-FFF2-40B4-BE49-F238E27FC236}">
                <a16:creationId xmlns:a16="http://schemas.microsoft.com/office/drawing/2014/main" id="{B011BE62-FF06-D74A-B248-36401D84BE10}"/>
              </a:ext>
            </a:extLst>
          </p:cNvPr>
          <p:cNvSpPr>
            <a:spLocks noGrp="1"/>
          </p:cNvSpPr>
          <p:nvPr>
            <p:ph type="body" sz="quarter" idx="20" hasCustomPrompt="1"/>
          </p:nvPr>
        </p:nvSpPr>
        <p:spPr>
          <a:xfrm>
            <a:off x="853440" y="2438400"/>
            <a:ext cx="5120640" cy="1553054"/>
          </a:xfrm>
          <a:prstGeom prst="rect">
            <a:avLst/>
          </a:prstGeom>
        </p:spPr>
        <p:txBody>
          <a:bodyPr lIns="0" rIns="365760"/>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baseline="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 magna </a:t>
            </a:r>
            <a:r>
              <a:rPr lang="en-US" sz="1867" b="0" i="0" kern="1200" dirty="0" err="1">
                <a:solidFill>
                  <a:srgbClr val="58595B"/>
                </a:solidFill>
                <a:effectLst/>
                <a:latin typeface="Helvetica" pitchFamily="2" charset="0"/>
                <a:ea typeface="+mn-ea"/>
                <a:cs typeface="+mn-cs"/>
              </a:rPr>
              <a:t>aliqua</a:t>
            </a:r>
            <a:r>
              <a:rPr lang="en-US" sz="1867" b="0" i="0" kern="1200" dirty="0">
                <a:solidFill>
                  <a:srgbClr val="58595B"/>
                </a:solidFill>
                <a:effectLst/>
                <a:latin typeface="Helvetica" pitchFamily="2" charset="0"/>
                <a:ea typeface="+mn-ea"/>
                <a:cs typeface="+mn-cs"/>
              </a:rPr>
              <a:t>. Ut </a:t>
            </a:r>
            <a:r>
              <a:rPr lang="en-US" sz="1867" b="0" i="0" kern="1200" dirty="0" err="1">
                <a:solidFill>
                  <a:srgbClr val="58595B"/>
                </a:solidFill>
                <a:effectLst/>
                <a:latin typeface="Helvetica" pitchFamily="2" charset="0"/>
                <a:ea typeface="+mn-ea"/>
                <a:cs typeface="+mn-cs"/>
              </a:rPr>
              <a:t>enim</a:t>
            </a:r>
            <a:r>
              <a:rPr lang="en-US" sz="1867" b="0" i="0" kern="1200" dirty="0">
                <a:solidFill>
                  <a:srgbClr val="58595B"/>
                </a:solidFill>
                <a:effectLst/>
                <a:latin typeface="Helvetica" pitchFamily="2" charset="0"/>
                <a:ea typeface="+mn-ea"/>
                <a:cs typeface="+mn-cs"/>
              </a:rPr>
              <a:t> ad minim </a:t>
            </a:r>
            <a:r>
              <a:rPr lang="en-US" sz="1867" b="0" i="0" kern="1200" dirty="0" err="1">
                <a:solidFill>
                  <a:srgbClr val="58595B"/>
                </a:solidFill>
                <a:effectLst/>
                <a:latin typeface="Helvetica" pitchFamily="2" charset="0"/>
                <a:ea typeface="+mn-ea"/>
                <a:cs typeface="+mn-cs"/>
              </a:rPr>
              <a:t>veniam</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quis</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nostrud</a:t>
            </a:r>
            <a:r>
              <a:rPr lang="en-US" sz="1867" b="0" i="0" kern="1200" dirty="0">
                <a:solidFill>
                  <a:srgbClr val="58595B"/>
                </a:solidFill>
                <a:effectLst/>
                <a:latin typeface="Helvetica" pitchFamily="2" charset="0"/>
                <a:ea typeface="+mn-ea"/>
                <a:cs typeface="+mn-cs"/>
              </a:rPr>
              <a:t> exercitation </a:t>
            </a:r>
            <a:r>
              <a:rPr lang="en-US" sz="1867" b="0" i="0" kern="1200" dirty="0" err="1">
                <a:solidFill>
                  <a:srgbClr val="58595B"/>
                </a:solidFill>
                <a:effectLst/>
                <a:latin typeface="Helvetica" pitchFamily="2" charset="0"/>
                <a:ea typeface="+mn-ea"/>
                <a:cs typeface="+mn-cs"/>
              </a:rPr>
              <a:t>ullamco</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is</a:t>
            </a:r>
            <a:r>
              <a:rPr lang="en-US" sz="1867" b="0" i="0" kern="1200" dirty="0">
                <a:solidFill>
                  <a:srgbClr val="58595B"/>
                </a:solidFill>
                <a:effectLst/>
                <a:latin typeface="Helvetica" pitchFamily="2" charset="0"/>
                <a:ea typeface="+mn-ea"/>
                <a:cs typeface="+mn-cs"/>
              </a:rPr>
              <a:t> nisi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liquip</a:t>
            </a:r>
            <a:r>
              <a:rPr lang="en-US" sz="1867" b="0" i="0" kern="1200" dirty="0">
                <a:solidFill>
                  <a:srgbClr val="58595B"/>
                </a:solidFill>
                <a:effectLst/>
                <a:latin typeface="Helvetica" pitchFamily="2" charset="0"/>
                <a:ea typeface="+mn-ea"/>
                <a:cs typeface="+mn-cs"/>
              </a:rPr>
              <a:t> ex </a:t>
            </a:r>
            <a:r>
              <a:rPr lang="en-US" sz="1867" b="0" i="0" kern="1200" dirty="0" err="1">
                <a:solidFill>
                  <a:srgbClr val="58595B"/>
                </a:solidFill>
                <a:effectLst/>
                <a:latin typeface="Helvetica" pitchFamily="2" charset="0"/>
                <a:ea typeface="+mn-ea"/>
                <a:cs typeface="+mn-cs"/>
              </a:rPr>
              <a:t>ead</a:t>
            </a:r>
            <a:r>
              <a:rPr lang="en-US" sz="1867" b="0" i="0" kern="1200" dirty="0">
                <a:solidFill>
                  <a:srgbClr val="58595B"/>
                </a:solidFill>
                <a:effectLst/>
                <a:latin typeface="Helvetica" pitchFamily="2" charset="0"/>
                <a:ea typeface="+mn-ea"/>
                <a:cs typeface="+mn-cs"/>
              </a:rPr>
              <a:t>.</a:t>
            </a:r>
          </a:p>
        </p:txBody>
      </p:sp>
      <p:sp>
        <p:nvSpPr>
          <p:cNvPr id="10" name="Text Placeholder 23">
            <a:extLst>
              <a:ext uri="{FF2B5EF4-FFF2-40B4-BE49-F238E27FC236}">
                <a16:creationId xmlns:a16="http://schemas.microsoft.com/office/drawing/2014/main" id="{EB34CDE8-07FA-F046-AA33-DDF5668DE685}"/>
              </a:ext>
            </a:extLst>
          </p:cNvPr>
          <p:cNvSpPr>
            <a:spLocks noGrp="1"/>
          </p:cNvSpPr>
          <p:nvPr>
            <p:ph type="body" sz="quarter" idx="21" hasCustomPrompt="1"/>
          </p:nvPr>
        </p:nvSpPr>
        <p:spPr>
          <a:xfrm>
            <a:off x="853441" y="1950720"/>
            <a:ext cx="5120639" cy="292608"/>
          </a:xfrm>
          <a:prstGeom prst="rect">
            <a:avLst/>
          </a:prstGeom>
        </p:spPr>
        <p:txBody>
          <a:bodyPr lIns="0" rIns="365760"/>
          <a:lstStyle>
            <a:lvl1pPr marL="0" indent="0">
              <a:lnSpc>
                <a:spcPct val="100000"/>
              </a:lnSpc>
              <a:buFontTx/>
              <a:buNone/>
              <a:defRPr b="1" i="0" cap="all" baseline="0">
                <a:latin typeface="Helvetica" pitchFamily="2" charset="0"/>
              </a:defRPr>
            </a:lvl1pPr>
          </a:lstStyle>
          <a:p>
            <a:pPr lvl="0"/>
            <a:r>
              <a:rPr lang="en-US" dirty="0"/>
              <a:t>SUBHEAD</a:t>
            </a:r>
          </a:p>
        </p:txBody>
      </p:sp>
      <p:sp>
        <p:nvSpPr>
          <p:cNvPr id="3" name="Picture Placeholder 2">
            <a:extLst>
              <a:ext uri="{FF2B5EF4-FFF2-40B4-BE49-F238E27FC236}">
                <a16:creationId xmlns:a16="http://schemas.microsoft.com/office/drawing/2014/main" id="{3567B317-BBC9-8047-B52F-0FE9612A42BF}"/>
              </a:ext>
            </a:extLst>
          </p:cNvPr>
          <p:cNvSpPr>
            <a:spLocks noGrp="1"/>
          </p:cNvSpPr>
          <p:nvPr>
            <p:ph type="pic" sz="quarter" idx="22"/>
          </p:nvPr>
        </p:nvSpPr>
        <p:spPr>
          <a:xfrm>
            <a:off x="5974079" y="1950720"/>
            <a:ext cx="5242560" cy="4145280"/>
          </a:xfrm>
          <a:prstGeom prst="rect">
            <a:avLst/>
          </a:prstGeom>
          <a:solidFill>
            <a:srgbClr val="DBE7F5"/>
          </a:solidFill>
        </p:spPr>
        <p:txBody>
          <a:bodyPr wrap="none" anchor="t" anchorCtr="1">
            <a:noAutofit/>
          </a:bodyPr>
          <a:lstStyle>
            <a:lvl1pPr marL="0" indent="0" algn="ctr">
              <a:buFontTx/>
              <a:buNone/>
              <a:defRPr b="0" i="0">
                <a:solidFill>
                  <a:srgbClr val="898989"/>
                </a:solidFill>
                <a:latin typeface="Helvetica Regular" pitchFamily="2" charset="0"/>
              </a:defRPr>
            </a:lvl1pPr>
          </a:lstStyle>
          <a:p>
            <a:r>
              <a:rPr lang="en-US"/>
              <a:t>Click icon to add picture</a:t>
            </a:r>
            <a:endParaRPr lang="en-US" dirty="0"/>
          </a:p>
        </p:txBody>
      </p:sp>
      <p:sp>
        <p:nvSpPr>
          <p:cNvPr id="2" name="Title 1">
            <a:extLst>
              <a:ext uri="{FF2B5EF4-FFF2-40B4-BE49-F238E27FC236}">
                <a16:creationId xmlns:a16="http://schemas.microsoft.com/office/drawing/2014/main" id="{E9E129D3-DC40-9145-85FB-07D3D32FEFDC}"/>
              </a:ext>
            </a:extLst>
          </p:cNvPr>
          <p:cNvSpPr>
            <a:spLocks noGrp="1"/>
          </p:cNvSpPr>
          <p:nvPr>
            <p:ph type="title" hasCustomPrompt="1"/>
          </p:nvPr>
        </p:nvSpPr>
        <p:spPr/>
        <p:txBody>
          <a:bodyPr/>
          <a:lstStyle/>
          <a:p>
            <a:r>
              <a:rPr lang="en-US" dirty="0"/>
              <a:t>Header w/one image on right</a:t>
            </a:r>
          </a:p>
        </p:txBody>
      </p:sp>
    </p:spTree>
    <p:extLst>
      <p:ext uri="{BB962C8B-B14F-4D97-AF65-F5344CB8AC3E}">
        <p14:creationId xmlns:p14="http://schemas.microsoft.com/office/powerpoint/2010/main" val="15296930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Header w/two images">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11" name="Picture Placeholder 2">
            <a:extLst>
              <a:ext uri="{FF2B5EF4-FFF2-40B4-BE49-F238E27FC236}">
                <a16:creationId xmlns:a16="http://schemas.microsoft.com/office/drawing/2014/main" id="{1DAC8BF1-9424-6B48-95ED-2528BCFCB126}"/>
              </a:ext>
            </a:extLst>
          </p:cNvPr>
          <p:cNvSpPr>
            <a:spLocks noGrp="1"/>
          </p:cNvSpPr>
          <p:nvPr>
            <p:ph type="pic" sz="quarter" idx="23"/>
          </p:nvPr>
        </p:nvSpPr>
        <p:spPr>
          <a:xfrm>
            <a:off x="853270" y="1950720"/>
            <a:ext cx="4998719" cy="2743200"/>
          </a:xfrm>
          <a:prstGeom prst="rect">
            <a:avLst/>
          </a:prstGeom>
          <a:solidFill>
            <a:srgbClr val="DBE7F5"/>
          </a:solidFill>
        </p:spPr>
        <p:txBody>
          <a:bodyPr wrap="none" anchor="t" anchorCtr="1">
            <a:noAutofit/>
          </a:bodyPr>
          <a:lstStyle>
            <a:lvl1pPr marL="0" indent="0" algn="ctr">
              <a:buFontTx/>
              <a:buNone/>
              <a:defRPr b="0" i="0">
                <a:solidFill>
                  <a:srgbClr val="898989"/>
                </a:solidFill>
                <a:latin typeface="Helvetica Regular" pitchFamily="2" charset="0"/>
              </a:defRPr>
            </a:lvl1pPr>
          </a:lstStyle>
          <a:p>
            <a:r>
              <a:rPr lang="en-US"/>
              <a:t>Click icon to add picture</a:t>
            </a:r>
            <a:endParaRPr lang="en-US" dirty="0"/>
          </a:p>
        </p:txBody>
      </p:sp>
      <p:sp>
        <p:nvSpPr>
          <p:cNvPr id="12" name="Text Placeholder 19">
            <a:extLst>
              <a:ext uri="{FF2B5EF4-FFF2-40B4-BE49-F238E27FC236}">
                <a16:creationId xmlns:a16="http://schemas.microsoft.com/office/drawing/2014/main" id="{1F4621DD-0EC3-7B40-9C5B-544E9945AB7E}"/>
              </a:ext>
            </a:extLst>
          </p:cNvPr>
          <p:cNvSpPr>
            <a:spLocks noGrp="1"/>
          </p:cNvSpPr>
          <p:nvPr>
            <p:ph type="body" sz="quarter" idx="28" hasCustomPrompt="1"/>
          </p:nvPr>
        </p:nvSpPr>
        <p:spPr>
          <a:xfrm>
            <a:off x="853441" y="4754881"/>
            <a:ext cx="4998719" cy="961930"/>
          </a:xfrm>
          <a:prstGeom prst="rect">
            <a:avLst/>
          </a:prstGeom>
        </p:spPr>
        <p:txBody>
          <a:bodyPr lIns="0" tIns="182880" bIns="0"/>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baseline="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a:t>
            </a:r>
          </a:p>
        </p:txBody>
      </p:sp>
      <p:sp>
        <p:nvSpPr>
          <p:cNvPr id="2" name="Title 1">
            <a:extLst>
              <a:ext uri="{FF2B5EF4-FFF2-40B4-BE49-F238E27FC236}">
                <a16:creationId xmlns:a16="http://schemas.microsoft.com/office/drawing/2014/main" id="{83A7ADB9-B0E1-624C-B3FB-2E094D93977F}"/>
              </a:ext>
            </a:extLst>
          </p:cNvPr>
          <p:cNvSpPr>
            <a:spLocks noGrp="1"/>
          </p:cNvSpPr>
          <p:nvPr>
            <p:ph type="title" hasCustomPrompt="1"/>
          </p:nvPr>
        </p:nvSpPr>
        <p:spPr/>
        <p:txBody>
          <a:bodyPr/>
          <a:lstStyle/>
          <a:p>
            <a:r>
              <a:rPr lang="en-US" dirty="0"/>
              <a:t>Header w/two images</a:t>
            </a:r>
          </a:p>
        </p:txBody>
      </p:sp>
      <p:sp>
        <p:nvSpPr>
          <p:cNvPr id="9" name="Picture Placeholder 2">
            <a:extLst>
              <a:ext uri="{FF2B5EF4-FFF2-40B4-BE49-F238E27FC236}">
                <a16:creationId xmlns:a16="http://schemas.microsoft.com/office/drawing/2014/main" id="{008D5794-D0A3-9A4A-8E55-31C816DBB18B}"/>
              </a:ext>
            </a:extLst>
          </p:cNvPr>
          <p:cNvSpPr>
            <a:spLocks noGrp="1"/>
          </p:cNvSpPr>
          <p:nvPr>
            <p:ph type="pic" sz="quarter" idx="29"/>
          </p:nvPr>
        </p:nvSpPr>
        <p:spPr>
          <a:xfrm>
            <a:off x="6221683" y="1955800"/>
            <a:ext cx="4998719" cy="2743200"/>
          </a:xfrm>
          <a:prstGeom prst="rect">
            <a:avLst/>
          </a:prstGeom>
          <a:solidFill>
            <a:srgbClr val="DBE7F5"/>
          </a:solidFill>
        </p:spPr>
        <p:txBody>
          <a:bodyPr wrap="none" anchor="t" anchorCtr="1">
            <a:noAutofit/>
          </a:bodyPr>
          <a:lstStyle>
            <a:lvl1pPr marL="0" indent="0" algn="ctr">
              <a:buFontTx/>
              <a:buNone/>
              <a:defRPr b="0" i="0">
                <a:solidFill>
                  <a:srgbClr val="898989"/>
                </a:solidFill>
                <a:latin typeface="Helvetica Regular" pitchFamily="2" charset="0"/>
              </a:defRPr>
            </a:lvl1pPr>
          </a:lstStyle>
          <a:p>
            <a:r>
              <a:rPr lang="en-US"/>
              <a:t>Click icon to add picture</a:t>
            </a:r>
            <a:endParaRPr lang="en-US" dirty="0"/>
          </a:p>
        </p:txBody>
      </p:sp>
      <p:sp>
        <p:nvSpPr>
          <p:cNvPr id="10" name="Text Placeholder 19">
            <a:extLst>
              <a:ext uri="{FF2B5EF4-FFF2-40B4-BE49-F238E27FC236}">
                <a16:creationId xmlns:a16="http://schemas.microsoft.com/office/drawing/2014/main" id="{ACEE43D6-E059-E04C-9FC3-7001F8E9216B}"/>
              </a:ext>
            </a:extLst>
          </p:cNvPr>
          <p:cNvSpPr>
            <a:spLocks noGrp="1"/>
          </p:cNvSpPr>
          <p:nvPr>
            <p:ph type="body" sz="quarter" idx="30" hasCustomPrompt="1"/>
          </p:nvPr>
        </p:nvSpPr>
        <p:spPr>
          <a:xfrm>
            <a:off x="6221854" y="4759961"/>
            <a:ext cx="4998719" cy="961930"/>
          </a:xfrm>
          <a:prstGeom prst="rect">
            <a:avLst/>
          </a:prstGeom>
        </p:spPr>
        <p:txBody>
          <a:bodyPr lIns="0" tIns="182880" bIns="0"/>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baseline="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a:t>
            </a:r>
          </a:p>
        </p:txBody>
      </p:sp>
    </p:spTree>
    <p:extLst>
      <p:ext uri="{BB962C8B-B14F-4D97-AF65-F5344CB8AC3E}">
        <p14:creationId xmlns:p14="http://schemas.microsoft.com/office/powerpoint/2010/main" val="3071481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Header w/three images">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11" name="Picture Placeholder 2">
            <a:extLst>
              <a:ext uri="{FF2B5EF4-FFF2-40B4-BE49-F238E27FC236}">
                <a16:creationId xmlns:a16="http://schemas.microsoft.com/office/drawing/2014/main" id="{1DAC8BF1-9424-6B48-95ED-2528BCFCB126}"/>
              </a:ext>
            </a:extLst>
          </p:cNvPr>
          <p:cNvSpPr>
            <a:spLocks noGrp="1"/>
          </p:cNvSpPr>
          <p:nvPr>
            <p:ph type="pic" sz="quarter" idx="23"/>
          </p:nvPr>
        </p:nvSpPr>
        <p:spPr>
          <a:xfrm>
            <a:off x="853269" y="1950720"/>
            <a:ext cx="3291840" cy="2743200"/>
          </a:xfrm>
          <a:prstGeom prst="rect">
            <a:avLst/>
          </a:prstGeom>
          <a:solidFill>
            <a:srgbClr val="DBE7F5"/>
          </a:solidFill>
        </p:spPr>
        <p:txBody>
          <a:bodyPr wrap="none" anchor="t" anchorCtr="1">
            <a:noAutofit/>
          </a:bodyPr>
          <a:lstStyle>
            <a:lvl1pPr marL="0" indent="0" algn="ctr">
              <a:buFontTx/>
              <a:buNone/>
              <a:defRPr b="0" i="0">
                <a:solidFill>
                  <a:srgbClr val="898989"/>
                </a:solidFill>
                <a:latin typeface="Helvetica Regular" pitchFamily="2" charset="0"/>
              </a:defRPr>
            </a:lvl1pPr>
          </a:lstStyle>
          <a:p>
            <a:r>
              <a:rPr lang="en-US"/>
              <a:t>Click icon to add picture</a:t>
            </a:r>
            <a:endParaRPr lang="en-US" dirty="0"/>
          </a:p>
        </p:txBody>
      </p:sp>
      <p:sp>
        <p:nvSpPr>
          <p:cNvPr id="16" name="Text Placeholder 19">
            <a:extLst>
              <a:ext uri="{FF2B5EF4-FFF2-40B4-BE49-F238E27FC236}">
                <a16:creationId xmlns:a16="http://schemas.microsoft.com/office/drawing/2014/main" id="{D690DD6C-A294-D34A-8F02-8254600AA0CF}"/>
              </a:ext>
            </a:extLst>
          </p:cNvPr>
          <p:cNvSpPr>
            <a:spLocks noGrp="1"/>
          </p:cNvSpPr>
          <p:nvPr>
            <p:ph type="body" sz="quarter" idx="24" hasCustomPrompt="1"/>
          </p:nvPr>
        </p:nvSpPr>
        <p:spPr>
          <a:xfrm>
            <a:off x="7924800" y="4754880"/>
            <a:ext cx="3291840" cy="1220527"/>
          </a:xfrm>
          <a:prstGeom prst="rect">
            <a:avLst/>
          </a:prstGeom>
        </p:spPr>
        <p:txBody>
          <a:bodyPr lIns="0" tIns="182880" bIns="0"/>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baseline="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a:t>
            </a:r>
          </a:p>
        </p:txBody>
      </p:sp>
      <p:sp>
        <p:nvSpPr>
          <p:cNvPr id="17" name="Picture Placeholder 2">
            <a:extLst>
              <a:ext uri="{FF2B5EF4-FFF2-40B4-BE49-F238E27FC236}">
                <a16:creationId xmlns:a16="http://schemas.microsoft.com/office/drawing/2014/main" id="{4893D48C-9A05-6D48-AEBE-B035AC90CB7B}"/>
              </a:ext>
            </a:extLst>
          </p:cNvPr>
          <p:cNvSpPr>
            <a:spLocks noGrp="1"/>
          </p:cNvSpPr>
          <p:nvPr>
            <p:ph type="pic" sz="quarter" idx="25"/>
          </p:nvPr>
        </p:nvSpPr>
        <p:spPr>
          <a:xfrm>
            <a:off x="7924800" y="1950720"/>
            <a:ext cx="3291840" cy="2743200"/>
          </a:xfrm>
          <a:prstGeom prst="rect">
            <a:avLst/>
          </a:prstGeom>
          <a:solidFill>
            <a:srgbClr val="DBE7F5"/>
          </a:solidFill>
        </p:spPr>
        <p:txBody>
          <a:bodyPr wrap="none" anchor="t" anchorCtr="1">
            <a:noAutofit/>
          </a:bodyPr>
          <a:lstStyle>
            <a:lvl1pPr marL="0" indent="0" algn="ctr">
              <a:buFontTx/>
              <a:buNone/>
              <a:defRPr b="0" i="0">
                <a:solidFill>
                  <a:srgbClr val="898989"/>
                </a:solidFill>
                <a:latin typeface="Helvetica Regular" pitchFamily="2" charset="0"/>
              </a:defRPr>
            </a:lvl1pPr>
          </a:lstStyle>
          <a:p>
            <a:r>
              <a:rPr lang="en-US"/>
              <a:t>Click icon to add picture</a:t>
            </a:r>
            <a:endParaRPr lang="en-US" dirty="0"/>
          </a:p>
        </p:txBody>
      </p:sp>
      <p:sp>
        <p:nvSpPr>
          <p:cNvPr id="18" name="Text Placeholder 19">
            <a:extLst>
              <a:ext uri="{FF2B5EF4-FFF2-40B4-BE49-F238E27FC236}">
                <a16:creationId xmlns:a16="http://schemas.microsoft.com/office/drawing/2014/main" id="{8415C831-E177-844F-9712-8A40A7EF2C79}"/>
              </a:ext>
            </a:extLst>
          </p:cNvPr>
          <p:cNvSpPr>
            <a:spLocks noGrp="1"/>
          </p:cNvSpPr>
          <p:nvPr>
            <p:ph type="body" sz="quarter" idx="26" hasCustomPrompt="1"/>
          </p:nvPr>
        </p:nvSpPr>
        <p:spPr>
          <a:xfrm>
            <a:off x="4389120" y="4754880"/>
            <a:ext cx="3291840" cy="1220527"/>
          </a:xfrm>
          <a:prstGeom prst="rect">
            <a:avLst/>
          </a:prstGeom>
        </p:spPr>
        <p:txBody>
          <a:bodyPr lIns="0" tIns="182880" bIns="0"/>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baseline="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a:t>
            </a:r>
          </a:p>
        </p:txBody>
      </p:sp>
      <p:sp>
        <p:nvSpPr>
          <p:cNvPr id="19" name="Picture Placeholder 2">
            <a:extLst>
              <a:ext uri="{FF2B5EF4-FFF2-40B4-BE49-F238E27FC236}">
                <a16:creationId xmlns:a16="http://schemas.microsoft.com/office/drawing/2014/main" id="{2A52D487-6A99-CB44-ADDA-84E2583B5DE2}"/>
              </a:ext>
            </a:extLst>
          </p:cNvPr>
          <p:cNvSpPr>
            <a:spLocks noGrp="1"/>
          </p:cNvSpPr>
          <p:nvPr>
            <p:ph type="pic" sz="quarter" idx="27"/>
          </p:nvPr>
        </p:nvSpPr>
        <p:spPr>
          <a:xfrm>
            <a:off x="4389035" y="1950720"/>
            <a:ext cx="3291840" cy="2743200"/>
          </a:xfrm>
          <a:prstGeom prst="rect">
            <a:avLst/>
          </a:prstGeom>
          <a:solidFill>
            <a:srgbClr val="DBE7F5"/>
          </a:solidFill>
        </p:spPr>
        <p:txBody>
          <a:bodyPr wrap="none" anchor="t" anchorCtr="1">
            <a:noAutofit/>
          </a:bodyPr>
          <a:lstStyle>
            <a:lvl1pPr marL="0" indent="0" algn="ctr">
              <a:buFontTx/>
              <a:buNone/>
              <a:defRPr b="0" i="0">
                <a:solidFill>
                  <a:srgbClr val="898989"/>
                </a:solidFill>
                <a:latin typeface="Helvetica Regular" pitchFamily="2" charset="0"/>
              </a:defRPr>
            </a:lvl1pPr>
          </a:lstStyle>
          <a:p>
            <a:r>
              <a:rPr lang="en-US"/>
              <a:t>Click icon to add picture</a:t>
            </a:r>
            <a:endParaRPr lang="en-US" dirty="0"/>
          </a:p>
        </p:txBody>
      </p:sp>
      <p:sp>
        <p:nvSpPr>
          <p:cNvPr id="12" name="Text Placeholder 19">
            <a:extLst>
              <a:ext uri="{FF2B5EF4-FFF2-40B4-BE49-F238E27FC236}">
                <a16:creationId xmlns:a16="http://schemas.microsoft.com/office/drawing/2014/main" id="{1F4621DD-0EC3-7B40-9C5B-544E9945AB7E}"/>
              </a:ext>
            </a:extLst>
          </p:cNvPr>
          <p:cNvSpPr>
            <a:spLocks noGrp="1"/>
          </p:cNvSpPr>
          <p:nvPr>
            <p:ph type="body" sz="quarter" idx="28" hasCustomPrompt="1"/>
          </p:nvPr>
        </p:nvSpPr>
        <p:spPr>
          <a:xfrm>
            <a:off x="853440" y="4754877"/>
            <a:ext cx="3291840" cy="1220527"/>
          </a:xfrm>
          <a:prstGeom prst="rect">
            <a:avLst/>
          </a:prstGeom>
        </p:spPr>
        <p:txBody>
          <a:bodyPr lIns="0" tIns="182880" bIns="0"/>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baseline="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a:t>
            </a:r>
          </a:p>
        </p:txBody>
      </p:sp>
      <p:sp>
        <p:nvSpPr>
          <p:cNvPr id="2" name="Title 1">
            <a:extLst>
              <a:ext uri="{FF2B5EF4-FFF2-40B4-BE49-F238E27FC236}">
                <a16:creationId xmlns:a16="http://schemas.microsoft.com/office/drawing/2014/main" id="{83A7ADB9-B0E1-624C-B3FB-2E094D93977F}"/>
              </a:ext>
            </a:extLst>
          </p:cNvPr>
          <p:cNvSpPr>
            <a:spLocks noGrp="1"/>
          </p:cNvSpPr>
          <p:nvPr>
            <p:ph type="title" hasCustomPrompt="1"/>
          </p:nvPr>
        </p:nvSpPr>
        <p:spPr/>
        <p:txBody>
          <a:bodyPr/>
          <a:lstStyle/>
          <a:p>
            <a:r>
              <a:rPr lang="en-US" dirty="0"/>
              <a:t>Header w/three images</a:t>
            </a:r>
          </a:p>
        </p:txBody>
      </p:sp>
    </p:spTree>
    <p:extLst>
      <p:ext uri="{BB962C8B-B14F-4D97-AF65-F5344CB8AC3E}">
        <p14:creationId xmlns:p14="http://schemas.microsoft.com/office/powerpoint/2010/main" val="4542118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Header/wide image">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9" name="Text Placeholder 19">
            <a:extLst>
              <a:ext uri="{FF2B5EF4-FFF2-40B4-BE49-F238E27FC236}">
                <a16:creationId xmlns:a16="http://schemas.microsoft.com/office/drawing/2014/main" id="{B011BE62-FF06-D74A-B248-36401D84BE10}"/>
              </a:ext>
            </a:extLst>
          </p:cNvPr>
          <p:cNvSpPr>
            <a:spLocks noGrp="1"/>
          </p:cNvSpPr>
          <p:nvPr>
            <p:ph type="body" sz="quarter" idx="20" hasCustomPrompt="1"/>
          </p:nvPr>
        </p:nvSpPr>
        <p:spPr>
          <a:xfrm>
            <a:off x="853440" y="5242560"/>
            <a:ext cx="10363200" cy="703334"/>
          </a:xfrm>
          <a:prstGeom prst="rect">
            <a:avLst/>
          </a:prstGeom>
        </p:spPr>
        <p:txBody>
          <a:bodyPr lIns="0" tIns="182880"/>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 magna </a:t>
            </a:r>
            <a:r>
              <a:rPr lang="en-US" sz="1867" b="0" i="0" kern="1200" dirty="0" err="1">
                <a:solidFill>
                  <a:srgbClr val="58595B"/>
                </a:solidFill>
                <a:effectLst/>
                <a:latin typeface="Helvetica" pitchFamily="2" charset="0"/>
                <a:ea typeface="+mn-ea"/>
                <a:cs typeface="+mn-cs"/>
              </a:rPr>
              <a:t>aliqua</a:t>
            </a:r>
            <a:r>
              <a:rPr lang="en-US" sz="1867" b="0" i="0" kern="1200" dirty="0">
                <a:solidFill>
                  <a:srgbClr val="58595B"/>
                </a:solidFill>
                <a:effectLst/>
                <a:latin typeface="Helvetica" pitchFamily="2" charset="0"/>
                <a:ea typeface="+mn-ea"/>
                <a:cs typeface="+mn-cs"/>
              </a:rPr>
              <a:t>.</a:t>
            </a:r>
          </a:p>
        </p:txBody>
      </p:sp>
      <p:sp>
        <p:nvSpPr>
          <p:cNvPr id="11" name="Picture Placeholder 2">
            <a:extLst>
              <a:ext uri="{FF2B5EF4-FFF2-40B4-BE49-F238E27FC236}">
                <a16:creationId xmlns:a16="http://schemas.microsoft.com/office/drawing/2014/main" id="{1DAC8BF1-9424-6B48-95ED-2528BCFCB126}"/>
              </a:ext>
            </a:extLst>
          </p:cNvPr>
          <p:cNvSpPr>
            <a:spLocks noGrp="1"/>
          </p:cNvSpPr>
          <p:nvPr>
            <p:ph type="pic" sz="quarter" idx="23"/>
          </p:nvPr>
        </p:nvSpPr>
        <p:spPr>
          <a:xfrm>
            <a:off x="853440" y="1950720"/>
            <a:ext cx="10363200" cy="260071"/>
          </a:xfrm>
          <a:prstGeom prst="rect">
            <a:avLst/>
          </a:prstGeom>
          <a:solidFill>
            <a:srgbClr val="DBE7F5"/>
          </a:solidFill>
        </p:spPr>
        <p:txBody>
          <a:bodyPr wrap="square" anchor="t" anchorCtr="1">
            <a:spAutoFit/>
          </a:bodyPr>
          <a:lstStyle>
            <a:lvl1pPr marL="0" indent="0" algn="ctr">
              <a:buFontTx/>
              <a:buNone/>
              <a:defRPr b="0" i="0">
                <a:solidFill>
                  <a:srgbClr val="898989"/>
                </a:solidFill>
                <a:latin typeface="Helvetica Regular" pitchFamily="2" charset="0"/>
              </a:defRPr>
            </a:lvl1pPr>
          </a:lstStyle>
          <a:p>
            <a:r>
              <a:rPr lang="en-US"/>
              <a:t>Click icon to add picture</a:t>
            </a:r>
            <a:endParaRPr lang="en-US" dirty="0"/>
          </a:p>
        </p:txBody>
      </p:sp>
      <p:sp>
        <p:nvSpPr>
          <p:cNvPr id="2" name="Title 1">
            <a:extLst>
              <a:ext uri="{FF2B5EF4-FFF2-40B4-BE49-F238E27FC236}">
                <a16:creationId xmlns:a16="http://schemas.microsoft.com/office/drawing/2014/main" id="{786BA509-2CC8-C04F-8CC6-05C0F1AD7FCC}"/>
              </a:ext>
            </a:extLst>
          </p:cNvPr>
          <p:cNvSpPr>
            <a:spLocks noGrp="1"/>
          </p:cNvSpPr>
          <p:nvPr>
            <p:ph type="title" hasCustomPrompt="1"/>
          </p:nvPr>
        </p:nvSpPr>
        <p:spPr/>
        <p:txBody>
          <a:bodyPr/>
          <a:lstStyle/>
          <a:p>
            <a:r>
              <a:rPr lang="en-US" dirty="0"/>
              <a:t>Header w/wide image</a:t>
            </a:r>
          </a:p>
        </p:txBody>
      </p:sp>
    </p:spTree>
    <p:extLst>
      <p:ext uri="{BB962C8B-B14F-4D97-AF65-F5344CB8AC3E}">
        <p14:creationId xmlns:p14="http://schemas.microsoft.com/office/powerpoint/2010/main" val="14870550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Header w/video">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4" name="Media Placeholder 3">
            <a:extLst>
              <a:ext uri="{FF2B5EF4-FFF2-40B4-BE49-F238E27FC236}">
                <a16:creationId xmlns:a16="http://schemas.microsoft.com/office/drawing/2014/main" id="{EDEC991D-2A90-BD44-8865-BCD7365AA034}"/>
              </a:ext>
            </a:extLst>
          </p:cNvPr>
          <p:cNvSpPr>
            <a:spLocks noGrp="1"/>
          </p:cNvSpPr>
          <p:nvPr>
            <p:ph type="media" sz="quarter" idx="23"/>
          </p:nvPr>
        </p:nvSpPr>
        <p:spPr>
          <a:xfrm>
            <a:off x="2438400" y="1950720"/>
            <a:ext cx="7315200" cy="4145280"/>
          </a:xfrm>
          <a:prstGeom prst="rect">
            <a:avLst/>
          </a:prstGeom>
          <a:solidFill>
            <a:srgbClr val="DBE7F5"/>
          </a:solidFill>
        </p:spPr>
        <p:txBody>
          <a:bodyPr wrap="none" anchor="t" anchorCtr="1">
            <a:noAutofit/>
          </a:bodyPr>
          <a:lstStyle>
            <a:lvl1pPr marL="0" indent="0" algn="ctr">
              <a:buFontTx/>
              <a:buNone/>
              <a:defRPr b="0" i="0">
                <a:solidFill>
                  <a:srgbClr val="898989"/>
                </a:solidFill>
                <a:latin typeface="Helvetica Regular" pitchFamily="2" charset="0"/>
              </a:defRPr>
            </a:lvl1pPr>
          </a:lstStyle>
          <a:p>
            <a:r>
              <a:rPr lang="en-US"/>
              <a:t>Click icon to add media</a:t>
            </a:r>
            <a:endParaRPr lang="en-US" dirty="0"/>
          </a:p>
        </p:txBody>
      </p:sp>
      <p:sp>
        <p:nvSpPr>
          <p:cNvPr id="2" name="Title 1">
            <a:extLst>
              <a:ext uri="{FF2B5EF4-FFF2-40B4-BE49-F238E27FC236}">
                <a16:creationId xmlns:a16="http://schemas.microsoft.com/office/drawing/2014/main" id="{B215D343-E871-2D4D-89DF-1CBE83C41245}"/>
              </a:ext>
            </a:extLst>
          </p:cNvPr>
          <p:cNvSpPr>
            <a:spLocks noGrp="1"/>
          </p:cNvSpPr>
          <p:nvPr>
            <p:ph type="title" hasCustomPrompt="1"/>
          </p:nvPr>
        </p:nvSpPr>
        <p:spPr/>
        <p:txBody>
          <a:bodyPr/>
          <a:lstStyle/>
          <a:p>
            <a:r>
              <a:rPr lang="en-US" dirty="0"/>
              <a:t>Header w/video</a:t>
            </a:r>
          </a:p>
        </p:txBody>
      </p:sp>
    </p:spTree>
    <p:extLst>
      <p:ext uri="{BB962C8B-B14F-4D97-AF65-F5344CB8AC3E}">
        <p14:creationId xmlns:p14="http://schemas.microsoft.com/office/powerpoint/2010/main" val="39744159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Header w/video and copy">
    <p:spTree>
      <p:nvGrpSpPr>
        <p:cNvPr id="1" name=""/>
        <p:cNvGrpSpPr/>
        <p:nvPr/>
      </p:nvGrpSpPr>
      <p:grpSpPr>
        <a:xfrm>
          <a:off x="0" y="0"/>
          <a:ext cx="0" cy="0"/>
          <a:chOff x="0" y="0"/>
          <a:chExt cx="0" cy="0"/>
        </a:xfrm>
      </p:grpSpPr>
      <p:sp>
        <p:nvSpPr>
          <p:cNvPr id="31" name="Slide Number Placeholder 30">
            <a:extLst>
              <a:ext uri="{FF2B5EF4-FFF2-40B4-BE49-F238E27FC236}">
                <a16:creationId xmlns:a16="http://schemas.microsoft.com/office/drawing/2014/main" id="{761AA930-3E3D-D743-BA3C-3CC35B2CB369}"/>
              </a:ext>
            </a:extLst>
          </p:cNvPr>
          <p:cNvSpPr>
            <a:spLocks noGrp="1"/>
          </p:cNvSpPr>
          <p:nvPr>
            <p:ph type="sldNum" sz="quarter" idx="19"/>
          </p:nvPr>
        </p:nvSpPr>
        <p:spPr/>
        <p:txBody>
          <a:bodyPr/>
          <a:lstStyle/>
          <a:p>
            <a:fld id="{B6238B5B-F19C-E947-A0BC-87BD7983F871}" type="slidenum">
              <a:rPr lang="en-US" smtClean="0"/>
              <a:pPr/>
              <a:t>‹#›</a:t>
            </a:fld>
            <a:endParaRPr lang="en-US" dirty="0"/>
          </a:p>
        </p:txBody>
      </p:sp>
      <p:sp>
        <p:nvSpPr>
          <p:cNvPr id="9" name="Text Placeholder 19">
            <a:extLst>
              <a:ext uri="{FF2B5EF4-FFF2-40B4-BE49-F238E27FC236}">
                <a16:creationId xmlns:a16="http://schemas.microsoft.com/office/drawing/2014/main" id="{B011BE62-FF06-D74A-B248-36401D84BE10}"/>
              </a:ext>
            </a:extLst>
          </p:cNvPr>
          <p:cNvSpPr>
            <a:spLocks noGrp="1"/>
          </p:cNvSpPr>
          <p:nvPr>
            <p:ph type="body" sz="quarter" idx="20" hasCustomPrompt="1"/>
          </p:nvPr>
        </p:nvSpPr>
        <p:spPr>
          <a:xfrm>
            <a:off x="7559040" y="2438399"/>
            <a:ext cx="3657600" cy="1294457"/>
          </a:xfrm>
          <a:prstGeom prst="rect">
            <a:avLst/>
          </a:prstGeom>
        </p:spPr>
        <p:txBody>
          <a:bodyPr lIns="365760" rIns="0"/>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b="0" i="0">
                <a:solidFill>
                  <a:srgbClr val="58595B"/>
                </a:solidFill>
                <a:latin typeface="Helvetica Regular" pitchFamily="2"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67" b="0" i="0" kern="1200" dirty="0">
                <a:solidFill>
                  <a:srgbClr val="58595B"/>
                </a:solidFill>
                <a:effectLst/>
                <a:latin typeface="Helvetica" pitchFamily="2" charset="0"/>
                <a:ea typeface="+mn-ea"/>
                <a:cs typeface="+mn-cs"/>
              </a:rPr>
              <a:t>Lorem ipsum dolor sit </a:t>
            </a:r>
            <a:r>
              <a:rPr lang="en-US" sz="1867" b="0" i="0" kern="1200" dirty="0" err="1">
                <a:solidFill>
                  <a:srgbClr val="58595B"/>
                </a:solidFill>
                <a:effectLst/>
                <a:latin typeface="Helvetica" pitchFamily="2" charset="0"/>
                <a:ea typeface="+mn-ea"/>
                <a:cs typeface="+mn-cs"/>
              </a:rPr>
              <a:t>ame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consectetu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adipiscing</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eli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sed</a:t>
            </a:r>
            <a:r>
              <a:rPr lang="en-US" sz="1867" b="0" i="0" kern="1200" dirty="0">
                <a:solidFill>
                  <a:srgbClr val="58595B"/>
                </a:solidFill>
                <a:effectLst/>
                <a:latin typeface="Helvetica" pitchFamily="2" charset="0"/>
                <a:ea typeface="+mn-ea"/>
                <a:cs typeface="+mn-cs"/>
              </a:rPr>
              <a:t> do </a:t>
            </a:r>
            <a:r>
              <a:rPr lang="en-US" sz="1867" b="0" i="0" kern="1200" dirty="0" err="1">
                <a:solidFill>
                  <a:srgbClr val="58595B"/>
                </a:solidFill>
                <a:effectLst/>
                <a:latin typeface="Helvetica" pitchFamily="2" charset="0"/>
                <a:ea typeface="+mn-ea"/>
                <a:cs typeface="+mn-cs"/>
              </a:rPr>
              <a:t>eiusmod</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tempor</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incididun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ut</a:t>
            </a:r>
            <a:r>
              <a:rPr lang="en-US" sz="1867" b="0" i="0" kern="1200" dirty="0">
                <a:solidFill>
                  <a:srgbClr val="58595B"/>
                </a:solidFill>
                <a:effectLst/>
                <a:latin typeface="Helvetica" pitchFamily="2" charset="0"/>
                <a:ea typeface="+mn-ea"/>
                <a:cs typeface="+mn-cs"/>
              </a:rPr>
              <a:t> </a:t>
            </a:r>
            <a:r>
              <a:rPr lang="en-US" sz="1867" b="0" i="0" kern="1200" dirty="0" err="1">
                <a:solidFill>
                  <a:srgbClr val="58595B"/>
                </a:solidFill>
                <a:effectLst/>
                <a:latin typeface="Helvetica" pitchFamily="2" charset="0"/>
                <a:ea typeface="+mn-ea"/>
                <a:cs typeface="+mn-cs"/>
              </a:rPr>
              <a:t>labore</a:t>
            </a:r>
            <a:r>
              <a:rPr lang="en-US" sz="1867" b="0" i="0" kern="1200" dirty="0">
                <a:solidFill>
                  <a:srgbClr val="58595B"/>
                </a:solidFill>
                <a:effectLst/>
                <a:latin typeface="Helvetica" pitchFamily="2" charset="0"/>
                <a:ea typeface="+mn-ea"/>
                <a:cs typeface="+mn-cs"/>
              </a:rPr>
              <a:t> et dolore magna </a:t>
            </a:r>
            <a:r>
              <a:rPr lang="en-US" sz="1867" b="0" i="0" kern="1200" dirty="0" err="1">
                <a:solidFill>
                  <a:srgbClr val="58595B"/>
                </a:solidFill>
                <a:effectLst/>
                <a:latin typeface="Helvetica" pitchFamily="2" charset="0"/>
                <a:ea typeface="+mn-ea"/>
                <a:cs typeface="+mn-cs"/>
              </a:rPr>
              <a:t>aliqua</a:t>
            </a:r>
            <a:r>
              <a:rPr lang="en-US" sz="1867" b="0" i="0" kern="1200" dirty="0">
                <a:solidFill>
                  <a:srgbClr val="58595B"/>
                </a:solidFill>
                <a:effectLst/>
                <a:latin typeface="Helvetica" pitchFamily="2" charset="0"/>
                <a:ea typeface="+mn-ea"/>
                <a:cs typeface="+mn-cs"/>
              </a:rPr>
              <a:t>.</a:t>
            </a:r>
          </a:p>
        </p:txBody>
      </p:sp>
      <p:sp>
        <p:nvSpPr>
          <p:cNvPr id="10" name="Text Placeholder 23">
            <a:extLst>
              <a:ext uri="{FF2B5EF4-FFF2-40B4-BE49-F238E27FC236}">
                <a16:creationId xmlns:a16="http://schemas.microsoft.com/office/drawing/2014/main" id="{EB34CDE8-07FA-F046-AA33-DDF5668DE685}"/>
              </a:ext>
            </a:extLst>
          </p:cNvPr>
          <p:cNvSpPr>
            <a:spLocks noGrp="1"/>
          </p:cNvSpPr>
          <p:nvPr>
            <p:ph type="body" sz="quarter" idx="21" hasCustomPrompt="1"/>
          </p:nvPr>
        </p:nvSpPr>
        <p:spPr>
          <a:xfrm>
            <a:off x="7559040" y="1950720"/>
            <a:ext cx="3657600" cy="292608"/>
          </a:xfrm>
          <a:prstGeom prst="rect">
            <a:avLst/>
          </a:prstGeom>
        </p:spPr>
        <p:txBody>
          <a:bodyPr lIns="365760" rIns="0"/>
          <a:lstStyle>
            <a:lvl1pPr marL="0" indent="0">
              <a:lnSpc>
                <a:spcPct val="100000"/>
              </a:lnSpc>
              <a:buFontTx/>
              <a:buNone/>
              <a:defRPr b="1" i="0" cap="all" baseline="0">
                <a:latin typeface="Helvetica" pitchFamily="2" charset="0"/>
              </a:defRPr>
            </a:lvl1pPr>
          </a:lstStyle>
          <a:p>
            <a:pPr lvl="0"/>
            <a:r>
              <a:rPr lang="en-US" dirty="0"/>
              <a:t>SUBHEAD</a:t>
            </a:r>
          </a:p>
        </p:txBody>
      </p:sp>
      <p:sp>
        <p:nvSpPr>
          <p:cNvPr id="4" name="Media Placeholder 3">
            <a:extLst>
              <a:ext uri="{FF2B5EF4-FFF2-40B4-BE49-F238E27FC236}">
                <a16:creationId xmlns:a16="http://schemas.microsoft.com/office/drawing/2014/main" id="{EDEC991D-2A90-BD44-8865-BCD7365AA034}"/>
              </a:ext>
            </a:extLst>
          </p:cNvPr>
          <p:cNvSpPr>
            <a:spLocks noGrp="1"/>
          </p:cNvSpPr>
          <p:nvPr>
            <p:ph type="media" sz="quarter" idx="23"/>
          </p:nvPr>
        </p:nvSpPr>
        <p:spPr>
          <a:xfrm>
            <a:off x="853440" y="1950720"/>
            <a:ext cx="6705600" cy="3779520"/>
          </a:xfrm>
          <a:prstGeom prst="rect">
            <a:avLst/>
          </a:prstGeom>
          <a:solidFill>
            <a:srgbClr val="DBE7F5"/>
          </a:solidFill>
        </p:spPr>
        <p:txBody>
          <a:bodyPr wrap="none" anchor="t" anchorCtr="1">
            <a:noAutofit/>
          </a:bodyPr>
          <a:lstStyle>
            <a:lvl1pPr marL="0" indent="0" algn="ctr">
              <a:buFontTx/>
              <a:buNone/>
              <a:defRPr b="0" i="0">
                <a:solidFill>
                  <a:srgbClr val="898989"/>
                </a:solidFill>
                <a:latin typeface="Helvetica Regular" pitchFamily="2" charset="0"/>
              </a:defRPr>
            </a:lvl1pPr>
          </a:lstStyle>
          <a:p>
            <a:r>
              <a:rPr lang="en-US"/>
              <a:t>Click icon to add media</a:t>
            </a:r>
            <a:endParaRPr lang="en-US" dirty="0"/>
          </a:p>
        </p:txBody>
      </p:sp>
      <p:sp>
        <p:nvSpPr>
          <p:cNvPr id="2" name="Title 1">
            <a:extLst>
              <a:ext uri="{FF2B5EF4-FFF2-40B4-BE49-F238E27FC236}">
                <a16:creationId xmlns:a16="http://schemas.microsoft.com/office/drawing/2014/main" id="{B215D343-E871-2D4D-89DF-1CBE83C41245}"/>
              </a:ext>
            </a:extLst>
          </p:cNvPr>
          <p:cNvSpPr>
            <a:spLocks noGrp="1"/>
          </p:cNvSpPr>
          <p:nvPr>
            <p:ph type="title" hasCustomPrompt="1"/>
          </p:nvPr>
        </p:nvSpPr>
        <p:spPr/>
        <p:txBody>
          <a:bodyPr/>
          <a:lstStyle/>
          <a:p>
            <a:r>
              <a:rPr lang="en-US" dirty="0"/>
              <a:t>Header w/copy and video</a:t>
            </a:r>
          </a:p>
        </p:txBody>
      </p:sp>
    </p:spTree>
    <p:extLst>
      <p:ext uri="{BB962C8B-B14F-4D97-AF65-F5344CB8AC3E}">
        <p14:creationId xmlns:p14="http://schemas.microsoft.com/office/powerpoint/2010/main" val="10629674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ln/>
        </p:spPr>
        <p:txBody>
          <a:bodyPr/>
          <a:lstStyle>
            <a:lvl1pPr>
              <a:defRPr/>
            </a:lvl1pPr>
          </a:lstStyle>
          <a:p>
            <a:pPr>
              <a:defRPr/>
            </a:pPr>
            <a:fld id="{7486EF8F-97F8-43F9-9583-D336B9A33131}" type="slidenum">
              <a:rPr lang="en-US" altLang="en-US"/>
              <a:pPr>
                <a:defRPr/>
              </a:pPr>
              <a:t>‹#›</a:t>
            </a:fld>
            <a:endParaRPr lang="en-US" altLang="en-US"/>
          </a:p>
        </p:txBody>
      </p:sp>
    </p:spTree>
    <p:extLst>
      <p:ext uri="{BB962C8B-B14F-4D97-AF65-F5344CB8AC3E}">
        <p14:creationId xmlns:p14="http://schemas.microsoft.com/office/powerpoint/2010/main" val="400897042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6_Simpl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A12B1-78FC-E405-A41A-832A07024A6C}"/>
              </a:ext>
            </a:extLst>
          </p:cNvPr>
          <p:cNvSpPr>
            <a:spLocks noGrp="1"/>
          </p:cNvSpPr>
          <p:nvPr>
            <p:ph type="title" hasCustomPrompt="1"/>
          </p:nvPr>
        </p:nvSpPr>
        <p:spPr>
          <a:xfrm>
            <a:off x="611188" y="933270"/>
            <a:ext cx="9546587" cy="475572"/>
          </a:xfrm>
          <a:prstGeom prst="rect">
            <a:avLst/>
          </a:prstGeom>
        </p:spPr>
        <p:txBody>
          <a:bodyPr/>
          <a:lstStyle>
            <a:lvl1pPr>
              <a:defRPr sz="4400" b="1">
                <a:solidFill>
                  <a:schemeClr val="tx1"/>
                </a:solidFill>
                <a:latin typeface="Roboto" panose="02000000000000000000" pitchFamily="2" charset="0"/>
                <a:ea typeface="Roboto" panose="02000000000000000000" pitchFamily="2" charset="0"/>
                <a:cs typeface="Roboto" panose="02000000000000000000" pitchFamily="2" charset="0"/>
              </a:defRPr>
            </a:lvl1pPr>
          </a:lstStyle>
          <a:p>
            <a:r>
              <a:rPr lang="en-US"/>
              <a:t>Simple Text</a:t>
            </a:r>
          </a:p>
        </p:txBody>
      </p:sp>
      <p:sp>
        <p:nvSpPr>
          <p:cNvPr id="9" name="Text Placeholder 10">
            <a:extLst>
              <a:ext uri="{FF2B5EF4-FFF2-40B4-BE49-F238E27FC236}">
                <a16:creationId xmlns:a16="http://schemas.microsoft.com/office/drawing/2014/main" id="{7DD40EB4-4BB4-A1D8-412E-29EB001FE186}"/>
              </a:ext>
            </a:extLst>
          </p:cNvPr>
          <p:cNvSpPr>
            <a:spLocks noGrp="1"/>
          </p:cNvSpPr>
          <p:nvPr>
            <p:ph type="body" sz="quarter" idx="12"/>
          </p:nvPr>
        </p:nvSpPr>
        <p:spPr>
          <a:xfrm>
            <a:off x="611188" y="1614116"/>
            <a:ext cx="10102851" cy="3656385"/>
          </a:xfrm>
          <a:prstGeom prst="rect">
            <a:avLst/>
          </a:prstGeom>
        </p:spPr>
        <p:txBody>
          <a:bodyPr/>
          <a:lstStyle>
            <a:lvl1pPr>
              <a:defRPr>
                <a:latin typeface="Roboto Light" panose="02000000000000000000" pitchFamily="2" charset="0"/>
                <a:ea typeface="Roboto Light" panose="02000000000000000000" pitchFamily="2" charset="0"/>
                <a:cs typeface="Roboto Light" panose="02000000000000000000" pitchFamily="2" charset="0"/>
              </a:defRPr>
            </a:lvl1pPr>
            <a:lvl2pPr>
              <a:defRPr>
                <a:latin typeface="Roboto Light" panose="02000000000000000000" pitchFamily="2" charset="0"/>
                <a:ea typeface="Roboto Light" panose="02000000000000000000" pitchFamily="2" charset="0"/>
                <a:cs typeface="Roboto Light" panose="02000000000000000000" pitchFamily="2" charset="0"/>
              </a:defRPr>
            </a:lvl2pPr>
            <a:lvl3pPr>
              <a:defRPr>
                <a:latin typeface="Roboto Light" panose="02000000000000000000" pitchFamily="2" charset="0"/>
                <a:ea typeface="Roboto Light" panose="02000000000000000000" pitchFamily="2" charset="0"/>
                <a:cs typeface="Roboto Light" panose="02000000000000000000" pitchFamily="2" charset="0"/>
              </a:defRPr>
            </a:lvl3pPr>
            <a:lvl4pPr>
              <a:defRPr>
                <a:latin typeface="Roboto Light" panose="02000000000000000000" pitchFamily="2" charset="0"/>
                <a:ea typeface="Roboto Light" panose="02000000000000000000" pitchFamily="2" charset="0"/>
                <a:cs typeface="Roboto Light" panose="02000000000000000000" pitchFamily="2" charset="0"/>
              </a:defRPr>
            </a:lvl4pPr>
            <a:lvl5pPr>
              <a:defRPr>
                <a:latin typeface="Roboto Light" panose="02000000000000000000" pitchFamily="2" charset="0"/>
                <a:ea typeface="Roboto Light" panose="02000000000000000000" pitchFamily="2" charset="0"/>
                <a:cs typeface="Roboto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16148CF3-3A25-2720-F4E2-B65CC3438D10}"/>
              </a:ext>
            </a:extLst>
          </p:cNvPr>
          <p:cNvPicPr>
            <a:picLocks noChangeAspect="1"/>
          </p:cNvPicPr>
          <p:nvPr userDrawn="1"/>
        </p:nvPicPr>
        <p:blipFill>
          <a:blip r:embed="rId2"/>
          <a:stretch>
            <a:fillRect/>
          </a:stretch>
        </p:blipFill>
        <p:spPr>
          <a:xfrm>
            <a:off x="9997440" y="6342444"/>
            <a:ext cx="2194560" cy="370637"/>
          </a:xfrm>
          <a:prstGeom prst="rect">
            <a:avLst/>
          </a:prstGeom>
        </p:spPr>
      </p:pic>
      <p:pic>
        <p:nvPicPr>
          <p:cNvPr id="10" name="Picture 9">
            <a:extLst>
              <a:ext uri="{FF2B5EF4-FFF2-40B4-BE49-F238E27FC236}">
                <a16:creationId xmlns:a16="http://schemas.microsoft.com/office/drawing/2014/main" id="{2FE2FF9D-7822-0B70-C647-AB2DFB974CE1}"/>
              </a:ext>
            </a:extLst>
          </p:cNvPr>
          <p:cNvPicPr>
            <a:picLocks noChangeAspect="1"/>
          </p:cNvPicPr>
          <p:nvPr userDrawn="1"/>
        </p:nvPicPr>
        <p:blipFill>
          <a:blip r:embed="rId3"/>
          <a:stretch>
            <a:fillRect/>
          </a:stretch>
        </p:blipFill>
        <p:spPr>
          <a:xfrm>
            <a:off x="0" y="6352454"/>
            <a:ext cx="7772400" cy="372919"/>
          </a:xfrm>
          <a:prstGeom prst="rect">
            <a:avLst/>
          </a:prstGeom>
        </p:spPr>
      </p:pic>
      <p:sp>
        <p:nvSpPr>
          <p:cNvPr id="11" name="TextBox 10">
            <a:extLst>
              <a:ext uri="{FF2B5EF4-FFF2-40B4-BE49-F238E27FC236}">
                <a16:creationId xmlns:a16="http://schemas.microsoft.com/office/drawing/2014/main" id="{0819B2DE-F847-92E7-C25F-6377018F1DEF}"/>
              </a:ext>
            </a:extLst>
          </p:cNvPr>
          <p:cNvSpPr txBox="1"/>
          <p:nvPr userDrawn="1"/>
        </p:nvSpPr>
        <p:spPr>
          <a:xfrm>
            <a:off x="7782560" y="6348326"/>
            <a:ext cx="2194560" cy="338554"/>
          </a:xfrm>
          <a:prstGeom prst="rect">
            <a:avLst/>
          </a:prstGeom>
          <a:noFill/>
        </p:spPr>
        <p:txBody>
          <a:bodyPr wrap="square" rtlCol="0">
            <a:spAutoFit/>
          </a:bodyPr>
          <a:lstStyle/>
          <a:p>
            <a:pPr algn="ctr"/>
            <a:r>
              <a:rPr lang="en-US" sz="1600" b="1" i="0">
                <a:solidFill>
                  <a:srgbClr val="11416C"/>
                </a:solidFill>
                <a:latin typeface="Roboto" pitchFamily="2" charset="0"/>
                <a:ea typeface="Roboto" pitchFamily="2" charset="0"/>
              </a:rPr>
              <a:t>wclc.iaslc.org</a:t>
            </a:r>
          </a:p>
        </p:txBody>
      </p:sp>
      <p:pic>
        <p:nvPicPr>
          <p:cNvPr id="12" name="Picture 11">
            <a:extLst>
              <a:ext uri="{FF2B5EF4-FFF2-40B4-BE49-F238E27FC236}">
                <a16:creationId xmlns:a16="http://schemas.microsoft.com/office/drawing/2014/main" id="{0268FC65-7DE4-3785-FBF4-F50FDE1278CC}"/>
              </a:ext>
            </a:extLst>
          </p:cNvPr>
          <p:cNvPicPr>
            <a:picLocks noChangeAspect="1"/>
          </p:cNvPicPr>
          <p:nvPr userDrawn="1"/>
        </p:nvPicPr>
        <p:blipFill>
          <a:blip r:embed="rId4"/>
          <a:stretch>
            <a:fillRect/>
          </a:stretch>
        </p:blipFill>
        <p:spPr>
          <a:xfrm>
            <a:off x="0" y="1"/>
            <a:ext cx="12192000" cy="571500"/>
          </a:xfrm>
          <a:prstGeom prst="rect">
            <a:avLst/>
          </a:prstGeom>
        </p:spPr>
      </p:pic>
    </p:spTree>
    <p:extLst>
      <p:ext uri="{BB962C8B-B14F-4D97-AF65-F5344CB8AC3E}">
        <p14:creationId xmlns:p14="http://schemas.microsoft.com/office/powerpoint/2010/main" val="992258528"/>
      </p:ext>
    </p:extLst>
  </p:cSld>
  <p:clrMapOvr>
    <a:masterClrMapping/>
  </p:clrMapOvr>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28 Conclusion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D4DD914-0BBA-7CF6-CD0C-86F9F6FFEFF5}"/>
              </a:ext>
            </a:extLst>
          </p:cNvPr>
          <p:cNvPicPr>
            <a:picLocks noChangeAspect="1"/>
          </p:cNvPicPr>
          <p:nvPr userDrawn="1"/>
        </p:nvPicPr>
        <p:blipFill>
          <a:blip r:embed="rId2"/>
          <a:stretch>
            <a:fillRect/>
          </a:stretch>
        </p:blipFill>
        <p:spPr>
          <a:xfrm>
            <a:off x="9997440" y="6342444"/>
            <a:ext cx="2194560" cy="370637"/>
          </a:xfrm>
          <a:prstGeom prst="rect">
            <a:avLst/>
          </a:prstGeom>
        </p:spPr>
      </p:pic>
      <p:pic>
        <p:nvPicPr>
          <p:cNvPr id="5" name="Picture 4">
            <a:extLst>
              <a:ext uri="{FF2B5EF4-FFF2-40B4-BE49-F238E27FC236}">
                <a16:creationId xmlns:a16="http://schemas.microsoft.com/office/drawing/2014/main" id="{08EFE7B9-0EE7-8D70-DF05-C7D670537EC8}"/>
              </a:ext>
            </a:extLst>
          </p:cNvPr>
          <p:cNvPicPr>
            <a:picLocks noChangeAspect="1"/>
          </p:cNvPicPr>
          <p:nvPr userDrawn="1"/>
        </p:nvPicPr>
        <p:blipFill>
          <a:blip r:embed="rId3"/>
          <a:stretch>
            <a:fillRect/>
          </a:stretch>
        </p:blipFill>
        <p:spPr>
          <a:xfrm>
            <a:off x="0" y="6352454"/>
            <a:ext cx="7772400" cy="372919"/>
          </a:xfrm>
          <a:prstGeom prst="rect">
            <a:avLst/>
          </a:prstGeom>
        </p:spPr>
      </p:pic>
      <p:sp>
        <p:nvSpPr>
          <p:cNvPr id="6" name="TextBox 5">
            <a:extLst>
              <a:ext uri="{FF2B5EF4-FFF2-40B4-BE49-F238E27FC236}">
                <a16:creationId xmlns:a16="http://schemas.microsoft.com/office/drawing/2014/main" id="{0DF02777-C490-B315-108A-91B67B0E42D4}"/>
              </a:ext>
            </a:extLst>
          </p:cNvPr>
          <p:cNvSpPr txBox="1"/>
          <p:nvPr userDrawn="1"/>
        </p:nvSpPr>
        <p:spPr>
          <a:xfrm>
            <a:off x="7782560" y="6348326"/>
            <a:ext cx="2194560" cy="338554"/>
          </a:xfrm>
          <a:prstGeom prst="rect">
            <a:avLst/>
          </a:prstGeom>
          <a:noFill/>
        </p:spPr>
        <p:txBody>
          <a:bodyPr wrap="square" rtlCol="0">
            <a:spAutoFit/>
          </a:bodyPr>
          <a:lstStyle/>
          <a:p>
            <a:pPr algn="ctr"/>
            <a:r>
              <a:rPr lang="en-US" sz="1600" b="1" i="0">
                <a:solidFill>
                  <a:srgbClr val="11416C"/>
                </a:solidFill>
                <a:latin typeface="Roboto" pitchFamily="2" charset="0"/>
                <a:ea typeface="Roboto" pitchFamily="2" charset="0"/>
              </a:rPr>
              <a:t>wclc.iaslc.org</a:t>
            </a:r>
          </a:p>
        </p:txBody>
      </p:sp>
      <p:pic>
        <p:nvPicPr>
          <p:cNvPr id="7" name="Picture 6">
            <a:extLst>
              <a:ext uri="{FF2B5EF4-FFF2-40B4-BE49-F238E27FC236}">
                <a16:creationId xmlns:a16="http://schemas.microsoft.com/office/drawing/2014/main" id="{F8965742-641B-AAA8-8051-A83FC9427665}"/>
              </a:ext>
            </a:extLst>
          </p:cNvPr>
          <p:cNvPicPr>
            <a:picLocks noChangeAspect="1"/>
          </p:cNvPicPr>
          <p:nvPr userDrawn="1"/>
        </p:nvPicPr>
        <p:blipFill>
          <a:blip r:embed="rId4"/>
          <a:stretch>
            <a:fillRect/>
          </a:stretch>
        </p:blipFill>
        <p:spPr>
          <a:xfrm>
            <a:off x="0" y="1"/>
            <a:ext cx="12192000" cy="571500"/>
          </a:xfrm>
          <a:prstGeom prst="rect">
            <a:avLst/>
          </a:prstGeom>
        </p:spPr>
      </p:pic>
    </p:spTree>
    <p:extLst>
      <p:ext uri="{BB962C8B-B14F-4D97-AF65-F5344CB8AC3E}">
        <p14:creationId xmlns:p14="http://schemas.microsoft.com/office/powerpoint/2010/main" val="300990647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C46F40-1757-4735-2263-F18923929989}"/>
              </a:ext>
            </a:extLst>
          </p:cNvPr>
          <p:cNvPicPr>
            <a:picLocks noChangeAspect="1"/>
          </p:cNvPicPr>
          <p:nvPr userDrawn="1"/>
        </p:nvPicPr>
        <p:blipFill>
          <a:blip r:embed="rId2"/>
          <a:stretch>
            <a:fillRect/>
          </a:stretch>
        </p:blipFill>
        <p:spPr>
          <a:xfrm>
            <a:off x="9997440" y="6342444"/>
            <a:ext cx="2194560" cy="370637"/>
          </a:xfrm>
          <a:prstGeom prst="rect">
            <a:avLst/>
          </a:prstGeom>
        </p:spPr>
      </p:pic>
      <p:pic>
        <p:nvPicPr>
          <p:cNvPr id="6" name="Picture 5">
            <a:extLst>
              <a:ext uri="{FF2B5EF4-FFF2-40B4-BE49-F238E27FC236}">
                <a16:creationId xmlns:a16="http://schemas.microsoft.com/office/drawing/2014/main" id="{4AAA589E-978F-EF68-C615-57421AF2765D}"/>
              </a:ext>
            </a:extLst>
          </p:cNvPr>
          <p:cNvPicPr>
            <a:picLocks noChangeAspect="1"/>
          </p:cNvPicPr>
          <p:nvPr userDrawn="1"/>
        </p:nvPicPr>
        <p:blipFill>
          <a:blip r:embed="rId3"/>
          <a:stretch>
            <a:fillRect/>
          </a:stretch>
        </p:blipFill>
        <p:spPr>
          <a:xfrm>
            <a:off x="0" y="6352454"/>
            <a:ext cx="7772400" cy="372919"/>
          </a:xfrm>
          <a:prstGeom prst="rect">
            <a:avLst/>
          </a:prstGeom>
        </p:spPr>
      </p:pic>
      <p:sp>
        <p:nvSpPr>
          <p:cNvPr id="9" name="TextBox 8">
            <a:extLst>
              <a:ext uri="{FF2B5EF4-FFF2-40B4-BE49-F238E27FC236}">
                <a16:creationId xmlns:a16="http://schemas.microsoft.com/office/drawing/2014/main" id="{45C35D37-16B1-F459-FC0F-5EC115FFEDC7}"/>
              </a:ext>
            </a:extLst>
          </p:cNvPr>
          <p:cNvSpPr txBox="1"/>
          <p:nvPr userDrawn="1"/>
        </p:nvSpPr>
        <p:spPr>
          <a:xfrm>
            <a:off x="7782560" y="6348326"/>
            <a:ext cx="2194560" cy="338554"/>
          </a:xfrm>
          <a:prstGeom prst="rect">
            <a:avLst/>
          </a:prstGeom>
          <a:noFill/>
        </p:spPr>
        <p:txBody>
          <a:bodyPr wrap="square" rtlCol="0">
            <a:spAutoFit/>
          </a:bodyPr>
          <a:lstStyle/>
          <a:p>
            <a:pPr algn="ctr"/>
            <a:r>
              <a:rPr lang="en-US" sz="1600" b="1" i="0">
                <a:solidFill>
                  <a:srgbClr val="11416C"/>
                </a:solidFill>
                <a:latin typeface="Roboto" pitchFamily="2" charset="0"/>
                <a:ea typeface="Roboto" pitchFamily="2" charset="0"/>
              </a:rPr>
              <a:t>wclc.iaslc.org</a:t>
            </a:r>
          </a:p>
        </p:txBody>
      </p:sp>
      <p:pic>
        <p:nvPicPr>
          <p:cNvPr id="10" name="Picture 9">
            <a:extLst>
              <a:ext uri="{FF2B5EF4-FFF2-40B4-BE49-F238E27FC236}">
                <a16:creationId xmlns:a16="http://schemas.microsoft.com/office/drawing/2014/main" id="{A656FFB3-797B-06CC-FE66-29B0B299210F}"/>
              </a:ext>
            </a:extLst>
          </p:cNvPr>
          <p:cNvPicPr>
            <a:picLocks noChangeAspect="1"/>
          </p:cNvPicPr>
          <p:nvPr userDrawn="1"/>
        </p:nvPicPr>
        <p:blipFill>
          <a:blip r:embed="rId4"/>
          <a:stretch>
            <a:fillRect/>
          </a:stretch>
        </p:blipFill>
        <p:spPr>
          <a:xfrm>
            <a:off x="0" y="1"/>
            <a:ext cx="12192000" cy="571500"/>
          </a:xfrm>
          <a:prstGeom prst="rect">
            <a:avLst/>
          </a:prstGeom>
        </p:spPr>
      </p:pic>
    </p:spTree>
    <p:extLst>
      <p:ext uri="{BB962C8B-B14F-4D97-AF65-F5344CB8AC3E}">
        <p14:creationId xmlns:p14="http://schemas.microsoft.com/office/powerpoint/2010/main" val="364264736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56B544B-AC8E-4825-B7A4-5105983CC1C4}"/>
              </a:ext>
            </a:extLst>
          </p:cNvPr>
          <p:cNvSpPr>
            <a:spLocks noGrp="1"/>
          </p:cNvSpPr>
          <p:nvPr>
            <p:ph type="dt" sz="half" idx="10"/>
          </p:nvPr>
        </p:nvSpPr>
        <p:spPr/>
        <p:txBody>
          <a:bodyPr/>
          <a:lstStyle/>
          <a:p>
            <a:fld id="{9FAF31D4-41AF-4D71-B9CD-0C263E357807}" type="datetimeFigureOut">
              <a:rPr lang="en-US" smtClean="0"/>
              <a:t>5/29/26</a:t>
            </a:fld>
            <a:endParaRPr lang="en-US"/>
          </a:p>
        </p:txBody>
      </p:sp>
      <p:sp>
        <p:nvSpPr>
          <p:cNvPr id="3" name="Footer Placeholder 2">
            <a:extLst>
              <a:ext uri="{FF2B5EF4-FFF2-40B4-BE49-F238E27FC236}">
                <a16:creationId xmlns:a16="http://schemas.microsoft.com/office/drawing/2014/main" id="{794F3A6D-BC2A-4991-8323-E7AEBC550B3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8CFE930-58FF-4712-8006-5053991307F3}"/>
              </a:ext>
            </a:extLst>
          </p:cNvPr>
          <p:cNvSpPr>
            <a:spLocks noGrp="1"/>
          </p:cNvSpPr>
          <p:nvPr>
            <p:ph type="sldNum" sz="quarter" idx="12"/>
          </p:nvPr>
        </p:nvSpPr>
        <p:spPr/>
        <p:txBody>
          <a:bodyPr/>
          <a:lstStyle/>
          <a:p>
            <a:fld id="{F4C93791-E806-40B4-855F-116012E94973}" type="slidenum">
              <a:rPr lang="en-US" smtClean="0"/>
              <a:t>‹#›</a:t>
            </a:fld>
            <a:endParaRPr lang="en-US"/>
          </a:p>
        </p:txBody>
      </p:sp>
    </p:spTree>
    <p:extLst>
      <p:ext uri="{BB962C8B-B14F-4D97-AF65-F5344CB8AC3E}">
        <p14:creationId xmlns:p14="http://schemas.microsoft.com/office/powerpoint/2010/main" val="18731720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6788678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03395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374886"/>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254611"/>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4087321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8"/>
            <a:ext cx="10515600" cy="99777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503650"/>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503650"/>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55257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909881"/>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320551"/>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144463"/>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320551"/>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144463"/>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60640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8"/>
            <a:ext cx="10515600" cy="1064427"/>
          </a:xfrm>
        </p:spPr>
        <p:txBody>
          <a:bodyPr/>
          <a:lstStyle/>
          <a:p>
            <a:r>
              <a:rPr lang="en-US" dirty="0"/>
              <a:t>Click to edit Master title style</a:t>
            </a:r>
          </a:p>
        </p:txBody>
      </p:sp>
    </p:spTree>
    <p:extLst>
      <p:ext uri="{BB962C8B-B14F-4D97-AF65-F5344CB8AC3E}">
        <p14:creationId xmlns:p14="http://schemas.microsoft.com/office/powerpoint/2010/main" val="26000859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7596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0062268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2094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770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7551585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838200" y="1709714"/>
            <a:ext cx="10515600" cy="40857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02284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46900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46900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77899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7" name="Text Placeholder 9"/>
          <p:cNvSpPr>
            <a:spLocks noGrp="1"/>
          </p:cNvSpPr>
          <p:nvPr>
            <p:ph type="body" sz="quarter" idx="15" hasCustomPrompt="1"/>
          </p:nvPr>
        </p:nvSpPr>
        <p:spPr bwMode="gray">
          <a:xfrm>
            <a:off x="407877" y="1097503"/>
            <a:ext cx="10006785" cy="277007"/>
          </a:xfrm>
          <a:prstGeom prst="rect">
            <a:avLst/>
          </a:prstGeom>
          <a:noFill/>
        </p:spPr>
        <p:txBody>
          <a:bodyPr wrap="square" rtlCol="0">
            <a:spAutoFit/>
          </a:bodyPr>
          <a:lstStyle>
            <a:lvl1pPr marL="0" indent="0" algn="l" rtl="0" fontAlgn="base">
              <a:lnSpc>
                <a:spcPct val="90000"/>
              </a:lnSpc>
              <a:spcBef>
                <a:spcPts val="225"/>
              </a:spcBef>
              <a:spcAft>
                <a:spcPct val="0"/>
              </a:spcAft>
              <a:buNone/>
              <a:defRPr lang="en-US" sz="1500" b="1" kern="1200" smtClean="0">
                <a:solidFill>
                  <a:schemeClr val="tx1"/>
                </a:solidFill>
                <a:latin typeface="+mj-lt"/>
                <a:ea typeface="+mn-ea"/>
                <a:cs typeface="+mn-cs"/>
              </a:defRPr>
            </a:lvl1pPr>
            <a:lvl2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7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352060" y="6162412"/>
            <a:ext cx="10346421" cy="196208"/>
          </a:xfrm>
          <a:prstGeom prst="rect">
            <a:avLst/>
          </a:prstGeom>
        </p:spPr>
        <p:txBody>
          <a:bodyPr wrap="square" lIns="45720" tIns="45720" rIns="45720" bIns="45720" anchor="b" anchorCtr="0">
            <a:spAutoFit/>
          </a:bodyPr>
          <a:lstStyle>
            <a:lvl1pPr marL="0" indent="0">
              <a:spcBef>
                <a:spcPts val="75"/>
              </a:spcBef>
              <a:buNone/>
              <a:defRPr sz="750">
                <a:solidFill>
                  <a:schemeClr val="tx1"/>
                </a:solidFill>
                <a:latin typeface="+mn-lt"/>
                <a:cs typeface="Arial" pitchFamily="34" charset="0"/>
              </a:defRPr>
            </a:lvl1pPr>
          </a:lstStyle>
          <a:p>
            <a:pPr lvl="0"/>
            <a:r>
              <a:rPr lang="en-US" dirty="0"/>
              <a:t>Click to edit source</a:t>
            </a:r>
          </a:p>
        </p:txBody>
      </p:sp>
      <p:sp>
        <p:nvSpPr>
          <p:cNvPr id="2" name="Rectangle 1"/>
          <p:cNvSpPr/>
          <p:nvPr userDrawn="1"/>
        </p:nvSpPr>
        <p:spPr>
          <a:xfrm>
            <a:off x="5130800" y="6553200"/>
            <a:ext cx="1981200" cy="190500"/>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marL="0" marR="0" lvl="0" indent="0" algn="ctr" defTabSz="685845" rtl="0" eaLnBrk="1" fontAlgn="base" latinLnBrk="0" hangingPunct="1">
              <a:lnSpc>
                <a:spcPct val="90000"/>
              </a:lnSpc>
              <a:spcBef>
                <a:spcPts val="0"/>
              </a:spcBef>
              <a:spcAft>
                <a:spcPct val="0"/>
              </a:spcAft>
              <a:buClr>
                <a:srgbClr val="ED7D31"/>
              </a:buClr>
              <a:buSzPct val="90000"/>
              <a:buFontTx/>
              <a:buNone/>
              <a:tabLst/>
              <a:defRPr/>
            </a:pPr>
            <a:endParaRPr kumimoji="0" lang="en-US" sz="15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177611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userDrawn="1">
  <p:cSld name="Title with Photo">
    <p:spTree>
      <p:nvGrpSpPr>
        <p:cNvPr id="1" name=""/>
        <p:cNvGrpSpPr/>
        <p:nvPr/>
      </p:nvGrpSpPr>
      <p:grpSpPr>
        <a:xfrm>
          <a:off x="0" y="0"/>
          <a:ext cx="0" cy="0"/>
          <a:chOff x="0" y="0"/>
          <a:chExt cx="0" cy="0"/>
        </a:xfrm>
      </p:grpSpPr>
      <p:sp>
        <p:nvSpPr>
          <p:cNvPr id="2" name="Title 1"/>
          <p:cNvSpPr>
            <a:spLocks noGrp="1"/>
          </p:cNvSpPr>
          <p:nvPr>
            <p:ph type="ctrTitle"/>
          </p:nvPr>
        </p:nvSpPr>
        <p:spPr>
          <a:xfrm>
            <a:off x="1250674" y="2528783"/>
            <a:ext cx="3056283" cy="1801235"/>
          </a:xfrm>
          <a:noFill/>
        </p:spPr>
        <p:txBody>
          <a:bodyPr anchor="ctr">
            <a:normAutofit/>
          </a:bodyPr>
          <a:lstStyle>
            <a:lvl1pPr algn="l">
              <a:lnSpc>
                <a:spcPct val="80000"/>
              </a:lnSpc>
              <a:defRPr sz="4500">
                <a:solidFill>
                  <a:srgbClr val="FFFFFF"/>
                </a:solidFill>
              </a:defRPr>
            </a:lvl1pPr>
          </a:lstStyle>
          <a:p>
            <a:r>
              <a:rPr lang="en-US" dirty="0"/>
              <a:t>Click to edit Master title style</a:t>
            </a:r>
          </a:p>
        </p:txBody>
      </p:sp>
      <p:sp>
        <p:nvSpPr>
          <p:cNvPr id="5" name="Picture Placeholder 4"/>
          <p:cNvSpPr>
            <a:spLocks noGrp="1"/>
          </p:cNvSpPr>
          <p:nvPr>
            <p:ph type="pic" sz="quarter" idx="10"/>
          </p:nvPr>
        </p:nvSpPr>
        <p:spPr>
          <a:xfrm>
            <a:off x="0" y="0"/>
            <a:ext cx="12192000" cy="5234609"/>
          </a:xfrm>
          <a:solidFill>
            <a:schemeClr val="bg2"/>
          </a:solidFill>
        </p:spPr>
        <p:txBody>
          <a:bodyPr vert="horz" lIns="0" tIns="0" rIns="0" bIns="0" rtlCol="0">
            <a:normAutofit/>
          </a:bodyPr>
          <a:lstStyle>
            <a:lvl1pPr>
              <a:defRPr lang="en-US" sz="1000"/>
            </a:lvl1pPr>
          </a:lstStyle>
          <a:p>
            <a:pPr lvl="0"/>
            <a:endParaRPr lang="en-US"/>
          </a:p>
        </p:txBody>
      </p:sp>
      <p:sp>
        <p:nvSpPr>
          <p:cNvPr id="3" name="Subtitle 2"/>
          <p:cNvSpPr>
            <a:spLocks noGrp="1"/>
          </p:cNvSpPr>
          <p:nvPr>
            <p:ph type="subTitle" idx="1"/>
          </p:nvPr>
        </p:nvSpPr>
        <p:spPr>
          <a:xfrm>
            <a:off x="1250674" y="5234609"/>
            <a:ext cx="3591339" cy="1318591"/>
          </a:xfrm>
          <a:solidFill>
            <a:srgbClr val="FFFFFF">
              <a:alpha val="50196"/>
            </a:srgbClr>
          </a:solidFill>
          <a:ln>
            <a:noFill/>
          </a:ln>
        </p:spPr>
        <p:txBody>
          <a:bodyPr lIns="274320" anchor="ctr">
            <a:normAutofit/>
          </a:bodyPr>
          <a:lstStyle>
            <a:lvl1pPr marL="0" indent="0" algn="l">
              <a:buNone/>
              <a:defRPr sz="1800">
                <a:solidFill>
                  <a:srgbClr val="1B376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Text Placeholder 5"/>
          <p:cNvSpPr>
            <a:spLocks noGrp="1"/>
          </p:cNvSpPr>
          <p:nvPr>
            <p:ph type="body" sz="quarter" idx="11"/>
          </p:nvPr>
        </p:nvSpPr>
        <p:spPr>
          <a:xfrm>
            <a:off x="1527858" y="3773348"/>
            <a:ext cx="3079067" cy="1226916"/>
          </a:xfrm>
        </p:spPr>
        <p:txBody>
          <a:bodyPr anchor="b"/>
          <a:lstStyle>
            <a:lvl1pPr>
              <a:defRPr baseline="0">
                <a:solidFill>
                  <a:srgbClr val="FFFFFF"/>
                </a:solidFill>
              </a:defRPr>
            </a:lvl1pPr>
          </a:lstStyle>
          <a:p>
            <a:pPr lvl="0"/>
            <a:r>
              <a:rPr lang="en-US" dirty="0"/>
              <a:t>Click to edit Master text styles</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03889" y="5328424"/>
            <a:ext cx="4931797" cy="573870"/>
          </a:xfrm>
          <a:prstGeom prst="rect">
            <a:avLst/>
          </a:prstGeom>
        </p:spPr>
      </p:pic>
      <p:pic>
        <p:nvPicPr>
          <p:cNvPr id="10" name="Picture 2" descr="https://medicine.yale.edu/ipc/what/identity/YSM_Shield_CMYK_49074_284_6437_v4.jpg">
            <a:extLst>
              <a:ext uri="{FF2B5EF4-FFF2-40B4-BE49-F238E27FC236}">
                <a16:creationId xmlns:a16="http://schemas.microsoft.com/office/drawing/2014/main" id="{150AEFBF-AE49-492E-8540-928B7462AEE4}"/>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589877" y="6087874"/>
            <a:ext cx="349286" cy="43706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https://medicine.yale.edu/ipc/what/identity/YSM_YaleBlue_CMYK_49073_284_6437_v4.jpg">
            <a:extLst>
              <a:ext uri="{FF2B5EF4-FFF2-40B4-BE49-F238E27FC236}">
                <a16:creationId xmlns:a16="http://schemas.microsoft.com/office/drawing/2014/main" id="{C3888090-1427-469D-9538-45922DEBBF09}"/>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8042834" y="6224717"/>
            <a:ext cx="2541973" cy="187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5642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6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52974" y="172257"/>
            <a:ext cx="2764086" cy="1016168"/>
          </a:xfrm>
          <a:prstGeom prst="rect">
            <a:avLst/>
          </a:prstGeom>
        </p:spPr>
      </p:pic>
      <p:sp>
        <p:nvSpPr>
          <p:cNvPr id="4" name="Text Placeholder 3">
            <a:extLst>
              <a:ext uri="{FF2B5EF4-FFF2-40B4-BE49-F238E27FC236}">
                <a16:creationId xmlns:a16="http://schemas.microsoft.com/office/drawing/2014/main" id="{391BC44D-45C6-4246-9EF2-A1FCFBD3E6F0}"/>
              </a:ext>
            </a:extLst>
          </p:cNvPr>
          <p:cNvSpPr>
            <a:spLocks noGrp="1"/>
          </p:cNvSpPr>
          <p:nvPr>
            <p:ph type="body" sz="quarter" idx="10" hasCustomPrompt="1"/>
          </p:nvPr>
        </p:nvSpPr>
        <p:spPr>
          <a:xfrm>
            <a:off x="3381466" y="459509"/>
            <a:ext cx="8303174" cy="508084"/>
          </a:xfrm>
          <a:prstGeom prst="rect">
            <a:avLst/>
          </a:prstGeom>
        </p:spPr>
        <p:txBody>
          <a:bodyPr/>
          <a:lstStyle>
            <a:lvl1pPr>
              <a:defRPr sz="3175" b="1" i="0">
                <a:solidFill>
                  <a:srgbClr val="418E97"/>
                </a:solidFill>
                <a:latin typeface="Arial Narrow" panose="020B0606020202030204" pitchFamily="34" charset="0"/>
              </a:defRPr>
            </a:lvl1pPr>
          </a:lstStyle>
          <a:p>
            <a:pPr lvl="0"/>
            <a:r>
              <a:rPr lang="en-GB" dirty="0"/>
              <a:t>Click here to enter Title of the slide </a:t>
            </a:r>
            <a:endParaRPr lang="x-none" dirty="0"/>
          </a:p>
        </p:txBody>
      </p:sp>
      <p:sp>
        <p:nvSpPr>
          <p:cNvPr id="7" name="Text Placeholder 3">
            <a:extLst>
              <a:ext uri="{FF2B5EF4-FFF2-40B4-BE49-F238E27FC236}">
                <a16:creationId xmlns:a16="http://schemas.microsoft.com/office/drawing/2014/main" id="{52EFEC4C-98CC-4743-A283-E1DA61707495}"/>
              </a:ext>
            </a:extLst>
          </p:cNvPr>
          <p:cNvSpPr>
            <a:spLocks noGrp="1"/>
          </p:cNvSpPr>
          <p:nvPr>
            <p:ph type="body" sz="quarter" idx="12" hasCustomPrompt="1"/>
          </p:nvPr>
        </p:nvSpPr>
        <p:spPr>
          <a:xfrm>
            <a:off x="413399" y="996846"/>
            <a:ext cx="11261596" cy="508084"/>
          </a:xfrm>
          <a:prstGeom prst="rect">
            <a:avLst/>
          </a:prstGeom>
        </p:spPr>
        <p:txBody>
          <a:bodyPr/>
          <a:lstStyle>
            <a:lvl1pPr>
              <a:defRPr sz="2469" b="0" i="0">
                <a:solidFill>
                  <a:srgbClr val="418E97"/>
                </a:solidFill>
                <a:latin typeface="Arial Narrow" panose="020B0606020202030204" pitchFamily="34" charset="0"/>
              </a:defRPr>
            </a:lvl1pPr>
          </a:lstStyle>
          <a:p>
            <a:pPr lvl="0"/>
            <a:r>
              <a:rPr lang="en-GB" dirty="0"/>
              <a:t>Click here to enter Subtitle of the slide </a:t>
            </a:r>
            <a:endParaRPr lang="x-none" dirty="0"/>
          </a:p>
        </p:txBody>
      </p:sp>
      <p:sp>
        <p:nvSpPr>
          <p:cNvPr id="8" name="Text Placeholder 3">
            <a:extLst>
              <a:ext uri="{FF2B5EF4-FFF2-40B4-BE49-F238E27FC236}">
                <a16:creationId xmlns:a16="http://schemas.microsoft.com/office/drawing/2014/main" id="{D99EA5EC-FAA6-466C-9643-7D653C12355E}"/>
              </a:ext>
            </a:extLst>
          </p:cNvPr>
          <p:cNvSpPr>
            <a:spLocks noGrp="1"/>
          </p:cNvSpPr>
          <p:nvPr>
            <p:ph type="body" sz="quarter" idx="11" hasCustomPrompt="1"/>
          </p:nvPr>
        </p:nvSpPr>
        <p:spPr>
          <a:xfrm>
            <a:off x="413399" y="1777727"/>
            <a:ext cx="11261596" cy="4620764"/>
          </a:xfrm>
          <a:prstGeom prst="rect">
            <a:avLst/>
          </a:prstGeom>
        </p:spPr>
        <p:txBody>
          <a:bodyPr/>
          <a:lstStyle>
            <a:lvl1pPr>
              <a:defRPr sz="2117" b="0" i="0">
                <a:solidFill>
                  <a:schemeClr val="tx1">
                    <a:lumMod val="65000"/>
                    <a:lumOff val="35000"/>
                  </a:schemeClr>
                </a:solidFill>
                <a:latin typeface="Arial Narrow" panose="020B0606020202030204" pitchFamily="34" charset="0"/>
              </a:defRPr>
            </a:lvl1pPr>
          </a:lstStyle>
          <a:p>
            <a:pPr lvl="0"/>
            <a:r>
              <a:rPr lang="en-GB" dirty="0"/>
              <a:t>Click here to Insert body text </a:t>
            </a:r>
            <a:endParaRPr lang="x-none" dirty="0"/>
          </a:p>
        </p:txBody>
      </p:sp>
    </p:spTree>
    <p:extLst>
      <p:ext uri="{BB962C8B-B14F-4D97-AF65-F5344CB8AC3E}">
        <p14:creationId xmlns:p14="http://schemas.microsoft.com/office/powerpoint/2010/main" val="48357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userDrawn="1">
  <p:cSld name="8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99" y="6045587"/>
            <a:ext cx="2211336" cy="812939"/>
          </a:xfrm>
          <a:prstGeom prst="rect">
            <a:avLst/>
          </a:prstGeom>
        </p:spPr>
      </p:pic>
      <p:sp>
        <p:nvSpPr>
          <p:cNvPr id="4" name="Text Placeholder 3">
            <a:extLst>
              <a:ext uri="{FF2B5EF4-FFF2-40B4-BE49-F238E27FC236}">
                <a16:creationId xmlns:a16="http://schemas.microsoft.com/office/drawing/2014/main" id="{391BC44D-45C6-4246-9EF2-A1FCFBD3E6F0}"/>
              </a:ext>
            </a:extLst>
          </p:cNvPr>
          <p:cNvSpPr>
            <a:spLocks noGrp="1"/>
          </p:cNvSpPr>
          <p:nvPr>
            <p:ph type="body" sz="quarter" idx="10" hasCustomPrompt="1"/>
          </p:nvPr>
        </p:nvSpPr>
        <p:spPr>
          <a:xfrm>
            <a:off x="413400" y="459510"/>
            <a:ext cx="11271241" cy="508084"/>
          </a:xfrm>
          <a:prstGeom prst="rect">
            <a:avLst/>
          </a:prstGeom>
        </p:spPr>
        <p:txBody>
          <a:bodyPr/>
          <a:lstStyle>
            <a:lvl1pPr marL="0" indent="0">
              <a:buNone/>
              <a:defRPr sz="3175" b="1" i="0">
                <a:solidFill>
                  <a:srgbClr val="418E97"/>
                </a:solidFill>
                <a:latin typeface="Arial Narrow" panose="020B0606020202030204" pitchFamily="34" charset="0"/>
              </a:defRPr>
            </a:lvl1pPr>
          </a:lstStyle>
          <a:p>
            <a:pPr lvl="0"/>
            <a:r>
              <a:rPr lang="en-GB" dirty="0"/>
              <a:t>Click here to enter Title of the slide </a:t>
            </a:r>
            <a:endParaRPr lang="en-CH" dirty="0"/>
          </a:p>
        </p:txBody>
      </p:sp>
      <p:sp>
        <p:nvSpPr>
          <p:cNvPr id="8" name="Text Placeholder 3">
            <a:extLst>
              <a:ext uri="{FF2B5EF4-FFF2-40B4-BE49-F238E27FC236}">
                <a16:creationId xmlns:a16="http://schemas.microsoft.com/office/drawing/2014/main" id="{D99EA5EC-FAA6-466C-9643-7D653C12355E}"/>
              </a:ext>
            </a:extLst>
          </p:cNvPr>
          <p:cNvSpPr>
            <a:spLocks noGrp="1"/>
          </p:cNvSpPr>
          <p:nvPr>
            <p:ph type="body" sz="quarter" idx="11" hasCustomPrompt="1"/>
          </p:nvPr>
        </p:nvSpPr>
        <p:spPr>
          <a:xfrm>
            <a:off x="413399" y="1777746"/>
            <a:ext cx="11261596" cy="4620764"/>
          </a:xfrm>
          <a:prstGeom prst="rect">
            <a:avLst/>
          </a:prstGeom>
        </p:spPr>
        <p:txBody>
          <a:bodyPr/>
          <a:lstStyle>
            <a:lvl1pPr>
              <a:buClrTx/>
              <a:defRPr sz="2116" b="0" i="0">
                <a:solidFill>
                  <a:schemeClr val="tx1">
                    <a:lumMod val="65000"/>
                    <a:lumOff val="35000"/>
                  </a:schemeClr>
                </a:solidFill>
                <a:latin typeface="Arial Narrow" panose="020B0606020202030204" pitchFamily="34" charset="0"/>
              </a:defRPr>
            </a:lvl1pPr>
          </a:lstStyle>
          <a:p>
            <a:pPr lvl="0"/>
            <a:r>
              <a:rPr lang="en-GB" dirty="0"/>
              <a:t>Click here to Insert body text </a:t>
            </a:r>
            <a:endParaRPr lang="en-CH" dirty="0"/>
          </a:p>
        </p:txBody>
      </p:sp>
    </p:spTree>
    <p:extLst>
      <p:ext uri="{BB962C8B-B14F-4D97-AF65-F5344CB8AC3E}">
        <p14:creationId xmlns:p14="http://schemas.microsoft.com/office/powerpoint/2010/main" val="21131803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pos="188">
          <p15:clr>
            <a:srgbClr val="FBAE40"/>
          </p15:clr>
        </p15:guide>
        <p15:guide id="2" pos="5518">
          <p15:clr>
            <a:srgbClr val="FBAE40"/>
          </p15:clr>
        </p15:guide>
        <p15:guide id="3" orient="horz" pos="833">
          <p15:clr>
            <a:srgbClr val="FBAE40"/>
          </p15:clr>
        </p15:guide>
        <p15:guide id="4" orient="horz" pos="461">
          <p15:clr>
            <a:srgbClr val="FBAE40"/>
          </p15:clr>
        </p15:guide>
        <p15:guide id="5" orient="horz" pos="211">
          <p15:clr>
            <a:srgbClr val="FBAE40"/>
          </p15:clr>
        </p15:guide>
        <p15:guide id="6" orient="horz" pos="3026">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userDrawn="1">
  <p:cSld name="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a:srcRect l="3707" t="5548" r="79289" b="83339"/>
          <a:stretch/>
        </p:blipFill>
        <p:spPr>
          <a:xfrm>
            <a:off x="352974" y="172257"/>
            <a:ext cx="2764086" cy="1016168"/>
          </a:xfrm>
          <a:prstGeom prst="rect">
            <a:avLst/>
          </a:prstGeom>
        </p:spPr>
      </p:pic>
    </p:spTree>
    <p:extLst>
      <p:ext uri="{BB962C8B-B14F-4D97-AF65-F5344CB8AC3E}">
        <p14:creationId xmlns:p14="http://schemas.microsoft.com/office/powerpoint/2010/main" val="39426310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E27FE-C1B3-4BFC-BAAB-1FDD311DAA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47F7FDD-7FB9-4622-8161-F0BFB5D752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C9F612-1893-45C0-ADC8-CF51F96963DE}"/>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5" name="Footer Placeholder 4">
            <a:extLst>
              <a:ext uri="{FF2B5EF4-FFF2-40B4-BE49-F238E27FC236}">
                <a16:creationId xmlns:a16="http://schemas.microsoft.com/office/drawing/2014/main" id="{CB65B4C6-0ED2-4F67-BE52-679328EA60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19F7E0-FE94-4239-B5BD-C8BB1252A9EA}"/>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38239186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7000C-382C-4C55-A1F1-2C7FDE5E64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048266-8C69-47ED-8587-CB194A20A1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8BD711-C524-4F12-AF19-976EA988B858}"/>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5" name="Footer Placeholder 4">
            <a:extLst>
              <a:ext uri="{FF2B5EF4-FFF2-40B4-BE49-F238E27FC236}">
                <a16:creationId xmlns:a16="http://schemas.microsoft.com/office/drawing/2014/main" id="{C929EAA2-C3C1-4413-80A9-BF4ADB069E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60FF18-8EAC-4848-83B6-1A124AD4819A}"/>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14894646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CDE98-7E52-45BA-81C3-AC28E10B76B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0F611D2-5242-48BC-B840-FC0B00B424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A2A8437-69B9-49CB-81E3-983EFB49D162}"/>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5" name="Footer Placeholder 4">
            <a:extLst>
              <a:ext uri="{FF2B5EF4-FFF2-40B4-BE49-F238E27FC236}">
                <a16:creationId xmlns:a16="http://schemas.microsoft.com/office/drawing/2014/main" id="{0EC974CE-4028-480B-BC45-07EDA741D1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5AF5E2-9886-412B-9496-7653E5E515FE}"/>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37046064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8BC1D-FCA6-4CC5-B338-0360020D3F9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7C9080-6308-4B55-A3F4-A5A4B10E32E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80C6C80-8B50-40BD-93AF-C2298829BA4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5D06AD-05E1-41F3-B63C-D7E1AAEEA1E1}"/>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6" name="Footer Placeholder 5">
            <a:extLst>
              <a:ext uri="{FF2B5EF4-FFF2-40B4-BE49-F238E27FC236}">
                <a16:creationId xmlns:a16="http://schemas.microsoft.com/office/drawing/2014/main" id="{0516D57F-6EA4-4527-BD4C-5C5A8DDB41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20E5FA-F6B7-47CA-B213-897206BE8379}"/>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23683349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9A0BA-7D34-4F96-B0AA-74F551756FE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A5A2BA-FCB8-41DB-8E80-857308AA25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4B03506-142E-4DDE-8C7B-EC641932A34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94358B2-F0F6-4FCA-ACAE-FD3BEE22F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36C3B49-6699-40BC-9B5E-A8EA56A196F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F46669-0B55-4304-B1CD-DAE8F48481D4}"/>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8" name="Footer Placeholder 7">
            <a:extLst>
              <a:ext uri="{FF2B5EF4-FFF2-40B4-BE49-F238E27FC236}">
                <a16:creationId xmlns:a16="http://schemas.microsoft.com/office/drawing/2014/main" id="{9B88A3D2-7C96-4530-A9C2-9906B5C1F1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BE99D7-74F6-443F-8FF7-A32851E47D52}"/>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25926618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5A855-DA72-486D-A3A5-3E3C3F0987F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DC27827-F429-4814-B431-CD39436854CB}"/>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4" name="Footer Placeholder 3">
            <a:extLst>
              <a:ext uri="{FF2B5EF4-FFF2-40B4-BE49-F238E27FC236}">
                <a16:creationId xmlns:a16="http://schemas.microsoft.com/office/drawing/2014/main" id="{6F6F68A6-03B1-4C67-8B33-2E12B592449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8BCD44A-D422-4233-921A-E2CA8D9B4D5F}"/>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37782648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872798-A67E-46FF-BBB0-02CBAB0A870B}"/>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3" name="Footer Placeholder 2">
            <a:extLst>
              <a:ext uri="{FF2B5EF4-FFF2-40B4-BE49-F238E27FC236}">
                <a16:creationId xmlns:a16="http://schemas.microsoft.com/office/drawing/2014/main" id="{4EBE4469-D2FA-486D-AFDB-DD0729CCF2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0521724-EF0C-4074-ADB0-1594AC839FB0}"/>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2446999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BFBB6-B2A4-474C-87B3-AC9668FB6B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CB42D6-7A43-4E80-AF55-48394E7D17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7A3C26-94B3-4871-9406-C32F4F71A0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7ABE9F-F746-4AC0-B410-09B8AD284822}"/>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6" name="Footer Placeholder 5">
            <a:extLst>
              <a:ext uri="{FF2B5EF4-FFF2-40B4-BE49-F238E27FC236}">
                <a16:creationId xmlns:a16="http://schemas.microsoft.com/office/drawing/2014/main" id="{DF89FCBD-45DD-4F23-B207-8CECA5B34D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7FE0D7-2D5F-4692-A58F-CFAC7569C998}"/>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33963946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31193-9C33-45FD-9118-707C216E56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BF81C5A-0C18-4B81-B232-FB30EAAB867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D2916FC-D71B-4D1E-A6B8-D1E213B9D3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6BC117-1249-4724-9C31-24857C8ECC09}"/>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6" name="Footer Placeholder 5">
            <a:extLst>
              <a:ext uri="{FF2B5EF4-FFF2-40B4-BE49-F238E27FC236}">
                <a16:creationId xmlns:a16="http://schemas.microsoft.com/office/drawing/2014/main" id="{EE7FCE79-8A91-45B4-B4C7-6643C991DE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38EB89-D4F2-4FFE-88CE-DE6EB243E67F}"/>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35393044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8AC49-A30A-4043-94E5-987B04BD7E5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D520AC3-DCD6-4D8D-9723-6B771D60D6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85EB2F-E058-406D-A7BD-72A4609109E5}"/>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5" name="Footer Placeholder 4">
            <a:extLst>
              <a:ext uri="{FF2B5EF4-FFF2-40B4-BE49-F238E27FC236}">
                <a16:creationId xmlns:a16="http://schemas.microsoft.com/office/drawing/2014/main" id="{804624F6-53AE-4FA4-8B40-68B4F52C5E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90238A-626C-4160-B261-D57E94744E69}"/>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31747938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8C19C9-C535-40F6-A980-C3E7AEC293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EE0A8F7-B1DF-435F-B45E-B03315BD7D0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A4B4CA-FA24-4D93-8276-1852FC465C02}"/>
              </a:ext>
            </a:extLst>
          </p:cNvPr>
          <p:cNvSpPr>
            <a:spLocks noGrp="1"/>
          </p:cNvSpPr>
          <p:nvPr>
            <p:ph type="dt" sz="half" idx="10"/>
          </p:nvPr>
        </p:nvSpPr>
        <p:spPr/>
        <p:txBody>
          <a:bodyPr/>
          <a:lstStyle/>
          <a:p>
            <a:fld id="{8FF08D17-C036-4507-A2BB-75CF5F39A119}" type="datetimeFigureOut">
              <a:rPr lang="en-US" smtClean="0"/>
              <a:t>5/29/26</a:t>
            </a:fld>
            <a:endParaRPr lang="en-US"/>
          </a:p>
        </p:txBody>
      </p:sp>
      <p:sp>
        <p:nvSpPr>
          <p:cNvPr id="5" name="Footer Placeholder 4">
            <a:extLst>
              <a:ext uri="{FF2B5EF4-FFF2-40B4-BE49-F238E27FC236}">
                <a16:creationId xmlns:a16="http://schemas.microsoft.com/office/drawing/2014/main" id="{E57E3D42-4703-416F-8B0A-D76B9BA9F8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60BB44-7FE8-45B7-A03C-289D7F7FE0F3}"/>
              </a:ext>
            </a:extLst>
          </p:cNvPr>
          <p:cNvSpPr>
            <a:spLocks noGrp="1"/>
          </p:cNvSpPr>
          <p:nvPr>
            <p:ph type="sldNum" sz="quarter" idx="12"/>
          </p:nvPr>
        </p:nvSpPr>
        <p:spPr/>
        <p:txBody>
          <a:bodyPr/>
          <a:lstStyle/>
          <a:p>
            <a:fld id="{E875C98E-3449-4AD4-B03E-3E2AA4F93ADF}" type="slidenum">
              <a:rPr lang="en-US" smtClean="0"/>
              <a:t>‹#›</a:t>
            </a:fld>
            <a:endParaRPr lang="en-US"/>
          </a:p>
        </p:txBody>
      </p:sp>
    </p:spTree>
    <p:extLst>
      <p:ext uri="{BB962C8B-B14F-4D97-AF65-F5344CB8AC3E}">
        <p14:creationId xmlns:p14="http://schemas.microsoft.com/office/powerpoint/2010/main" val="9924466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Title with Photo">
    <p:spTree>
      <p:nvGrpSpPr>
        <p:cNvPr id="1" name=""/>
        <p:cNvGrpSpPr/>
        <p:nvPr/>
      </p:nvGrpSpPr>
      <p:grpSpPr>
        <a:xfrm>
          <a:off x="0" y="0"/>
          <a:ext cx="0" cy="0"/>
          <a:chOff x="0" y="0"/>
          <a:chExt cx="0" cy="0"/>
        </a:xfrm>
      </p:grpSpPr>
      <p:sp>
        <p:nvSpPr>
          <p:cNvPr id="2" name="Title 1"/>
          <p:cNvSpPr>
            <a:spLocks noGrp="1"/>
          </p:cNvSpPr>
          <p:nvPr>
            <p:ph type="ctrTitle"/>
          </p:nvPr>
        </p:nvSpPr>
        <p:spPr>
          <a:xfrm>
            <a:off x="1250674" y="2528783"/>
            <a:ext cx="3056283" cy="1801235"/>
          </a:xfrm>
          <a:noFill/>
        </p:spPr>
        <p:txBody>
          <a:bodyPr anchor="ctr">
            <a:normAutofit/>
          </a:bodyPr>
          <a:lstStyle>
            <a:lvl1pPr algn="l">
              <a:lnSpc>
                <a:spcPct val="80000"/>
              </a:lnSpc>
              <a:defRPr sz="4500">
                <a:solidFill>
                  <a:srgbClr val="FFFFFF"/>
                </a:solidFill>
              </a:defRPr>
            </a:lvl1pPr>
          </a:lstStyle>
          <a:p>
            <a:r>
              <a:rPr lang="en-US" dirty="0"/>
              <a:t>Click to edit Master title style</a:t>
            </a:r>
          </a:p>
        </p:txBody>
      </p:sp>
      <p:sp>
        <p:nvSpPr>
          <p:cNvPr id="5" name="Picture Placeholder 4"/>
          <p:cNvSpPr>
            <a:spLocks noGrp="1"/>
          </p:cNvSpPr>
          <p:nvPr>
            <p:ph type="pic" sz="quarter" idx="10"/>
          </p:nvPr>
        </p:nvSpPr>
        <p:spPr>
          <a:xfrm>
            <a:off x="0" y="0"/>
            <a:ext cx="12192000" cy="5234609"/>
          </a:xfrm>
          <a:solidFill>
            <a:schemeClr val="bg2"/>
          </a:solidFill>
        </p:spPr>
        <p:txBody>
          <a:bodyPr vert="horz" lIns="0" tIns="0" rIns="0" bIns="0" rtlCol="0">
            <a:normAutofit/>
          </a:bodyPr>
          <a:lstStyle>
            <a:lvl1pPr>
              <a:defRPr lang="en-US" sz="1000"/>
            </a:lvl1pPr>
          </a:lstStyle>
          <a:p>
            <a:pPr lvl="0"/>
            <a:endParaRPr lang="en-US"/>
          </a:p>
        </p:txBody>
      </p:sp>
      <p:sp>
        <p:nvSpPr>
          <p:cNvPr id="3" name="Subtitle 2"/>
          <p:cNvSpPr>
            <a:spLocks noGrp="1"/>
          </p:cNvSpPr>
          <p:nvPr>
            <p:ph type="subTitle" idx="1"/>
          </p:nvPr>
        </p:nvSpPr>
        <p:spPr>
          <a:xfrm>
            <a:off x="1250674" y="5234609"/>
            <a:ext cx="3591339" cy="1318591"/>
          </a:xfrm>
          <a:solidFill>
            <a:srgbClr val="FFFFFF">
              <a:alpha val="50196"/>
            </a:srgbClr>
          </a:solidFill>
          <a:ln>
            <a:noFill/>
          </a:ln>
        </p:spPr>
        <p:txBody>
          <a:bodyPr lIns="274320" anchor="ctr">
            <a:normAutofit/>
          </a:bodyPr>
          <a:lstStyle>
            <a:lvl1pPr marL="0" indent="0" algn="l">
              <a:buNone/>
              <a:defRPr sz="1800">
                <a:solidFill>
                  <a:srgbClr val="1B376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Text Placeholder 5"/>
          <p:cNvSpPr>
            <a:spLocks noGrp="1"/>
          </p:cNvSpPr>
          <p:nvPr>
            <p:ph type="body" sz="quarter" idx="11"/>
          </p:nvPr>
        </p:nvSpPr>
        <p:spPr>
          <a:xfrm>
            <a:off x="1527858" y="3773348"/>
            <a:ext cx="3079067" cy="1226916"/>
          </a:xfrm>
        </p:spPr>
        <p:txBody>
          <a:bodyPr anchor="b"/>
          <a:lstStyle>
            <a:lvl1pPr>
              <a:defRPr baseline="0">
                <a:solidFill>
                  <a:srgbClr val="FFFFFF"/>
                </a:solidFill>
              </a:defRPr>
            </a:lvl1pPr>
          </a:lstStyle>
          <a:p>
            <a:pPr lvl="0"/>
            <a:r>
              <a:rPr lang="en-US" dirty="0"/>
              <a:t>Click to edit Master text styles</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03889" y="5328424"/>
            <a:ext cx="4931797" cy="573870"/>
          </a:xfrm>
          <a:prstGeom prst="rect">
            <a:avLst/>
          </a:prstGeom>
        </p:spPr>
      </p:pic>
      <p:pic>
        <p:nvPicPr>
          <p:cNvPr id="10" name="Picture 2" descr="https://medicine.yale.edu/ipc/what/identity/YSM_Shield_CMYK_49074_284_6437_v4.jpg">
            <a:extLst>
              <a:ext uri="{FF2B5EF4-FFF2-40B4-BE49-F238E27FC236}">
                <a16:creationId xmlns:a16="http://schemas.microsoft.com/office/drawing/2014/main" id="{150AEFBF-AE49-492E-8540-928B7462AEE4}"/>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589877" y="6087874"/>
            <a:ext cx="349286" cy="43706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https://medicine.yale.edu/ipc/what/identity/YSM_YaleBlue_CMYK_49073_284_6437_v4.jpg">
            <a:extLst>
              <a:ext uri="{FF2B5EF4-FFF2-40B4-BE49-F238E27FC236}">
                <a16:creationId xmlns:a16="http://schemas.microsoft.com/office/drawing/2014/main" id="{C3888090-1427-469D-9538-45922DEBBF09}"/>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8042834" y="6224717"/>
            <a:ext cx="2541973" cy="187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98608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E157BCAC-62D1-CDF9-A9EA-E55788D78F31}"/>
              </a:ext>
            </a:extLst>
          </p:cNvPr>
          <p:cNvSpPr>
            <a:spLocks noGrp="1"/>
          </p:cNvSpPr>
          <p:nvPr>
            <p:ph type="dt" sz="half" idx="10"/>
          </p:nvPr>
        </p:nvSpPr>
        <p:spPr/>
        <p:txBody>
          <a:bodyPr/>
          <a:lstStyle>
            <a:lvl1pPr>
              <a:defRPr/>
            </a:lvl1pPr>
          </a:lstStyle>
          <a:p>
            <a:pPr>
              <a:defRPr/>
            </a:pPr>
            <a:fld id="{A915B281-E9BB-472B-BA9A-896BB0EDFCCD}" type="datetimeFigureOut">
              <a:rPr lang="en-US"/>
              <a:pPr>
                <a:defRPr/>
              </a:pPr>
              <a:t>5/29/26</a:t>
            </a:fld>
            <a:endParaRPr lang="en-US"/>
          </a:p>
        </p:txBody>
      </p:sp>
      <p:sp>
        <p:nvSpPr>
          <p:cNvPr id="5" name="Footer Placeholder 4">
            <a:extLst>
              <a:ext uri="{FF2B5EF4-FFF2-40B4-BE49-F238E27FC236}">
                <a16:creationId xmlns:a16="http://schemas.microsoft.com/office/drawing/2014/main" id="{901521C5-6340-D227-57E4-02647F674A6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CB9B328-CD75-445B-8BDA-F503DB2FA713}"/>
              </a:ext>
            </a:extLst>
          </p:cNvPr>
          <p:cNvSpPr>
            <a:spLocks noGrp="1"/>
          </p:cNvSpPr>
          <p:nvPr>
            <p:ph type="sldNum" sz="quarter" idx="12"/>
          </p:nvPr>
        </p:nvSpPr>
        <p:spPr/>
        <p:txBody>
          <a:bodyPr/>
          <a:lstStyle>
            <a:lvl1pPr>
              <a:defRPr/>
            </a:lvl1pPr>
          </a:lstStyle>
          <a:p>
            <a:pPr>
              <a:defRPr/>
            </a:pPr>
            <a:fld id="{34B2A68B-3467-42C7-BDBE-AB1B73C1A655}" type="slidenum">
              <a:rPr lang="en-US" altLang="en-US"/>
              <a:pPr>
                <a:defRPr/>
              </a:pPr>
              <a:t>‹#›</a:t>
            </a:fld>
            <a:endParaRPr lang="en-US" altLang="en-US"/>
          </a:p>
        </p:txBody>
      </p:sp>
    </p:spTree>
    <p:extLst>
      <p:ext uri="{BB962C8B-B14F-4D97-AF65-F5344CB8AC3E}">
        <p14:creationId xmlns:p14="http://schemas.microsoft.com/office/powerpoint/2010/main" val="14258947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5F86710-044F-1EB6-5744-BEF1C53F1D7C}"/>
              </a:ext>
            </a:extLst>
          </p:cNvPr>
          <p:cNvSpPr>
            <a:spLocks noGrp="1"/>
          </p:cNvSpPr>
          <p:nvPr>
            <p:ph type="dt" sz="half" idx="10"/>
          </p:nvPr>
        </p:nvSpPr>
        <p:spPr/>
        <p:txBody>
          <a:bodyPr/>
          <a:lstStyle>
            <a:lvl1pPr>
              <a:defRPr/>
            </a:lvl1pPr>
          </a:lstStyle>
          <a:p>
            <a:pPr>
              <a:defRPr/>
            </a:pPr>
            <a:fld id="{28D2067B-FEE7-4318-96BD-878D8A3A894D}" type="datetimeFigureOut">
              <a:rPr lang="en-US"/>
              <a:pPr>
                <a:defRPr/>
              </a:pPr>
              <a:t>5/29/26</a:t>
            </a:fld>
            <a:endParaRPr lang="en-US"/>
          </a:p>
        </p:txBody>
      </p:sp>
      <p:sp>
        <p:nvSpPr>
          <p:cNvPr id="5" name="Footer Placeholder 4">
            <a:extLst>
              <a:ext uri="{FF2B5EF4-FFF2-40B4-BE49-F238E27FC236}">
                <a16:creationId xmlns:a16="http://schemas.microsoft.com/office/drawing/2014/main" id="{FC9608B7-0680-3FC9-B98B-EAA4B4DC4D95}"/>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DF833F4-AFDE-B6B2-AB69-550436DD9A2A}"/>
              </a:ext>
            </a:extLst>
          </p:cNvPr>
          <p:cNvSpPr>
            <a:spLocks noGrp="1"/>
          </p:cNvSpPr>
          <p:nvPr>
            <p:ph type="sldNum" sz="quarter" idx="12"/>
          </p:nvPr>
        </p:nvSpPr>
        <p:spPr/>
        <p:txBody>
          <a:bodyPr/>
          <a:lstStyle>
            <a:lvl1pPr>
              <a:defRPr/>
            </a:lvl1pPr>
          </a:lstStyle>
          <a:p>
            <a:pPr>
              <a:defRPr/>
            </a:pPr>
            <a:fld id="{25273D42-199E-4F20-9060-E692DE68E151}" type="slidenum">
              <a:rPr lang="en-US" altLang="en-US"/>
              <a:pPr>
                <a:defRPr/>
              </a:pPr>
              <a:t>‹#›</a:t>
            </a:fld>
            <a:endParaRPr lang="en-US" altLang="en-US"/>
          </a:p>
        </p:txBody>
      </p:sp>
    </p:spTree>
    <p:extLst>
      <p:ext uri="{BB962C8B-B14F-4D97-AF65-F5344CB8AC3E}">
        <p14:creationId xmlns:p14="http://schemas.microsoft.com/office/powerpoint/2010/main" val="22972141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6"/>
            <a:ext cx="105156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831851" y="4589471"/>
            <a:ext cx="10515600" cy="150018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7F46611-948B-434F-36EB-3023C8E3C064}"/>
              </a:ext>
            </a:extLst>
          </p:cNvPr>
          <p:cNvSpPr>
            <a:spLocks noGrp="1"/>
          </p:cNvSpPr>
          <p:nvPr>
            <p:ph type="dt" sz="half" idx="10"/>
          </p:nvPr>
        </p:nvSpPr>
        <p:spPr/>
        <p:txBody>
          <a:bodyPr/>
          <a:lstStyle>
            <a:lvl1pPr>
              <a:defRPr/>
            </a:lvl1pPr>
          </a:lstStyle>
          <a:p>
            <a:pPr>
              <a:defRPr/>
            </a:pPr>
            <a:fld id="{37F4E3A4-5A8A-40FA-A994-772888EDDE16}" type="datetimeFigureOut">
              <a:rPr lang="en-US"/>
              <a:pPr>
                <a:defRPr/>
              </a:pPr>
              <a:t>5/29/26</a:t>
            </a:fld>
            <a:endParaRPr lang="en-US"/>
          </a:p>
        </p:txBody>
      </p:sp>
      <p:sp>
        <p:nvSpPr>
          <p:cNvPr id="5" name="Footer Placeholder 4">
            <a:extLst>
              <a:ext uri="{FF2B5EF4-FFF2-40B4-BE49-F238E27FC236}">
                <a16:creationId xmlns:a16="http://schemas.microsoft.com/office/drawing/2014/main" id="{AEB98DAD-DCB8-31D6-6B34-2F689D73520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1A3FCF3-193C-00F9-E6EA-C8C67791C108}"/>
              </a:ext>
            </a:extLst>
          </p:cNvPr>
          <p:cNvSpPr>
            <a:spLocks noGrp="1"/>
          </p:cNvSpPr>
          <p:nvPr>
            <p:ph type="sldNum" sz="quarter" idx="12"/>
          </p:nvPr>
        </p:nvSpPr>
        <p:spPr/>
        <p:txBody>
          <a:bodyPr/>
          <a:lstStyle>
            <a:lvl1pPr>
              <a:defRPr/>
            </a:lvl1pPr>
          </a:lstStyle>
          <a:p>
            <a:pPr>
              <a:defRPr/>
            </a:pPr>
            <a:fld id="{E1CA0BB3-E089-450D-BE6B-31D79A2EB4A1}" type="slidenum">
              <a:rPr lang="en-US" altLang="en-US"/>
              <a:pPr>
                <a:defRPr/>
              </a:pPr>
              <a:t>‹#›</a:t>
            </a:fld>
            <a:endParaRPr lang="en-US" altLang="en-US"/>
          </a:p>
        </p:txBody>
      </p:sp>
    </p:spTree>
    <p:extLst>
      <p:ext uri="{BB962C8B-B14F-4D97-AF65-F5344CB8AC3E}">
        <p14:creationId xmlns:p14="http://schemas.microsoft.com/office/powerpoint/2010/main" val="40363436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4DB7F8CD-DEB2-F9EB-3BF8-AE4E3FFE6513}"/>
              </a:ext>
            </a:extLst>
          </p:cNvPr>
          <p:cNvSpPr>
            <a:spLocks noGrp="1"/>
          </p:cNvSpPr>
          <p:nvPr>
            <p:ph type="dt" sz="half" idx="10"/>
          </p:nvPr>
        </p:nvSpPr>
        <p:spPr/>
        <p:txBody>
          <a:bodyPr/>
          <a:lstStyle>
            <a:lvl1pPr>
              <a:defRPr/>
            </a:lvl1pPr>
          </a:lstStyle>
          <a:p>
            <a:pPr>
              <a:defRPr/>
            </a:pPr>
            <a:fld id="{95E8E8C6-C811-4588-A7BA-A8ED9402758C}" type="datetimeFigureOut">
              <a:rPr lang="en-US"/>
              <a:pPr>
                <a:defRPr/>
              </a:pPr>
              <a:t>5/29/26</a:t>
            </a:fld>
            <a:endParaRPr lang="en-US"/>
          </a:p>
        </p:txBody>
      </p:sp>
      <p:sp>
        <p:nvSpPr>
          <p:cNvPr id="6" name="Footer Placeholder 4">
            <a:extLst>
              <a:ext uri="{FF2B5EF4-FFF2-40B4-BE49-F238E27FC236}">
                <a16:creationId xmlns:a16="http://schemas.microsoft.com/office/drawing/2014/main" id="{C6D803BB-1ECF-93FF-E95A-3DA5B7841E0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DF7BAAC4-A1D7-238C-CEC4-BEB1F9AA87FB}"/>
              </a:ext>
            </a:extLst>
          </p:cNvPr>
          <p:cNvSpPr>
            <a:spLocks noGrp="1"/>
          </p:cNvSpPr>
          <p:nvPr>
            <p:ph type="sldNum" sz="quarter" idx="12"/>
          </p:nvPr>
        </p:nvSpPr>
        <p:spPr/>
        <p:txBody>
          <a:bodyPr/>
          <a:lstStyle>
            <a:lvl1pPr>
              <a:defRPr/>
            </a:lvl1pPr>
          </a:lstStyle>
          <a:p>
            <a:pPr>
              <a:defRPr/>
            </a:pPr>
            <a:fld id="{C5BFA580-A49F-44CB-9560-8B9633C944E2}" type="slidenum">
              <a:rPr lang="en-US" altLang="en-US"/>
              <a:pPr>
                <a:defRPr/>
              </a:pPr>
              <a:t>‹#›</a:t>
            </a:fld>
            <a:endParaRPr lang="en-US" altLang="en-US"/>
          </a:p>
        </p:txBody>
      </p:sp>
    </p:spTree>
    <p:extLst>
      <p:ext uri="{BB962C8B-B14F-4D97-AF65-F5344CB8AC3E}">
        <p14:creationId xmlns:p14="http://schemas.microsoft.com/office/powerpoint/2010/main" val="335164762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a:extLst>
              <a:ext uri="{FF2B5EF4-FFF2-40B4-BE49-F238E27FC236}">
                <a16:creationId xmlns:a16="http://schemas.microsoft.com/office/drawing/2014/main" id="{C23FCF7D-3B19-B98C-43AE-570FCDEC3F13}"/>
              </a:ext>
            </a:extLst>
          </p:cNvPr>
          <p:cNvSpPr>
            <a:spLocks noGrp="1"/>
          </p:cNvSpPr>
          <p:nvPr>
            <p:ph type="dt" sz="half" idx="10"/>
          </p:nvPr>
        </p:nvSpPr>
        <p:spPr/>
        <p:txBody>
          <a:bodyPr/>
          <a:lstStyle>
            <a:lvl1pPr>
              <a:defRPr/>
            </a:lvl1pPr>
          </a:lstStyle>
          <a:p>
            <a:pPr>
              <a:defRPr/>
            </a:pPr>
            <a:fld id="{D07F55F6-A682-4E07-AAC6-A0C6AE646C37}" type="datetimeFigureOut">
              <a:rPr lang="en-US"/>
              <a:pPr>
                <a:defRPr/>
              </a:pPr>
              <a:t>5/29/26</a:t>
            </a:fld>
            <a:endParaRPr lang="en-US"/>
          </a:p>
        </p:txBody>
      </p:sp>
      <p:sp>
        <p:nvSpPr>
          <p:cNvPr id="8" name="Footer Placeholder 4">
            <a:extLst>
              <a:ext uri="{FF2B5EF4-FFF2-40B4-BE49-F238E27FC236}">
                <a16:creationId xmlns:a16="http://schemas.microsoft.com/office/drawing/2014/main" id="{CFE3B202-84B1-8546-1EA3-8025214EB96C}"/>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966DB776-7903-3890-0671-970457F1C0F1}"/>
              </a:ext>
            </a:extLst>
          </p:cNvPr>
          <p:cNvSpPr>
            <a:spLocks noGrp="1"/>
          </p:cNvSpPr>
          <p:nvPr>
            <p:ph type="sldNum" sz="quarter" idx="12"/>
          </p:nvPr>
        </p:nvSpPr>
        <p:spPr/>
        <p:txBody>
          <a:bodyPr/>
          <a:lstStyle>
            <a:lvl1pPr>
              <a:defRPr/>
            </a:lvl1pPr>
          </a:lstStyle>
          <a:p>
            <a:pPr>
              <a:defRPr/>
            </a:pPr>
            <a:fld id="{4D55F724-E69B-46C8-96A7-FDD4A40FB9B9}" type="slidenum">
              <a:rPr lang="en-US" altLang="en-US"/>
              <a:pPr>
                <a:defRPr/>
              </a:pPr>
              <a:t>‹#›</a:t>
            </a:fld>
            <a:endParaRPr lang="en-US" altLang="en-US"/>
          </a:p>
        </p:txBody>
      </p:sp>
    </p:spTree>
    <p:extLst>
      <p:ext uri="{BB962C8B-B14F-4D97-AF65-F5344CB8AC3E}">
        <p14:creationId xmlns:p14="http://schemas.microsoft.com/office/powerpoint/2010/main" val="5084357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a:extLst>
              <a:ext uri="{FF2B5EF4-FFF2-40B4-BE49-F238E27FC236}">
                <a16:creationId xmlns:a16="http://schemas.microsoft.com/office/drawing/2014/main" id="{495FF947-3948-CF83-99F3-856FA3D1F4A4}"/>
              </a:ext>
            </a:extLst>
          </p:cNvPr>
          <p:cNvSpPr>
            <a:spLocks noGrp="1"/>
          </p:cNvSpPr>
          <p:nvPr>
            <p:ph type="dt" sz="half" idx="10"/>
          </p:nvPr>
        </p:nvSpPr>
        <p:spPr/>
        <p:txBody>
          <a:bodyPr/>
          <a:lstStyle>
            <a:lvl1pPr>
              <a:defRPr/>
            </a:lvl1pPr>
          </a:lstStyle>
          <a:p>
            <a:pPr>
              <a:defRPr/>
            </a:pPr>
            <a:fld id="{5CF8A75E-F6AA-482F-9DF9-2480363F4BDF}" type="datetimeFigureOut">
              <a:rPr lang="en-US"/>
              <a:pPr>
                <a:defRPr/>
              </a:pPr>
              <a:t>5/29/26</a:t>
            </a:fld>
            <a:endParaRPr lang="en-US"/>
          </a:p>
        </p:txBody>
      </p:sp>
      <p:sp>
        <p:nvSpPr>
          <p:cNvPr id="4" name="Footer Placeholder 4">
            <a:extLst>
              <a:ext uri="{FF2B5EF4-FFF2-40B4-BE49-F238E27FC236}">
                <a16:creationId xmlns:a16="http://schemas.microsoft.com/office/drawing/2014/main" id="{D0EA3216-E48B-7D88-CBDF-F2A8BBCA0622}"/>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A0215D34-0162-8ADC-C550-258598DECAFC}"/>
              </a:ext>
            </a:extLst>
          </p:cNvPr>
          <p:cNvSpPr>
            <a:spLocks noGrp="1"/>
          </p:cNvSpPr>
          <p:nvPr>
            <p:ph type="sldNum" sz="quarter" idx="12"/>
          </p:nvPr>
        </p:nvSpPr>
        <p:spPr/>
        <p:txBody>
          <a:bodyPr/>
          <a:lstStyle>
            <a:lvl1pPr>
              <a:defRPr/>
            </a:lvl1pPr>
          </a:lstStyle>
          <a:p>
            <a:pPr>
              <a:defRPr/>
            </a:pPr>
            <a:fld id="{8E570F84-EE87-47AC-A9B3-05E34AA17186}" type="slidenum">
              <a:rPr lang="en-US" altLang="en-US"/>
              <a:pPr>
                <a:defRPr/>
              </a:pPr>
              <a:t>‹#›</a:t>
            </a:fld>
            <a:endParaRPr lang="en-US" altLang="en-US"/>
          </a:p>
        </p:txBody>
      </p:sp>
    </p:spTree>
    <p:extLst>
      <p:ext uri="{BB962C8B-B14F-4D97-AF65-F5344CB8AC3E}">
        <p14:creationId xmlns:p14="http://schemas.microsoft.com/office/powerpoint/2010/main" val="35921607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868605BC-2EDB-F951-C74F-71E7DD385341}"/>
              </a:ext>
            </a:extLst>
          </p:cNvPr>
          <p:cNvSpPr>
            <a:spLocks noGrp="1"/>
          </p:cNvSpPr>
          <p:nvPr>
            <p:ph type="dt" sz="half" idx="10"/>
          </p:nvPr>
        </p:nvSpPr>
        <p:spPr/>
        <p:txBody>
          <a:bodyPr/>
          <a:lstStyle>
            <a:lvl1pPr>
              <a:defRPr/>
            </a:lvl1pPr>
          </a:lstStyle>
          <a:p>
            <a:pPr>
              <a:defRPr/>
            </a:pPr>
            <a:fld id="{90550AA6-56E3-46A9-B5F5-DB5F50767366}" type="datetimeFigureOut">
              <a:rPr lang="en-US"/>
              <a:pPr>
                <a:defRPr/>
              </a:pPr>
              <a:t>5/29/26</a:t>
            </a:fld>
            <a:endParaRPr lang="en-US"/>
          </a:p>
        </p:txBody>
      </p:sp>
      <p:sp>
        <p:nvSpPr>
          <p:cNvPr id="3" name="Footer Placeholder 4">
            <a:extLst>
              <a:ext uri="{FF2B5EF4-FFF2-40B4-BE49-F238E27FC236}">
                <a16:creationId xmlns:a16="http://schemas.microsoft.com/office/drawing/2014/main" id="{079AB85D-D12E-0B2F-2973-6DDB976B0E08}"/>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426D4F39-A98C-F506-921D-B162391ED5B8}"/>
              </a:ext>
            </a:extLst>
          </p:cNvPr>
          <p:cNvSpPr>
            <a:spLocks noGrp="1"/>
          </p:cNvSpPr>
          <p:nvPr>
            <p:ph type="sldNum" sz="quarter" idx="12"/>
          </p:nvPr>
        </p:nvSpPr>
        <p:spPr/>
        <p:txBody>
          <a:bodyPr/>
          <a:lstStyle>
            <a:lvl1pPr>
              <a:defRPr/>
            </a:lvl1pPr>
          </a:lstStyle>
          <a:p>
            <a:pPr>
              <a:defRPr/>
            </a:pPr>
            <a:fld id="{6C3F4A64-39BD-4690-B51F-3B980EB40096}" type="slidenum">
              <a:rPr lang="en-US" altLang="en-US"/>
              <a:pPr>
                <a:defRPr/>
              </a:pPr>
              <a:t>‹#›</a:t>
            </a:fld>
            <a:endParaRPr lang="en-US" altLang="en-US"/>
          </a:p>
        </p:txBody>
      </p:sp>
    </p:spTree>
    <p:extLst>
      <p:ext uri="{BB962C8B-B14F-4D97-AF65-F5344CB8AC3E}">
        <p14:creationId xmlns:p14="http://schemas.microsoft.com/office/powerpoint/2010/main" val="20489662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5183188" y="987433"/>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3">
            <a:extLst>
              <a:ext uri="{FF2B5EF4-FFF2-40B4-BE49-F238E27FC236}">
                <a16:creationId xmlns:a16="http://schemas.microsoft.com/office/drawing/2014/main" id="{90992A7B-E568-2830-8D33-6902F0C0FB31}"/>
              </a:ext>
            </a:extLst>
          </p:cNvPr>
          <p:cNvSpPr>
            <a:spLocks noGrp="1"/>
          </p:cNvSpPr>
          <p:nvPr>
            <p:ph type="dt" sz="half" idx="10"/>
          </p:nvPr>
        </p:nvSpPr>
        <p:spPr/>
        <p:txBody>
          <a:bodyPr/>
          <a:lstStyle>
            <a:lvl1pPr>
              <a:defRPr/>
            </a:lvl1pPr>
          </a:lstStyle>
          <a:p>
            <a:pPr>
              <a:defRPr/>
            </a:pPr>
            <a:fld id="{80B1FBE1-FA2D-4BC3-8240-76DA2B98E841}" type="datetimeFigureOut">
              <a:rPr lang="en-US"/>
              <a:pPr>
                <a:defRPr/>
              </a:pPr>
              <a:t>5/29/26</a:t>
            </a:fld>
            <a:endParaRPr lang="en-US"/>
          </a:p>
        </p:txBody>
      </p:sp>
      <p:sp>
        <p:nvSpPr>
          <p:cNvPr id="6" name="Footer Placeholder 4">
            <a:extLst>
              <a:ext uri="{FF2B5EF4-FFF2-40B4-BE49-F238E27FC236}">
                <a16:creationId xmlns:a16="http://schemas.microsoft.com/office/drawing/2014/main" id="{D870C2B7-C79E-3A31-0DA1-4A615855F50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964F770C-45C6-9A4A-B737-9B177064ADB9}"/>
              </a:ext>
            </a:extLst>
          </p:cNvPr>
          <p:cNvSpPr>
            <a:spLocks noGrp="1"/>
          </p:cNvSpPr>
          <p:nvPr>
            <p:ph type="sldNum" sz="quarter" idx="12"/>
          </p:nvPr>
        </p:nvSpPr>
        <p:spPr/>
        <p:txBody>
          <a:bodyPr/>
          <a:lstStyle>
            <a:lvl1pPr>
              <a:defRPr/>
            </a:lvl1pPr>
          </a:lstStyle>
          <a:p>
            <a:pPr>
              <a:defRPr/>
            </a:pPr>
            <a:fld id="{47406013-6E75-45C4-9DE2-4A38729AF576}" type="slidenum">
              <a:rPr lang="en-US" altLang="en-US"/>
              <a:pPr>
                <a:defRPr/>
              </a:pPr>
              <a:t>‹#›</a:t>
            </a:fld>
            <a:endParaRPr lang="en-US" altLang="en-US"/>
          </a:p>
        </p:txBody>
      </p:sp>
    </p:spTree>
    <p:extLst>
      <p:ext uri="{BB962C8B-B14F-4D97-AF65-F5344CB8AC3E}">
        <p14:creationId xmlns:p14="http://schemas.microsoft.com/office/powerpoint/2010/main" val="29257089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33"/>
            <a:ext cx="617220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3">
            <a:extLst>
              <a:ext uri="{FF2B5EF4-FFF2-40B4-BE49-F238E27FC236}">
                <a16:creationId xmlns:a16="http://schemas.microsoft.com/office/drawing/2014/main" id="{E4C27B87-21C2-B940-F7D8-5697C6995F2A}"/>
              </a:ext>
            </a:extLst>
          </p:cNvPr>
          <p:cNvSpPr>
            <a:spLocks noGrp="1"/>
          </p:cNvSpPr>
          <p:nvPr>
            <p:ph type="dt" sz="half" idx="10"/>
          </p:nvPr>
        </p:nvSpPr>
        <p:spPr/>
        <p:txBody>
          <a:bodyPr/>
          <a:lstStyle>
            <a:lvl1pPr>
              <a:defRPr/>
            </a:lvl1pPr>
          </a:lstStyle>
          <a:p>
            <a:pPr>
              <a:defRPr/>
            </a:pPr>
            <a:fld id="{C874FA56-82D0-428E-917A-5E98423DFEE3}" type="datetimeFigureOut">
              <a:rPr lang="en-US"/>
              <a:pPr>
                <a:defRPr/>
              </a:pPr>
              <a:t>5/29/26</a:t>
            </a:fld>
            <a:endParaRPr lang="en-US"/>
          </a:p>
        </p:txBody>
      </p:sp>
      <p:sp>
        <p:nvSpPr>
          <p:cNvPr id="6" name="Footer Placeholder 4">
            <a:extLst>
              <a:ext uri="{FF2B5EF4-FFF2-40B4-BE49-F238E27FC236}">
                <a16:creationId xmlns:a16="http://schemas.microsoft.com/office/drawing/2014/main" id="{8F23EFD0-6555-D0A1-BD34-2BB441453A0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674023C3-0633-D272-172F-E7535534A837}"/>
              </a:ext>
            </a:extLst>
          </p:cNvPr>
          <p:cNvSpPr>
            <a:spLocks noGrp="1"/>
          </p:cNvSpPr>
          <p:nvPr>
            <p:ph type="sldNum" sz="quarter" idx="12"/>
          </p:nvPr>
        </p:nvSpPr>
        <p:spPr/>
        <p:txBody>
          <a:bodyPr/>
          <a:lstStyle>
            <a:lvl1pPr>
              <a:defRPr/>
            </a:lvl1pPr>
          </a:lstStyle>
          <a:p>
            <a:pPr>
              <a:defRPr/>
            </a:pPr>
            <a:fld id="{5B3A2A93-0ACC-4F36-B7F7-080ECD2BDEC6}" type="slidenum">
              <a:rPr lang="en-US" altLang="en-US"/>
              <a:pPr>
                <a:defRPr/>
              </a:pPr>
              <a:t>‹#›</a:t>
            </a:fld>
            <a:endParaRPr lang="en-US" altLang="en-US"/>
          </a:p>
        </p:txBody>
      </p:sp>
    </p:spTree>
    <p:extLst>
      <p:ext uri="{BB962C8B-B14F-4D97-AF65-F5344CB8AC3E}">
        <p14:creationId xmlns:p14="http://schemas.microsoft.com/office/powerpoint/2010/main" val="41415889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AEB11817-7CE2-3860-D4CB-6393E2C5BA01}"/>
              </a:ext>
            </a:extLst>
          </p:cNvPr>
          <p:cNvSpPr>
            <a:spLocks noGrp="1"/>
          </p:cNvSpPr>
          <p:nvPr>
            <p:ph type="dt" sz="half" idx="10"/>
          </p:nvPr>
        </p:nvSpPr>
        <p:spPr/>
        <p:txBody>
          <a:bodyPr/>
          <a:lstStyle>
            <a:lvl1pPr>
              <a:defRPr/>
            </a:lvl1pPr>
          </a:lstStyle>
          <a:p>
            <a:pPr>
              <a:defRPr/>
            </a:pPr>
            <a:fld id="{4D7A98DC-138E-4514-846D-616D51A91949}" type="datetimeFigureOut">
              <a:rPr lang="en-US"/>
              <a:pPr>
                <a:defRPr/>
              </a:pPr>
              <a:t>5/29/26</a:t>
            </a:fld>
            <a:endParaRPr lang="en-US"/>
          </a:p>
        </p:txBody>
      </p:sp>
      <p:sp>
        <p:nvSpPr>
          <p:cNvPr id="5" name="Footer Placeholder 4">
            <a:extLst>
              <a:ext uri="{FF2B5EF4-FFF2-40B4-BE49-F238E27FC236}">
                <a16:creationId xmlns:a16="http://schemas.microsoft.com/office/drawing/2014/main" id="{CEC1D688-A7B0-AFB7-3A98-23C04EF531E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714050E-B28C-5C04-75B8-28BEBFFAD3AF}"/>
              </a:ext>
            </a:extLst>
          </p:cNvPr>
          <p:cNvSpPr>
            <a:spLocks noGrp="1"/>
          </p:cNvSpPr>
          <p:nvPr>
            <p:ph type="sldNum" sz="quarter" idx="12"/>
          </p:nvPr>
        </p:nvSpPr>
        <p:spPr/>
        <p:txBody>
          <a:bodyPr/>
          <a:lstStyle>
            <a:lvl1pPr>
              <a:defRPr/>
            </a:lvl1pPr>
          </a:lstStyle>
          <a:p>
            <a:pPr>
              <a:defRPr/>
            </a:pPr>
            <a:fld id="{615A10EF-4C50-4D93-8012-9FD9AAE476CD}" type="slidenum">
              <a:rPr lang="en-US" altLang="en-US"/>
              <a:pPr>
                <a:defRPr/>
              </a:pPr>
              <a:t>‹#›</a:t>
            </a:fld>
            <a:endParaRPr lang="en-US" altLang="en-US"/>
          </a:p>
        </p:txBody>
      </p:sp>
    </p:spTree>
    <p:extLst>
      <p:ext uri="{BB962C8B-B14F-4D97-AF65-F5344CB8AC3E}">
        <p14:creationId xmlns:p14="http://schemas.microsoft.com/office/powerpoint/2010/main" val="3327892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A7F02AD-5F03-C325-3A36-E04CDE163606}"/>
              </a:ext>
            </a:extLst>
          </p:cNvPr>
          <p:cNvSpPr>
            <a:spLocks noGrp="1"/>
          </p:cNvSpPr>
          <p:nvPr>
            <p:ph type="dt" sz="half" idx="10"/>
          </p:nvPr>
        </p:nvSpPr>
        <p:spPr/>
        <p:txBody>
          <a:bodyPr/>
          <a:lstStyle>
            <a:lvl1pPr>
              <a:defRPr/>
            </a:lvl1pPr>
          </a:lstStyle>
          <a:p>
            <a:pPr>
              <a:defRPr/>
            </a:pPr>
            <a:fld id="{2DBB10B1-9914-4F8D-9A6C-2BF377FDC353}" type="datetimeFigureOut">
              <a:rPr lang="en-US"/>
              <a:pPr>
                <a:defRPr/>
              </a:pPr>
              <a:t>5/29/26</a:t>
            </a:fld>
            <a:endParaRPr lang="en-US"/>
          </a:p>
        </p:txBody>
      </p:sp>
      <p:sp>
        <p:nvSpPr>
          <p:cNvPr id="5" name="Footer Placeholder 4">
            <a:extLst>
              <a:ext uri="{FF2B5EF4-FFF2-40B4-BE49-F238E27FC236}">
                <a16:creationId xmlns:a16="http://schemas.microsoft.com/office/drawing/2014/main" id="{AA3B5453-5BA2-949F-DCE6-F912957334D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516EBF6-A809-2FEE-86ED-2E0965833EF2}"/>
              </a:ext>
            </a:extLst>
          </p:cNvPr>
          <p:cNvSpPr>
            <a:spLocks noGrp="1"/>
          </p:cNvSpPr>
          <p:nvPr>
            <p:ph type="sldNum" sz="quarter" idx="12"/>
          </p:nvPr>
        </p:nvSpPr>
        <p:spPr/>
        <p:txBody>
          <a:bodyPr/>
          <a:lstStyle>
            <a:lvl1pPr>
              <a:defRPr/>
            </a:lvl1pPr>
          </a:lstStyle>
          <a:p>
            <a:pPr>
              <a:defRPr/>
            </a:pPr>
            <a:fld id="{EC5FF4ED-6E28-4A8F-9F74-E29BC92D3FB9}" type="slidenum">
              <a:rPr lang="en-US" altLang="en-US"/>
              <a:pPr>
                <a:defRPr/>
              </a:pPr>
              <a:t>‹#›</a:t>
            </a:fld>
            <a:endParaRPr lang="en-US" altLang="en-US"/>
          </a:p>
        </p:txBody>
      </p:sp>
    </p:spTree>
    <p:extLst>
      <p:ext uri="{BB962C8B-B14F-4D97-AF65-F5344CB8AC3E}">
        <p14:creationId xmlns:p14="http://schemas.microsoft.com/office/powerpoint/2010/main" val="1991563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2" y="3886200"/>
            <a:ext cx="8534400" cy="1752600"/>
          </a:xfrm>
        </p:spPr>
        <p:txBody>
          <a:bodyPr/>
          <a:lstStyle>
            <a:lvl1pPr marL="0" indent="0" algn="ctr">
              <a:buNone/>
              <a:defRPr/>
            </a:lvl1pPr>
            <a:lvl2pPr marL="428638" indent="0" algn="ctr">
              <a:buNone/>
              <a:defRPr/>
            </a:lvl2pPr>
            <a:lvl3pPr marL="857277" indent="0" algn="ctr">
              <a:buNone/>
              <a:defRPr/>
            </a:lvl3pPr>
            <a:lvl4pPr marL="1285915" indent="0" algn="ctr">
              <a:buNone/>
              <a:defRPr/>
            </a:lvl4pPr>
            <a:lvl5pPr marL="1714553" indent="0" algn="ctr">
              <a:buNone/>
              <a:defRPr/>
            </a:lvl5pPr>
            <a:lvl6pPr marL="2143192" indent="0" algn="ctr">
              <a:buNone/>
              <a:defRPr/>
            </a:lvl6pPr>
            <a:lvl7pPr marL="2571830" indent="0" algn="ctr">
              <a:buNone/>
              <a:defRPr/>
            </a:lvl7pPr>
            <a:lvl8pPr marL="3000469" indent="0" algn="ctr">
              <a:buNone/>
              <a:defRPr/>
            </a:lvl8pPr>
            <a:lvl9pPr marL="3429107" indent="0" algn="ctr">
              <a:buNone/>
              <a:defRPr/>
            </a:lvl9pPr>
          </a:lstStyle>
          <a:p>
            <a:r>
              <a:rPr lang="en-US"/>
              <a:t>Click to edit Master subtitle style</a:t>
            </a:r>
          </a:p>
        </p:txBody>
      </p:sp>
    </p:spTree>
    <p:extLst>
      <p:ext uri="{BB962C8B-B14F-4D97-AF65-F5344CB8AC3E}">
        <p14:creationId xmlns:p14="http://schemas.microsoft.com/office/powerpoint/2010/main" val="22406991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98597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1875"/>
            </a:lvl1pPr>
            <a:lvl2pPr marL="428638" indent="0">
              <a:buNone/>
              <a:defRPr sz="1688"/>
            </a:lvl2pPr>
            <a:lvl3pPr marL="857277" indent="0">
              <a:buNone/>
              <a:defRPr sz="1500"/>
            </a:lvl3pPr>
            <a:lvl4pPr marL="1285915" indent="0">
              <a:buNone/>
              <a:defRPr sz="1313"/>
            </a:lvl4pPr>
            <a:lvl5pPr marL="1714553" indent="0">
              <a:buNone/>
              <a:defRPr sz="1313"/>
            </a:lvl5pPr>
            <a:lvl6pPr marL="2143192" indent="0">
              <a:buNone/>
              <a:defRPr sz="1313"/>
            </a:lvl6pPr>
            <a:lvl7pPr marL="2571830" indent="0">
              <a:buNone/>
              <a:defRPr sz="1313"/>
            </a:lvl7pPr>
            <a:lvl8pPr marL="3000469" indent="0">
              <a:buNone/>
              <a:defRPr sz="1313"/>
            </a:lvl8pPr>
            <a:lvl9pPr marL="3429107" indent="0">
              <a:buNone/>
              <a:defRPr sz="1313"/>
            </a:lvl9pPr>
          </a:lstStyle>
          <a:p>
            <a:pPr lvl="0"/>
            <a:r>
              <a:rPr lang="en-US"/>
              <a:t>Click to edit Master text styles</a:t>
            </a:r>
          </a:p>
        </p:txBody>
      </p:sp>
    </p:spTree>
    <p:extLst>
      <p:ext uri="{BB962C8B-B14F-4D97-AF65-F5344CB8AC3E}">
        <p14:creationId xmlns:p14="http://schemas.microsoft.com/office/powerpoint/2010/main" val="13682516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7"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19" y="1906589"/>
            <a:ext cx="5103283"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3581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6"/>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6"/>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05292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00360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46897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4766734" y="273051"/>
            <a:ext cx="6815667" cy="585311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8489855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3000"/>
            </a:lvl1pPr>
            <a:lvl2pPr marL="428638" indent="0">
              <a:buNone/>
              <a:defRPr sz="2625"/>
            </a:lvl2pPr>
            <a:lvl3pPr marL="857277" indent="0">
              <a:buNone/>
              <a:defRPr sz="2250"/>
            </a:lvl3pPr>
            <a:lvl4pPr marL="1285915" indent="0">
              <a:buNone/>
              <a:defRPr sz="1875"/>
            </a:lvl4pPr>
            <a:lvl5pPr marL="1714553" indent="0">
              <a:buNone/>
              <a:defRPr sz="1875"/>
            </a:lvl5pPr>
            <a:lvl6pPr marL="2143192" indent="0">
              <a:buNone/>
              <a:defRPr sz="1875"/>
            </a:lvl6pPr>
            <a:lvl7pPr marL="2571830" indent="0">
              <a:buNone/>
              <a:defRPr sz="1875"/>
            </a:lvl7pPr>
            <a:lvl8pPr marL="3000469" indent="0">
              <a:buNone/>
              <a:defRPr sz="1875"/>
            </a:lvl8pPr>
            <a:lvl9pPr marL="3429107" indent="0">
              <a:buNone/>
              <a:defRPr sz="1875"/>
            </a:lvl9pPr>
          </a:lstStyle>
          <a:p>
            <a:endParaRPr lang="en-US"/>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8679467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47438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1" y="569915"/>
            <a:ext cx="2601383"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1" y="569915"/>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83788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D694929-5672-4EC4-8542-EA986C4DF3F4}" type="datetimeFigureOut">
              <a:rPr lang="en-US" smtClean="0"/>
              <a:pPr/>
              <a:t>5/29/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14653966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D694929-5672-4EC4-8542-EA986C4DF3F4}" type="datetimeFigureOut">
              <a:rPr lang="en-US" smtClean="0"/>
              <a:pPr/>
              <a:t>5/29/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14261535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D694929-5672-4EC4-8542-EA986C4DF3F4}" type="datetimeFigureOut">
              <a:rPr lang="en-US" smtClean="0"/>
              <a:pPr/>
              <a:t>5/29/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41526501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D694929-5672-4EC4-8542-EA986C4DF3F4}" type="datetimeFigureOut">
              <a:rPr lang="en-US" smtClean="0"/>
              <a:pPr/>
              <a:t>5/29/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8053977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D694929-5672-4EC4-8542-EA986C4DF3F4}" type="datetimeFigureOut">
              <a:rPr lang="en-US" smtClean="0"/>
              <a:pPr/>
              <a:t>5/29/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26757431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D694929-5672-4EC4-8542-EA986C4DF3F4}" type="datetimeFigureOut">
              <a:rPr lang="en-US" smtClean="0"/>
              <a:pPr/>
              <a:t>5/29/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37367422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D694929-5672-4EC4-8542-EA986C4DF3F4}" type="datetimeFigureOut">
              <a:rPr lang="en-US" smtClean="0"/>
              <a:pPr/>
              <a:t>5/29/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36147802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D694929-5672-4EC4-8542-EA986C4DF3F4}" type="datetimeFigureOut">
              <a:rPr lang="en-US" smtClean="0"/>
              <a:pPr/>
              <a:t>5/29/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23013325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D694929-5672-4EC4-8542-EA986C4DF3F4}" type="datetimeFigureOut">
              <a:rPr lang="en-US" smtClean="0"/>
              <a:pPr/>
              <a:t>5/29/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35694514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D694929-5672-4EC4-8542-EA986C4DF3F4}" type="datetimeFigureOut">
              <a:rPr lang="en-US" smtClean="0"/>
              <a:pPr/>
              <a:t>5/29/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30588707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D694929-5672-4EC4-8542-EA986C4DF3F4}" type="datetimeFigureOut">
              <a:rPr lang="en-US" smtClean="0"/>
              <a:pPr/>
              <a:t>5/29/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1E97A65-901B-464A-AAB9-A87F0BE6403A}" type="slidenum">
              <a:rPr lang="en-US" smtClean="0"/>
              <a:pPr/>
              <a:t>‹#›</a:t>
            </a:fld>
            <a:endParaRPr lang="en-US"/>
          </a:p>
        </p:txBody>
      </p:sp>
    </p:spTree>
    <p:extLst>
      <p:ext uri="{BB962C8B-B14F-4D97-AF65-F5344CB8AC3E}">
        <p14:creationId xmlns:p14="http://schemas.microsoft.com/office/powerpoint/2010/main" val="33482594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2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5/29/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9.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theme" Target="../theme/theme10.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theme" Target="../theme/theme11.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theme" Target="../theme/theme12.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0" Type="http://schemas.openxmlformats.org/officeDocument/2006/relationships/slideLayout" Target="../slideLayouts/slideLayout194.xml"/><Relationship Id="rId4" Type="http://schemas.openxmlformats.org/officeDocument/2006/relationships/slideLayout" Target="../slideLayouts/slideLayout188.xml"/><Relationship Id="rId9" Type="http://schemas.openxmlformats.org/officeDocument/2006/relationships/slideLayout" Target="../slideLayouts/slideLayout19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42.png"/><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theme" Target="../theme/theme13.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7.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theme" Target="../theme/theme14.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theme" Target="../theme/theme15.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245.xml"/><Relationship Id="rId7" Type="http://schemas.openxmlformats.org/officeDocument/2006/relationships/image" Target="../media/image43.svg"/><Relationship Id="rId2" Type="http://schemas.openxmlformats.org/officeDocument/2006/relationships/slideLayout" Target="../slideLayouts/slideLayout244.xml"/><Relationship Id="rId1" Type="http://schemas.openxmlformats.org/officeDocument/2006/relationships/slideLayout" Target="../slideLayouts/slideLayout243.xml"/><Relationship Id="rId6" Type="http://schemas.openxmlformats.org/officeDocument/2006/relationships/theme" Target="../theme/theme16.xml"/><Relationship Id="rId5" Type="http://schemas.openxmlformats.org/officeDocument/2006/relationships/slideLayout" Target="../slideLayouts/slideLayout247.xml"/><Relationship Id="rId4" Type="http://schemas.openxmlformats.org/officeDocument/2006/relationships/slideLayout" Target="../slideLayouts/slideLayout24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heme" Target="../theme/theme17.xml"/><Relationship Id="rId3" Type="http://schemas.openxmlformats.org/officeDocument/2006/relationships/slideLayout" Target="../slideLayouts/slideLayout250.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2" Type="http://schemas.openxmlformats.org/officeDocument/2006/relationships/slideLayout" Target="../slideLayouts/slideLayout249.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5" Type="http://schemas.openxmlformats.org/officeDocument/2006/relationships/image" Target="../media/image44.png"/><Relationship Id="rId10" Type="http://schemas.openxmlformats.org/officeDocument/2006/relationships/slideLayout" Target="../slideLayouts/slideLayout257.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image" Target="../media/image43.svg"/></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262.xml"/><Relationship Id="rId7" Type="http://schemas.openxmlformats.org/officeDocument/2006/relationships/image" Target="../media/image47.png"/><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image" Target="../media/image46.emf"/><Relationship Id="rId5" Type="http://schemas.openxmlformats.org/officeDocument/2006/relationships/image" Target="../media/image45.emf"/><Relationship Id="rId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slideLayout" Target="../slideLayouts/slideLayout275.xml"/><Relationship Id="rId18" Type="http://schemas.openxmlformats.org/officeDocument/2006/relationships/theme" Target="../theme/theme19.xml"/><Relationship Id="rId3" Type="http://schemas.openxmlformats.org/officeDocument/2006/relationships/slideLayout" Target="../slideLayouts/slideLayout265.xml"/><Relationship Id="rId21" Type="http://schemas.openxmlformats.org/officeDocument/2006/relationships/image" Target="../media/image50.jpeg"/><Relationship Id="rId7" Type="http://schemas.openxmlformats.org/officeDocument/2006/relationships/slideLayout" Target="../slideLayouts/slideLayout269.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0" Type="http://schemas.openxmlformats.org/officeDocument/2006/relationships/image" Target="../media/image49.png"/><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10" Type="http://schemas.openxmlformats.org/officeDocument/2006/relationships/slideLayout" Target="../slideLayouts/slideLayout272.xml"/><Relationship Id="rId19" Type="http://schemas.openxmlformats.org/officeDocument/2006/relationships/image" Target="../media/image48.jpeg"/><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image" Target="../media/image5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theme" Target="../theme/theme20.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2" Type="http://schemas.openxmlformats.org/officeDocument/2006/relationships/slideLayout" Target="../slideLayouts/slideLayout281.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99.xml"/><Relationship Id="rId3" Type="http://schemas.openxmlformats.org/officeDocument/2006/relationships/slideLayout" Target="../slideLayouts/slideLayout294.xml"/><Relationship Id="rId7" Type="http://schemas.openxmlformats.org/officeDocument/2006/relationships/slideLayout" Target="../slideLayouts/slideLayout298.xml"/><Relationship Id="rId12" Type="http://schemas.openxmlformats.org/officeDocument/2006/relationships/theme" Target="../theme/theme21.xml"/><Relationship Id="rId2" Type="http://schemas.openxmlformats.org/officeDocument/2006/relationships/slideLayout" Target="../slideLayouts/slideLayout293.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0" Type="http://schemas.openxmlformats.org/officeDocument/2006/relationships/slideLayout" Target="../slideLayouts/slideLayout301.xml"/><Relationship Id="rId4" Type="http://schemas.openxmlformats.org/officeDocument/2006/relationships/slideLayout" Target="../slideLayouts/slideLayout295.xml"/><Relationship Id="rId9" Type="http://schemas.openxmlformats.org/officeDocument/2006/relationships/slideLayout" Target="../slideLayouts/slideLayout300.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10.xml"/><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theme" Target="../theme/theme22.xml"/><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5" Type="http://schemas.openxmlformats.org/officeDocument/2006/relationships/slideLayout" Target="../slideLayouts/slideLayout307.xml"/><Relationship Id="rId10" Type="http://schemas.openxmlformats.org/officeDocument/2006/relationships/slideLayout" Target="../slideLayouts/slideLayout312.xml"/><Relationship Id="rId4" Type="http://schemas.openxmlformats.org/officeDocument/2006/relationships/slideLayout" Target="../slideLayouts/slideLayout306.xml"/><Relationship Id="rId9" Type="http://schemas.openxmlformats.org/officeDocument/2006/relationships/slideLayout" Target="../slideLayouts/slideLayout31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21.xml"/><Relationship Id="rId3" Type="http://schemas.openxmlformats.org/officeDocument/2006/relationships/slideLayout" Target="../slideLayouts/slideLayout316.xml"/><Relationship Id="rId7" Type="http://schemas.openxmlformats.org/officeDocument/2006/relationships/slideLayout" Target="../slideLayouts/slideLayout320.xml"/><Relationship Id="rId12" Type="http://schemas.openxmlformats.org/officeDocument/2006/relationships/theme" Target="../theme/theme23.xml"/><Relationship Id="rId2" Type="http://schemas.openxmlformats.org/officeDocument/2006/relationships/slideLayout" Target="../slideLayouts/slideLayout315.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5" Type="http://schemas.openxmlformats.org/officeDocument/2006/relationships/slideLayout" Target="../slideLayouts/slideLayout318.xml"/><Relationship Id="rId10" Type="http://schemas.openxmlformats.org/officeDocument/2006/relationships/slideLayout" Target="../slideLayouts/slideLayout323.xml"/><Relationship Id="rId4" Type="http://schemas.openxmlformats.org/officeDocument/2006/relationships/slideLayout" Target="../slideLayouts/slideLayout317.xml"/><Relationship Id="rId9" Type="http://schemas.openxmlformats.org/officeDocument/2006/relationships/slideLayout" Target="../slideLayouts/slideLayout3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4.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25.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6.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heme" Target="../theme/theme8.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theme" Target="../theme/theme9.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image" Target="../media/image2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1863842083"/>
      </p:ext>
    </p:extLst>
  </p:cSld>
  <p:clrMap bg1="lt1" tx1="dk1" bg2="lt2" tx2="dk2" accent1="accent1" accent2="accent2" accent3="accent3" accent4="accent4" accent5="accent5" accent6="accent6" hlink="hlink" folHlink="folHlink"/>
  <p:sldLayoutIdLst>
    <p:sldLayoutId id="2147485184"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4" r:id="rId10"/>
    <p:sldLayoutId id="2147485195"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909827"/>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 id="2147485203" r:id="rId6"/>
    <p:sldLayoutId id="2147485204" r:id="rId7"/>
    <p:sldLayoutId id="2147485205" r:id="rId8"/>
    <p:sldLayoutId id="2147485206" r:id="rId9"/>
    <p:sldLayoutId id="2147485207" r:id="rId10"/>
    <p:sldLayoutId id="2147485208" r:id="rId11"/>
    <p:sldLayoutId id="2147485209" r:id="rId1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457139" rtl="0" eaLnBrk="1" latinLnBrk="0" hangingPunct="1">
        <a:spcBef>
          <a:spcPct val="0"/>
        </a:spcBef>
        <a:buNone/>
        <a:defRPr sz="3300" kern="1200">
          <a:solidFill>
            <a:schemeClr val="tx1"/>
          </a:solidFill>
          <a:latin typeface="Arial"/>
          <a:ea typeface="+mj-ea"/>
          <a:cs typeface="+mj-cs"/>
        </a:defRPr>
      </a:lvl1pPr>
    </p:titleStyle>
    <p:bodyStyle>
      <a:lvl1pPr marL="342854" indent="-342854" algn="l" defTabSz="457139" rtl="0" eaLnBrk="1" latinLnBrk="0" hangingPunct="1">
        <a:spcBef>
          <a:spcPct val="20000"/>
        </a:spcBef>
        <a:buFont typeface="Arial"/>
        <a:buChar char="•"/>
        <a:defRPr sz="1600" kern="1200">
          <a:solidFill>
            <a:schemeClr val="tx1"/>
          </a:solidFill>
          <a:latin typeface="Arial"/>
          <a:ea typeface="+mn-ea"/>
          <a:cs typeface="+mn-cs"/>
        </a:defRPr>
      </a:lvl1pPr>
      <a:lvl2pPr marL="742852" indent="-285713" algn="l" defTabSz="457139" rtl="0" eaLnBrk="1" latinLnBrk="0" hangingPunct="1">
        <a:spcBef>
          <a:spcPct val="20000"/>
        </a:spcBef>
        <a:buFont typeface="Arial"/>
        <a:buChar char="•"/>
        <a:defRPr sz="1600" kern="1200">
          <a:solidFill>
            <a:schemeClr val="tx1"/>
          </a:solidFill>
          <a:latin typeface="Arial"/>
          <a:ea typeface="+mn-ea"/>
          <a:cs typeface="+mn-cs"/>
        </a:defRPr>
      </a:lvl2pPr>
      <a:lvl3pPr marL="1142850" indent="-228570" algn="l" defTabSz="457139" rtl="0" eaLnBrk="1" latinLnBrk="0" hangingPunct="1">
        <a:spcBef>
          <a:spcPct val="20000"/>
        </a:spcBef>
        <a:buFont typeface="Arial"/>
        <a:buChar char="•"/>
        <a:defRPr sz="1500" kern="1200">
          <a:solidFill>
            <a:schemeClr val="tx1"/>
          </a:solidFill>
          <a:latin typeface="Arial"/>
          <a:ea typeface="+mn-ea"/>
          <a:cs typeface="+mn-cs"/>
        </a:defRPr>
      </a:lvl3pPr>
      <a:lvl4pPr marL="1599991" indent="-228570" algn="l" defTabSz="457139" rtl="0" eaLnBrk="1" latinLnBrk="0" hangingPunct="1">
        <a:spcBef>
          <a:spcPct val="20000"/>
        </a:spcBef>
        <a:buFont typeface="Arial"/>
        <a:buChar char="•"/>
        <a:defRPr sz="1300" kern="1200">
          <a:solidFill>
            <a:schemeClr val="tx1"/>
          </a:solidFill>
          <a:latin typeface="Arial"/>
          <a:ea typeface="+mn-ea"/>
          <a:cs typeface="+mn-cs"/>
        </a:defRPr>
      </a:lvl4pPr>
      <a:lvl5pPr marL="2057130" indent="-228570" algn="l" defTabSz="457139" rtl="0" eaLnBrk="1" latinLnBrk="0" hangingPunct="1">
        <a:spcBef>
          <a:spcPct val="20000"/>
        </a:spcBef>
        <a:buFont typeface="Arial"/>
        <a:buChar char="•"/>
        <a:defRPr sz="1200" kern="1200">
          <a:solidFill>
            <a:schemeClr val="tx1"/>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3303288922"/>
      </p:ext>
    </p:extLst>
  </p:cSld>
  <p:clrMap bg1="lt1" tx1="dk1" bg2="lt2" tx2="dk2" accent1="accent1" accent2="accent2" accent3="accent3" accent4="accent4" accent5="accent5" accent6="accent6" hlink="hlink" folHlink="folHlink"/>
  <p:sldLayoutIdLst>
    <p:sldLayoutId id="2147485252" r:id="rId1"/>
    <p:sldLayoutId id="2147485253" r:id="rId2"/>
    <p:sldLayoutId id="2147485254" r:id="rId3"/>
    <p:sldLayoutId id="2147485255" r:id="rId4"/>
    <p:sldLayoutId id="2147485256" r:id="rId5"/>
    <p:sldLayoutId id="2147485257" r:id="rId6"/>
    <p:sldLayoutId id="2147485258" r:id="rId7"/>
    <p:sldLayoutId id="2147485259" r:id="rId8"/>
    <p:sldLayoutId id="2147485260" r:id="rId9"/>
    <p:sldLayoutId id="2147485262" r:id="rId10"/>
    <p:sldLayoutId id="2147485263"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140980778"/>
      </p:ext>
    </p:extLst>
  </p:cSld>
  <p:clrMap bg1="lt1" tx1="dk1" bg2="lt2" tx2="dk2" accent1="accent1" accent2="accent2" accent3="accent3" accent4="accent4" accent5="accent5" accent6="accent6" hlink="hlink" folHlink="folHlink"/>
  <p:sldLayoutIdLst>
    <p:sldLayoutId id="2147485265" r:id="rId1"/>
    <p:sldLayoutId id="2147485266" r:id="rId2"/>
    <p:sldLayoutId id="2147485267" r:id="rId3"/>
    <p:sldLayoutId id="2147485268" r:id="rId4"/>
    <p:sldLayoutId id="2147485269" r:id="rId5"/>
    <p:sldLayoutId id="2147485270" r:id="rId6"/>
    <p:sldLayoutId id="2147485271" r:id="rId7"/>
    <p:sldLayoutId id="2147485272" r:id="rId8"/>
    <p:sldLayoutId id="2147485273" r:id="rId9"/>
    <p:sldLayoutId id="2147485274" r:id="rId10"/>
    <p:sldLayoutId id="2147485275" r:id="rId11"/>
    <p:sldLayoutId id="2147485276" r:id="rId12"/>
    <p:sldLayoutId id="2147485277" r:id="rId13"/>
    <p:sldLayoutId id="2147485278" r:id="rId14"/>
    <p:sldLayoutId id="2147485279" r:id="rId15"/>
    <p:sldLayoutId id="2147485280" r:id="rId16"/>
    <p:sldLayoutId id="2147485281" r:id="rId17"/>
    <p:sldLayoutId id="2147485282" r:id="rId18"/>
    <p:sldLayoutId id="2147485283" r:id="rId19"/>
    <p:sldLayoutId id="2147485284" r:id="rId20"/>
    <p:sldLayoutId id="2147485285" r:id="rId21"/>
    <p:sldLayoutId id="2147485286" r:id="rId22"/>
    <p:sldLayoutId id="2147485287" r:id="rId23"/>
    <p:sldLayoutId id="2147485288" r:id="rId2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442800" y="262267"/>
            <a:ext cx="9495963" cy="384721"/>
          </a:xfrm>
          <a:prstGeom prst="rect">
            <a:avLst/>
          </a:prstGeom>
        </p:spPr>
        <p:txBody>
          <a:bodyPr vert="horz" wrap="square" lIns="0" tIns="0" rIns="0" bIns="0" rtlCol="0" anchor="t">
            <a:sp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442800" y="1822451"/>
            <a:ext cx="11458113" cy="39433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60509184"/>
      </p:ext>
    </p:extLst>
  </p:cSld>
  <p:clrMap bg1="lt1" tx1="dk1" bg2="lt2" tx2="dk2" accent1="accent1" accent2="accent2" accent3="accent3" accent4="accent4" accent5="accent5" accent6="accent6" hlink="hlink" folHlink="folHlink"/>
  <p:sldLayoutIdLst>
    <p:sldLayoutId id="2147485290" r:id="rId1"/>
    <p:sldLayoutId id="2147485291" r:id="rId2"/>
    <p:sldLayoutId id="2147485292" r:id="rId3"/>
    <p:sldLayoutId id="2147485293" r:id="rId4"/>
    <p:sldLayoutId id="2147485294" r:id="rId5"/>
    <p:sldLayoutId id="2147485295" r:id="rId6"/>
    <p:sldLayoutId id="2147485296" r:id="rId7"/>
    <p:sldLayoutId id="2147485297" r:id="rId8"/>
    <p:sldLayoutId id="2147485298" r:id="rId9"/>
    <p:sldLayoutId id="2147485299" r:id="rId10"/>
    <p:sldLayoutId id="2147485300"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914400" rtl="0" eaLnBrk="1" latinLnBrk="0" hangingPunct="1">
        <a:lnSpc>
          <a:spcPct val="100000"/>
        </a:lnSpc>
        <a:spcBef>
          <a:spcPts val="600"/>
        </a:spcBef>
        <a:spcAft>
          <a:spcPts val="600"/>
        </a:spcAft>
        <a:buNone/>
        <a:defRPr sz="2500" b="0" i="0" kern="1200" spc="0" baseline="0">
          <a:solidFill>
            <a:schemeClr val="accent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Arial" panose="020B0604020202020204" pitchFamily="34" charset="0"/>
          <a:ea typeface="+mn-ea"/>
          <a:cs typeface="Arial" panose="020B0604020202020204" pitchFamily="34" charset="0"/>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Arial" panose="020B0604020202020204" pitchFamily="34" charset="0"/>
          <a:ea typeface="+mn-ea"/>
          <a:cs typeface="Arial" panose="020B0604020202020204" pitchFamily="34" charset="0"/>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Arial" panose="020B0604020202020204" pitchFamily="34" charset="0"/>
          <a:ea typeface="+mn-ea"/>
          <a:cs typeface="Arial" panose="020B0604020202020204" pitchFamily="34" charset="0"/>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Arial" panose="020B0604020202020204" pitchFamily="34" charset="0"/>
          <a:ea typeface="+mn-ea"/>
          <a:cs typeface="Arial" panose="020B0604020202020204" pitchFamily="34" charset="0"/>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2" pos="266">
          <p15:clr>
            <a:srgbClr val="547EBF"/>
          </p15:clr>
        </p15:guide>
        <p15:guide id="53" orient="horz" pos="37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996F3C-67E6-446F-9DDE-D33296C45D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E0007D-29F2-48F2-9121-788300C515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FCF7CE-1663-435D-A2AE-0831FBD57F9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23BBB2-8668-495F-BD94-6DF8F7343211}" type="datetimeFigureOut">
              <a:rPr lang="en-US" smtClean="0"/>
              <a:t>5/29/26</a:t>
            </a:fld>
            <a:endParaRPr lang="en-US"/>
          </a:p>
        </p:txBody>
      </p:sp>
      <p:sp>
        <p:nvSpPr>
          <p:cNvPr id="5" name="Footer Placeholder 4">
            <a:extLst>
              <a:ext uri="{FF2B5EF4-FFF2-40B4-BE49-F238E27FC236}">
                <a16:creationId xmlns:a16="http://schemas.microsoft.com/office/drawing/2014/main" id="{2F89485C-4452-44BD-A0BA-C01D9F5063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34A5DBE-4BB5-4CB6-870F-BEEDDD9BF3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AA23BE-7B6E-4FAD-8174-85F2F109BD1A}" type="slidenum">
              <a:rPr lang="en-US" smtClean="0"/>
              <a:t>‹#›</a:t>
            </a:fld>
            <a:endParaRPr lang="en-US"/>
          </a:p>
        </p:txBody>
      </p:sp>
    </p:spTree>
    <p:extLst>
      <p:ext uri="{BB962C8B-B14F-4D97-AF65-F5344CB8AC3E}">
        <p14:creationId xmlns:p14="http://schemas.microsoft.com/office/powerpoint/2010/main" val="1797297643"/>
      </p:ext>
    </p:extLst>
  </p:cSld>
  <p:clrMap bg1="lt1" tx1="dk1" bg2="lt2" tx2="dk2" accent1="accent1" accent2="accent2" accent3="accent3" accent4="accent4" accent5="accent5" accent6="accent6" hlink="hlink" folHlink="folHlink"/>
  <p:sldLayoutIdLst>
    <p:sldLayoutId id="2147485405" r:id="rId1"/>
    <p:sldLayoutId id="2147485406" r:id="rId2"/>
    <p:sldLayoutId id="2147485407" r:id="rId3"/>
    <p:sldLayoutId id="2147485408" r:id="rId4"/>
    <p:sldLayoutId id="2147485409" r:id="rId5"/>
    <p:sldLayoutId id="2147485410" r:id="rId6"/>
    <p:sldLayoutId id="2147485411" r:id="rId7"/>
    <p:sldLayoutId id="2147485412" r:id="rId8"/>
    <p:sldLayoutId id="2147485413" r:id="rId9"/>
    <p:sldLayoutId id="2147485414" r:id="rId10"/>
    <p:sldLayoutId id="2147485415" r:id="rId11"/>
    <p:sldLayoutId id="2147485416" r:id="rId1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gradFill>
          <a:gsLst>
            <a:gs pos="0">
              <a:srgbClr val="00578B"/>
            </a:gs>
            <a:gs pos="100000">
              <a:srgbClr val="2774AE"/>
            </a:gs>
          </a:gsLst>
          <a:lin ang="0" scaled="0"/>
        </a:gradFill>
        <a:effectLst/>
      </p:bgPr>
    </p:bg>
    <p:spTree>
      <p:nvGrpSpPr>
        <p:cNvPr id="1" name=""/>
        <p:cNvGrpSpPr/>
        <p:nvPr/>
      </p:nvGrpSpPr>
      <p:grpSpPr>
        <a:xfrm>
          <a:off x="0" y="0"/>
          <a:ext cx="0" cy="0"/>
          <a:chOff x="0" y="0"/>
          <a:chExt cx="0" cy="0"/>
        </a:xfrm>
      </p:grpSpPr>
      <p:sp>
        <p:nvSpPr>
          <p:cNvPr id="13" name="Text Placeholder-left">
            <a:extLst>
              <a:ext uri="{FF2B5EF4-FFF2-40B4-BE49-F238E27FC236}">
                <a16:creationId xmlns:a16="http://schemas.microsoft.com/office/drawing/2014/main" id="{71380050-84F1-D143-BCF2-F067E310EFE8}"/>
              </a:ext>
            </a:extLst>
          </p:cNvPr>
          <p:cNvSpPr txBox="1">
            <a:spLocks/>
          </p:cNvSpPr>
          <p:nvPr userDrawn="1"/>
        </p:nvSpPr>
        <p:spPr>
          <a:xfrm>
            <a:off x="487680" y="6352033"/>
            <a:ext cx="4754880" cy="493340"/>
          </a:xfrm>
          <a:prstGeom prst="rect">
            <a:avLst/>
          </a:prstGeom>
        </p:spPr>
        <p:txBody>
          <a:bodyPr wrap="square" lIns="0" tIns="0" rIns="0" bIns="341376">
            <a:spAutoFit/>
          </a:bodyPr>
          <a:lstStyle>
            <a:lvl1pPr marL="0" indent="0" algn="ctr" defTabSz="685800" rtl="0" eaLnBrk="1" latinLnBrk="0" hangingPunct="1">
              <a:lnSpc>
                <a:spcPct val="90000"/>
              </a:lnSpc>
              <a:spcBef>
                <a:spcPts val="750"/>
              </a:spcBef>
              <a:buFontTx/>
              <a:buNone/>
              <a:defRPr sz="800" kern="1200">
                <a:solidFill>
                  <a:srgbClr val="898989"/>
                </a:solidFill>
                <a:latin typeface="Helvetica" pitchFamily="2" charset="0"/>
                <a:ea typeface="+mn-ea"/>
                <a:cs typeface="+mn-cs"/>
              </a:defRPr>
            </a:lvl1pPr>
            <a:lvl2pPr marL="342900" indent="0" algn="l" defTabSz="685800" rtl="0" eaLnBrk="1" latinLnBrk="0" hangingPunct="1">
              <a:lnSpc>
                <a:spcPct val="100000"/>
              </a:lnSpc>
              <a:spcBef>
                <a:spcPts val="375"/>
              </a:spcBef>
              <a:buFontTx/>
              <a:buNone/>
              <a:defRPr sz="800" kern="1200">
                <a:solidFill>
                  <a:srgbClr val="58595B"/>
                </a:solidFill>
                <a:latin typeface="Helvetica"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800" kern="1200">
                <a:solidFill>
                  <a:srgbClr val="58595B"/>
                </a:solidFill>
                <a:latin typeface="Helvetica"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800" b="1" i="0" kern="1200">
                <a:solidFill>
                  <a:srgbClr val="58595B"/>
                </a:solidFill>
                <a:latin typeface="Helvetica"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00" kern="1200">
                <a:solidFill>
                  <a:srgbClr val="58595B"/>
                </a:solidFill>
                <a:latin typeface="Helvetica"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en-US" sz="1067" b="0" i="0" dirty="0">
                <a:solidFill>
                  <a:schemeClr val="bg1"/>
                </a:solidFill>
                <a:latin typeface="Helvetica Regular" pitchFamily="2" charset="0"/>
              </a:rPr>
              <a:t>RTP ASCO 2026</a:t>
            </a:r>
          </a:p>
        </p:txBody>
      </p:sp>
      <p:pic>
        <p:nvPicPr>
          <p:cNvPr id="16" name="Logo">
            <a:extLst>
              <a:ext uri="{FF2B5EF4-FFF2-40B4-BE49-F238E27FC236}">
                <a16:creationId xmlns:a16="http://schemas.microsoft.com/office/drawing/2014/main" id="{0FCED579-A029-5C4C-9E1F-AE7C4BC1CA7A}"/>
              </a:ext>
            </a:extLst>
          </p:cNvPr>
          <p:cNvPicPr>
            <a:picLocks noChangeAspect="1"/>
          </p:cNvPicPr>
          <p:nvPr userDrawn="1"/>
        </p:nvPicPr>
        <p:blipFill>
          <a:blip>
            <a:extLst>
              <a:ext uri="{96DAC541-7B7A-43D3-8B79-37D633B846F1}">
                <asvg:svgBlip xmlns:asvg="http://schemas.microsoft.com/office/drawing/2016/SVG/main" r:embed="rId7"/>
              </a:ext>
            </a:extLst>
          </a:blip>
          <a:stretch>
            <a:fillRect/>
          </a:stretch>
        </p:blipFill>
        <p:spPr>
          <a:xfrm>
            <a:off x="487681" y="234346"/>
            <a:ext cx="564305" cy="182033"/>
          </a:xfrm>
          <a:prstGeom prst="rect">
            <a:avLst/>
          </a:prstGeom>
        </p:spPr>
      </p:pic>
      <p:sp>
        <p:nvSpPr>
          <p:cNvPr id="2" name="Slide Number Placeholder 1">
            <a:extLst>
              <a:ext uri="{FF2B5EF4-FFF2-40B4-BE49-F238E27FC236}">
                <a16:creationId xmlns:a16="http://schemas.microsoft.com/office/drawing/2014/main" id="{5103E32E-3134-564E-BE62-8CC0C9926817}"/>
              </a:ext>
            </a:extLst>
          </p:cNvPr>
          <p:cNvSpPr>
            <a:spLocks noGrp="1"/>
          </p:cNvSpPr>
          <p:nvPr>
            <p:ph type="sldNum" sz="quarter" idx="4"/>
          </p:nvPr>
        </p:nvSpPr>
        <p:spPr>
          <a:xfrm>
            <a:off x="11226800" y="6339840"/>
            <a:ext cx="609600" cy="487680"/>
          </a:xfrm>
          <a:prstGeom prst="rect">
            <a:avLst/>
          </a:prstGeom>
        </p:spPr>
        <p:txBody>
          <a:bodyPr vert="horz" wrap="none" lIns="0" tIns="0" rIns="0" bIns="256032" rtlCol="0" anchor="t" anchorCtr="0">
            <a:noAutofit/>
          </a:bodyPr>
          <a:lstStyle>
            <a:lvl1pPr algn="r">
              <a:defRPr sz="1067">
                <a:solidFill>
                  <a:schemeClr val="bg1"/>
                </a:solidFill>
              </a:defRPr>
            </a:lvl1pPr>
          </a:lstStyle>
          <a:p>
            <a:fld id="{8A4D65D6-0FE8-A44D-976B-79BD54D4007E}" type="slidenum">
              <a:rPr lang="en-US" smtClean="0"/>
              <a:pPr/>
              <a:t>‹#›</a:t>
            </a:fld>
            <a:endParaRPr lang="en-US"/>
          </a:p>
        </p:txBody>
      </p:sp>
      <p:sp>
        <p:nvSpPr>
          <p:cNvPr id="4" name="Title Placeholder 3">
            <a:extLst>
              <a:ext uri="{FF2B5EF4-FFF2-40B4-BE49-F238E27FC236}">
                <a16:creationId xmlns:a16="http://schemas.microsoft.com/office/drawing/2014/main" id="{B2B7E107-1541-7E40-A6FC-46A0AEFD495E}"/>
              </a:ext>
            </a:extLst>
          </p:cNvPr>
          <p:cNvSpPr>
            <a:spLocks noGrp="1"/>
          </p:cNvSpPr>
          <p:nvPr>
            <p:ph type="title"/>
          </p:nvPr>
        </p:nvSpPr>
        <p:spPr>
          <a:xfrm>
            <a:off x="853440" y="2574556"/>
            <a:ext cx="10373360" cy="668516"/>
          </a:xfrm>
          <a:prstGeom prst="rect">
            <a:avLst/>
          </a:prstGeom>
        </p:spPr>
        <p:txBody>
          <a:bodyPr vert="horz" wrap="square" lIns="0" tIns="0" rIns="0" bIns="0" rtlCol="0" anchor="b" anchorCtr="0">
            <a:spAutoFit/>
          </a:body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CA93CE4-2BD0-C849-B5FE-F6137696E780}"/>
              </a:ext>
            </a:extLst>
          </p:cNvPr>
          <p:cNvSpPr>
            <a:spLocks noGrp="1"/>
          </p:cNvSpPr>
          <p:nvPr>
            <p:ph type="body" idx="1"/>
          </p:nvPr>
        </p:nvSpPr>
        <p:spPr>
          <a:xfrm>
            <a:off x="853440" y="3535680"/>
            <a:ext cx="10363200" cy="1690805"/>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D2C952B0-602D-446A-8EEA-91C9BFA4C958}"/>
              </a:ext>
            </a:extLst>
          </p:cNvPr>
          <p:cNvPicPr>
            <a:picLocks noChangeAspect="1"/>
          </p:cNvPicPr>
          <p:nvPr userDrawn="1"/>
        </p:nvPicPr>
        <p:blipFill>
          <a:blip r:embed="rId8"/>
          <a:stretch>
            <a:fillRect/>
          </a:stretch>
        </p:blipFill>
        <p:spPr>
          <a:xfrm>
            <a:off x="9415604" y="158633"/>
            <a:ext cx="1496840" cy="1496840"/>
          </a:xfrm>
          <a:prstGeom prst="rect">
            <a:avLst/>
          </a:prstGeom>
        </p:spPr>
      </p:pic>
    </p:spTree>
    <p:extLst>
      <p:ext uri="{BB962C8B-B14F-4D97-AF65-F5344CB8AC3E}">
        <p14:creationId xmlns:p14="http://schemas.microsoft.com/office/powerpoint/2010/main" val="4285444417"/>
      </p:ext>
    </p:extLst>
  </p:cSld>
  <p:clrMap bg1="lt1" tx1="dk1" bg2="lt2" tx2="dk2" accent1="accent1" accent2="accent2" accent3="accent3" accent4="accent4" accent5="accent5" accent6="accent6" hlink="hlink" folHlink="folHlink"/>
  <p:sldLayoutIdLst>
    <p:sldLayoutId id="2147485430" r:id="rId1"/>
    <p:sldLayoutId id="2147485431" r:id="rId2"/>
    <p:sldLayoutId id="2147485432" r:id="rId3"/>
    <p:sldLayoutId id="2147485433" r:id="rId4"/>
    <p:sldLayoutId id="2147485434" r:id="rId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p:txStyles>
    <p:titleStyle>
      <a:lvl1pPr algn="l" defTabSz="914377" rtl="0" eaLnBrk="1" latinLnBrk="0" hangingPunct="1">
        <a:lnSpc>
          <a:spcPct val="90000"/>
        </a:lnSpc>
        <a:spcBef>
          <a:spcPct val="0"/>
        </a:spcBef>
        <a:buNone/>
        <a:defRPr sz="4800" b="1" i="0" kern="1200">
          <a:solidFill>
            <a:schemeClr val="bg1"/>
          </a:solidFill>
          <a:latin typeface="Helvetica" pitchFamily="2" charset="0"/>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1867" b="0" kern="1200">
          <a:solidFill>
            <a:schemeClr val="bg1"/>
          </a:solidFill>
          <a:latin typeface="Helvetica" pitchFamily="2" charset="0"/>
          <a:ea typeface="+mn-ea"/>
          <a:cs typeface="+mn-cs"/>
        </a:defRPr>
      </a:lvl1pPr>
      <a:lvl2pPr marL="597393" indent="-231642" algn="l" defTabSz="914377" rtl="0" eaLnBrk="1" latinLnBrk="0" hangingPunct="1">
        <a:lnSpc>
          <a:spcPct val="90000"/>
        </a:lnSpc>
        <a:spcBef>
          <a:spcPts val="500"/>
        </a:spcBef>
        <a:buFont typeface="Arial" panose="020B0604020202020204" pitchFamily="34" charset="0"/>
        <a:buChar char="•"/>
        <a:defRPr sz="1867" b="0" kern="1200">
          <a:solidFill>
            <a:schemeClr val="bg1"/>
          </a:solidFill>
          <a:latin typeface="Helvetica" pitchFamily="2" charset="0"/>
          <a:ea typeface="+mn-ea"/>
          <a:cs typeface="+mn-cs"/>
        </a:defRPr>
      </a:lvl2pPr>
      <a:lvl3pPr marL="963144" indent="-228594" algn="l" defTabSz="914377" rtl="0" eaLnBrk="1" latinLnBrk="0" hangingPunct="1">
        <a:lnSpc>
          <a:spcPct val="90000"/>
        </a:lnSpc>
        <a:spcBef>
          <a:spcPts val="500"/>
        </a:spcBef>
        <a:buFont typeface="Arial" panose="020B0604020202020204" pitchFamily="34" charset="0"/>
        <a:buChar char="•"/>
        <a:defRPr sz="1867" b="0" kern="1200">
          <a:solidFill>
            <a:schemeClr val="bg1"/>
          </a:solidFill>
          <a:latin typeface="Helvetica" pitchFamily="2" charset="0"/>
          <a:ea typeface="+mn-ea"/>
          <a:cs typeface="+mn-cs"/>
        </a:defRPr>
      </a:lvl3pPr>
      <a:lvl4pPr marL="1328895" indent="-228594" algn="l" defTabSz="914377" rtl="0" eaLnBrk="1" latinLnBrk="0" hangingPunct="1">
        <a:lnSpc>
          <a:spcPct val="90000"/>
        </a:lnSpc>
        <a:spcBef>
          <a:spcPts val="500"/>
        </a:spcBef>
        <a:buFont typeface="Arial" panose="020B0604020202020204" pitchFamily="34" charset="0"/>
        <a:buChar char="•"/>
        <a:defRPr sz="1867" b="0" i="0" kern="1200">
          <a:solidFill>
            <a:schemeClr val="bg1"/>
          </a:solidFill>
          <a:latin typeface="Helvetica" pitchFamily="2" charset="0"/>
          <a:ea typeface="+mn-ea"/>
          <a:cs typeface="+mn-cs"/>
        </a:defRPr>
      </a:lvl4pPr>
      <a:lvl5pPr marL="1694646" indent="-228594" algn="l" defTabSz="914377" rtl="0" eaLnBrk="1" latinLnBrk="0" hangingPunct="1">
        <a:lnSpc>
          <a:spcPct val="90000"/>
        </a:lnSpc>
        <a:spcBef>
          <a:spcPts val="500"/>
        </a:spcBef>
        <a:buFont typeface="Arial" panose="020B0604020202020204" pitchFamily="34" charset="0"/>
        <a:buChar char="•"/>
        <a:defRPr sz="1867" b="0" kern="1200">
          <a:solidFill>
            <a:schemeClr val="bg1"/>
          </a:solidFill>
          <a:latin typeface="Helvetica"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Header rule">
            <a:extLst>
              <a:ext uri="{FF2B5EF4-FFF2-40B4-BE49-F238E27FC236}">
                <a16:creationId xmlns:a16="http://schemas.microsoft.com/office/drawing/2014/main" id="{98E6E0B5-9270-574F-A10E-09DA8982DB02}"/>
              </a:ext>
            </a:extLst>
          </p:cNvPr>
          <p:cNvSpPr/>
          <p:nvPr/>
        </p:nvSpPr>
        <p:spPr>
          <a:xfrm>
            <a:off x="853440" y="1470765"/>
            <a:ext cx="10363200" cy="48768"/>
          </a:xfrm>
          <a:prstGeom prst="rect">
            <a:avLst/>
          </a:prstGeom>
          <a:solidFill>
            <a:srgbClr val="2774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endParaRPr lang="en-US" sz="2400" b="0" i="0" dirty="0">
              <a:latin typeface="Helvetica Regular" pitchFamily="2" charset="0"/>
            </a:endParaRPr>
          </a:p>
        </p:txBody>
      </p:sp>
      <p:sp>
        <p:nvSpPr>
          <p:cNvPr id="22" name="Title Placeholder">
            <a:extLst>
              <a:ext uri="{FF2B5EF4-FFF2-40B4-BE49-F238E27FC236}">
                <a16:creationId xmlns:a16="http://schemas.microsoft.com/office/drawing/2014/main" id="{7143B24C-1C3A-8E4C-BD32-A8A3EF401E90}"/>
              </a:ext>
            </a:extLst>
          </p:cNvPr>
          <p:cNvSpPr>
            <a:spLocks noGrp="1"/>
          </p:cNvSpPr>
          <p:nvPr>
            <p:ph type="title"/>
          </p:nvPr>
        </p:nvSpPr>
        <p:spPr>
          <a:xfrm>
            <a:off x="853439" y="986217"/>
            <a:ext cx="10363200" cy="524256"/>
          </a:xfrm>
          <a:prstGeom prst="rect">
            <a:avLst/>
          </a:prstGeom>
        </p:spPr>
        <p:txBody>
          <a:bodyPr vert="horz" wrap="square" lIns="0" tIns="0" rIns="0" bIns="0" rtlCol="0" anchor="b" anchorCtr="0">
            <a:spAutoFit/>
          </a:bodyPr>
          <a:lstStyle/>
          <a:p>
            <a:r>
              <a:rPr lang="en-US" dirty="0"/>
              <a:t>Click to edit Master title</a:t>
            </a:r>
          </a:p>
        </p:txBody>
      </p:sp>
      <p:sp>
        <p:nvSpPr>
          <p:cNvPr id="27" name="Slide Number Placeholder">
            <a:extLst>
              <a:ext uri="{FF2B5EF4-FFF2-40B4-BE49-F238E27FC236}">
                <a16:creationId xmlns:a16="http://schemas.microsoft.com/office/drawing/2014/main" id="{BB99265C-2058-D148-A5A5-70540F68B968}"/>
              </a:ext>
            </a:extLst>
          </p:cNvPr>
          <p:cNvSpPr>
            <a:spLocks noGrp="1"/>
          </p:cNvSpPr>
          <p:nvPr>
            <p:ph type="sldNum" sz="quarter" idx="4"/>
          </p:nvPr>
        </p:nvSpPr>
        <p:spPr>
          <a:xfrm>
            <a:off x="11228832" y="6339840"/>
            <a:ext cx="609600" cy="487680"/>
          </a:xfrm>
          <a:prstGeom prst="rect">
            <a:avLst/>
          </a:prstGeom>
        </p:spPr>
        <p:txBody>
          <a:bodyPr vert="horz" wrap="square" lIns="0" tIns="0" rIns="0" bIns="256032" rtlCol="0" anchor="t" anchorCtr="0">
            <a:noAutofit/>
          </a:bodyPr>
          <a:lstStyle>
            <a:lvl1pPr algn="r">
              <a:lnSpc>
                <a:spcPct val="100000"/>
              </a:lnSpc>
              <a:defRPr sz="1067" b="0" i="0">
                <a:solidFill>
                  <a:srgbClr val="898989"/>
                </a:solidFill>
                <a:latin typeface="Helvetica Regular" pitchFamily="2" charset="0"/>
              </a:defRPr>
            </a:lvl1pPr>
          </a:lstStyle>
          <a:p>
            <a:fld id="{B6238B5B-F19C-E947-A0BC-87BD7983F871}" type="slidenum">
              <a:rPr lang="en-US" smtClean="0"/>
              <a:pPr/>
              <a:t>‹#›</a:t>
            </a:fld>
            <a:endParaRPr lang="en-US" dirty="0"/>
          </a:p>
        </p:txBody>
      </p:sp>
      <p:sp>
        <p:nvSpPr>
          <p:cNvPr id="2" name="Rectangle 1">
            <a:extLst>
              <a:ext uri="{FF2B5EF4-FFF2-40B4-BE49-F238E27FC236}">
                <a16:creationId xmlns:a16="http://schemas.microsoft.com/office/drawing/2014/main" id="{3F4D58D5-A817-8C46-AB00-9E4F26EA159C}"/>
              </a:ext>
            </a:extLst>
          </p:cNvPr>
          <p:cNvSpPr/>
          <p:nvPr userDrawn="1"/>
        </p:nvSpPr>
        <p:spPr>
          <a:xfrm>
            <a:off x="0" y="0"/>
            <a:ext cx="12192000" cy="609600"/>
          </a:xfrm>
          <a:prstGeom prst="rect">
            <a:avLst/>
          </a:prstGeom>
          <a:gradFill>
            <a:gsLst>
              <a:gs pos="0">
                <a:srgbClr val="00578B"/>
              </a:gs>
              <a:gs pos="100000">
                <a:srgbClr val="2774A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2" name="Logo">
            <a:extLst>
              <a:ext uri="{FF2B5EF4-FFF2-40B4-BE49-F238E27FC236}">
                <a16:creationId xmlns:a16="http://schemas.microsoft.com/office/drawing/2014/main" id="{6E1D559F-4EF1-6E45-B5D7-15C84F808AAA}"/>
              </a:ext>
            </a:extLst>
          </p:cNvPr>
          <p:cNvPicPr>
            <a:picLocks noChangeAspect="1"/>
          </p:cNvPicPr>
          <p:nvPr userDrawn="1"/>
        </p:nvPicPr>
        <p:blipFill>
          <a:blip>
            <a:extLst>
              <a:ext uri="{96DAC541-7B7A-43D3-8B79-37D633B846F1}">
                <asvg:svgBlip xmlns:asvg="http://schemas.microsoft.com/office/drawing/2016/SVG/main" r:embed="rId14"/>
              </a:ext>
            </a:extLst>
          </a:blip>
          <a:stretch>
            <a:fillRect/>
          </a:stretch>
        </p:blipFill>
        <p:spPr>
          <a:xfrm>
            <a:off x="487681" y="234346"/>
            <a:ext cx="564305" cy="182033"/>
          </a:xfrm>
          <a:prstGeom prst="rect">
            <a:avLst/>
          </a:prstGeom>
        </p:spPr>
      </p:pic>
      <p:sp>
        <p:nvSpPr>
          <p:cNvPr id="16" name="Text Placeholder-left">
            <a:extLst>
              <a:ext uri="{FF2B5EF4-FFF2-40B4-BE49-F238E27FC236}">
                <a16:creationId xmlns:a16="http://schemas.microsoft.com/office/drawing/2014/main" id="{7AC9189D-0EEA-1842-9A84-2D9C40375164}"/>
              </a:ext>
            </a:extLst>
          </p:cNvPr>
          <p:cNvSpPr txBox="1">
            <a:spLocks/>
          </p:cNvSpPr>
          <p:nvPr userDrawn="1"/>
        </p:nvSpPr>
        <p:spPr>
          <a:xfrm>
            <a:off x="487680" y="6349366"/>
            <a:ext cx="4754880" cy="657552"/>
          </a:xfrm>
          <a:prstGeom prst="rect">
            <a:avLst/>
          </a:prstGeom>
        </p:spPr>
        <p:txBody>
          <a:bodyPr wrap="square" lIns="0" tIns="0" rIns="0" bIns="341376">
            <a:spAutoFit/>
          </a:bodyPr>
          <a:lstStyle>
            <a:lvl1pPr marL="0" indent="0" algn="ctr" defTabSz="685800" rtl="0" eaLnBrk="1" latinLnBrk="0" hangingPunct="1">
              <a:lnSpc>
                <a:spcPct val="90000"/>
              </a:lnSpc>
              <a:spcBef>
                <a:spcPts val="750"/>
              </a:spcBef>
              <a:buFontTx/>
              <a:buNone/>
              <a:defRPr sz="800" kern="1200">
                <a:solidFill>
                  <a:srgbClr val="898989"/>
                </a:solidFill>
                <a:latin typeface="Helvetica" pitchFamily="2" charset="0"/>
                <a:ea typeface="+mn-ea"/>
                <a:cs typeface="+mn-cs"/>
              </a:defRPr>
            </a:lvl1pPr>
            <a:lvl2pPr marL="342900" indent="0" algn="l" defTabSz="685800" rtl="0" eaLnBrk="1" latinLnBrk="0" hangingPunct="1">
              <a:lnSpc>
                <a:spcPct val="100000"/>
              </a:lnSpc>
              <a:spcBef>
                <a:spcPts val="375"/>
              </a:spcBef>
              <a:buFontTx/>
              <a:buNone/>
              <a:defRPr sz="800" kern="1200">
                <a:solidFill>
                  <a:srgbClr val="58595B"/>
                </a:solidFill>
                <a:latin typeface="Helvetica"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800" kern="1200">
                <a:solidFill>
                  <a:srgbClr val="58595B"/>
                </a:solidFill>
                <a:latin typeface="Helvetica"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800" b="1" i="0" kern="1200">
                <a:solidFill>
                  <a:srgbClr val="58595B"/>
                </a:solidFill>
                <a:latin typeface="Helvetica"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00" kern="1200">
                <a:solidFill>
                  <a:srgbClr val="58595B"/>
                </a:solidFill>
                <a:latin typeface="Helvetica"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lnSpc>
                <a:spcPct val="100000"/>
              </a:lnSpc>
              <a:spcBef>
                <a:spcPts val="0"/>
              </a:spcBef>
            </a:pPr>
            <a:r>
              <a:rPr lang="en-US" sz="1067" b="0" i="0" dirty="0">
                <a:solidFill>
                  <a:srgbClr val="898989"/>
                </a:solidFill>
                <a:latin typeface="Helvetica Regular" pitchFamily="2" charset="0"/>
              </a:rPr>
              <a:t>Goldman</a:t>
            </a:r>
          </a:p>
          <a:p>
            <a:pPr algn="l">
              <a:spcBef>
                <a:spcPts val="0"/>
              </a:spcBef>
            </a:pPr>
            <a:r>
              <a:rPr lang="en-US" sz="1067" b="0" i="0" dirty="0">
                <a:solidFill>
                  <a:srgbClr val="898989"/>
                </a:solidFill>
                <a:latin typeface="Helvetica Regular" pitchFamily="2" charset="0"/>
              </a:rPr>
              <a:t>RTP ASCO 2026</a:t>
            </a:r>
          </a:p>
        </p:txBody>
      </p:sp>
      <p:sp>
        <p:nvSpPr>
          <p:cNvPr id="4" name="Text Placeholder 3">
            <a:extLst>
              <a:ext uri="{FF2B5EF4-FFF2-40B4-BE49-F238E27FC236}">
                <a16:creationId xmlns:a16="http://schemas.microsoft.com/office/drawing/2014/main" id="{C5A38CAE-CC53-A346-9993-73CC87395D49}"/>
              </a:ext>
            </a:extLst>
          </p:cNvPr>
          <p:cNvSpPr>
            <a:spLocks noGrp="1"/>
          </p:cNvSpPr>
          <p:nvPr>
            <p:ph type="body" idx="1"/>
          </p:nvPr>
        </p:nvSpPr>
        <p:spPr>
          <a:xfrm>
            <a:off x="1463040" y="1950721"/>
            <a:ext cx="9753600" cy="156769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Picture 2">
            <a:extLst>
              <a:ext uri="{FF2B5EF4-FFF2-40B4-BE49-F238E27FC236}">
                <a16:creationId xmlns:a16="http://schemas.microsoft.com/office/drawing/2014/main" id="{B6838771-9E4B-A215-8551-B846940EB79D}"/>
              </a:ext>
            </a:extLst>
          </p:cNvPr>
          <p:cNvPicPr>
            <a:picLocks noChangeAspect="1"/>
          </p:cNvPicPr>
          <p:nvPr userDrawn="1"/>
        </p:nvPicPr>
        <p:blipFill>
          <a:blip r:embed="rId15"/>
          <a:stretch>
            <a:fillRect/>
          </a:stretch>
        </p:blipFill>
        <p:spPr>
          <a:xfrm>
            <a:off x="11094720" y="1"/>
            <a:ext cx="609600" cy="609600"/>
          </a:xfrm>
          <a:prstGeom prst="rect">
            <a:avLst/>
          </a:prstGeom>
        </p:spPr>
      </p:pic>
    </p:spTree>
    <p:extLst>
      <p:ext uri="{BB962C8B-B14F-4D97-AF65-F5344CB8AC3E}">
        <p14:creationId xmlns:p14="http://schemas.microsoft.com/office/powerpoint/2010/main" val="2545551663"/>
      </p:ext>
    </p:extLst>
  </p:cSld>
  <p:clrMap bg1="lt1" tx1="dk1" bg2="lt2" tx2="dk2" accent1="accent1" accent2="accent2" accent3="accent3" accent4="accent4" accent5="accent5" accent6="accent6" hlink="hlink" folHlink="folHlink"/>
  <p:sldLayoutIdLst>
    <p:sldLayoutId id="2147485436" r:id="rId1"/>
    <p:sldLayoutId id="2147485437" r:id="rId2"/>
    <p:sldLayoutId id="2147485438" r:id="rId3"/>
    <p:sldLayoutId id="2147485439" r:id="rId4"/>
    <p:sldLayoutId id="2147485440" r:id="rId5"/>
    <p:sldLayoutId id="2147485441" r:id="rId6"/>
    <p:sldLayoutId id="2147485442" r:id="rId7"/>
    <p:sldLayoutId id="2147485443" r:id="rId8"/>
    <p:sldLayoutId id="2147485444" r:id="rId9"/>
    <p:sldLayoutId id="2147485445" r:id="rId10"/>
    <p:sldLayoutId id="2147485446" r:id="rId11"/>
    <p:sldLayoutId id="2147485447" r:id="rId1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p:txStyles>
    <p:titleStyle>
      <a:lvl1pPr algn="l" defTabSz="914377" rtl="0" eaLnBrk="1" latinLnBrk="0" hangingPunct="1">
        <a:lnSpc>
          <a:spcPct val="90000"/>
        </a:lnSpc>
        <a:spcBef>
          <a:spcPct val="0"/>
        </a:spcBef>
        <a:buNone/>
        <a:defRPr sz="3733" b="1" i="0" kern="1200" baseline="0">
          <a:solidFill>
            <a:srgbClr val="58595B"/>
          </a:solidFill>
          <a:latin typeface="Helvetica" pitchFamily="2" charset="0"/>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1867" b="0" kern="1200">
          <a:solidFill>
            <a:srgbClr val="58595B"/>
          </a:solidFill>
          <a:latin typeface="Helvetica" pitchFamily="2" charset="0"/>
          <a:ea typeface="+mn-ea"/>
          <a:cs typeface="+mn-cs"/>
        </a:defRPr>
      </a:lvl1pPr>
      <a:lvl2pPr marL="597393" indent="-231642" algn="l" defTabSz="914377" rtl="0" eaLnBrk="1" latinLnBrk="0" hangingPunct="1">
        <a:lnSpc>
          <a:spcPct val="90000"/>
        </a:lnSpc>
        <a:spcBef>
          <a:spcPts val="500"/>
        </a:spcBef>
        <a:buFont typeface="Arial" panose="020B0604020202020204" pitchFamily="34" charset="0"/>
        <a:buChar char="•"/>
        <a:defRPr sz="1867" b="0" i="0" kern="1200" baseline="0">
          <a:solidFill>
            <a:srgbClr val="58595B"/>
          </a:solidFill>
          <a:latin typeface="Helvetica Regular" pitchFamily="2" charset="0"/>
          <a:ea typeface="+mn-ea"/>
          <a:cs typeface="+mn-cs"/>
        </a:defRPr>
      </a:lvl2pPr>
      <a:lvl3pPr marL="963144" indent="-228594" algn="l" defTabSz="914377" rtl="0" eaLnBrk="1" latinLnBrk="0" hangingPunct="1">
        <a:lnSpc>
          <a:spcPct val="90000"/>
        </a:lnSpc>
        <a:spcBef>
          <a:spcPts val="500"/>
        </a:spcBef>
        <a:buFont typeface="Arial" panose="020B0604020202020204" pitchFamily="34" charset="0"/>
        <a:buChar char="•"/>
        <a:defRPr sz="1867" b="0" kern="1200">
          <a:solidFill>
            <a:srgbClr val="58595B"/>
          </a:solidFill>
          <a:latin typeface="Helvetica" pitchFamily="2" charset="0"/>
          <a:ea typeface="+mn-ea"/>
          <a:cs typeface="+mn-cs"/>
        </a:defRPr>
      </a:lvl3pPr>
      <a:lvl4pPr marL="1328895" indent="-228594" algn="l" defTabSz="914377" rtl="0" eaLnBrk="1" latinLnBrk="0" hangingPunct="1">
        <a:lnSpc>
          <a:spcPct val="90000"/>
        </a:lnSpc>
        <a:spcBef>
          <a:spcPts val="500"/>
        </a:spcBef>
        <a:buFont typeface="Arial" panose="020B0604020202020204" pitchFamily="34" charset="0"/>
        <a:buChar char="•"/>
        <a:defRPr sz="1867" b="0" i="0" kern="1200">
          <a:solidFill>
            <a:srgbClr val="58595B"/>
          </a:solidFill>
          <a:latin typeface="Helvetica" pitchFamily="2" charset="0"/>
          <a:ea typeface="+mn-ea"/>
          <a:cs typeface="+mn-cs"/>
        </a:defRPr>
      </a:lvl4pPr>
      <a:lvl5pPr marL="1694646" indent="-228594" algn="l" defTabSz="914377" rtl="0" eaLnBrk="1" latinLnBrk="0" hangingPunct="1">
        <a:lnSpc>
          <a:spcPct val="90000"/>
        </a:lnSpc>
        <a:spcBef>
          <a:spcPts val="500"/>
        </a:spcBef>
        <a:buFont typeface="Arial" panose="020B0604020202020204" pitchFamily="34" charset="0"/>
        <a:buChar char="•"/>
        <a:defRPr sz="1867" b="0" kern="1200">
          <a:solidFill>
            <a:srgbClr val="58595B"/>
          </a:solidFill>
          <a:latin typeface="Helvetica"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8" name="Color Guide" hidden="1">
            <a:extLst>
              <a:ext uri="{FF2B5EF4-FFF2-40B4-BE49-F238E27FC236}">
                <a16:creationId xmlns:a16="http://schemas.microsoft.com/office/drawing/2014/main" id="{935177BB-32EA-7E53-DBB9-685685F40743}"/>
              </a:ext>
            </a:extLst>
          </p:cNvPr>
          <p:cNvGrpSpPr/>
          <p:nvPr userDrawn="1"/>
        </p:nvGrpSpPr>
        <p:grpSpPr>
          <a:xfrm>
            <a:off x="-1708486" y="-661737"/>
            <a:ext cx="5201979" cy="4168123"/>
            <a:chOff x="-1708485" y="-661737"/>
            <a:chExt cx="5201978" cy="4168122"/>
          </a:xfrm>
        </p:grpSpPr>
        <p:sp>
          <p:nvSpPr>
            <p:cNvPr id="2" name="Rectangle 1">
              <a:extLst>
                <a:ext uri="{FF2B5EF4-FFF2-40B4-BE49-F238E27FC236}">
                  <a16:creationId xmlns:a16="http://schemas.microsoft.com/office/drawing/2014/main" id="{A061CA48-04B8-1D58-80EA-95D5B0D8E4C6}"/>
                </a:ext>
              </a:extLst>
            </p:cNvPr>
            <p:cNvSpPr/>
            <p:nvPr userDrawn="1"/>
          </p:nvSpPr>
          <p:spPr>
            <a:xfrm>
              <a:off x="-661737" y="0"/>
              <a:ext cx="529389" cy="529389"/>
            </a:xfrm>
            <a:prstGeom prst="rect">
              <a:avLst/>
            </a:prstGeom>
            <a:solidFill>
              <a:srgbClr val="05488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TextBox 2">
              <a:extLst>
                <a:ext uri="{FF2B5EF4-FFF2-40B4-BE49-F238E27FC236}">
                  <a16:creationId xmlns:a16="http://schemas.microsoft.com/office/drawing/2014/main" id="{3A193C1C-4EB4-2A51-5A2C-F1901F80DF92}"/>
                </a:ext>
              </a:extLst>
            </p:cNvPr>
            <p:cNvSpPr txBox="1"/>
            <p:nvPr userDrawn="1"/>
          </p:nvSpPr>
          <p:spPr>
            <a:xfrm>
              <a:off x="-1708485" y="80028"/>
              <a:ext cx="1046748" cy="300210"/>
            </a:xfrm>
            <a:prstGeom prst="rect">
              <a:avLst/>
            </a:prstGeom>
            <a:noFill/>
          </p:spPr>
          <p:txBody>
            <a:bodyPr wrap="square" rtlCol="0">
              <a:spAutoFit/>
            </a:bodyPr>
            <a:lstStyle/>
            <a:p>
              <a:pPr algn="r"/>
              <a:r>
                <a:rPr lang="en-US" sz="1351"/>
                <a:t>#054883</a:t>
              </a:r>
            </a:p>
          </p:txBody>
        </p:sp>
        <p:sp>
          <p:nvSpPr>
            <p:cNvPr id="4" name="Rectangle 3">
              <a:extLst>
                <a:ext uri="{FF2B5EF4-FFF2-40B4-BE49-F238E27FC236}">
                  <a16:creationId xmlns:a16="http://schemas.microsoft.com/office/drawing/2014/main" id="{54669878-5109-DB30-DBAF-ECDDAC8B86C6}"/>
                </a:ext>
              </a:extLst>
            </p:cNvPr>
            <p:cNvSpPr/>
            <p:nvPr userDrawn="1"/>
          </p:nvSpPr>
          <p:spPr>
            <a:xfrm>
              <a:off x="-661737" y="744249"/>
              <a:ext cx="529389" cy="529389"/>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Box 4">
              <a:extLst>
                <a:ext uri="{FF2B5EF4-FFF2-40B4-BE49-F238E27FC236}">
                  <a16:creationId xmlns:a16="http://schemas.microsoft.com/office/drawing/2014/main" id="{B69DF11D-0714-8715-0364-B4A278604E40}"/>
                </a:ext>
              </a:extLst>
            </p:cNvPr>
            <p:cNvSpPr txBox="1"/>
            <p:nvPr userDrawn="1"/>
          </p:nvSpPr>
          <p:spPr>
            <a:xfrm>
              <a:off x="-1708485" y="824277"/>
              <a:ext cx="1046748" cy="300210"/>
            </a:xfrm>
            <a:prstGeom prst="rect">
              <a:avLst/>
            </a:prstGeom>
            <a:noFill/>
          </p:spPr>
          <p:txBody>
            <a:bodyPr wrap="square" rtlCol="0">
              <a:spAutoFit/>
            </a:bodyPr>
            <a:lstStyle/>
            <a:p>
              <a:pPr algn="r"/>
              <a:r>
                <a:rPr lang="en-US" sz="1351"/>
                <a:t>#0070C0</a:t>
              </a:r>
            </a:p>
          </p:txBody>
        </p:sp>
        <p:sp>
          <p:nvSpPr>
            <p:cNvPr id="6" name="Rectangle 5">
              <a:extLst>
                <a:ext uri="{FF2B5EF4-FFF2-40B4-BE49-F238E27FC236}">
                  <a16:creationId xmlns:a16="http://schemas.microsoft.com/office/drawing/2014/main" id="{86B7F775-CE4A-4A9A-6444-6109C16BDB67}"/>
                </a:ext>
              </a:extLst>
            </p:cNvPr>
            <p:cNvSpPr/>
            <p:nvPr userDrawn="1"/>
          </p:nvSpPr>
          <p:spPr>
            <a:xfrm>
              <a:off x="-661737" y="1488498"/>
              <a:ext cx="529389" cy="529389"/>
            </a:xfrm>
            <a:prstGeom prst="rect">
              <a:avLst/>
            </a:prstGeom>
            <a:solidFill>
              <a:srgbClr val="6DA94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7" name="TextBox 6">
              <a:extLst>
                <a:ext uri="{FF2B5EF4-FFF2-40B4-BE49-F238E27FC236}">
                  <a16:creationId xmlns:a16="http://schemas.microsoft.com/office/drawing/2014/main" id="{1B736A84-69C4-F6BC-DC0F-CDC4B2597650}"/>
                </a:ext>
              </a:extLst>
            </p:cNvPr>
            <p:cNvSpPr txBox="1"/>
            <p:nvPr userDrawn="1"/>
          </p:nvSpPr>
          <p:spPr>
            <a:xfrm>
              <a:off x="-1708485" y="1568527"/>
              <a:ext cx="1046748" cy="300210"/>
            </a:xfrm>
            <a:prstGeom prst="rect">
              <a:avLst/>
            </a:prstGeom>
            <a:noFill/>
          </p:spPr>
          <p:txBody>
            <a:bodyPr wrap="square" rtlCol="0">
              <a:spAutoFit/>
            </a:bodyPr>
            <a:lstStyle/>
            <a:p>
              <a:pPr algn="r"/>
              <a:r>
                <a:rPr lang="en-US" sz="1351"/>
                <a:t>#6DA943</a:t>
              </a:r>
            </a:p>
          </p:txBody>
        </p:sp>
        <p:sp>
          <p:nvSpPr>
            <p:cNvPr id="8" name="Rectangle 7">
              <a:extLst>
                <a:ext uri="{FF2B5EF4-FFF2-40B4-BE49-F238E27FC236}">
                  <a16:creationId xmlns:a16="http://schemas.microsoft.com/office/drawing/2014/main" id="{6F7E5239-E663-C2A3-A7D3-5C74961F9041}"/>
                </a:ext>
              </a:extLst>
            </p:cNvPr>
            <p:cNvSpPr/>
            <p:nvPr userDrawn="1"/>
          </p:nvSpPr>
          <p:spPr>
            <a:xfrm>
              <a:off x="-661737" y="2232747"/>
              <a:ext cx="529389" cy="529389"/>
            </a:xfrm>
            <a:prstGeom prst="rect">
              <a:avLst/>
            </a:prstGeom>
            <a:solidFill>
              <a:srgbClr val="3899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9" name="TextBox 8">
              <a:extLst>
                <a:ext uri="{FF2B5EF4-FFF2-40B4-BE49-F238E27FC236}">
                  <a16:creationId xmlns:a16="http://schemas.microsoft.com/office/drawing/2014/main" id="{EBD7D518-B7BA-0263-4CAA-AAF3F33CB1E1}"/>
                </a:ext>
              </a:extLst>
            </p:cNvPr>
            <p:cNvSpPr txBox="1"/>
            <p:nvPr userDrawn="1"/>
          </p:nvSpPr>
          <p:spPr>
            <a:xfrm>
              <a:off x="-1708485" y="2312775"/>
              <a:ext cx="1046748" cy="300210"/>
            </a:xfrm>
            <a:prstGeom prst="rect">
              <a:avLst/>
            </a:prstGeom>
            <a:noFill/>
          </p:spPr>
          <p:txBody>
            <a:bodyPr wrap="square" rtlCol="0">
              <a:spAutoFit/>
            </a:bodyPr>
            <a:lstStyle/>
            <a:p>
              <a:pPr algn="r"/>
              <a:r>
                <a:rPr lang="en-US" sz="1351"/>
                <a:t>#3899D5</a:t>
              </a:r>
            </a:p>
          </p:txBody>
        </p:sp>
        <p:sp>
          <p:nvSpPr>
            <p:cNvPr id="10" name="Rectangle 9">
              <a:extLst>
                <a:ext uri="{FF2B5EF4-FFF2-40B4-BE49-F238E27FC236}">
                  <a16:creationId xmlns:a16="http://schemas.microsoft.com/office/drawing/2014/main" id="{CFF12ED9-7B1A-8984-693C-F0FE4F2FB48B}"/>
                </a:ext>
              </a:extLst>
            </p:cNvPr>
            <p:cNvSpPr/>
            <p:nvPr userDrawn="1"/>
          </p:nvSpPr>
          <p:spPr>
            <a:xfrm>
              <a:off x="-661737" y="2976996"/>
              <a:ext cx="529389" cy="529389"/>
            </a:xfrm>
            <a:prstGeom prst="rect">
              <a:avLst/>
            </a:prstGeom>
            <a:solidFill>
              <a:srgbClr val="5618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3" name="TextBox 12">
              <a:extLst>
                <a:ext uri="{FF2B5EF4-FFF2-40B4-BE49-F238E27FC236}">
                  <a16:creationId xmlns:a16="http://schemas.microsoft.com/office/drawing/2014/main" id="{8EA9BDF7-CBFC-DF48-9834-D6D8C9C3246B}"/>
                </a:ext>
              </a:extLst>
            </p:cNvPr>
            <p:cNvSpPr txBox="1"/>
            <p:nvPr userDrawn="1"/>
          </p:nvSpPr>
          <p:spPr>
            <a:xfrm>
              <a:off x="-1708485" y="3057024"/>
              <a:ext cx="1046748" cy="300210"/>
            </a:xfrm>
            <a:prstGeom prst="rect">
              <a:avLst/>
            </a:prstGeom>
            <a:noFill/>
          </p:spPr>
          <p:txBody>
            <a:bodyPr wrap="square" rtlCol="0">
              <a:spAutoFit/>
            </a:bodyPr>
            <a:lstStyle/>
            <a:p>
              <a:pPr algn="r"/>
              <a:r>
                <a:rPr lang="en-US" sz="1351"/>
                <a:t>#56187D</a:t>
              </a:r>
            </a:p>
          </p:txBody>
        </p:sp>
        <p:sp>
          <p:nvSpPr>
            <p:cNvPr id="14" name="Rectangle 13">
              <a:extLst>
                <a:ext uri="{FF2B5EF4-FFF2-40B4-BE49-F238E27FC236}">
                  <a16:creationId xmlns:a16="http://schemas.microsoft.com/office/drawing/2014/main" id="{B46F2D9E-403C-7BD4-5ECB-D0C780FADE20}"/>
                </a:ext>
              </a:extLst>
            </p:cNvPr>
            <p:cNvSpPr/>
            <p:nvPr userDrawn="1"/>
          </p:nvSpPr>
          <p:spPr>
            <a:xfrm>
              <a:off x="1387967" y="-661737"/>
              <a:ext cx="529389" cy="52938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5" name="TextBox 14">
              <a:extLst>
                <a:ext uri="{FF2B5EF4-FFF2-40B4-BE49-F238E27FC236}">
                  <a16:creationId xmlns:a16="http://schemas.microsoft.com/office/drawing/2014/main" id="{E68504F9-86A5-A238-3D3B-FAD45BA95174}"/>
                </a:ext>
              </a:extLst>
            </p:cNvPr>
            <p:cNvSpPr txBox="1"/>
            <p:nvPr userDrawn="1"/>
          </p:nvSpPr>
          <p:spPr>
            <a:xfrm>
              <a:off x="341219" y="-581709"/>
              <a:ext cx="1046748" cy="300210"/>
            </a:xfrm>
            <a:prstGeom prst="rect">
              <a:avLst/>
            </a:prstGeom>
            <a:noFill/>
          </p:spPr>
          <p:txBody>
            <a:bodyPr wrap="square" rtlCol="0">
              <a:spAutoFit/>
            </a:bodyPr>
            <a:lstStyle/>
            <a:p>
              <a:pPr algn="r"/>
              <a:r>
                <a:rPr lang="en-US" sz="1351"/>
                <a:t>#054883</a:t>
              </a:r>
            </a:p>
          </p:txBody>
        </p:sp>
        <p:sp>
          <p:nvSpPr>
            <p:cNvPr id="16" name="Rectangle 15">
              <a:extLst>
                <a:ext uri="{FF2B5EF4-FFF2-40B4-BE49-F238E27FC236}">
                  <a16:creationId xmlns:a16="http://schemas.microsoft.com/office/drawing/2014/main" id="{5283CEA5-9CDF-F82F-44C3-1AB37B89E3C6}"/>
                </a:ext>
              </a:extLst>
            </p:cNvPr>
            <p:cNvSpPr/>
            <p:nvPr userDrawn="1"/>
          </p:nvSpPr>
          <p:spPr>
            <a:xfrm>
              <a:off x="2964104" y="-659913"/>
              <a:ext cx="529389" cy="52938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 name="TextBox 16">
              <a:extLst>
                <a:ext uri="{FF2B5EF4-FFF2-40B4-BE49-F238E27FC236}">
                  <a16:creationId xmlns:a16="http://schemas.microsoft.com/office/drawing/2014/main" id="{C573BDC5-4CE8-5957-DDA2-293D8DE54FBB}"/>
                </a:ext>
              </a:extLst>
            </p:cNvPr>
            <p:cNvSpPr txBox="1"/>
            <p:nvPr userDrawn="1"/>
          </p:nvSpPr>
          <p:spPr>
            <a:xfrm>
              <a:off x="1917356" y="-579885"/>
              <a:ext cx="1046748" cy="300210"/>
            </a:xfrm>
            <a:prstGeom prst="rect">
              <a:avLst/>
            </a:prstGeom>
            <a:noFill/>
          </p:spPr>
          <p:txBody>
            <a:bodyPr wrap="square" rtlCol="0">
              <a:spAutoFit/>
            </a:bodyPr>
            <a:lstStyle/>
            <a:p>
              <a:pPr algn="r"/>
              <a:r>
                <a:rPr lang="en-US" sz="1351"/>
                <a:t>#BCBEC0</a:t>
              </a:r>
            </a:p>
          </p:txBody>
        </p:sp>
      </p:grpSp>
      <p:pic>
        <p:nvPicPr>
          <p:cNvPr id="11" name="Picture 10">
            <a:extLst>
              <a:ext uri="{FF2B5EF4-FFF2-40B4-BE49-F238E27FC236}">
                <a16:creationId xmlns:a16="http://schemas.microsoft.com/office/drawing/2014/main" id="{09095FF6-B3AA-4F6D-5FEC-931313F447A5}"/>
              </a:ext>
            </a:extLst>
          </p:cNvPr>
          <p:cNvPicPr>
            <a:picLocks noChangeAspect="1"/>
          </p:cNvPicPr>
          <p:nvPr userDrawn="1"/>
        </p:nvPicPr>
        <p:blipFill>
          <a:blip r:embed="rId5"/>
          <a:stretch>
            <a:fillRect/>
          </a:stretch>
        </p:blipFill>
        <p:spPr>
          <a:xfrm>
            <a:off x="9997440" y="6342444"/>
            <a:ext cx="2194560" cy="370637"/>
          </a:xfrm>
          <a:prstGeom prst="rect">
            <a:avLst/>
          </a:prstGeom>
        </p:spPr>
      </p:pic>
      <p:pic>
        <p:nvPicPr>
          <p:cNvPr id="12" name="Picture 11">
            <a:extLst>
              <a:ext uri="{FF2B5EF4-FFF2-40B4-BE49-F238E27FC236}">
                <a16:creationId xmlns:a16="http://schemas.microsoft.com/office/drawing/2014/main" id="{359F681B-5ACB-2BB7-1228-ED48B47B1B8C}"/>
              </a:ext>
            </a:extLst>
          </p:cNvPr>
          <p:cNvPicPr>
            <a:picLocks noChangeAspect="1"/>
          </p:cNvPicPr>
          <p:nvPr userDrawn="1"/>
        </p:nvPicPr>
        <p:blipFill>
          <a:blip r:embed="rId6"/>
          <a:stretch>
            <a:fillRect/>
          </a:stretch>
        </p:blipFill>
        <p:spPr>
          <a:xfrm>
            <a:off x="0" y="6352454"/>
            <a:ext cx="7772400" cy="372919"/>
          </a:xfrm>
          <a:prstGeom prst="rect">
            <a:avLst/>
          </a:prstGeom>
        </p:spPr>
      </p:pic>
      <p:sp>
        <p:nvSpPr>
          <p:cNvPr id="21" name="TextBox 20">
            <a:extLst>
              <a:ext uri="{FF2B5EF4-FFF2-40B4-BE49-F238E27FC236}">
                <a16:creationId xmlns:a16="http://schemas.microsoft.com/office/drawing/2014/main" id="{9BC43682-5EB1-44CF-C89D-DD3A1A0E57E4}"/>
              </a:ext>
            </a:extLst>
          </p:cNvPr>
          <p:cNvSpPr txBox="1"/>
          <p:nvPr userDrawn="1"/>
        </p:nvSpPr>
        <p:spPr>
          <a:xfrm>
            <a:off x="7782560" y="6348326"/>
            <a:ext cx="2194560" cy="338554"/>
          </a:xfrm>
          <a:prstGeom prst="rect">
            <a:avLst/>
          </a:prstGeom>
          <a:noFill/>
        </p:spPr>
        <p:txBody>
          <a:bodyPr wrap="square" rtlCol="0">
            <a:spAutoFit/>
          </a:bodyPr>
          <a:lstStyle/>
          <a:p>
            <a:pPr algn="ctr"/>
            <a:r>
              <a:rPr lang="en-US" sz="1600" b="1" i="0">
                <a:solidFill>
                  <a:srgbClr val="11416C"/>
                </a:solidFill>
                <a:latin typeface="Roboto" pitchFamily="2" charset="0"/>
                <a:ea typeface="Roboto" pitchFamily="2" charset="0"/>
              </a:rPr>
              <a:t>wclc.iaslc.org</a:t>
            </a:r>
          </a:p>
        </p:txBody>
      </p:sp>
      <p:pic>
        <p:nvPicPr>
          <p:cNvPr id="22" name="Picture 21">
            <a:extLst>
              <a:ext uri="{FF2B5EF4-FFF2-40B4-BE49-F238E27FC236}">
                <a16:creationId xmlns:a16="http://schemas.microsoft.com/office/drawing/2014/main" id="{E83D0C9A-88E7-805F-7E61-53EF3F20C8D6}"/>
              </a:ext>
            </a:extLst>
          </p:cNvPr>
          <p:cNvPicPr>
            <a:picLocks noChangeAspect="1"/>
          </p:cNvPicPr>
          <p:nvPr userDrawn="1"/>
        </p:nvPicPr>
        <p:blipFill>
          <a:blip r:embed="rId7"/>
          <a:stretch>
            <a:fillRect/>
          </a:stretch>
        </p:blipFill>
        <p:spPr>
          <a:xfrm>
            <a:off x="0" y="1"/>
            <a:ext cx="12192000" cy="571500"/>
          </a:xfrm>
          <a:prstGeom prst="rect">
            <a:avLst/>
          </a:prstGeom>
        </p:spPr>
      </p:pic>
    </p:spTree>
    <p:extLst>
      <p:ext uri="{BB962C8B-B14F-4D97-AF65-F5344CB8AC3E}">
        <p14:creationId xmlns:p14="http://schemas.microsoft.com/office/powerpoint/2010/main" val="3411247742"/>
      </p:ext>
    </p:extLst>
  </p:cSld>
  <p:clrMap bg1="lt1" tx1="dk1" bg2="lt2" tx2="dk2" accent1="accent1" accent2="accent2" accent3="accent3" accent4="accent4" accent5="accent5" accent6="accent6" hlink="hlink" folHlink="folHlink"/>
  <p:sldLayoutIdLst>
    <p:sldLayoutId id="2147485449" r:id="rId1"/>
    <p:sldLayoutId id="2147485450" r:id="rId2"/>
    <p:sldLayoutId id="2147485451" r:id="rId3"/>
  </p:sldLayoutIdLst>
  <p:hf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p15:clr>
            <a:srgbClr val="F26B43"/>
          </p15:clr>
        </p15:guide>
        <p15:guide id="2" pos="512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8"/>
            <a:ext cx="10515600" cy="119004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709714"/>
            <a:ext cx="10515600" cy="41501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rotWithShape="1">
          <a:blip r:embed="rId19" cstate="print">
            <a:extLst>
              <a:ext uri="{28A0092B-C50C-407E-A947-70E740481C1C}">
                <a14:useLocalDpi xmlns:a14="http://schemas.microsoft.com/office/drawing/2010/main"/>
              </a:ext>
            </a:extLst>
          </a:blip>
          <a:srcRect b="-8594"/>
          <a:stretch/>
        </p:blipFill>
        <p:spPr>
          <a:xfrm>
            <a:off x="177224" y="6309819"/>
            <a:ext cx="2319827" cy="479237"/>
          </a:xfrm>
          <a:prstGeom prst="rect">
            <a:avLst/>
          </a:prstGeom>
        </p:spPr>
      </p:pic>
      <p:sp>
        <p:nvSpPr>
          <p:cNvPr id="8" name="Rectangle 7"/>
          <p:cNvSpPr/>
          <p:nvPr userDrawn="1"/>
        </p:nvSpPr>
        <p:spPr>
          <a:xfrm>
            <a:off x="0" y="0"/>
            <a:ext cx="12192000" cy="270456"/>
          </a:xfrm>
          <a:prstGeom prst="rect">
            <a:avLst/>
          </a:prstGeom>
          <a:solidFill>
            <a:srgbClr val="0DA2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0291CE8-374B-445D-AC8E-1B840D5646DF}"/>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b="-6462"/>
          <a:stretch/>
        </p:blipFill>
        <p:spPr>
          <a:xfrm>
            <a:off x="2600722" y="6309819"/>
            <a:ext cx="1165557" cy="479237"/>
          </a:xfrm>
          <a:prstGeom prst="rect">
            <a:avLst/>
          </a:prstGeom>
        </p:spPr>
      </p:pic>
      <p:pic>
        <p:nvPicPr>
          <p:cNvPr id="3074" name="Picture 2" descr="https://medicine.yale.edu/ipc/what/identity/YSM_Shield_CMYK_49074_284_6437_v4.jpg">
            <a:extLst>
              <a:ext uri="{FF2B5EF4-FFF2-40B4-BE49-F238E27FC236}">
                <a16:creationId xmlns:a16="http://schemas.microsoft.com/office/drawing/2014/main" id="{7FC6D5A3-356C-4416-B4F7-EEBC3502F8CF}"/>
              </a:ext>
            </a:extLst>
          </p:cNvPr>
          <p:cNvPicPr>
            <a:picLocks noChangeAspect="1" noChangeArrowheads="1"/>
          </p:cNvPicPr>
          <p:nvPr userDrawn="1"/>
        </p:nvPicPr>
        <p:blipFill>
          <a:blip r:embed="rId21" cstate="print">
            <a:extLst>
              <a:ext uri="{28A0092B-C50C-407E-A947-70E740481C1C}">
                <a14:useLocalDpi xmlns:a14="http://schemas.microsoft.com/office/drawing/2010/main"/>
              </a:ext>
            </a:extLst>
          </a:blip>
          <a:srcRect/>
          <a:stretch>
            <a:fillRect/>
          </a:stretch>
        </p:blipFill>
        <p:spPr bwMode="auto">
          <a:xfrm>
            <a:off x="4125106" y="6319090"/>
            <a:ext cx="349286" cy="43706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medicine.yale.edu/ipc/what/identity/YSM_YaleBlue_CMYK_49073_284_6437_v4.jpg">
            <a:extLst>
              <a:ext uri="{FF2B5EF4-FFF2-40B4-BE49-F238E27FC236}">
                <a16:creationId xmlns:a16="http://schemas.microsoft.com/office/drawing/2014/main" id="{463210F3-1EF6-44D7-AD8F-FF1358989B1E}"/>
              </a:ext>
            </a:extLst>
          </p:cNvPr>
          <p:cNvPicPr>
            <a:picLocks noChangeAspect="1" noChangeArrowheads="1"/>
          </p:cNvPicPr>
          <p:nvPr userDrawn="1"/>
        </p:nvPicPr>
        <p:blipFill>
          <a:blip r:embed="rId22" cstate="print">
            <a:extLst>
              <a:ext uri="{28A0092B-C50C-407E-A947-70E740481C1C}">
                <a14:useLocalDpi xmlns:a14="http://schemas.microsoft.com/office/drawing/2010/main"/>
              </a:ext>
            </a:extLst>
          </a:blip>
          <a:srcRect/>
          <a:stretch>
            <a:fillRect/>
          </a:stretch>
        </p:blipFill>
        <p:spPr bwMode="auto">
          <a:xfrm>
            <a:off x="4578063" y="6455933"/>
            <a:ext cx="2541973" cy="187007"/>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53C01FC6-5645-4CB2-97EC-E1AD1CA9C2DD}"/>
              </a:ext>
            </a:extLst>
          </p:cNvPr>
          <p:cNvCxnSpPr>
            <a:cxnSpLocks/>
          </p:cNvCxnSpPr>
          <p:nvPr userDrawn="1"/>
        </p:nvCxnSpPr>
        <p:spPr>
          <a:xfrm>
            <a:off x="2545176" y="6260125"/>
            <a:ext cx="0" cy="519306"/>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686712-A8C0-42AD-9079-893F51DEA7E9}"/>
              </a:ext>
            </a:extLst>
          </p:cNvPr>
          <p:cNvCxnSpPr>
            <a:cxnSpLocks/>
          </p:cNvCxnSpPr>
          <p:nvPr userDrawn="1"/>
        </p:nvCxnSpPr>
        <p:spPr>
          <a:xfrm>
            <a:off x="3919988" y="6260125"/>
            <a:ext cx="0" cy="519306"/>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3636472"/>
      </p:ext>
    </p:extLst>
  </p:cSld>
  <p:clrMap bg1="lt1" tx1="dk1" bg2="lt2" tx2="dk2" accent1="accent1" accent2="accent2" accent3="accent3" accent4="accent4" accent5="accent5" accent6="accent6" hlink="hlink" folHlink="folHlink"/>
  <p:sldLayoutIdLst>
    <p:sldLayoutId id="2147485453" r:id="rId1"/>
    <p:sldLayoutId id="2147485454" r:id="rId2"/>
    <p:sldLayoutId id="2147485455" r:id="rId3"/>
    <p:sldLayoutId id="2147485456" r:id="rId4"/>
    <p:sldLayoutId id="2147485457" r:id="rId5"/>
    <p:sldLayoutId id="2147485458" r:id="rId6"/>
    <p:sldLayoutId id="2147485459" r:id="rId7"/>
    <p:sldLayoutId id="2147485460" r:id="rId8"/>
    <p:sldLayoutId id="2147485461" r:id="rId9"/>
    <p:sldLayoutId id="2147485462" r:id="rId10"/>
    <p:sldLayoutId id="2147485463" r:id="rId11"/>
    <p:sldLayoutId id="2147485464" r:id="rId12"/>
    <p:sldLayoutId id="2147485465" r:id="rId13"/>
    <p:sldLayoutId id="2147485466" r:id="rId14"/>
    <p:sldLayoutId id="2147485467" r:id="rId15"/>
    <p:sldLayoutId id="2147485468" r:id="rId16"/>
    <p:sldLayoutId id="2147485469" r:id="rId17"/>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8C9827-994B-4BC8-874D-25821E0716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4FE77D7-3C03-41CB-9BAA-FAA700DF1F2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777534-A563-4990-8783-FF54804E7E2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F08D17-C036-4507-A2BB-75CF5F39A119}" type="datetimeFigureOut">
              <a:rPr lang="en-US" smtClean="0"/>
              <a:t>5/29/26</a:t>
            </a:fld>
            <a:endParaRPr lang="en-US"/>
          </a:p>
        </p:txBody>
      </p:sp>
      <p:sp>
        <p:nvSpPr>
          <p:cNvPr id="5" name="Footer Placeholder 4">
            <a:extLst>
              <a:ext uri="{FF2B5EF4-FFF2-40B4-BE49-F238E27FC236}">
                <a16:creationId xmlns:a16="http://schemas.microsoft.com/office/drawing/2014/main" id="{4867AD1B-D292-44C6-B3AF-F5ADCF89A5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A5F87FD-FB67-4E2E-A058-EE3ACA15F6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75C98E-3449-4AD4-B03E-3E2AA4F93ADF}" type="slidenum">
              <a:rPr lang="en-US" smtClean="0"/>
              <a:t>‹#›</a:t>
            </a:fld>
            <a:endParaRPr lang="en-US"/>
          </a:p>
        </p:txBody>
      </p:sp>
    </p:spTree>
    <p:extLst>
      <p:ext uri="{BB962C8B-B14F-4D97-AF65-F5344CB8AC3E}">
        <p14:creationId xmlns:p14="http://schemas.microsoft.com/office/powerpoint/2010/main" val="2172785359"/>
      </p:ext>
    </p:extLst>
  </p:cSld>
  <p:clrMap bg1="lt1" tx1="dk1" bg2="lt2" tx2="dk2" accent1="accent1" accent2="accent2" accent3="accent3" accent4="accent4" accent5="accent5" accent6="accent6" hlink="hlink" folHlink="folHlink"/>
  <p:sldLayoutIdLst>
    <p:sldLayoutId id="2147485471" r:id="rId1"/>
    <p:sldLayoutId id="2147485472" r:id="rId2"/>
    <p:sldLayoutId id="2147485473" r:id="rId3"/>
    <p:sldLayoutId id="2147485474" r:id="rId4"/>
    <p:sldLayoutId id="2147485475" r:id="rId5"/>
    <p:sldLayoutId id="2147485476" r:id="rId6"/>
    <p:sldLayoutId id="2147485477" r:id="rId7"/>
    <p:sldLayoutId id="2147485478" r:id="rId8"/>
    <p:sldLayoutId id="2147485479" r:id="rId9"/>
    <p:sldLayoutId id="2147485480" r:id="rId10"/>
    <p:sldLayoutId id="2147485481" r:id="rId11"/>
    <p:sldLayoutId id="2147485482" r:id="rId1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A64F4D76-DC3C-1819-8F8D-042123DAF8A3}"/>
              </a:ext>
            </a:extLst>
          </p:cNvPr>
          <p:cNvSpPr>
            <a:spLocks noGrp="1" noChangeArrowheads="1"/>
          </p:cNvSpPr>
          <p:nvPr>
            <p:ph type="title"/>
          </p:nvPr>
        </p:nvSpPr>
        <p:spPr bwMode="auto">
          <a:xfrm>
            <a:off x="838200" y="365126"/>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CED3463C-1EDF-DD4D-1AE6-6CC84EE24C09}"/>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B1F079C3-0118-303C-D6DA-4CEC215DFBFD}"/>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fld id="{D308C0FD-2253-4D6A-BFF0-5AD7FA6C3EC9}" type="datetimeFigureOut">
              <a:rPr lang="en-US"/>
              <a:pPr>
                <a:defRPr/>
              </a:pPr>
              <a:t>5/29/26</a:t>
            </a:fld>
            <a:endParaRPr lang="en-US"/>
          </a:p>
        </p:txBody>
      </p:sp>
      <p:sp>
        <p:nvSpPr>
          <p:cNvPr id="5" name="Footer Placeholder 4">
            <a:extLst>
              <a:ext uri="{FF2B5EF4-FFF2-40B4-BE49-F238E27FC236}">
                <a16:creationId xmlns:a16="http://schemas.microsoft.com/office/drawing/2014/main" id="{1DD2202A-3A41-2040-AADA-989DAF73357E}"/>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endParaRPr lang="en-US"/>
          </a:p>
        </p:txBody>
      </p:sp>
      <p:sp>
        <p:nvSpPr>
          <p:cNvPr id="6" name="Slide Number Placeholder 5">
            <a:extLst>
              <a:ext uri="{FF2B5EF4-FFF2-40B4-BE49-F238E27FC236}">
                <a16:creationId xmlns:a16="http://schemas.microsoft.com/office/drawing/2014/main" id="{C6AB6F58-465B-4208-59C5-F9A48E89A072}"/>
              </a:ext>
            </a:extLst>
          </p:cNvPr>
          <p:cNvSpPr>
            <a:spLocks noGrp="1"/>
          </p:cNvSpPr>
          <p:nvPr>
            <p:ph type="sldNum" sz="quarter" idx="4"/>
          </p:nvPr>
        </p:nvSpPr>
        <p:spPr>
          <a:xfrm>
            <a:off x="8610600" y="6356351"/>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900" smtClean="0">
                <a:solidFill>
                  <a:srgbClr val="898989"/>
                </a:solidFill>
              </a:defRPr>
            </a:lvl1pPr>
          </a:lstStyle>
          <a:p>
            <a:pPr>
              <a:defRPr/>
            </a:pPr>
            <a:fld id="{1C110A0B-CFBF-4E7E-BB02-84677A4AFA93}" type="slidenum">
              <a:rPr lang="en-US" altLang="en-US"/>
              <a:pPr>
                <a:defRPr/>
              </a:pPr>
              <a:t>‹#›</a:t>
            </a:fld>
            <a:endParaRPr lang="en-US" altLang="en-US"/>
          </a:p>
        </p:txBody>
      </p:sp>
    </p:spTree>
    <p:extLst>
      <p:ext uri="{BB962C8B-B14F-4D97-AF65-F5344CB8AC3E}">
        <p14:creationId xmlns:p14="http://schemas.microsoft.com/office/powerpoint/2010/main" val="3680127823"/>
      </p:ext>
    </p:extLst>
  </p:cSld>
  <p:clrMap bg1="lt1" tx1="dk1" bg2="lt2" tx2="dk2" accent1="accent1" accent2="accent2" accent3="accent3" accent4="accent4" accent5="accent5" accent6="accent6" hlink="hlink" folHlink="folHlink"/>
  <p:sldLayoutIdLst>
    <p:sldLayoutId id="2147485484" r:id="rId1"/>
    <p:sldLayoutId id="2147485485" r:id="rId2"/>
    <p:sldLayoutId id="2147485486" r:id="rId3"/>
    <p:sldLayoutId id="2147485487" r:id="rId4"/>
    <p:sldLayoutId id="2147485488" r:id="rId5"/>
    <p:sldLayoutId id="2147485489" r:id="rId6"/>
    <p:sldLayoutId id="2147485490" r:id="rId7"/>
    <p:sldLayoutId id="2147485491" r:id="rId8"/>
    <p:sldLayoutId id="2147485492" r:id="rId9"/>
    <p:sldLayoutId id="2147485493" r:id="rId10"/>
    <p:sldLayoutId id="2147485494"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2"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2"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94405333"/>
      </p:ext>
    </p:extLst>
  </p:cSld>
  <p:clrMap bg1="lt1" tx1="dk1" bg2="lt2" tx2="dk2" accent1="accent1" accent2="accent2" accent3="accent3" accent4="accent4" accent5="accent5" accent6="accent6" hlink="hlink" folHlink="folHlink"/>
  <p:sldLayoutIdLst>
    <p:sldLayoutId id="2147485496" r:id="rId1"/>
    <p:sldLayoutId id="2147485497" r:id="rId2"/>
    <p:sldLayoutId id="2147485498" r:id="rId3"/>
    <p:sldLayoutId id="2147485499" r:id="rId4"/>
    <p:sldLayoutId id="2147485500" r:id="rId5"/>
    <p:sldLayoutId id="2147485501" r:id="rId6"/>
    <p:sldLayoutId id="2147485502" r:id="rId7"/>
    <p:sldLayoutId id="2147485503" r:id="rId8"/>
    <p:sldLayoutId id="2147485504" r:id="rId9"/>
    <p:sldLayoutId id="2147485505" r:id="rId10"/>
    <p:sldLayoutId id="2147485506"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p:titleStyle>
    <p:body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p:bodyStyle>
    <p:otherStyle>
      <a:defPPr>
        <a:defRPr lang="en-US"/>
      </a:defPPr>
      <a:lvl1pPr marL="0" algn="l" defTabSz="857277" rtl="0" eaLnBrk="1" latinLnBrk="0" hangingPunct="1">
        <a:defRPr sz="1688" kern="1200">
          <a:solidFill>
            <a:schemeClr val="tx1"/>
          </a:solidFill>
          <a:latin typeface="+mn-lt"/>
          <a:ea typeface="+mn-ea"/>
          <a:cs typeface="+mn-cs"/>
        </a:defRPr>
      </a:lvl1pPr>
      <a:lvl2pPr marL="428638" algn="l" defTabSz="857277" rtl="0" eaLnBrk="1" latinLnBrk="0" hangingPunct="1">
        <a:defRPr sz="1688" kern="1200">
          <a:solidFill>
            <a:schemeClr val="tx1"/>
          </a:solidFill>
          <a:latin typeface="+mn-lt"/>
          <a:ea typeface="+mn-ea"/>
          <a:cs typeface="+mn-cs"/>
        </a:defRPr>
      </a:lvl2pPr>
      <a:lvl3pPr marL="857277" algn="l" defTabSz="857277" rtl="0" eaLnBrk="1" latinLnBrk="0" hangingPunct="1">
        <a:defRPr sz="1688" kern="1200">
          <a:solidFill>
            <a:schemeClr val="tx1"/>
          </a:solidFill>
          <a:latin typeface="+mn-lt"/>
          <a:ea typeface="+mn-ea"/>
          <a:cs typeface="+mn-cs"/>
        </a:defRPr>
      </a:lvl3pPr>
      <a:lvl4pPr marL="1285915" algn="l" defTabSz="857277" rtl="0" eaLnBrk="1" latinLnBrk="0" hangingPunct="1">
        <a:defRPr sz="1688" kern="1200">
          <a:solidFill>
            <a:schemeClr val="tx1"/>
          </a:solidFill>
          <a:latin typeface="+mn-lt"/>
          <a:ea typeface="+mn-ea"/>
          <a:cs typeface="+mn-cs"/>
        </a:defRPr>
      </a:lvl4pPr>
      <a:lvl5pPr marL="1714553" algn="l" defTabSz="857277" rtl="0" eaLnBrk="1" latinLnBrk="0" hangingPunct="1">
        <a:defRPr sz="1688" kern="1200">
          <a:solidFill>
            <a:schemeClr val="tx1"/>
          </a:solidFill>
          <a:latin typeface="+mn-lt"/>
          <a:ea typeface="+mn-ea"/>
          <a:cs typeface="+mn-cs"/>
        </a:defRPr>
      </a:lvl5pPr>
      <a:lvl6pPr marL="2143192" algn="l" defTabSz="857277" rtl="0" eaLnBrk="1" latinLnBrk="0" hangingPunct="1">
        <a:defRPr sz="1688" kern="1200">
          <a:solidFill>
            <a:schemeClr val="tx1"/>
          </a:solidFill>
          <a:latin typeface="+mn-lt"/>
          <a:ea typeface="+mn-ea"/>
          <a:cs typeface="+mn-cs"/>
        </a:defRPr>
      </a:lvl6pPr>
      <a:lvl7pPr marL="2571830" algn="l" defTabSz="857277" rtl="0" eaLnBrk="1" latinLnBrk="0" hangingPunct="1">
        <a:defRPr sz="1688" kern="1200">
          <a:solidFill>
            <a:schemeClr val="tx1"/>
          </a:solidFill>
          <a:latin typeface="+mn-lt"/>
          <a:ea typeface="+mn-ea"/>
          <a:cs typeface="+mn-cs"/>
        </a:defRPr>
      </a:lvl7pPr>
      <a:lvl8pPr marL="3000469" algn="l" defTabSz="857277" rtl="0" eaLnBrk="1" latinLnBrk="0" hangingPunct="1">
        <a:defRPr sz="1688" kern="1200">
          <a:solidFill>
            <a:schemeClr val="tx1"/>
          </a:solidFill>
          <a:latin typeface="+mn-lt"/>
          <a:ea typeface="+mn-ea"/>
          <a:cs typeface="+mn-cs"/>
        </a:defRPr>
      </a:lvl8pPr>
      <a:lvl9pPr marL="3429107" algn="l" defTabSz="857277" rtl="0" eaLnBrk="1" latinLnBrk="0" hangingPunct="1">
        <a:defRPr sz="1688"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694929-5672-4EC4-8542-EA986C4DF3F4}" type="datetimeFigureOut">
              <a:rPr lang="en-US" smtClean="0"/>
              <a:pPr/>
              <a:t>5/29/26</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E97A65-901B-464A-AAB9-A87F0BE6403A}" type="slidenum">
              <a:rPr lang="en-US" smtClean="0"/>
              <a:pPr/>
              <a:t>‹#›</a:t>
            </a:fld>
            <a:endParaRPr lang="en-US"/>
          </a:p>
        </p:txBody>
      </p:sp>
    </p:spTree>
    <p:extLst>
      <p:ext uri="{BB962C8B-B14F-4D97-AF65-F5344CB8AC3E}">
        <p14:creationId xmlns:p14="http://schemas.microsoft.com/office/powerpoint/2010/main" val="3180578102"/>
      </p:ext>
    </p:extLst>
  </p:cSld>
  <p:clrMap bg1="lt1" tx1="dk1" bg2="lt2" tx2="dk2" accent1="accent1" accent2="accent2" accent3="accent3" accent4="accent4" accent5="accent5" accent6="accent6" hlink="hlink" folHlink="folHlink"/>
  <p:sldLayoutIdLst>
    <p:sldLayoutId id="2147485508" r:id="rId1"/>
    <p:sldLayoutId id="2147485509" r:id="rId2"/>
    <p:sldLayoutId id="2147485510" r:id="rId3"/>
    <p:sldLayoutId id="2147485511" r:id="rId4"/>
    <p:sldLayoutId id="2147485512" r:id="rId5"/>
    <p:sldLayoutId id="2147485513" r:id="rId6"/>
    <p:sldLayoutId id="2147485514" r:id="rId7"/>
    <p:sldLayoutId id="2147485515" r:id="rId8"/>
    <p:sldLayoutId id="2147485516" r:id="rId9"/>
    <p:sldLayoutId id="2147485517" r:id="rId10"/>
    <p:sldLayoutId id="2147485518"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854219884"/>
      </p:ext>
    </p:extLst>
  </p:cSld>
  <p:clrMap bg1="lt1" tx1="dk1" bg2="lt2" tx2="dk2" accent1="accent1" accent2="accent2" accent3="accent3" accent4="accent4" accent5="accent5" accent6="accent6" hlink="hlink" folHlink="folHlink"/>
  <p:sldLayoutIdLst>
    <p:sldLayoutId id="2147485033" r:id="rId1"/>
    <p:sldLayoutId id="2147485034" r:id="rId2"/>
    <p:sldLayoutId id="2147485035" r:id="rId3"/>
    <p:sldLayoutId id="2147485036" r:id="rId4"/>
    <p:sldLayoutId id="2147485037" r:id="rId5"/>
    <p:sldLayoutId id="2147485038" r:id="rId6"/>
    <p:sldLayoutId id="2147485039" r:id="rId7"/>
    <p:sldLayoutId id="2147485040" r:id="rId8"/>
    <p:sldLayoutId id="2147485041" r:id="rId9"/>
    <p:sldLayoutId id="2147485042" r:id="rId10"/>
    <p:sldLayoutId id="2147485043" r:id="rId11"/>
    <p:sldLayoutId id="2147485044" r:id="rId12"/>
    <p:sldLayoutId id="2147485045" r:id="rId13"/>
    <p:sldLayoutId id="2147485046" r:id="rId14"/>
    <p:sldLayoutId id="2147485047" r:id="rId15"/>
    <p:sldLayoutId id="2147485048" r:id="rId16"/>
    <p:sldLayoutId id="2147485049" r:id="rId17"/>
    <p:sldLayoutId id="2147485050" r:id="rId18"/>
    <p:sldLayoutId id="2147485051" r:id="rId19"/>
    <p:sldLayoutId id="2147485052" r:id="rId20"/>
    <p:sldLayoutId id="2147485053" r:id="rId21"/>
    <p:sldLayoutId id="2147485054" r:id="rId22"/>
    <p:sldLayoutId id="2147485055" r:id="rId23"/>
    <p:sldLayoutId id="2147485056" r:id="rId24"/>
    <p:sldLayoutId id="2147485057"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668898168"/>
      </p:ext>
    </p:extLst>
  </p:cSld>
  <p:clrMap bg1="lt1" tx1="dk1" bg2="lt2" tx2="dk2" accent1="accent1" accent2="accent2" accent3="accent3" accent4="accent4" accent5="accent5" accent6="accent6" hlink="hlink" folHlink="folHlink"/>
  <p:sldLayoutIdLst>
    <p:sldLayoutId id="2147485059" r:id="rId1"/>
    <p:sldLayoutId id="2147485060" r:id="rId2"/>
    <p:sldLayoutId id="2147485061" r:id="rId3"/>
    <p:sldLayoutId id="2147485062" r:id="rId4"/>
    <p:sldLayoutId id="2147485063" r:id="rId5"/>
    <p:sldLayoutId id="2147485064" r:id="rId6"/>
    <p:sldLayoutId id="2147485065" r:id="rId7"/>
    <p:sldLayoutId id="2147485066" r:id="rId8"/>
    <p:sldLayoutId id="2147485067" r:id="rId9"/>
    <p:sldLayoutId id="2147485068" r:id="rId10"/>
    <p:sldLayoutId id="2147485069" r:id="rId11"/>
    <p:sldLayoutId id="2147485070" r:id="rId12"/>
    <p:sldLayoutId id="2147485071" r:id="rId13"/>
    <p:sldLayoutId id="2147485072" r:id="rId14"/>
    <p:sldLayoutId id="2147485073" r:id="rId15"/>
    <p:sldLayoutId id="2147485074" r:id="rId16"/>
    <p:sldLayoutId id="2147485075" r:id="rId17"/>
    <p:sldLayoutId id="2147485076" r:id="rId18"/>
    <p:sldLayoutId id="2147485077" r:id="rId19"/>
    <p:sldLayoutId id="2147485078" r:id="rId20"/>
    <p:sldLayoutId id="2147485079" r:id="rId21"/>
    <p:sldLayoutId id="2147485080" r:id="rId22"/>
    <p:sldLayoutId id="2147485081" r:id="rId23"/>
    <p:sldLayoutId id="2147485082" r:id="rId24"/>
    <p:sldLayoutId id="2147485083"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7.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9.xml"/></Relationships>
</file>

<file path=ppt/slides/_rels/slide101.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0.xml"/><Relationship Id="rId1" Type="http://schemas.openxmlformats.org/officeDocument/2006/relationships/slideLayout" Target="../slideLayouts/slideLayout254.xml"/><Relationship Id="rId6" Type="http://schemas.microsoft.com/office/2007/relationships/hdphoto" Target="../media/hdphoto65.wdp"/><Relationship Id="rId5" Type="http://schemas.openxmlformats.org/officeDocument/2006/relationships/image" Target="../media/image175.png"/><Relationship Id="rId4" Type="http://schemas.microsoft.com/office/2007/relationships/hdphoto" Target="../media/hdphoto64.wdp"/></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52.xml"/><Relationship Id="rId1" Type="http://schemas.openxmlformats.org/officeDocument/2006/relationships/tags" Target="../tags/tag21.xml"/><Relationship Id="rId5" Type="http://schemas.microsoft.com/office/2007/relationships/hdphoto" Target="../media/hdphoto66.wdp"/><Relationship Id="rId4" Type="http://schemas.openxmlformats.org/officeDocument/2006/relationships/image" Target="../media/image176.png"/></Relationships>
</file>

<file path=ppt/slides/_rels/slide103.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22.xml"/><Relationship Id="rId1" Type="http://schemas.openxmlformats.org/officeDocument/2006/relationships/slideLayout" Target="../slideLayouts/slideLayout253.xml"/><Relationship Id="rId4" Type="http://schemas.microsoft.com/office/2007/relationships/hdphoto" Target="../media/hdphoto67.wdp"/></Relationships>
</file>

<file path=ppt/slides/_rels/slide104.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23.xml"/><Relationship Id="rId1" Type="http://schemas.openxmlformats.org/officeDocument/2006/relationships/slideLayout" Target="../slideLayouts/slideLayout253.xml"/><Relationship Id="rId4" Type="http://schemas.microsoft.com/office/2007/relationships/hdphoto" Target="../media/hdphoto68.wdp"/></Relationships>
</file>

<file path=ppt/slides/_rels/slide105.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4.xml"/><Relationship Id="rId1" Type="http://schemas.openxmlformats.org/officeDocument/2006/relationships/slideLayout" Target="../slideLayouts/slideLayout259.xml"/><Relationship Id="rId4" Type="http://schemas.microsoft.com/office/2007/relationships/hdphoto" Target="../media/hdphoto69.wdp"/></Relationships>
</file>

<file path=ppt/slides/_rels/slide106.xml.rels><?xml version="1.0" encoding="UTF-8" standalone="yes"?>
<Relationships xmlns="http://schemas.openxmlformats.org/package/2006/relationships"><Relationship Id="rId3" Type="http://schemas.openxmlformats.org/officeDocument/2006/relationships/image" Target="../media/image180.jpeg"/><Relationship Id="rId2" Type="http://schemas.openxmlformats.org/officeDocument/2006/relationships/notesSlide" Target="../notesSlides/notesSlide25.xml"/><Relationship Id="rId1" Type="http://schemas.openxmlformats.org/officeDocument/2006/relationships/slideLayout" Target="../slideLayouts/slideLayout254.xml"/><Relationship Id="rId4" Type="http://schemas.openxmlformats.org/officeDocument/2006/relationships/image" Target="../media/image181.jpg"/></Relationships>
</file>

<file path=ppt/slides/_rels/slide10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26.xml"/><Relationship Id="rId1" Type="http://schemas.openxmlformats.org/officeDocument/2006/relationships/slideLayout" Target="../slideLayouts/slideLayout254.xml"/><Relationship Id="rId5" Type="http://schemas.openxmlformats.org/officeDocument/2006/relationships/image" Target="../media/image183.png"/><Relationship Id="rId4" Type="http://schemas.microsoft.com/office/2007/relationships/hdphoto" Target="../media/hdphoto70.wdp"/></Relationships>
</file>

<file path=ppt/slides/_rels/slide108.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27.xml"/><Relationship Id="rId1" Type="http://schemas.openxmlformats.org/officeDocument/2006/relationships/slideLayout" Target="../slideLayouts/slideLayout260.xml"/></Relationships>
</file>

<file path=ppt/slides/_rels/slide109.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8.xml"/><Relationship Id="rId1" Type="http://schemas.openxmlformats.org/officeDocument/2006/relationships/slideLayout" Target="../slideLayouts/slideLayout262.xml"/><Relationship Id="rId4" Type="http://schemas.openxmlformats.org/officeDocument/2006/relationships/image" Target="../media/image184.png"/></Relationships>
</file>

<file path=ppt/slides/_rels/slide1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63.png"/><Relationship Id="rId4" Type="http://schemas.openxmlformats.org/officeDocument/2006/relationships/image" Target="../media/image62.png"/></Relationships>
</file>

<file path=ppt/slides/_rels/slide11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29.xml"/><Relationship Id="rId1" Type="http://schemas.openxmlformats.org/officeDocument/2006/relationships/slideLayout" Target="../slideLayouts/slideLayout262.xml"/><Relationship Id="rId4" Type="http://schemas.openxmlformats.org/officeDocument/2006/relationships/image" Target="../media/image184.png"/></Relationships>
</file>

<file path=ppt/slides/_rels/slide111.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30.xml"/><Relationship Id="rId1" Type="http://schemas.openxmlformats.org/officeDocument/2006/relationships/slideLayout" Target="../slideLayouts/slideLayout262.xml"/></Relationships>
</file>

<file path=ppt/slides/_rels/slide112.xml.rels><?xml version="1.0" encoding="UTF-8" standalone="yes"?>
<Relationships xmlns="http://schemas.openxmlformats.org/package/2006/relationships"><Relationship Id="rId3" Type="http://schemas.openxmlformats.org/officeDocument/2006/relationships/image" Target="../media/image185.png"/><Relationship Id="rId7" Type="http://schemas.openxmlformats.org/officeDocument/2006/relationships/image" Target="../media/image184.png"/><Relationship Id="rId2" Type="http://schemas.openxmlformats.org/officeDocument/2006/relationships/notesSlide" Target="../notesSlides/notesSlide31.xml"/><Relationship Id="rId1" Type="http://schemas.openxmlformats.org/officeDocument/2006/relationships/slideLayout" Target="../slideLayouts/slideLayout260.xml"/><Relationship Id="rId6" Type="http://schemas.openxmlformats.org/officeDocument/2006/relationships/image" Target="../media/image188.png"/><Relationship Id="rId5" Type="http://schemas.openxmlformats.org/officeDocument/2006/relationships/image" Target="../media/image187.png"/><Relationship Id="rId4" Type="http://schemas.openxmlformats.org/officeDocument/2006/relationships/image" Target="../media/image186.png"/></Relationships>
</file>

<file path=ppt/slides/_rels/slide113.xml.rels><?xml version="1.0" encoding="UTF-8" standalone="yes"?>
<Relationships xmlns="http://schemas.openxmlformats.org/package/2006/relationships"><Relationship Id="rId3" Type="http://schemas.openxmlformats.org/officeDocument/2006/relationships/image" Target="../media/image185.png"/><Relationship Id="rId7" Type="http://schemas.openxmlformats.org/officeDocument/2006/relationships/image" Target="../media/image184.png"/><Relationship Id="rId2" Type="http://schemas.openxmlformats.org/officeDocument/2006/relationships/notesSlide" Target="../notesSlides/notesSlide32.xml"/><Relationship Id="rId1" Type="http://schemas.openxmlformats.org/officeDocument/2006/relationships/slideLayout" Target="../slideLayouts/slideLayout262.xml"/><Relationship Id="rId6" Type="http://schemas.openxmlformats.org/officeDocument/2006/relationships/image" Target="../media/image188.png"/><Relationship Id="rId5" Type="http://schemas.openxmlformats.org/officeDocument/2006/relationships/image" Target="../media/image187.png"/><Relationship Id="rId4" Type="http://schemas.openxmlformats.org/officeDocument/2006/relationships/image" Target="../media/image186.png"/></Relationships>
</file>

<file path=ppt/slides/_rels/slide114.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33.xml"/><Relationship Id="rId1" Type="http://schemas.openxmlformats.org/officeDocument/2006/relationships/slideLayout" Target="../slideLayouts/slideLayout252.xml"/><Relationship Id="rId4" Type="http://schemas.microsoft.com/office/2007/relationships/hdphoto" Target="../media/hdphoto71.wdp"/></Relationships>
</file>

<file path=ppt/slides/_rels/slide11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34.xml"/><Relationship Id="rId1" Type="http://schemas.openxmlformats.org/officeDocument/2006/relationships/slideLayout" Target="../slideLayouts/slideLayout257.xml"/><Relationship Id="rId4" Type="http://schemas.microsoft.com/office/2007/relationships/hdphoto" Target="../media/hdphoto72.wdp"/></Relationships>
</file>

<file path=ppt/slides/_rels/slide116.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notesSlide" Target="../notesSlides/notesSlide35.xml"/><Relationship Id="rId1" Type="http://schemas.openxmlformats.org/officeDocument/2006/relationships/slideLayout" Target="../slideLayouts/slideLayout257.xml"/><Relationship Id="rId4" Type="http://schemas.openxmlformats.org/officeDocument/2006/relationships/image" Target="../media/image192.jpeg"/></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45.xml"/></Relationships>
</file>

<file path=ppt/slides/_rels/slide11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g"/><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11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193.jpeg"/><Relationship Id="rId1" Type="http://schemas.openxmlformats.org/officeDocument/2006/relationships/slideLayout" Target="../slideLayouts/slideLayout27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123.xml.rels><?xml version="1.0" encoding="UTF-8" standalone="yes"?>
<Relationships xmlns="http://schemas.openxmlformats.org/package/2006/relationships"><Relationship Id="rId3" Type="http://schemas.microsoft.com/office/2007/relationships/hdphoto" Target="../media/hdphoto73.wdp"/><Relationship Id="rId7" Type="http://schemas.microsoft.com/office/2007/relationships/hdphoto" Target="../media/hdphoto75.wdp"/><Relationship Id="rId2" Type="http://schemas.openxmlformats.org/officeDocument/2006/relationships/image" Target="../media/image194.png"/><Relationship Id="rId1" Type="http://schemas.openxmlformats.org/officeDocument/2006/relationships/slideLayout" Target="../slideLayouts/slideLayout293.xml"/><Relationship Id="rId6" Type="http://schemas.openxmlformats.org/officeDocument/2006/relationships/image" Target="../media/image196.png"/><Relationship Id="rId5" Type="http://schemas.microsoft.com/office/2007/relationships/hdphoto" Target="../media/hdphoto74.wdp"/><Relationship Id="rId4" Type="http://schemas.openxmlformats.org/officeDocument/2006/relationships/image" Target="../media/image195.png"/></Relationships>
</file>

<file path=ppt/slides/_rels/slide124.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image" Target="../media/image197.png"/><Relationship Id="rId1" Type="http://schemas.openxmlformats.org/officeDocument/2006/relationships/slideLayout" Target="../slideLayouts/slideLayout304.xml"/><Relationship Id="rId4" Type="http://schemas.microsoft.com/office/2007/relationships/hdphoto" Target="../media/hdphoto76.wdp"/></Relationships>
</file>

<file path=ppt/slides/_rels/slide125.xml.rels><?xml version="1.0" encoding="UTF-8" standalone="yes"?>
<Relationships xmlns="http://schemas.openxmlformats.org/package/2006/relationships"><Relationship Id="rId3" Type="http://schemas.microsoft.com/office/2007/relationships/hdphoto" Target="../media/hdphoto77.wdp"/><Relationship Id="rId7" Type="http://schemas.microsoft.com/office/2007/relationships/hdphoto" Target="../media/hdphoto79.wdp"/><Relationship Id="rId2" Type="http://schemas.openxmlformats.org/officeDocument/2006/relationships/image" Target="../media/image199.png"/><Relationship Id="rId1" Type="http://schemas.openxmlformats.org/officeDocument/2006/relationships/slideLayout" Target="../slideLayouts/slideLayout304.xml"/><Relationship Id="rId6" Type="http://schemas.openxmlformats.org/officeDocument/2006/relationships/image" Target="../media/image201.png"/><Relationship Id="rId5" Type="http://schemas.microsoft.com/office/2007/relationships/hdphoto" Target="../media/hdphoto78.wdp"/><Relationship Id="rId4" Type="http://schemas.openxmlformats.org/officeDocument/2006/relationships/image" Target="../media/image200.png"/></Relationships>
</file>

<file path=ppt/slides/_rels/slide126.xml.rels><?xml version="1.0" encoding="UTF-8" standalone="yes"?>
<Relationships xmlns="http://schemas.openxmlformats.org/package/2006/relationships"><Relationship Id="rId3" Type="http://schemas.microsoft.com/office/2007/relationships/hdphoto" Target="../media/hdphoto80.wdp"/><Relationship Id="rId2" Type="http://schemas.openxmlformats.org/officeDocument/2006/relationships/image" Target="../media/image202.png"/><Relationship Id="rId1" Type="http://schemas.openxmlformats.org/officeDocument/2006/relationships/slideLayout" Target="../slideLayouts/slideLayout293.xml"/><Relationship Id="rId5" Type="http://schemas.microsoft.com/office/2007/relationships/hdphoto" Target="../media/hdphoto81.wdp"/><Relationship Id="rId4" Type="http://schemas.openxmlformats.org/officeDocument/2006/relationships/image" Target="../media/image203.png"/></Relationships>
</file>

<file path=ppt/slides/_rels/slide127.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304.xml"/></Relationships>
</file>

<file path=ppt/slides/_rels/slide128.xml.rels><?xml version="1.0" encoding="UTF-8" standalone="yes"?>
<Relationships xmlns="http://schemas.openxmlformats.org/package/2006/relationships"><Relationship Id="rId3" Type="http://schemas.microsoft.com/office/2007/relationships/hdphoto" Target="../media/hdphoto82.wdp"/><Relationship Id="rId2" Type="http://schemas.openxmlformats.org/officeDocument/2006/relationships/image" Target="../media/image205.png"/><Relationship Id="rId1" Type="http://schemas.openxmlformats.org/officeDocument/2006/relationships/slideLayout" Target="../slideLayouts/slideLayout304.xml"/></Relationships>
</file>

<file path=ppt/slides/_rels/slide129.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png"/><Relationship Id="rId1" Type="http://schemas.openxmlformats.org/officeDocument/2006/relationships/slideLayout" Target="../slideLayouts/slideLayout304.xml"/></Relationships>
</file>

<file path=ppt/slides/_rels/slide13.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microsoft.com/office/2007/relationships/hdphoto" Target="../media/hdphoto83.wdp"/><Relationship Id="rId2" Type="http://schemas.openxmlformats.org/officeDocument/2006/relationships/image" Target="../media/image208.png"/><Relationship Id="rId1" Type="http://schemas.openxmlformats.org/officeDocument/2006/relationships/slideLayout" Target="../slideLayouts/slideLayout304.xml"/></Relationships>
</file>

<file path=ppt/slides/_rels/slide131.xml.rels><?xml version="1.0" encoding="UTF-8" standalone="yes"?>
<Relationships xmlns="http://schemas.openxmlformats.org/package/2006/relationships"><Relationship Id="rId3" Type="http://schemas.microsoft.com/office/2007/relationships/hdphoto" Target="../media/hdphoto84.wdp"/><Relationship Id="rId2" Type="http://schemas.openxmlformats.org/officeDocument/2006/relationships/image" Target="../media/image209.png"/><Relationship Id="rId1" Type="http://schemas.openxmlformats.org/officeDocument/2006/relationships/slideLayout" Target="../slideLayouts/slideLayout304.xml"/><Relationship Id="rId6" Type="http://schemas.microsoft.com/office/2007/relationships/hdphoto" Target="../media/hdphoto86.wdp"/><Relationship Id="rId5" Type="http://schemas.openxmlformats.org/officeDocument/2006/relationships/image" Target="../media/image210.png"/><Relationship Id="rId4" Type="http://schemas.microsoft.com/office/2007/relationships/hdphoto" Target="../media/hdphoto85.wdp"/></Relationships>
</file>

<file path=ppt/slides/_rels/slide132.xml.rels><?xml version="1.0" encoding="UTF-8" standalone="yes"?>
<Relationships xmlns="http://schemas.openxmlformats.org/package/2006/relationships"><Relationship Id="rId3" Type="http://schemas.microsoft.com/office/2007/relationships/hdphoto" Target="../media/hdphoto87.wdp"/><Relationship Id="rId2" Type="http://schemas.openxmlformats.org/officeDocument/2006/relationships/image" Target="../media/image211.png"/><Relationship Id="rId1" Type="http://schemas.openxmlformats.org/officeDocument/2006/relationships/slideLayout" Target="../slideLayouts/slideLayout304.xml"/><Relationship Id="rId4" Type="http://schemas.openxmlformats.org/officeDocument/2006/relationships/image" Target="../media/image212.png"/></Relationships>
</file>

<file path=ppt/slides/_rels/slide133.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image" Target="../media/image213.png"/><Relationship Id="rId1" Type="http://schemas.openxmlformats.org/officeDocument/2006/relationships/slideLayout" Target="../slideLayouts/slideLayout304.xml"/></Relationships>
</file>

<file path=ppt/slides/_rels/slide134.xml.rels><?xml version="1.0" encoding="UTF-8" standalone="yes"?>
<Relationships xmlns="http://schemas.openxmlformats.org/package/2006/relationships"><Relationship Id="rId3" Type="http://schemas.microsoft.com/office/2007/relationships/hdphoto" Target="../media/hdphoto88.wdp"/><Relationship Id="rId2" Type="http://schemas.openxmlformats.org/officeDocument/2006/relationships/image" Target="../media/image215.png"/><Relationship Id="rId1" Type="http://schemas.openxmlformats.org/officeDocument/2006/relationships/slideLayout" Target="../slideLayouts/slideLayout304.xml"/><Relationship Id="rId5" Type="http://schemas.microsoft.com/office/2007/relationships/hdphoto" Target="../media/hdphoto89.wdp"/><Relationship Id="rId4" Type="http://schemas.openxmlformats.org/officeDocument/2006/relationships/image" Target="../media/image216.png"/></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13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g"/><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1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202.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xml"/><Relationship Id="rId1" Type="http://schemas.openxmlformats.org/officeDocument/2006/relationships/slideLayout" Target="../slideLayouts/slideLayout229.xml"/><Relationship Id="rId6" Type="http://schemas.openxmlformats.org/officeDocument/2006/relationships/hyperlink" Target="https://twitter.com/APassaroMD" TargetMode="External"/><Relationship Id="rId5" Type="http://schemas.openxmlformats.org/officeDocument/2006/relationships/hyperlink" Target="mailto:antonio.passaro@ieo.it" TargetMode="Externa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2.xml"/><Relationship Id="rId7" Type="http://schemas.openxmlformats.org/officeDocument/2006/relationships/image" Target="../media/image59.png"/><Relationship Id="rId2" Type="http://schemas.openxmlformats.org/officeDocument/2006/relationships/slideLayout" Target="../slideLayouts/slideLayout201.xml"/><Relationship Id="rId1" Type="http://schemas.openxmlformats.org/officeDocument/2006/relationships/tags" Target="../tags/tag1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0.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6.svg"/><Relationship Id="rId3" Type="http://schemas.openxmlformats.org/officeDocument/2006/relationships/image" Target="../media/image72.png"/><Relationship Id="rId7" Type="http://schemas.openxmlformats.org/officeDocument/2006/relationships/chart" Target="../charts/chart5.xml"/><Relationship Id="rId12" Type="http://schemas.openxmlformats.org/officeDocument/2006/relationships/chart" Target="../charts/chart7.xml"/><Relationship Id="rId2" Type="http://schemas.openxmlformats.org/officeDocument/2006/relationships/chart" Target="../charts/chart1.xml"/><Relationship Id="rId1" Type="http://schemas.openxmlformats.org/officeDocument/2006/relationships/slideLayout" Target="../slideLayouts/slideLayout220.xml"/><Relationship Id="rId6" Type="http://schemas.openxmlformats.org/officeDocument/2006/relationships/chart" Target="../charts/chart4.xml"/><Relationship Id="rId11" Type="http://schemas.openxmlformats.org/officeDocument/2006/relationships/image" Target="../media/image75.png"/><Relationship Id="rId5" Type="http://schemas.openxmlformats.org/officeDocument/2006/relationships/chart" Target="../charts/chart3.xml"/><Relationship Id="rId10" Type="http://schemas.openxmlformats.org/officeDocument/2006/relationships/image" Target="../media/image74.svg"/><Relationship Id="rId4" Type="http://schemas.openxmlformats.org/officeDocument/2006/relationships/chart" Target="../charts/chart2.xml"/><Relationship Id="rId9" Type="http://schemas.openxmlformats.org/officeDocument/2006/relationships/chart" Target="../charts/char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4.xml"/></Relationships>
</file>

<file path=ppt/slides/_rels/slide2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hyperlink" Target="https://www.accessdata.fda.gov/drugsatfda_docs/label/2024/208065s033lbl.pdf" TargetMode="External"/><Relationship Id="rId7" Type="http://schemas.openxmlformats.org/officeDocument/2006/relationships/image" Target="../media/image77.png"/><Relationship Id="rId2" Type="http://schemas.openxmlformats.org/officeDocument/2006/relationships/hyperlink" Target="https://www.ema.europa.eu/en/documents/product-information/tagrisso-epar-product-information_en.pdf" TargetMode="External"/><Relationship Id="rId1" Type="http://schemas.openxmlformats.org/officeDocument/2006/relationships/slideLayout" Target="../slideLayouts/slideLayout220.xml"/><Relationship Id="rId6" Type="http://schemas.openxmlformats.org/officeDocument/2006/relationships/hyperlink" Target="https://www.clinicaltrials.gov/study/NCT07005102" TargetMode="External"/><Relationship Id="rId5" Type="http://schemas.openxmlformats.org/officeDocument/2006/relationships/hyperlink" Target="https://www.accessdata.fda.gov/drugsatfda_docs/label/2024/761210s004lbl.pdf" TargetMode="External"/><Relationship Id="rId4" Type="http://schemas.openxmlformats.org/officeDocument/2006/relationships/hyperlink" Target="https://www.ema.europa.eu/en/documents/product-information/rybrevant-epar-product-information_en.pdf"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224.xml"/></Relationships>
</file>

<file path=ppt/slides/_rels/slide25.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chart" Target="../charts/chart8.xml"/><Relationship Id="rId7" Type="http://schemas.openxmlformats.org/officeDocument/2006/relationships/image" Target="../media/image84.svg"/><Relationship Id="rId2" Type="http://schemas.openxmlformats.org/officeDocument/2006/relationships/image" Target="../media/image79.png"/><Relationship Id="rId1" Type="http://schemas.openxmlformats.org/officeDocument/2006/relationships/slideLayout" Target="../slideLayouts/slideLayout224.xml"/><Relationship Id="rId6" Type="http://schemas.openxmlformats.org/officeDocument/2006/relationships/image" Target="../media/image83.svg"/><Relationship Id="rId5" Type="http://schemas.openxmlformats.org/officeDocument/2006/relationships/image" Target="../media/image82.svg"/><Relationship Id="rId10" Type="http://schemas.openxmlformats.org/officeDocument/2006/relationships/image" Target="../media/image80.svg"/><Relationship Id="rId4" Type="http://schemas.openxmlformats.org/officeDocument/2006/relationships/image" Target="../media/image81.svg"/><Relationship Id="rId9" Type="http://schemas.openxmlformats.org/officeDocument/2006/relationships/image" Target="../media/image86.svg"/></Relationships>
</file>

<file path=ppt/slides/_rels/slide26.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224.xml"/></Relationships>
</file>

<file path=ppt/slides/_rels/slide27.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224.xml"/><Relationship Id="rId5" Type="http://schemas.openxmlformats.org/officeDocument/2006/relationships/image" Target="../media/image88.svg"/><Relationship Id="rId4" Type="http://schemas.openxmlformats.org/officeDocument/2006/relationships/image" Target="../media/image87.svg"/></Relationships>
</file>

<file path=ppt/slides/_rels/slide28.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79.png"/><Relationship Id="rId1" Type="http://schemas.openxmlformats.org/officeDocument/2006/relationships/slideLayout" Target="../slideLayouts/slideLayout224.xml"/><Relationship Id="rId4" Type="http://schemas.openxmlformats.org/officeDocument/2006/relationships/image" Target="../media/image80.svg"/></Relationships>
</file>

<file path=ppt/slides/_rels/slide2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224.xml"/><Relationship Id="rId5" Type="http://schemas.openxmlformats.org/officeDocument/2006/relationships/image" Target="../media/image80.svg"/><Relationship Id="rId4" Type="http://schemas.openxmlformats.org/officeDocument/2006/relationships/image" Target="../media/image90.sv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01.xml"/><Relationship Id="rId1" Type="http://schemas.openxmlformats.org/officeDocument/2006/relationships/tags" Target="../tags/tag13.xml"/></Relationships>
</file>

<file path=ppt/slides/_rels/slide30.xml.rels><?xml version="1.0" encoding="UTF-8" standalone="yes"?>
<Relationships xmlns="http://schemas.openxmlformats.org/package/2006/relationships"><Relationship Id="rId3" Type="http://schemas.openxmlformats.org/officeDocument/2006/relationships/image" Target="../media/image91.svg"/><Relationship Id="rId7" Type="http://schemas.openxmlformats.org/officeDocument/2006/relationships/image" Target="../media/image95.svg"/><Relationship Id="rId2" Type="http://schemas.openxmlformats.org/officeDocument/2006/relationships/image" Target="../media/image80.svg"/><Relationship Id="rId1" Type="http://schemas.openxmlformats.org/officeDocument/2006/relationships/slideLayout" Target="../slideLayouts/slideLayout224.xml"/><Relationship Id="rId6" Type="http://schemas.openxmlformats.org/officeDocument/2006/relationships/image" Target="../media/image94.svg"/><Relationship Id="rId5" Type="http://schemas.openxmlformats.org/officeDocument/2006/relationships/image" Target="../media/image93.svg"/><Relationship Id="rId4" Type="http://schemas.openxmlformats.org/officeDocument/2006/relationships/image" Target="../media/image92.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4.xml"/></Relationships>
</file>

<file path=ppt/slides/_rels/slide32.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224.xml"/></Relationships>
</file>

<file path=ppt/slides/_rels/slide33.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chart" Target="../charts/chart11.xml"/><Relationship Id="rId7" Type="http://schemas.openxmlformats.org/officeDocument/2006/relationships/image" Target="../media/image84.svg"/><Relationship Id="rId2" Type="http://schemas.openxmlformats.org/officeDocument/2006/relationships/image" Target="../media/image79.png"/><Relationship Id="rId1" Type="http://schemas.openxmlformats.org/officeDocument/2006/relationships/slideLayout" Target="../slideLayouts/slideLayout224.xml"/><Relationship Id="rId6" Type="http://schemas.openxmlformats.org/officeDocument/2006/relationships/image" Target="../media/image83.svg"/><Relationship Id="rId5" Type="http://schemas.openxmlformats.org/officeDocument/2006/relationships/image" Target="../media/image82.svg"/><Relationship Id="rId10" Type="http://schemas.openxmlformats.org/officeDocument/2006/relationships/image" Target="../media/image80.svg"/><Relationship Id="rId4" Type="http://schemas.openxmlformats.org/officeDocument/2006/relationships/image" Target="../media/image81.svg"/><Relationship Id="rId9" Type="http://schemas.openxmlformats.org/officeDocument/2006/relationships/image" Target="../media/image86.svg"/></Relationships>
</file>

<file path=ppt/slides/_rels/slide3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79.png"/><Relationship Id="rId1" Type="http://schemas.openxmlformats.org/officeDocument/2006/relationships/slideLayout" Target="../slideLayouts/slideLayout224.xml"/><Relationship Id="rId4" Type="http://schemas.openxmlformats.org/officeDocument/2006/relationships/image" Target="../media/image80.svg"/></Relationships>
</file>

<file path=ppt/slides/_rels/slide3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79.png"/><Relationship Id="rId1" Type="http://schemas.openxmlformats.org/officeDocument/2006/relationships/slideLayout" Target="../slideLayouts/slideLayout224.xml"/><Relationship Id="rId6" Type="http://schemas.openxmlformats.org/officeDocument/2006/relationships/image" Target="../media/image80.svg"/><Relationship Id="rId5" Type="http://schemas.openxmlformats.org/officeDocument/2006/relationships/image" Target="../media/image88.svg"/><Relationship Id="rId4" Type="http://schemas.openxmlformats.org/officeDocument/2006/relationships/image" Target="../media/image87.svg"/></Relationships>
</file>

<file path=ppt/slides/_rels/slide3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79.png"/><Relationship Id="rId1" Type="http://schemas.openxmlformats.org/officeDocument/2006/relationships/slideLayout" Target="../slideLayouts/slideLayout224.xml"/><Relationship Id="rId6" Type="http://schemas.openxmlformats.org/officeDocument/2006/relationships/image" Target="../media/image80.svg"/><Relationship Id="rId5" Type="http://schemas.openxmlformats.org/officeDocument/2006/relationships/image" Target="../media/image97.svg"/><Relationship Id="rId4" Type="http://schemas.openxmlformats.org/officeDocument/2006/relationships/image" Target="../media/image96.svg"/></Relationships>
</file>

<file path=ppt/slides/_rels/slide3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80.svg"/><Relationship Id="rId1" Type="http://schemas.openxmlformats.org/officeDocument/2006/relationships/slideLayout" Target="../slideLayouts/slideLayout224.xml"/><Relationship Id="rId5" Type="http://schemas.openxmlformats.org/officeDocument/2006/relationships/image" Target="../media/image98.svg"/><Relationship Id="rId4" Type="http://schemas.openxmlformats.org/officeDocument/2006/relationships/chart" Target="../charts/chart1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30.xml"/><Relationship Id="rId1" Type="http://schemas.openxmlformats.org/officeDocument/2006/relationships/tags" Target="../tags/tag20.xml"/><Relationship Id="rId4" Type="http://schemas.openxmlformats.org/officeDocument/2006/relationships/chart" Target="../charts/chart17.xml"/></Relationships>
</file>

<file path=ppt/slides/_rels/slide3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3.xml"/><Relationship Id="rId1" Type="http://schemas.openxmlformats.org/officeDocument/2006/relationships/slideLayout" Target="../slideLayouts/slideLayout224.xml"/><Relationship Id="rId4" Type="http://schemas.microsoft.com/office/2007/relationships/hdphoto" Target="../media/hdphoto3.wdp"/></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01.xml"/><Relationship Id="rId1" Type="http://schemas.openxmlformats.org/officeDocument/2006/relationships/tags" Target="../tags/tag14.xml"/></Relationships>
</file>

<file path=ppt/slides/_rels/slide4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4.xml"/><Relationship Id="rId1" Type="http://schemas.openxmlformats.org/officeDocument/2006/relationships/slideLayout" Target="../slideLayouts/slideLayout224.xml"/><Relationship Id="rId4" Type="http://schemas.microsoft.com/office/2007/relationships/hdphoto" Target="../media/hdphoto4.wdp"/></Relationships>
</file>

<file path=ppt/slides/_rels/slide4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5.xml"/><Relationship Id="rId1" Type="http://schemas.openxmlformats.org/officeDocument/2006/relationships/slideLayout" Target="../slideLayouts/slideLayout224.xml"/><Relationship Id="rId4" Type="http://schemas.microsoft.com/office/2007/relationships/hdphoto" Target="../media/hdphoto5.wdp"/></Relationships>
</file>

<file path=ppt/slides/_rels/slide4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6.xml"/><Relationship Id="rId1" Type="http://schemas.openxmlformats.org/officeDocument/2006/relationships/slideLayout" Target="../slideLayouts/slideLayout224.xml"/><Relationship Id="rId6" Type="http://schemas.microsoft.com/office/2007/relationships/hdphoto" Target="../media/hdphoto7.wdp"/><Relationship Id="rId5" Type="http://schemas.openxmlformats.org/officeDocument/2006/relationships/image" Target="../media/image103.png"/><Relationship Id="rId4" Type="http://schemas.microsoft.com/office/2007/relationships/hdphoto" Target="../media/hdphoto6.wdp"/></Relationships>
</file>

<file path=ppt/slides/_rels/slide4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7.xml"/><Relationship Id="rId1" Type="http://schemas.openxmlformats.org/officeDocument/2006/relationships/slideLayout" Target="../slideLayouts/slideLayout224.xml"/><Relationship Id="rId6" Type="http://schemas.microsoft.com/office/2007/relationships/hdphoto" Target="../media/hdphoto9.wdp"/><Relationship Id="rId5" Type="http://schemas.openxmlformats.org/officeDocument/2006/relationships/image" Target="../media/image105.png"/><Relationship Id="rId4" Type="http://schemas.microsoft.com/office/2007/relationships/hdphoto" Target="../media/hdphoto8.wdp"/></Relationships>
</file>

<file path=ppt/slides/_rels/slide44.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svg"/><Relationship Id="rId1" Type="http://schemas.openxmlformats.org/officeDocument/2006/relationships/slideLayout" Target="../slideLayouts/slideLayout224.xml"/></Relationships>
</file>

<file path=ppt/slides/_rels/slide4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8.jp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01.xml"/><Relationship Id="rId1" Type="http://schemas.openxmlformats.org/officeDocument/2006/relationships/tags" Target="../tags/tag15.xml"/></Relationships>
</file>

<file path=ppt/slides/_rels/slide5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eg"/><Relationship Id="rId1" Type="http://schemas.openxmlformats.org/officeDocument/2006/relationships/slideLayout" Target="../slideLayouts/slideLayout32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52.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13.png"/><Relationship Id="rId1" Type="http://schemas.openxmlformats.org/officeDocument/2006/relationships/slideLayout" Target="../slideLayouts/slideLayout315.xml"/></Relationships>
</file>

<file path=ppt/slides/_rels/slide53.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114.png"/><Relationship Id="rId1" Type="http://schemas.openxmlformats.org/officeDocument/2006/relationships/slideLayout" Target="../slideLayouts/slideLayout315.xml"/></Relationships>
</file>

<file path=ppt/slides/_rels/slide54.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15.png"/><Relationship Id="rId1" Type="http://schemas.openxmlformats.org/officeDocument/2006/relationships/slideLayout" Target="../slideLayouts/slideLayout315.xml"/><Relationship Id="rId5" Type="http://schemas.microsoft.com/office/2007/relationships/hdphoto" Target="../media/hdphoto13.wdp"/><Relationship Id="rId4" Type="http://schemas.openxmlformats.org/officeDocument/2006/relationships/image" Target="../media/image116.png"/></Relationships>
</file>

<file path=ppt/slides/_rels/slide55.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117.png"/><Relationship Id="rId1" Type="http://schemas.openxmlformats.org/officeDocument/2006/relationships/slideLayout" Target="../slideLayouts/slideLayout315.xml"/><Relationship Id="rId5" Type="http://schemas.microsoft.com/office/2007/relationships/hdphoto" Target="../media/hdphoto15.wdp"/><Relationship Id="rId4" Type="http://schemas.openxmlformats.org/officeDocument/2006/relationships/image" Target="../media/image118.png"/></Relationships>
</file>

<file path=ppt/slides/_rels/slide56.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19.png"/><Relationship Id="rId1" Type="http://schemas.openxmlformats.org/officeDocument/2006/relationships/slideLayout" Target="../slideLayouts/slideLayout315.xml"/></Relationships>
</file>

<file path=ppt/slides/_rels/slide5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120.png"/><Relationship Id="rId1" Type="http://schemas.openxmlformats.org/officeDocument/2006/relationships/slideLayout" Target="../slideLayouts/slideLayout315.xml"/></Relationships>
</file>

<file path=ppt/slides/_rels/slide58.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121.png"/><Relationship Id="rId1" Type="http://schemas.openxmlformats.org/officeDocument/2006/relationships/slideLayout" Target="../slideLayouts/slideLayout315.xml"/><Relationship Id="rId5" Type="http://schemas.microsoft.com/office/2007/relationships/hdphoto" Target="../media/hdphoto19.wdp"/><Relationship Id="rId4" Type="http://schemas.openxmlformats.org/officeDocument/2006/relationships/image" Target="../media/image122.png"/></Relationships>
</file>

<file path=ppt/slides/_rels/slide59.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123.png"/><Relationship Id="rId1" Type="http://schemas.openxmlformats.org/officeDocument/2006/relationships/slideLayout" Target="../slideLayouts/slideLayout315.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01.xml"/><Relationship Id="rId1" Type="http://schemas.openxmlformats.org/officeDocument/2006/relationships/tags" Target="../tags/tag16.xml"/></Relationships>
</file>

<file path=ppt/slides/_rels/slide60.xml.rels><?xml version="1.0" encoding="UTF-8" standalone="yes"?>
<Relationships xmlns="http://schemas.openxmlformats.org/package/2006/relationships"><Relationship Id="rId3" Type="http://schemas.microsoft.com/office/2007/relationships/hdphoto" Target="../media/hdphoto21.wdp"/><Relationship Id="rId2" Type="http://schemas.openxmlformats.org/officeDocument/2006/relationships/image" Target="../media/image124.png"/><Relationship Id="rId1" Type="http://schemas.openxmlformats.org/officeDocument/2006/relationships/slideLayout" Target="../slideLayouts/slideLayout315.xml"/><Relationship Id="rId5" Type="http://schemas.microsoft.com/office/2007/relationships/hdphoto" Target="../media/hdphoto22.wdp"/><Relationship Id="rId4" Type="http://schemas.openxmlformats.org/officeDocument/2006/relationships/image" Target="../media/image125.png"/></Relationships>
</file>

<file path=ppt/slides/_rels/slide61.xml.rels><?xml version="1.0" encoding="UTF-8" standalone="yes"?>
<Relationships xmlns="http://schemas.openxmlformats.org/package/2006/relationships"><Relationship Id="rId3" Type="http://schemas.microsoft.com/office/2007/relationships/hdphoto" Target="../media/hdphoto23.wdp"/><Relationship Id="rId2" Type="http://schemas.openxmlformats.org/officeDocument/2006/relationships/image" Target="../media/image126.png"/><Relationship Id="rId1" Type="http://schemas.openxmlformats.org/officeDocument/2006/relationships/slideLayout" Target="../slideLayouts/slideLayout315.xml"/><Relationship Id="rId5" Type="http://schemas.microsoft.com/office/2007/relationships/hdphoto" Target="../media/hdphoto24.wdp"/><Relationship Id="rId4" Type="http://schemas.openxmlformats.org/officeDocument/2006/relationships/image" Target="../media/image127.png"/></Relationships>
</file>

<file path=ppt/slides/_rels/slide62.xml.rels><?xml version="1.0" encoding="UTF-8" standalone="yes"?>
<Relationships xmlns="http://schemas.openxmlformats.org/package/2006/relationships"><Relationship Id="rId3" Type="http://schemas.microsoft.com/office/2007/relationships/hdphoto" Target="../media/hdphoto25.wdp"/><Relationship Id="rId2" Type="http://schemas.openxmlformats.org/officeDocument/2006/relationships/image" Target="../media/image128.png"/><Relationship Id="rId1" Type="http://schemas.openxmlformats.org/officeDocument/2006/relationships/slideLayout" Target="../slideLayouts/slideLayout315.xml"/></Relationships>
</file>

<file path=ppt/slides/_rels/slide63.xml.rels><?xml version="1.0" encoding="UTF-8" standalone="yes"?>
<Relationships xmlns="http://schemas.openxmlformats.org/package/2006/relationships"><Relationship Id="rId3" Type="http://schemas.microsoft.com/office/2007/relationships/hdphoto" Target="../media/hdphoto26.wdp"/><Relationship Id="rId7" Type="http://schemas.microsoft.com/office/2007/relationships/hdphoto" Target="../media/hdphoto28.wdp"/><Relationship Id="rId2" Type="http://schemas.openxmlformats.org/officeDocument/2006/relationships/image" Target="../media/image129.png"/><Relationship Id="rId1" Type="http://schemas.openxmlformats.org/officeDocument/2006/relationships/slideLayout" Target="../slideLayouts/slideLayout315.xml"/><Relationship Id="rId6" Type="http://schemas.openxmlformats.org/officeDocument/2006/relationships/image" Target="../media/image131.png"/><Relationship Id="rId5" Type="http://schemas.microsoft.com/office/2007/relationships/hdphoto" Target="../media/hdphoto27.wdp"/><Relationship Id="rId4" Type="http://schemas.openxmlformats.org/officeDocument/2006/relationships/image" Target="../media/image130.png"/></Relationships>
</file>

<file path=ppt/slides/_rels/slide64.xml.rels><?xml version="1.0" encoding="UTF-8" standalone="yes"?>
<Relationships xmlns="http://schemas.openxmlformats.org/package/2006/relationships"><Relationship Id="rId3" Type="http://schemas.microsoft.com/office/2007/relationships/hdphoto" Target="../media/hdphoto29.wdp"/><Relationship Id="rId2" Type="http://schemas.openxmlformats.org/officeDocument/2006/relationships/image" Target="../media/image132.png"/><Relationship Id="rId1" Type="http://schemas.openxmlformats.org/officeDocument/2006/relationships/slideLayout" Target="../slideLayouts/slideLayout315.xml"/></Relationships>
</file>

<file path=ppt/slides/_rels/slide65.xml.rels><?xml version="1.0" encoding="UTF-8" standalone="yes"?>
<Relationships xmlns="http://schemas.openxmlformats.org/package/2006/relationships"><Relationship Id="rId3" Type="http://schemas.microsoft.com/office/2007/relationships/hdphoto" Target="../media/hdphoto30.wdp"/><Relationship Id="rId2" Type="http://schemas.openxmlformats.org/officeDocument/2006/relationships/image" Target="../media/image133.png"/><Relationship Id="rId1" Type="http://schemas.openxmlformats.org/officeDocument/2006/relationships/slideLayout" Target="../slideLayouts/slideLayout315.xml"/><Relationship Id="rId5" Type="http://schemas.microsoft.com/office/2007/relationships/hdphoto" Target="../media/hdphoto31.wdp"/><Relationship Id="rId4" Type="http://schemas.openxmlformats.org/officeDocument/2006/relationships/image" Target="../media/image134.png"/></Relationships>
</file>

<file path=ppt/slides/_rels/slide66.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135.png"/><Relationship Id="rId1" Type="http://schemas.openxmlformats.org/officeDocument/2006/relationships/slideLayout" Target="../slideLayouts/slideLayout315.xml"/><Relationship Id="rId5" Type="http://schemas.openxmlformats.org/officeDocument/2006/relationships/image" Target="../media/image137.png"/><Relationship Id="rId4" Type="http://schemas.openxmlformats.org/officeDocument/2006/relationships/image" Target="../media/image136.png"/></Relationships>
</file>

<file path=ppt/slides/_rels/slide67.xml.rels><?xml version="1.0" encoding="UTF-8" standalone="yes"?>
<Relationships xmlns="http://schemas.openxmlformats.org/package/2006/relationships"><Relationship Id="rId3" Type="http://schemas.microsoft.com/office/2007/relationships/hdphoto" Target="../media/hdphoto33.wdp"/><Relationship Id="rId2" Type="http://schemas.openxmlformats.org/officeDocument/2006/relationships/image" Target="../media/image138.png"/><Relationship Id="rId1" Type="http://schemas.openxmlformats.org/officeDocument/2006/relationships/slideLayout" Target="../slideLayouts/slideLayout315.xml"/></Relationships>
</file>

<file path=ppt/slides/_rels/slide68.xml.rels><?xml version="1.0" encoding="UTF-8" standalone="yes"?>
<Relationships xmlns="http://schemas.openxmlformats.org/package/2006/relationships"><Relationship Id="rId8" Type="http://schemas.openxmlformats.org/officeDocument/2006/relationships/image" Target="../media/image142.png"/><Relationship Id="rId3" Type="http://schemas.microsoft.com/office/2007/relationships/hdphoto" Target="../media/hdphoto34.wdp"/><Relationship Id="rId7" Type="http://schemas.microsoft.com/office/2007/relationships/hdphoto" Target="../media/hdphoto36.wdp"/><Relationship Id="rId2" Type="http://schemas.openxmlformats.org/officeDocument/2006/relationships/image" Target="../media/image139.png"/><Relationship Id="rId1" Type="http://schemas.openxmlformats.org/officeDocument/2006/relationships/slideLayout" Target="../slideLayouts/slideLayout315.xml"/><Relationship Id="rId6" Type="http://schemas.openxmlformats.org/officeDocument/2006/relationships/image" Target="../media/image141.png"/><Relationship Id="rId11" Type="http://schemas.microsoft.com/office/2007/relationships/hdphoto" Target="../media/hdphoto38.wdp"/><Relationship Id="rId5" Type="http://schemas.microsoft.com/office/2007/relationships/hdphoto" Target="../media/hdphoto35.wdp"/><Relationship Id="rId10" Type="http://schemas.openxmlformats.org/officeDocument/2006/relationships/image" Target="../media/image143.png"/><Relationship Id="rId4" Type="http://schemas.openxmlformats.org/officeDocument/2006/relationships/image" Target="../media/image140.png"/><Relationship Id="rId9" Type="http://schemas.microsoft.com/office/2007/relationships/hdphoto" Target="../media/hdphoto37.wdp"/></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01.xml"/><Relationship Id="rId1" Type="http://schemas.openxmlformats.org/officeDocument/2006/relationships/tags" Target="../tags/tag1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7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08.jp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231.xml"/></Relationships>
</file>

<file path=ppt/slides/_rels/slide75.xml.rels><?xml version="1.0" encoding="UTF-8" standalone="yes"?>
<Relationships xmlns="http://schemas.openxmlformats.org/package/2006/relationships"><Relationship Id="rId3" Type="http://schemas.microsoft.com/office/2007/relationships/hdphoto" Target="../media/hdphoto39.wdp"/><Relationship Id="rId2" Type="http://schemas.openxmlformats.org/officeDocument/2006/relationships/image" Target="../media/image146.png"/><Relationship Id="rId1" Type="http://schemas.openxmlformats.org/officeDocument/2006/relationships/slideLayout" Target="../slideLayouts/slideLayout242.xml"/><Relationship Id="rId6" Type="http://schemas.microsoft.com/office/2007/relationships/hdphoto" Target="../media/hdphoto40.wdp"/><Relationship Id="rId5" Type="http://schemas.openxmlformats.org/officeDocument/2006/relationships/image" Target="../media/image148.png"/><Relationship Id="rId4" Type="http://schemas.openxmlformats.org/officeDocument/2006/relationships/image" Target="../media/image147.png"/></Relationships>
</file>

<file path=ppt/slides/_rels/slide76.xml.rels><?xml version="1.0" encoding="UTF-8" standalone="yes"?>
<Relationships xmlns="http://schemas.openxmlformats.org/package/2006/relationships"><Relationship Id="rId3" Type="http://schemas.microsoft.com/office/2007/relationships/hdphoto" Target="../media/hdphoto41.wdp"/><Relationship Id="rId2" Type="http://schemas.openxmlformats.org/officeDocument/2006/relationships/image" Target="../media/image149.png"/><Relationship Id="rId1" Type="http://schemas.openxmlformats.org/officeDocument/2006/relationships/slideLayout" Target="../slideLayouts/slideLayout232.xml"/><Relationship Id="rId6" Type="http://schemas.openxmlformats.org/officeDocument/2006/relationships/image" Target="../media/image147.png"/><Relationship Id="rId5" Type="http://schemas.openxmlformats.org/officeDocument/2006/relationships/image" Target="../media/image151.jpeg"/><Relationship Id="rId4" Type="http://schemas.openxmlformats.org/officeDocument/2006/relationships/image" Target="../media/image150.png"/></Relationships>
</file>

<file path=ppt/slides/_rels/slide77.xml.rels><?xml version="1.0" encoding="UTF-8" standalone="yes"?>
<Relationships xmlns="http://schemas.openxmlformats.org/package/2006/relationships"><Relationship Id="rId8" Type="http://schemas.openxmlformats.org/officeDocument/2006/relationships/image" Target="../media/image147.png"/><Relationship Id="rId3" Type="http://schemas.microsoft.com/office/2007/relationships/hdphoto" Target="../media/hdphoto42.wdp"/><Relationship Id="rId7" Type="http://schemas.openxmlformats.org/officeDocument/2006/relationships/image" Target="../media/image151.jpeg"/><Relationship Id="rId2" Type="http://schemas.openxmlformats.org/officeDocument/2006/relationships/image" Target="../media/image152.png"/><Relationship Id="rId1" Type="http://schemas.openxmlformats.org/officeDocument/2006/relationships/slideLayout" Target="../slideLayouts/slideLayout232.xml"/><Relationship Id="rId6" Type="http://schemas.openxmlformats.org/officeDocument/2006/relationships/image" Target="../media/image150.png"/><Relationship Id="rId5" Type="http://schemas.microsoft.com/office/2007/relationships/hdphoto" Target="../media/hdphoto43.wdp"/><Relationship Id="rId4" Type="http://schemas.openxmlformats.org/officeDocument/2006/relationships/image" Target="../media/image153.png"/></Relationships>
</file>

<file path=ppt/slides/_rels/slide7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54.png"/><Relationship Id="rId1" Type="http://schemas.openxmlformats.org/officeDocument/2006/relationships/slideLayout" Target="../slideLayouts/slideLayout232.xml"/><Relationship Id="rId4" Type="http://schemas.openxmlformats.org/officeDocument/2006/relationships/image" Target="../media/image147.png"/></Relationships>
</file>

<file path=ppt/slides/_rels/slide79.xml.rels><?xml version="1.0" encoding="UTF-8" standalone="yes"?>
<Relationships xmlns="http://schemas.openxmlformats.org/package/2006/relationships"><Relationship Id="rId8" Type="http://schemas.openxmlformats.org/officeDocument/2006/relationships/image" Target="../media/image147.png"/><Relationship Id="rId3" Type="http://schemas.microsoft.com/office/2007/relationships/hdphoto" Target="../media/hdphoto44.wdp"/><Relationship Id="rId7" Type="http://schemas.openxmlformats.org/officeDocument/2006/relationships/image" Target="../media/image151.jpeg"/><Relationship Id="rId2" Type="http://schemas.openxmlformats.org/officeDocument/2006/relationships/image" Target="../media/image155.png"/><Relationship Id="rId1" Type="http://schemas.openxmlformats.org/officeDocument/2006/relationships/slideLayout" Target="../slideLayouts/slideLayout232.xml"/><Relationship Id="rId6" Type="http://schemas.openxmlformats.org/officeDocument/2006/relationships/image" Target="../media/image150.png"/><Relationship Id="rId5" Type="http://schemas.microsoft.com/office/2007/relationships/hdphoto" Target="../media/hdphoto45.wdp"/><Relationship Id="rId4" Type="http://schemas.openxmlformats.org/officeDocument/2006/relationships/image" Target="../media/image15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7.xml"/></Relationships>
</file>

<file path=ppt/slides/_rels/slide80.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51.jpeg"/><Relationship Id="rId7" Type="http://schemas.microsoft.com/office/2007/relationships/hdphoto" Target="../media/hdphoto47.wdp"/><Relationship Id="rId2" Type="http://schemas.openxmlformats.org/officeDocument/2006/relationships/image" Target="../media/image150.png"/><Relationship Id="rId1" Type="http://schemas.openxmlformats.org/officeDocument/2006/relationships/slideLayout" Target="../slideLayouts/slideLayout232.xml"/><Relationship Id="rId6" Type="http://schemas.openxmlformats.org/officeDocument/2006/relationships/image" Target="../media/image158.png"/><Relationship Id="rId5" Type="http://schemas.microsoft.com/office/2007/relationships/hdphoto" Target="../media/hdphoto46.wdp"/><Relationship Id="rId4" Type="http://schemas.openxmlformats.org/officeDocument/2006/relationships/image" Target="../media/image157.png"/></Relationships>
</file>

<file path=ppt/slides/_rels/slide8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47.png"/><Relationship Id="rId1" Type="http://schemas.openxmlformats.org/officeDocument/2006/relationships/slideLayout" Target="../slideLayouts/slideLayout234.xml"/><Relationship Id="rId4" Type="http://schemas.microsoft.com/office/2007/relationships/hdphoto" Target="../media/hdphoto48.wdp"/></Relationships>
</file>

<file path=ppt/slides/_rels/slide82.xml.rels><?xml version="1.0" encoding="UTF-8" standalone="yes"?>
<Relationships xmlns="http://schemas.openxmlformats.org/package/2006/relationships"><Relationship Id="rId3" Type="http://schemas.microsoft.com/office/2007/relationships/hdphoto" Target="../media/hdphoto49.wdp"/><Relationship Id="rId2" Type="http://schemas.openxmlformats.org/officeDocument/2006/relationships/image" Target="../media/image160.png"/><Relationship Id="rId1" Type="http://schemas.openxmlformats.org/officeDocument/2006/relationships/slideLayout" Target="../slideLayouts/slideLayout234.xml"/><Relationship Id="rId4" Type="http://schemas.openxmlformats.org/officeDocument/2006/relationships/image" Target="../media/image147.png"/></Relationships>
</file>

<file path=ppt/slides/_rels/slide8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47.png"/><Relationship Id="rId1" Type="http://schemas.openxmlformats.org/officeDocument/2006/relationships/slideLayout" Target="../slideLayouts/slideLayout234.xml"/><Relationship Id="rId4" Type="http://schemas.microsoft.com/office/2007/relationships/hdphoto" Target="../media/hdphoto50.wdp"/></Relationships>
</file>

<file path=ppt/slides/_rels/slide84.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47.png"/><Relationship Id="rId1" Type="http://schemas.openxmlformats.org/officeDocument/2006/relationships/slideLayout" Target="../slideLayouts/slideLayout234.xml"/><Relationship Id="rId4" Type="http://schemas.microsoft.com/office/2007/relationships/hdphoto" Target="../media/hdphoto51.wdp"/></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32.xml"/></Relationships>
</file>

<file path=ppt/slides/_rels/slide86.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image" Target="../media/image147.png"/><Relationship Id="rId1" Type="http://schemas.openxmlformats.org/officeDocument/2006/relationships/slideLayout" Target="../slideLayouts/slideLayout234.xml"/></Relationships>
</file>

<file path=ppt/slides/_rels/slide8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47.png"/><Relationship Id="rId1" Type="http://schemas.openxmlformats.org/officeDocument/2006/relationships/slideLayout" Target="../slideLayouts/slideLayout234.xml"/><Relationship Id="rId4" Type="http://schemas.microsoft.com/office/2007/relationships/hdphoto" Target="../media/hdphoto52.wdp"/></Relationships>
</file>

<file path=ppt/slides/_rels/slide88.xml.rels><?xml version="1.0" encoding="UTF-8" standalone="yes"?>
<Relationships xmlns="http://schemas.openxmlformats.org/package/2006/relationships"><Relationship Id="rId3" Type="http://schemas.microsoft.com/office/2007/relationships/hdphoto" Target="../media/hdphoto53.wdp"/><Relationship Id="rId2" Type="http://schemas.openxmlformats.org/officeDocument/2006/relationships/image" Target="../media/image165.png"/><Relationship Id="rId1" Type="http://schemas.openxmlformats.org/officeDocument/2006/relationships/slideLayout" Target="../slideLayouts/slideLayout232.xml"/><Relationship Id="rId6" Type="http://schemas.openxmlformats.org/officeDocument/2006/relationships/image" Target="../media/image147.png"/><Relationship Id="rId5" Type="http://schemas.microsoft.com/office/2007/relationships/hdphoto" Target="../media/hdphoto54.wdp"/><Relationship Id="rId4" Type="http://schemas.openxmlformats.org/officeDocument/2006/relationships/image" Target="../media/image166.png"/></Relationships>
</file>

<file path=ppt/slides/_rels/slide8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7.png"/><Relationship Id="rId1" Type="http://schemas.openxmlformats.org/officeDocument/2006/relationships/slideLayout" Target="../slideLayouts/slideLayout234.xml"/><Relationship Id="rId6" Type="http://schemas.microsoft.com/office/2007/relationships/hdphoto" Target="../media/hdphoto55.wdp"/><Relationship Id="rId5" Type="http://schemas.openxmlformats.org/officeDocument/2006/relationships/image" Target="../media/image167.png"/><Relationship Id="rId4" Type="http://schemas.openxmlformats.org/officeDocument/2006/relationships/image" Target="../media/image151.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90.xml.rels><?xml version="1.0" encoding="UTF-8" standalone="yes"?>
<Relationships xmlns="http://schemas.openxmlformats.org/package/2006/relationships"><Relationship Id="rId8" Type="http://schemas.microsoft.com/office/2007/relationships/hdphoto" Target="../media/hdphoto57.wdp"/><Relationship Id="rId3" Type="http://schemas.openxmlformats.org/officeDocument/2006/relationships/image" Target="../media/image150.png"/><Relationship Id="rId7" Type="http://schemas.openxmlformats.org/officeDocument/2006/relationships/image" Target="../media/image169.png"/><Relationship Id="rId2" Type="http://schemas.openxmlformats.org/officeDocument/2006/relationships/image" Target="../media/image147.png"/><Relationship Id="rId1" Type="http://schemas.openxmlformats.org/officeDocument/2006/relationships/slideLayout" Target="../slideLayouts/slideLayout234.xml"/><Relationship Id="rId6" Type="http://schemas.microsoft.com/office/2007/relationships/hdphoto" Target="../media/hdphoto56.wdp"/><Relationship Id="rId5" Type="http://schemas.openxmlformats.org/officeDocument/2006/relationships/image" Target="../media/image168.png"/><Relationship Id="rId4" Type="http://schemas.openxmlformats.org/officeDocument/2006/relationships/image" Target="../media/image151.jpeg"/></Relationships>
</file>

<file path=ppt/slides/_rels/slide9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7.png"/><Relationship Id="rId1" Type="http://schemas.openxmlformats.org/officeDocument/2006/relationships/slideLayout" Target="../slideLayouts/slideLayout234.xml"/><Relationship Id="rId6" Type="http://schemas.microsoft.com/office/2007/relationships/hdphoto" Target="../media/hdphoto58.wdp"/><Relationship Id="rId5" Type="http://schemas.openxmlformats.org/officeDocument/2006/relationships/image" Target="../media/image170.png"/><Relationship Id="rId4" Type="http://schemas.openxmlformats.org/officeDocument/2006/relationships/image" Target="../media/image151.jpeg"/></Relationships>
</file>

<file path=ppt/slides/_rels/slide9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7.png"/><Relationship Id="rId1" Type="http://schemas.openxmlformats.org/officeDocument/2006/relationships/slideLayout" Target="../slideLayouts/slideLayout234.xml"/><Relationship Id="rId6" Type="http://schemas.microsoft.com/office/2007/relationships/hdphoto" Target="../media/hdphoto59.wdp"/><Relationship Id="rId5" Type="http://schemas.openxmlformats.org/officeDocument/2006/relationships/image" Target="../media/image171.png"/><Relationship Id="rId4" Type="http://schemas.openxmlformats.org/officeDocument/2006/relationships/image" Target="../media/image151.jpeg"/></Relationships>
</file>

<file path=ppt/slides/_rels/slide93.xml.rels><?xml version="1.0" encoding="UTF-8" standalone="yes"?>
<Relationships xmlns="http://schemas.openxmlformats.org/package/2006/relationships"><Relationship Id="rId8" Type="http://schemas.microsoft.com/office/2007/relationships/hdphoto" Target="../media/hdphoto61.wdp"/><Relationship Id="rId3" Type="http://schemas.openxmlformats.org/officeDocument/2006/relationships/image" Target="../media/image150.png"/><Relationship Id="rId7" Type="http://schemas.openxmlformats.org/officeDocument/2006/relationships/image" Target="../media/image173.png"/><Relationship Id="rId2" Type="http://schemas.openxmlformats.org/officeDocument/2006/relationships/image" Target="../media/image147.png"/><Relationship Id="rId1" Type="http://schemas.openxmlformats.org/officeDocument/2006/relationships/slideLayout" Target="../slideLayouts/slideLayout234.xml"/><Relationship Id="rId6" Type="http://schemas.microsoft.com/office/2007/relationships/hdphoto" Target="../media/hdphoto60.wdp"/><Relationship Id="rId5" Type="http://schemas.openxmlformats.org/officeDocument/2006/relationships/image" Target="../media/image172.png"/><Relationship Id="rId4" Type="http://schemas.openxmlformats.org/officeDocument/2006/relationships/image" Target="../media/image151.jpeg"/></Relationships>
</file>

<file path=ppt/slides/_rels/slide94.xml.rels><?xml version="1.0" encoding="UTF-8" standalone="yes"?>
<Relationships xmlns="http://schemas.openxmlformats.org/package/2006/relationships"><Relationship Id="rId8" Type="http://schemas.microsoft.com/office/2007/relationships/hdphoto" Target="../media/hdphoto63.wdp"/><Relationship Id="rId3" Type="http://schemas.openxmlformats.org/officeDocument/2006/relationships/image" Target="../media/image150.png"/><Relationship Id="rId7" Type="http://schemas.openxmlformats.org/officeDocument/2006/relationships/image" Target="../media/image173.png"/><Relationship Id="rId2" Type="http://schemas.openxmlformats.org/officeDocument/2006/relationships/image" Target="../media/image147.png"/><Relationship Id="rId1" Type="http://schemas.openxmlformats.org/officeDocument/2006/relationships/slideLayout" Target="../slideLayouts/slideLayout234.xml"/><Relationship Id="rId6" Type="http://schemas.microsoft.com/office/2007/relationships/hdphoto" Target="../media/hdphoto62.wdp"/><Relationship Id="rId5" Type="http://schemas.openxmlformats.org/officeDocument/2006/relationships/image" Target="../media/image172.png"/><Relationship Id="rId4" Type="http://schemas.openxmlformats.org/officeDocument/2006/relationships/image" Target="../media/image151.jpeg"/></Relationships>
</file>

<file path=ppt/slides/_rels/slide9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8.jpg"/><Relationship Id="rId1" Type="http://schemas.openxmlformats.org/officeDocument/2006/relationships/slideLayout" Target="../slideLayouts/slideLayout6.xml"/><Relationship Id="rId4" Type="http://schemas.openxmlformats.org/officeDocument/2006/relationships/image" Target="../media/image109.png"/></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61352-73D5-0E67-D598-F375959CAE8D}"/>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58450A-909D-F8E5-A8CC-F2089C50D8D3}"/>
              </a:ext>
            </a:extLst>
          </p:cNvPr>
          <p:cNvSpPr>
            <a:spLocks noGrp="1" noChangeArrowheads="1"/>
          </p:cNvSpPr>
          <p:nvPr>
            <p:ph type="title"/>
          </p:nvPr>
        </p:nvSpPr>
        <p:spPr>
          <a:xfrm>
            <a:off x="-26623" y="341700"/>
            <a:ext cx="12192000" cy="1143000"/>
          </a:xfrm>
        </p:spPr>
        <p:txBody>
          <a:bodyPr wrap="square" anchor="ctr">
            <a:noAutofit/>
          </a:bodyPr>
          <a:lstStyle/>
          <a:p>
            <a:r>
              <a:rPr lang="en-US" sz="3400" dirty="0"/>
              <a:t>Cases from the Community: Investigators Discuss the Optimal Management of EGFR-Mutated Non-Small Cell Lung Cancer</a:t>
            </a:r>
          </a:p>
        </p:txBody>
      </p:sp>
      <p:sp>
        <p:nvSpPr>
          <p:cNvPr id="6" name="Text Box 6">
            <a:extLst>
              <a:ext uri="{FF2B5EF4-FFF2-40B4-BE49-F238E27FC236}">
                <a16:creationId xmlns:a16="http://schemas.microsoft.com/office/drawing/2014/main" id="{71EB0851-4AC9-BF90-E5FA-0083F09E04F6}"/>
              </a:ext>
            </a:extLst>
          </p:cNvPr>
          <p:cNvSpPr txBox="1">
            <a:spLocks noChangeArrowheads="1"/>
          </p:cNvSpPr>
          <p:nvPr/>
        </p:nvSpPr>
        <p:spPr bwMode="auto">
          <a:xfrm>
            <a:off x="0" y="158611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May 29,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30 PM – 8:30 PM CT (7:30 PM – 9: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F08F377C-4C46-431B-E24C-B4E20CE3F937}"/>
              </a:ext>
            </a:extLst>
          </p:cNvPr>
          <p:cNvSpPr txBox="1">
            <a:spLocks noChangeArrowheads="1"/>
          </p:cNvSpPr>
          <p:nvPr/>
        </p:nvSpPr>
        <p:spPr bwMode="auto">
          <a:xfrm>
            <a:off x="0" y="558953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cob Sands, MD</a:t>
            </a:r>
          </a:p>
        </p:txBody>
      </p:sp>
      <p:sp>
        <p:nvSpPr>
          <p:cNvPr id="3" name="Text Box 7">
            <a:extLst>
              <a:ext uri="{FF2B5EF4-FFF2-40B4-BE49-F238E27FC236}">
                <a16:creationId xmlns:a16="http://schemas.microsoft.com/office/drawing/2014/main" id="{474D0D1F-E907-2FDD-617B-EA1255924C6F}"/>
              </a:ext>
            </a:extLst>
          </p:cNvPr>
          <p:cNvSpPr txBox="1">
            <a:spLocks noChangeArrowheads="1"/>
          </p:cNvSpPr>
          <p:nvPr/>
        </p:nvSpPr>
        <p:spPr bwMode="auto">
          <a:xfrm>
            <a:off x="4647392" y="2874487"/>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2BBBB1B3-BC4C-9C17-E125-55BFA7D7FE7B}"/>
              </a:ext>
            </a:extLst>
          </p:cNvPr>
          <p:cNvSpPr txBox="1">
            <a:spLocks noChangeArrowheads="1"/>
          </p:cNvSpPr>
          <p:nvPr/>
        </p:nvSpPr>
        <p:spPr bwMode="auto">
          <a:xfrm>
            <a:off x="152400" y="3429000"/>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rah B Goldberg, MD, MPH</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nathan Goldman,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el W Neal, MD, Ph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tonio Passaro, MD, PhD</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5760321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pPr algn="ctr"/>
            <a:r>
              <a:rPr lang="en-US" b="1"/>
              <a:t>Overview</a:t>
            </a:r>
            <a:endParaRPr lang="en-US" b="1" dirty="0"/>
          </a:p>
        </p:txBody>
      </p:sp>
      <p:sp>
        <p:nvSpPr>
          <p:cNvPr id="3" name="Content Placeholder 2"/>
          <p:cNvSpPr>
            <a:spLocks noGrp="1"/>
          </p:cNvSpPr>
          <p:nvPr>
            <p:ph idx="1"/>
          </p:nvPr>
        </p:nvSpPr>
        <p:spPr>
          <a:xfrm>
            <a:off x="1463040" y="1950721"/>
            <a:ext cx="9753600" cy="2176814"/>
          </a:xfrm>
        </p:spPr>
        <p:txBody>
          <a:bodyPr/>
          <a:lstStyle/>
          <a:p>
            <a:pPr marL="457189" indent="-457189">
              <a:buFont typeface="+mj-lt"/>
              <a:buAutoNum type="arabicPeriod"/>
            </a:pPr>
            <a:r>
              <a:rPr lang="en-US" sz="2400" dirty="0">
                <a:solidFill>
                  <a:schemeClr val="tx2">
                    <a:lumMod val="75000"/>
                  </a:schemeClr>
                </a:solidFill>
              </a:rPr>
              <a:t>Challenges for Immune Checkpoint Inhibitors in EGFRm NSCLC</a:t>
            </a:r>
          </a:p>
          <a:p>
            <a:pPr marL="457189" indent="-457189">
              <a:buFont typeface="+mj-lt"/>
              <a:buAutoNum type="arabicPeriod"/>
            </a:pPr>
            <a:r>
              <a:rPr lang="en-US" sz="2400" dirty="0">
                <a:solidFill>
                  <a:schemeClr val="tx2">
                    <a:lumMod val="75000"/>
                  </a:schemeClr>
                </a:solidFill>
              </a:rPr>
              <a:t>Mechanism of Ivonescimab</a:t>
            </a:r>
          </a:p>
          <a:p>
            <a:pPr marL="457189" indent="-457189">
              <a:buFont typeface="+mj-lt"/>
              <a:buAutoNum type="arabicPeriod"/>
            </a:pPr>
            <a:r>
              <a:rPr lang="en-US" sz="2400" dirty="0">
                <a:solidFill>
                  <a:schemeClr val="tx2">
                    <a:lumMod val="75000"/>
                  </a:schemeClr>
                </a:solidFill>
              </a:rPr>
              <a:t>Phase III </a:t>
            </a:r>
            <a:r>
              <a:rPr lang="en-US" sz="2400" dirty="0" err="1">
                <a:solidFill>
                  <a:schemeClr val="tx2">
                    <a:lumMod val="75000"/>
                  </a:schemeClr>
                </a:solidFill>
              </a:rPr>
              <a:t>HARMONi</a:t>
            </a:r>
            <a:r>
              <a:rPr lang="en-US" sz="2400" dirty="0">
                <a:solidFill>
                  <a:schemeClr val="tx2">
                    <a:lumMod val="75000"/>
                  </a:schemeClr>
                </a:solidFill>
              </a:rPr>
              <a:t> results and implications</a:t>
            </a:r>
          </a:p>
          <a:p>
            <a:pPr marL="457189" indent="-457189">
              <a:buFont typeface="+mj-lt"/>
              <a:buAutoNum type="arabicPeriod"/>
            </a:pPr>
            <a:r>
              <a:rPr lang="en-US" sz="2400" dirty="0">
                <a:solidFill>
                  <a:schemeClr val="tx2">
                    <a:lumMod val="75000"/>
                  </a:schemeClr>
                </a:solidFill>
              </a:rPr>
              <a:t>Mechanism of </a:t>
            </a:r>
            <a:r>
              <a:rPr lang="en-US" sz="2400" dirty="0" err="1">
                <a:solidFill>
                  <a:schemeClr val="tx2">
                    <a:lumMod val="75000"/>
                  </a:schemeClr>
                </a:solidFill>
              </a:rPr>
              <a:t>Izalontamab</a:t>
            </a:r>
            <a:r>
              <a:rPr lang="en-US" sz="2400" dirty="0">
                <a:solidFill>
                  <a:schemeClr val="tx2">
                    <a:lumMod val="75000"/>
                  </a:schemeClr>
                </a:solidFill>
              </a:rPr>
              <a:t> </a:t>
            </a:r>
            <a:r>
              <a:rPr lang="en-US" sz="2400" dirty="0" err="1">
                <a:solidFill>
                  <a:schemeClr val="tx2">
                    <a:lumMod val="75000"/>
                  </a:schemeClr>
                </a:solidFill>
              </a:rPr>
              <a:t>brengitecan</a:t>
            </a:r>
            <a:r>
              <a:rPr lang="en-US" sz="2400" dirty="0">
                <a:solidFill>
                  <a:schemeClr val="tx2">
                    <a:lumMod val="75000"/>
                  </a:schemeClr>
                </a:solidFill>
              </a:rPr>
              <a:t> (Iza-</a:t>
            </a:r>
            <a:r>
              <a:rPr lang="en-US" sz="2400" dirty="0" err="1">
                <a:solidFill>
                  <a:schemeClr val="tx2">
                    <a:lumMod val="75000"/>
                  </a:schemeClr>
                </a:solidFill>
              </a:rPr>
              <a:t>bren</a:t>
            </a:r>
            <a:r>
              <a:rPr lang="en-US" sz="2400" dirty="0">
                <a:solidFill>
                  <a:schemeClr val="tx2">
                    <a:lumMod val="75000"/>
                  </a:schemeClr>
                </a:solidFill>
              </a:rPr>
              <a:t>)</a:t>
            </a:r>
          </a:p>
          <a:p>
            <a:pPr marL="457189" indent="-457189">
              <a:buFont typeface="+mj-lt"/>
              <a:buAutoNum type="arabicPeriod"/>
            </a:pPr>
            <a:r>
              <a:rPr lang="en-US" sz="2400" dirty="0">
                <a:solidFill>
                  <a:schemeClr val="tx2">
                    <a:lumMod val="75000"/>
                  </a:schemeClr>
                </a:solidFill>
              </a:rPr>
              <a:t>Current data with Iza-</a:t>
            </a:r>
            <a:r>
              <a:rPr lang="en-US" sz="2400" dirty="0" err="1">
                <a:solidFill>
                  <a:schemeClr val="tx2">
                    <a:lumMod val="75000"/>
                  </a:schemeClr>
                </a:solidFill>
              </a:rPr>
              <a:t>bren</a:t>
            </a:r>
            <a:endParaRPr lang="en-US" sz="2400" dirty="0">
              <a:solidFill>
                <a:schemeClr val="tx2">
                  <a:lumMod val="75000"/>
                </a:schemeClr>
              </a:solidFill>
            </a:endParaRPr>
          </a:p>
        </p:txBody>
      </p:sp>
    </p:spTree>
    <p:extLst>
      <p:ext uri="{BB962C8B-B14F-4D97-AF65-F5344CB8AC3E}">
        <p14:creationId xmlns:p14="http://schemas.microsoft.com/office/powerpoint/2010/main" val="37006890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2D093D7-5A07-1B04-E545-D9457F41E60E}"/>
              </a:ext>
            </a:extLst>
          </p:cNvPr>
          <p:cNvSpPr>
            <a:spLocks noGrp="1"/>
          </p:cNvSpPr>
          <p:nvPr>
            <p:ph type="body" sz="quarter" idx="28"/>
          </p:nvPr>
        </p:nvSpPr>
        <p:spPr>
          <a:xfrm>
            <a:off x="503316" y="5382805"/>
            <a:ext cx="4998719" cy="471989"/>
          </a:xfrm>
        </p:spPr>
        <p:txBody>
          <a:bodyPr/>
          <a:lstStyle/>
          <a:p>
            <a:pPr algn="ctr"/>
            <a:r>
              <a:rPr lang="en-US" dirty="0"/>
              <a:t>Waterfall Plot</a:t>
            </a:r>
          </a:p>
        </p:txBody>
      </p:sp>
      <p:sp>
        <p:nvSpPr>
          <p:cNvPr id="5" name="Title 4">
            <a:extLst>
              <a:ext uri="{FF2B5EF4-FFF2-40B4-BE49-F238E27FC236}">
                <a16:creationId xmlns:a16="http://schemas.microsoft.com/office/drawing/2014/main" id="{482CBB95-115F-2344-5480-50E6EF3E2C6C}"/>
              </a:ext>
            </a:extLst>
          </p:cNvPr>
          <p:cNvSpPr>
            <a:spLocks noGrp="1"/>
          </p:cNvSpPr>
          <p:nvPr>
            <p:ph type="title"/>
          </p:nvPr>
        </p:nvSpPr>
        <p:spPr>
          <a:xfrm>
            <a:off x="707137" y="1075826"/>
            <a:ext cx="10777727" cy="445635"/>
          </a:xfrm>
        </p:spPr>
        <p:txBody>
          <a:bodyPr/>
          <a:lstStyle/>
          <a:p>
            <a:r>
              <a:rPr lang="en-US" sz="3200" dirty="0"/>
              <a:t>First Line PD-1 Checkpoint Inhibition in EGFRm NSCLC</a:t>
            </a:r>
          </a:p>
        </p:txBody>
      </p:sp>
      <p:sp>
        <p:nvSpPr>
          <p:cNvPr id="7" name="Text Placeholder 6">
            <a:extLst>
              <a:ext uri="{FF2B5EF4-FFF2-40B4-BE49-F238E27FC236}">
                <a16:creationId xmlns:a16="http://schemas.microsoft.com/office/drawing/2014/main" id="{097FF436-3166-788E-7735-2CAD2A5C7599}"/>
              </a:ext>
            </a:extLst>
          </p:cNvPr>
          <p:cNvSpPr>
            <a:spLocks noGrp="1"/>
          </p:cNvSpPr>
          <p:nvPr>
            <p:ph type="body" sz="quarter" idx="30"/>
          </p:nvPr>
        </p:nvSpPr>
        <p:spPr>
          <a:xfrm>
            <a:off x="6295111" y="5387885"/>
            <a:ext cx="4998719" cy="471989"/>
          </a:xfrm>
        </p:spPr>
        <p:txBody>
          <a:bodyPr/>
          <a:lstStyle/>
          <a:p>
            <a:pPr algn="ctr"/>
            <a:r>
              <a:rPr lang="en-US" dirty="0"/>
              <a:t>Swimmers Plot</a:t>
            </a:r>
          </a:p>
        </p:txBody>
      </p:sp>
      <p:pic>
        <p:nvPicPr>
          <p:cNvPr id="5126" name="Picture 6" descr="Figure 2">
            <a:extLst>
              <a:ext uri="{FF2B5EF4-FFF2-40B4-BE49-F238E27FC236}">
                <a16:creationId xmlns:a16="http://schemas.microsoft.com/office/drawing/2014/main" id="{6ADA4B0D-5585-DFFE-FBB2-5BC1531A553D}"/>
              </a:ext>
            </a:extLst>
          </p:cNvPr>
          <p:cNvPicPr>
            <a:picLocks noGrp="1" noChangeAspect="1" noChangeArrowheads="1"/>
          </p:cNvPicPr>
          <p:nvPr>
            <p:ph type="pic" sz="quarter" idx="29"/>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t="3" b="1185"/>
          <a:stretch>
            <a:fillRect/>
          </a:stretch>
        </p:blipFill>
        <p:spPr bwMode="auto">
          <a:xfrm>
            <a:off x="5898572" y="1804415"/>
            <a:ext cx="6118014" cy="3536511"/>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pic>
      <p:pic>
        <p:nvPicPr>
          <p:cNvPr id="5128" name="Picture 8" descr="Figure 1">
            <a:extLst>
              <a:ext uri="{FF2B5EF4-FFF2-40B4-BE49-F238E27FC236}">
                <a16:creationId xmlns:a16="http://schemas.microsoft.com/office/drawing/2014/main" id="{C7C95C1C-CE92-B5E3-2FB8-0F884337C31A}"/>
              </a:ext>
            </a:extLst>
          </p:cNvPr>
          <p:cNvPicPr>
            <a:picLocks noGrp="1" noChangeAspect="1" noChangeArrowheads="1"/>
          </p:cNvPicPr>
          <p:nvPr>
            <p:ph type="pic" sz="quarter" idx="23"/>
          </p:nvPr>
        </p:nvPicPr>
        <p:blipFill rotWithShape="1">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t="518" b="873"/>
          <a:stretch>
            <a:fillRect/>
          </a:stretch>
        </p:blipFill>
        <p:spPr bwMode="auto">
          <a:xfrm>
            <a:off x="286319" y="1804415"/>
            <a:ext cx="5215716" cy="3536511"/>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4484546D-97BA-0C5B-31AC-2F9876418875}"/>
              </a:ext>
            </a:extLst>
          </p:cNvPr>
          <p:cNvSpPr txBox="1"/>
          <p:nvPr/>
        </p:nvSpPr>
        <p:spPr>
          <a:xfrm>
            <a:off x="7577018" y="6032065"/>
            <a:ext cx="3006671"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Lisberg, et al. J </a:t>
            </a:r>
            <a:r>
              <a:rPr kumimoji="0" lang="en-US" sz="1200" b="0" i="0" u="none" strike="noStrike" kern="1200" cap="none" spc="0" normalizeH="0" baseline="0" noProof="0" dirty="0" err="1">
                <a:ln>
                  <a:noFill/>
                </a:ln>
                <a:solidFill>
                  <a:srgbClr val="57585B"/>
                </a:solidFill>
                <a:effectLst/>
                <a:uLnTx/>
                <a:uFillTx/>
                <a:latin typeface="Helvetica"/>
                <a:ea typeface="+mn-ea"/>
                <a:cs typeface="+mn-cs"/>
              </a:rPr>
              <a:t>Thorac</a:t>
            </a:r>
            <a:r>
              <a:rPr kumimoji="0" lang="en-US" sz="1200" b="0" i="0" u="none" strike="noStrike" kern="1200" cap="none" spc="0" normalizeH="0" baseline="0" noProof="0" dirty="0">
                <a:ln>
                  <a:noFill/>
                </a:ln>
                <a:solidFill>
                  <a:srgbClr val="57585B"/>
                </a:solidFill>
                <a:effectLst/>
                <a:uLnTx/>
                <a:uFillTx/>
                <a:latin typeface="Helvetica"/>
                <a:ea typeface="+mn-ea"/>
                <a:cs typeface="+mn-cs"/>
              </a:rPr>
              <a:t> Oncol, 2018.</a:t>
            </a:r>
          </a:p>
        </p:txBody>
      </p:sp>
    </p:spTree>
    <p:extLst>
      <p:ext uri="{BB962C8B-B14F-4D97-AF65-F5344CB8AC3E}">
        <p14:creationId xmlns:p14="http://schemas.microsoft.com/office/powerpoint/2010/main" val="3306109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114921C-5EA9-49F0-990D-B810B385C567}"/>
              </a:ext>
            </a:extLst>
          </p:cNvPr>
          <p:cNvSpPr>
            <a:spLocks noGrp="1"/>
          </p:cNvSpPr>
          <p:nvPr>
            <p:ph type="body" sz="quarter" idx="20"/>
          </p:nvPr>
        </p:nvSpPr>
        <p:spPr>
          <a:xfrm>
            <a:off x="6096000" y="2438401"/>
            <a:ext cx="5742432" cy="1534010"/>
          </a:xfrm>
        </p:spPr>
        <p:txBody>
          <a:bodyPr/>
          <a:lstStyle/>
          <a:p>
            <a:pPr marL="380990" indent="-380990">
              <a:buFont typeface="Arial" panose="020B0604020202020204" pitchFamily="34" charset="0"/>
              <a:buChar char="•"/>
            </a:pPr>
            <a:r>
              <a:rPr lang="en-US" dirty="0"/>
              <a:t>Meta-Analysis JAMA Oncology 2018</a:t>
            </a:r>
          </a:p>
          <a:p>
            <a:pPr marL="380990" indent="-380990">
              <a:buFont typeface="Arial" panose="020B0604020202020204" pitchFamily="34" charset="0"/>
              <a:buChar char="•"/>
            </a:pPr>
            <a:r>
              <a:rPr lang="en-US" dirty="0"/>
              <a:t>KEYNOTE-789: pembrolizumab + chemo</a:t>
            </a:r>
          </a:p>
          <a:p>
            <a:pPr marL="380990" indent="-380990">
              <a:buFont typeface="Arial" panose="020B0604020202020204" pitchFamily="34" charset="0"/>
              <a:buChar char="•"/>
            </a:pPr>
            <a:r>
              <a:rPr lang="en-US" dirty="0"/>
              <a:t>CheckMate-722: nivolumab + chemo</a:t>
            </a:r>
          </a:p>
          <a:p>
            <a:pPr marL="380990" indent="-380990">
              <a:buFont typeface="Arial" panose="020B0604020202020204" pitchFamily="34" charset="0"/>
              <a:buChar char="•"/>
            </a:pPr>
            <a:r>
              <a:rPr lang="en-US" dirty="0"/>
              <a:t>ORIENT-31: </a:t>
            </a:r>
            <a:r>
              <a:rPr lang="en-US" dirty="0" err="1"/>
              <a:t>sintilimab</a:t>
            </a:r>
            <a:r>
              <a:rPr lang="en-US" dirty="0"/>
              <a:t> + chemo</a:t>
            </a:r>
          </a:p>
        </p:txBody>
      </p:sp>
      <p:sp>
        <p:nvSpPr>
          <p:cNvPr id="5" name="Text Placeholder 4">
            <a:extLst>
              <a:ext uri="{FF2B5EF4-FFF2-40B4-BE49-F238E27FC236}">
                <a16:creationId xmlns:a16="http://schemas.microsoft.com/office/drawing/2014/main" id="{D37284F4-D311-66AD-A1F9-54687805E319}"/>
              </a:ext>
            </a:extLst>
          </p:cNvPr>
          <p:cNvSpPr>
            <a:spLocks noGrp="1"/>
          </p:cNvSpPr>
          <p:nvPr>
            <p:ph type="body" sz="quarter" idx="21"/>
          </p:nvPr>
        </p:nvSpPr>
        <p:spPr/>
        <p:txBody>
          <a:bodyPr/>
          <a:lstStyle/>
          <a:p>
            <a:r>
              <a:rPr lang="en-US" dirty="0"/>
              <a:t>Key Chemo-IO trials post-TKI</a:t>
            </a:r>
          </a:p>
        </p:txBody>
      </p:sp>
      <p:sp>
        <p:nvSpPr>
          <p:cNvPr id="7" name="Title 6">
            <a:extLst>
              <a:ext uri="{FF2B5EF4-FFF2-40B4-BE49-F238E27FC236}">
                <a16:creationId xmlns:a16="http://schemas.microsoft.com/office/drawing/2014/main" id="{59B6E8FE-42D2-2121-005D-59CC182A1A53}"/>
              </a:ext>
            </a:extLst>
          </p:cNvPr>
          <p:cNvSpPr>
            <a:spLocks noGrp="1"/>
          </p:cNvSpPr>
          <p:nvPr>
            <p:ph type="title"/>
          </p:nvPr>
        </p:nvSpPr>
        <p:spPr/>
        <p:txBody>
          <a:bodyPr/>
          <a:lstStyle/>
          <a:p>
            <a:r>
              <a:rPr lang="en-US" dirty="0"/>
              <a:t>Poor Immunotherapy Response in EGFRm</a:t>
            </a:r>
          </a:p>
        </p:txBody>
      </p:sp>
      <p:pic>
        <p:nvPicPr>
          <p:cNvPr id="8" name="New picture">
            <a:extLst>
              <a:ext uri="{FF2B5EF4-FFF2-40B4-BE49-F238E27FC236}">
                <a16:creationId xmlns:a16="http://schemas.microsoft.com/office/drawing/2014/main" id="{D7568395-DD1F-6487-B09B-F4977E342246}"/>
              </a:ext>
            </a:extLst>
          </p:cNvPr>
          <p:cNvPicPr>
            <a:picLocks noGrp="1" noChangeAspect="1" noChangeArrowheads="1"/>
          </p:cNvPicPr>
          <p:nvPr>
            <p:ph type="pic" sz="quarter" idx="22"/>
            <p:custDataLst>
              <p:tags r:id="rId1"/>
            </p:custDataLst>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b="48513"/>
          <a:stretch>
            <a:fillRect/>
          </a:stretch>
        </p:blipFill>
        <p:spPr bwMode="auto">
          <a:xfrm>
            <a:off x="353569" y="2249661"/>
            <a:ext cx="5968305" cy="3780943"/>
          </a:xfrm>
          <a:prstGeom prst="rect">
            <a:avLst/>
          </a:prstGeom>
          <a:noFill/>
          <a:ln w="19050" cap="flat" algn="ctr">
            <a:solidFill>
              <a:schemeClr val="accent1">
                <a:alpha val="98000"/>
              </a:schemeClr>
            </a:solidFill>
            <a:prstDash val="solid"/>
            <a:round/>
            <a:headEnd type="none" w="med" len="med"/>
            <a:tailEnd type="none" w="med" len="me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4D1329E-4205-8191-CBD4-9B570E7B89C5}"/>
              </a:ext>
            </a:extLst>
          </p:cNvPr>
          <p:cNvSpPr txBox="1"/>
          <p:nvPr/>
        </p:nvSpPr>
        <p:spPr>
          <a:xfrm>
            <a:off x="8028122" y="5744706"/>
            <a:ext cx="3006671" cy="1015663"/>
          </a:xfrm>
          <a:prstGeom prst="rect">
            <a:avLst/>
          </a:prstGeom>
          <a:noFill/>
        </p:spPr>
        <p:txBody>
          <a:bodyPr wrap="square" rtlCol="0">
            <a:spAutoFit/>
          </a:bodyPr>
          <a:lstStyle/>
          <a:p>
            <a:pPr marL="304792" marR="0" lvl="0" indent="-304792"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Lee, et al. JAMA Oncology, 2018.</a:t>
            </a:r>
          </a:p>
          <a:p>
            <a:pPr marL="304792" marR="0" lvl="0" indent="-304792"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Yang, et al. J Clin Oncol, 2024.</a:t>
            </a:r>
          </a:p>
          <a:p>
            <a:pPr marL="304792" marR="0" lvl="0" indent="-304792"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Mok, et al. J Clin Oncol, 2024.</a:t>
            </a:r>
          </a:p>
          <a:p>
            <a:pPr marL="304792" marR="0" lvl="0" indent="-304792"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Lu, et al. Lancet Oncol, 2022 and Lancet Respir Med, 2023.</a:t>
            </a:r>
          </a:p>
        </p:txBody>
      </p:sp>
      <p:sp>
        <p:nvSpPr>
          <p:cNvPr id="10" name="Text Placeholder 4">
            <a:extLst>
              <a:ext uri="{FF2B5EF4-FFF2-40B4-BE49-F238E27FC236}">
                <a16:creationId xmlns:a16="http://schemas.microsoft.com/office/drawing/2014/main" id="{A584E9C6-6DBA-D07F-9F31-32DACF2BC28C}"/>
              </a:ext>
            </a:extLst>
          </p:cNvPr>
          <p:cNvSpPr txBox="1">
            <a:spLocks/>
          </p:cNvSpPr>
          <p:nvPr/>
        </p:nvSpPr>
        <p:spPr>
          <a:xfrm>
            <a:off x="353569" y="1950720"/>
            <a:ext cx="5120639" cy="287323"/>
          </a:xfrm>
          <a:prstGeom prst="rect">
            <a:avLst/>
          </a:prstGeom>
        </p:spPr>
        <p:txBody>
          <a:bodyPr vert="horz" wrap="square" lIns="487680" tIns="0" rIns="0" bIns="0" rtlCol="0">
            <a:spAutoFit/>
          </a:bodyPr>
          <a:lstStyle>
            <a:lvl1pPr marL="0" indent="0" algn="l" defTabSz="685800" rtl="0" eaLnBrk="1" latinLnBrk="0" hangingPunct="1">
              <a:lnSpc>
                <a:spcPct val="100000"/>
              </a:lnSpc>
              <a:spcBef>
                <a:spcPts val="750"/>
              </a:spcBef>
              <a:buFontTx/>
              <a:buNone/>
              <a:defRPr sz="1400" b="1" i="0" kern="1200" cap="all" baseline="0">
                <a:solidFill>
                  <a:srgbClr val="58595B"/>
                </a:solidFill>
                <a:latin typeface="Helvetica" pitchFamily="2" charset="0"/>
                <a:ea typeface="+mn-ea"/>
                <a:cs typeface="+mn-cs"/>
              </a:defRPr>
            </a:lvl1pPr>
            <a:lvl2pPr marL="448056" indent="-173736" algn="l" defTabSz="685800" rtl="0" eaLnBrk="1" latinLnBrk="0" hangingPunct="1">
              <a:lnSpc>
                <a:spcPct val="90000"/>
              </a:lnSpc>
              <a:spcBef>
                <a:spcPts val="375"/>
              </a:spcBef>
              <a:buFont typeface="Arial" panose="020B0604020202020204" pitchFamily="34" charset="0"/>
              <a:buChar char="•"/>
              <a:defRPr sz="1400" b="0" i="0" kern="1200" baseline="0">
                <a:solidFill>
                  <a:srgbClr val="58595B"/>
                </a:solidFill>
                <a:latin typeface="Helvetica Regular" pitchFamily="2" charset="0"/>
                <a:ea typeface="+mn-ea"/>
                <a:cs typeface="+mn-cs"/>
              </a:defRPr>
            </a:lvl2pPr>
            <a:lvl3pPr marL="722376" indent="-171450" algn="l" defTabSz="685800" rtl="0" eaLnBrk="1" latinLnBrk="0" hangingPunct="1">
              <a:lnSpc>
                <a:spcPct val="90000"/>
              </a:lnSpc>
              <a:spcBef>
                <a:spcPts val="375"/>
              </a:spcBef>
              <a:buFont typeface="Arial" panose="020B0604020202020204" pitchFamily="34" charset="0"/>
              <a:buChar char="•"/>
              <a:defRPr sz="1400" b="0" kern="1200">
                <a:solidFill>
                  <a:srgbClr val="58595B"/>
                </a:solidFill>
                <a:latin typeface="Helvetica" pitchFamily="2" charset="0"/>
                <a:ea typeface="+mn-ea"/>
                <a:cs typeface="+mn-cs"/>
              </a:defRPr>
            </a:lvl3pPr>
            <a:lvl4pPr marL="996696" indent="-171450" algn="l" defTabSz="685800" rtl="0" eaLnBrk="1" latinLnBrk="0" hangingPunct="1">
              <a:lnSpc>
                <a:spcPct val="90000"/>
              </a:lnSpc>
              <a:spcBef>
                <a:spcPts val="375"/>
              </a:spcBef>
              <a:buFont typeface="Arial" panose="020B0604020202020204" pitchFamily="34" charset="0"/>
              <a:buChar char="•"/>
              <a:defRPr sz="1400" b="0" i="0" kern="1200">
                <a:solidFill>
                  <a:srgbClr val="58595B"/>
                </a:solidFill>
                <a:latin typeface="Helvetica" pitchFamily="2" charset="0"/>
                <a:ea typeface="+mn-ea"/>
                <a:cs typeface="+mn-cs"/>
              </a:defRPr>
            </a:lvl4pPr>
            <a:lvl5pPr marL="1271016" indent="-171450" algn="l" defTabSz="685800" rtl="0" eaLnBrk="1" latinLnBrk="0" hangingPunct="1">
              <a:lnSpc>
                <a:spcPct val="90000"/>
              </a:lnSpc>
              <a:spcBef>
                <a:spcPts val="375"/>
              </a:spcBef>
              <a:buFont typeface="Arial" panose="020B0604020202020204" pitchFamily="34" charset="0"/>
              <a:buChar char="•"/>
              <a:defRPr sz="1400" b="0" kern="1200">
                <a:solidFill>
                  <a:srgbClr val="58595B"/>
                </a:solidFill>
                <a:latin typeface="Helvetica"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750"/>
              </a:spcBef>
              <a:spcAft>
                <a:spcPts val="0"/>
              </a:spcAft>
              <a:buClrTx/>
              <a:buSzTx/>
              <a:buFontTx/>
              <a:buNone/>
              <a:tabLst/>
              <a:defRPr/>
            </a:pPr>
            <a:r>
              <a:rPr kumimoji="0" lang="en-US" sz="1867" b="1" i="0" u="none" strike="noStrike" kern="1200" cap="all" spc="0" normalizeH="0" baseline="0" noProof="0" dirty="0">
                <a:ln>
                  <a:noFill/>
                </a:ln>
                <a:solidFill>
                  <a:srgbClr val="58595B"/>
                </a:solidFill>
                <a:effectLst/>
                <a:uLnTx/>
                <a:uFillTx/>
                <a:latin typeface="Helvetica" pitchFamily="2" charset="0"/>
                <a:ea typeface="+mn-ea"/>
                <a:cs typeface="+mn-cs"/>
              </a:rPr>
              <a:t>Overall survival Hazard Ratios</a:t>
            </a:r>
          </a:p>
        </p:txBody>
      </p:sp>
    </p:spTree>
    <p:extLst>
      <p:ext uri="{BB962C8B-B14F-4D97-AF65-F5344CB8AC3E}">
        <p14:creationId xmlns:p14="http://schemas.microsoft.com/office/powerpoint/2010/main" val="33663922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par>
                                <p:cTn id="8" presetID="9"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Effect transition="in" filter="dissolve">
                                      <p:cBhvr>
                                        <p:cTn id="15" dur="500"/>
                                        <p:tgtEl>
                                          <p:spTgt spid="5">
                                            <p:txEl>
                                              <p:pRg st="0" end="0"/>
                                            </p:txEl>
                                          </p:spTgt>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4">
                                            <p:txEl>
                                              <p:pRg st="0" end="0"/>
                                            </p:txEl>
                                          </p:spTgt>
                                        </p:tgtEl>
                                        <p:attrNameLst>
                                          <p:attrName>style.visibility</p:attrName>
                                        </p:attrNameLst>
                                      </p:cBhvr>
                                      <p:to>
                                        <p:strVal val="visible"/>
                                      </p:to>
                                    </p:set>
                                    <p:animEffect transition="in" filter="dissolve">
                                      <p:cBhvr>
                                        <p:cTn id="18" dur="500"/>
                                        <p:tgtEl>
                                          <p:spTgt spid="4">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4">
                                            <p:txEl>
                                              <p:pRg st="1" end="1"/>
                                            </p:txEl>
                                          </p:spTgt>
                                        </p:tgtEl>
                                        <p:attrNameLst>
                                          <p:attrName>style.visibility</p:attrName>
                                        </p:attrNameLst>
                                      </p:cBhvr>
                                      <p:to>
                                        <p:strVal val="visible"/>
                                      </p:to>
                                    </p:set>
                                    <p:animEffect transition="in" filter="dissolve">
                                      <p:cBhvr>
                                        <p:cTn id="23" dur="500"/>
                                        <p:tgtEl>
                                          <p:spTgt spid="4">
                                            <p:txEl>
                                              <p:pRg st="1" end="1"/>
                                            </p:txEl>
                                          </p:spTgt>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Effect transition="in" filter="dissolve">
                                      <p:cBhvr>
                                        <p:cTn id="26" dur="500"/>
                                        <p:tgtEl>
                                          <p:spTgt spid="4">
                                            <p:txEl>
                                              <p:pRg st="2" end="2"/>
                                            </p:txEl>
                                          </p:spTgt>
                                        </p:tgtEl>
                                      </p:cBhvr>
                                    </p:animEffect>
                                  </p:childTnLst>
                                </p:cTn>
                              </p:par>
                              <p:par>
                                <p:cTn id="27" presetID="9" presetClass="entr" presetSubtype="0" fill="hold" grpId="0" nodeType="withEffect">
                                  <p:stCondLst>
                                    <p:cond delay="0"/>
                                  </p:stCondLst>
                                  <p:childTnLst>
                                    <p:set>
                                      <p:cBhvr>
                                        <p:cTn id="28" dur="1" fill="hold">
                                          <p:stCondLst>
                                            <p:cond delay="0"/>
                                          </p:stCondLst>
                                        </p:cTn>
                                        <p:tgtEl>
                                          <p:spTgt spid="4">
                                            <p:txEl>
                                              <p:pRg st="3" end="3"/>
                                            </p:txEl>
                                          </p:spTgt>
                                        </p:tgtEl>
                                        <p:attrNameLst>
                                          <p:attrName>style.visibility</p:attrName>
                                        </p:attrNameLst>
                                      </p:cBhvr>
                                      <p:to>
                                        <p:strVal val="visible"/>
                                      </p:to>
                                    </p:set>
                                    <p:animEffect transition="in" filter="dissolve">
                                      <p:cBhvr>
                                        <p:cTn id="29"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build="p"/>
      <p:bldP spid="10"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4BAAC1D-BEDA-FEB9-E92F-74A8B1209FC7}"/>
              </a:ext>
            </a:extLst>
          </p:cNvPr>
          <p:cNvSpPr>
            <a:spLocks noGrp="1"/>
          </p:cNvSpPr>
          <p:nvPr>
            <p:ph type="body" sz="quarter" idx="20"/>
          </p:nvPr>
        </p:nvSpPr>
        <p:spPr>
          <a:xfrm>
            <a:off x="853440" y="2438401"/>
            <a:ext cx="5120640" cy="1949573"/>
          </a:xfrm>
        </p:spPr>
        <p:txBody>
          <a:bodyPr/>
          <a:lstStyle/>
          <a:p>
            <a:pPr marL="380990" indent="-380990">
              <a:buFont typeface="Arial" panose="020B0604020202020204" pitchFamily="34" charset="0"/>
              <a:buChar char="•"/>
            </a:pPr>
            <a:r>
              <a:rPr lang="en-US" dirty="0"/>
              <a:t>Low tumor mutational burden</a:t>
            </a:r>
          </a:p>
          <a:p>
            <a:pPr marL="380990" indent="-380990">
              <a:buFont typeface="Arial" panose="020B0604020202020204" pitchFamily="34" charset="0"/>
              <a:buChar char="•"/>
            </a:pPr>
            <a:r>
              <a:rPr lang="en-US" dirty="0"/>
              <a:t>Immunosuppressive TME</a:t>
            </a:r>
          </a:p>
          <a:p>
            <a:pPr marL="380990" indent="-380990">
              <a:buFont typeface="Arial" panose="020B0604020202020204" pitchFamily="34" charset="0"/>
              <a:buChar char="•"/>
            </a:pPr>
            <a:r>
              <a:rPr lang="en-US" dirty="0"/>
              <a:t>Disrupted helper T cell signaling</a:t>
            </a:r>
          </a:p>
          <a:p>
            <a:pPr marL="380990" indent="-380990">
              <a:buFont typeface="Arial" panose="020B0604020202020204" pitchFamily="34" charset="0"/>
              <a:buChar char="•"/>
            </a:pPr>
            <a:r>
              <a:rPr lang="en-US" dirty="0"/>
              <a:t>EGFR-mediated suppression of IFN-𝛄</a:t>
            </a:r>
          </a:p>
          <a:p>
            <a:pPr marL="380990" indent="-380990">
              <a:buFont typeface="Arial" panose="020B0604020202020204" pitchFamily="34" charset="0"/>
              <a:buChar char="•"/>
            </a:pPr>
            <a:r>
              <a:rPr lang="en-US" dirty="0"/>
              <a:t>TGF-β upregulation</a:t>
            </a:r>
          </a:p>
        </p:txBody>
      </p:sp>
      <p:sp>
        <p:nvSpPr>
          <p:cNvPr id="5" name="Text Placeholder 4">
            <a:extLst>
              <a:ext uri="{FF2B5EF4-FFF2-40B4-BE49-F238E27FC236}">
                <a16:creationId xmlns:a16="http://schemas.microsoft.com/office/drawing/2014/main" id="{2E0C35A2-0A7B-8BBC-BA79-E46322C1FD15}"/>
              </a:ext>
            </a:extLst>
          </p:cNvPr>
          <p:cNvSpPr>
            <a:spLocks noGrp="1"/>
          </p:cNvSpPr>
          <p:nvPr>
            <p:ph type="body" sz="quarter" idx="21"/>
          </p:nvPr>
        </p:nvSpPr>
        <p:spPr/>
        <p:txBody>
          <a:bodyPr/>
          <a:lstStyle/>
          <a:p>
            <a:r>
              <a:rPr lang="en-US" dirty="0"/>
              <a:t>Mechanisms</a:t>
            </a:r>
          </a:p>
        </p:txBody>
      </p:sp>
      <p:sp>
        <p:nvSpPr>
          <p:cNvPr id="7" name="Title 6">
            <a:extLst>
              <a:ext uri="{FF2B5EF4-FFF2-40B4-BE49-F238E27FC236}">
                <a16:creationId xmlns:a16="http://schemas.microsoft.com/office/drawing/2014/main" id="{0032D4F6-6F4C-05E4-7AEB-F6E772939436}"/>
              </a:ext>
            </a:extLst>
          </p:cNvPr>
          <p:cNvSpPr>
            <a:spLocks noGrp="1"/>
          </p:cNvSpPr>
          <p:nvPr>
            <p:ph type="title"/>
          </p:nvPr>
        </p:nvSpPr>
        <p:spPr/>
        <p:txBody>
          <a:bodyPr/>
          <a:lstStyle/>
          <a:p>
            <a:r>
              <a:rPr lang="en-US" dirty="0"/>
              <a:t>Poor Immunotherapy Response in EGFRm</a:t>
            </a:r>
          </a:p>
        </p:txBody>
      </p:sp>
      <p:pic>
        <p:nvPicPr>
          <p:cNvPr id="13" name="Picture 12" descr="A graph of a number of numbers&#10;&#10;AI-generated content may be incorrect.">
            <a:extLst>
              <a:ext uri="{FF2B5EF4-FFF2-40B4-BE49-F238E27FC236}">
                <a16:creationId xmlns:a16="http://schemas.microsoft.com/office/drawing/2014/main" id="{66CFC5C9-2079-C938-698C-9BA601819E4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730241" y="1771368"/>
            <a:ext cx="5486399" cy="4117193"/>
          </a:xfrm>
          <a:prstGeom prst="rect">
            <a:avLst/>
          </a:prstGeom>
        </p:spPr>
      </p:pic>
      <p:sp>
        <p:nvSpPr>
          <p:cNvPr id="15" name="TextBox 14">
            <a:extLst>
              <a:ext uri="{FF2B5EF4-FFF2-40B4-BE49-F238E27FC236}">
                <a16:creationId xmlns:a16="http://schemas.microsoft.com/office/drawing/2014/main" id="{86F827D2-CA61-BA8E-57AF-6E24DBDC492B}"/>
              </a:ext>
            </a:extLst>
          </p:cNvPr>
          <p:cNvSpPr txBox="1"/>
          <p:nvPr/>
        </p:nvSpPr>
        <p:spPr>
          <a:xfrm>
            <a:off x="6096001" y="5995566"/>
            <a:ext cx="3006671"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Shi, et al. Cancer Medicine, 2021.</a:t>
            </a:r>
          </a:p>
        </p:txBody>
      </p:sp>
      <p:sp>
        <p:nvSpPr>
          <p:cNvPr id="16" name="Right Bracket 15">
            <a:extLst>
              <a:ext uri="{FF2B5EF4-FFF2-40B4-BE49-F238E27FC236}">
                <a16:creationId xmlns:a16="http://schemas.microsoft.com/office/drawing/2014/main" id="{4A26BA6B-B12A-3511-60F4-9B07131A0FC9}"/>
              </a:ext>
            </a:extLst>
          </p:cNvPr>
          <p:cNvSpPr/>
          <p:nvPr/>
        </p:nvSpPr>
        <p:spPr>
          <a:xfrm rot="5400000">
            <a:off x="6378495" y="5040354"/>
            <a:ext cx="237893" cy="594729"/>
          </a:xfrm>
          <a:prstGeom prst="rightBracket">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7585B"/>
              </a:solidFill>
              <a:effectLst/>
              <a:uLnTx/>
              <a:uFillTx/>
              <a:latin typeface="Helvetica"/>
              <a:ea typeface="+mn-ea"/>
              <a:cs typeface="+mn-cs"/>
            </a:endParaRPr>
          </a:p>
        </p:txBody>
      </p:sp>
    </p:spTree>
    <p:extLst>
      <p:ext uri="{BB962C8B-B14F-4D97-AF65-F5344CB8AC3E}">
        <p14:creationId xmlns:p14="http://schemas.microsoft.com/office/powerpoint/2010/main" val="40942136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checkerboard(across)">
                                      <p:cBhvr>
                                        <p:cTn id="7" dur="500"/>
                                        <p:tgtEl>
                                          <p:spTgt spid="13"/>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checkerboard(across)">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9D40C1-0259-46AA-5F91-11CC042F2D1F}"/>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3DBC1764-A17E-D65E-9C56-5347A9555148}"/>
              </a:ext>
            </a:extLst>
          </p:cNvPr>
          <p:cNvSpPr>
            <a:spLocks noGrp="1"/>
          </p:cNvSpPr>
          <p:nvPr>
            <p:ph type="body" sz="quarter" idx="20"/>
          </p:nvPr>
        </p:nvSpPr>
        <p:spPr>
          <a:xfrm>
            <a:off x="853440" y="2438401"/>
            <a:ext cx="5120640" cy="1949573"/>
          </a:xfrm>
        </p:spPr>
        <p:txBody>
          <a:bodyPr/>
          <a:lstStyle/>
          <a:p>
            <a:pPr marL="380990" indent="-380990">
              <a:buFont typeface="Arial" panose="020B0604020202020204" pitchFamily="34" charset="0"/>
              <a:buChar char="•"/>
            </a:pPr>
            <a:r>
              <a:rPr lang="en-US" dirty="0"/>
              <a:t>Low tumor mutational burden</a:t>
            </a:r>
          </a:p>
          <a:p>
            <a:pPr marL="380990" indent="-380990">
              <a:buFont typeface="Arial" panose="020B0604020202020204" pitchFamily="34" charset="0"/>
              <a:buChar char="•"/>
            </a:pPr>
            <a:r>
              <a:rPr lang="en-US" dirty="0"/>
              <a:t>Immunosuppressive TME</a:t>
            </a:r>
          </a:p>
          <a:p>
            <a:pPr marL="380990" indent="-380990">
              <a:buFont typeface="Arial" panose="020B0604020202020204" pitchFamily="34" charset="0"/>
              <a:buChar char="•"/>
            </a:pPr>
            <a:r>
              <a:rPr lang="en-US" dirty="0"/>
              <a:t>Disrupted helper T cell signaling</a:t>
            </a:r>
          </a:p>
          <a:p>
            <a:pPr marL="380990" indent="-380990">
              <a:buFont typeface="Arial" panose="020B0604020202020204" pitchFamily="34" charset="0"/>
              <a:buChar char="•"/>
            </a:pPr>
            <a:r>
              <a:rPr lang="en-US" dirty="0"/>
              <a:t>EGFR-mediated suppression of IFN-𝛄</a:t>
            </a:r>
          </a:p>
          <a:p>
            <a:pPr marL="380990" indent="-380990">
              <a:buFont typeface="Arial" panose="020B0604020202020204" pitchFamily="34" charset="0"/>
              <a:buChar char="•"/>
            </a:pPr>
            <a:r>
              <a:rPr lang="en-US" dirty="0"/>
              <a:t>TGF-β upregulation</a:t>
            </a:r>
          </a:p>
        </p:txBody>
      </p:sp>
      <p:sp>
        <p:nvSpPr>
          <p:cNvPr id="5" name="Text Placeholder 4">
            <a:extLst>
              <a:ext uri="{FF2B5EF4-FFF2-40B4-BE49-F238E27FC236}">
                <a16:creationId xmlns:a16="http://schemas.microsoft.com/office/drawing/2014/main" id="{D1CCF24B-8E7A-7D91-83D4-96FDC3696064}"/>
              </a:ext>
            </a:extLst>
          </p:cNvPr>
          <p:cNvSpPr>
            <a:spLocks noGrp="1"/>
          </p:cNvSpPr>
          <p:nvPr>
            <p:ph type="body" sz="quarter" idx="21"/>
          </p:nvPr>
        </p:nvSpPr>
        <p:spPr/>
        <p:txBody>
          <a:bodyPr/>
          <a:lstStyle/>
          <a:p>
            <a:r>
              <a:rPr lang="en-US" dirty="0"/>
              <a:t>Mechanisms</a:t>
            </a:r>
          </a:p>
        </p:txBody>
      </p:sp>
      <p:sp>
        <p:nvSpPr>
          <p:cNvPr id="7" name="Title 6">
            <a:extLst>
              <a:ext uri="{FF2B5EF4-FFF2-40B4-BE49-F238E27FC236}">
                <a16:creationId xmlns:a16="http://schemas.microsoft.com/office/drawing/2014/main" id="{AD30CAFD-DC90-73AF-210A-1748E85AE63D}"/>
              </a:ext>
            </a:extLst>
          </p:cNvPr>
          <p:cNvSpPr>
            <a:spLocks noGrp="1"/>
          </p:cNvSpPr>
          <p:nvPr>
            <p:ph type="title"/>
          </p:nvPr>
        </p:nvSpPr>
        <p:spPr/>
        <p:txBody>
          <a:bodyPr/>
          <a:lstStyle/>
          <a:p>
            <a:r>
              <a:rPr lang="en-US" dirty="0"/>
              <a:t>Poor Immunotherapy Response in EGFRm</a:t>
            </a:r>
          </a:p>
        </p:txBody>
      </p:sp>
      <p:pic>
        <p:nvPicPr>
          <p:cNvPr id="11" name="Picture 10" descr="A chart with colorful dots and numbers&#10;&#10;AI-generated content may be incorrect.">
            <a:extLst>
              <a:ext uri="{FF2B5EF4-FFF2-40B4-BE49-F238E27FC236}">
                <a16:creationId xmlns:a16="http://schemas.microsoft.com/office/drawing/2014/main" id="{48B11EA6-AF7D-067D-34F2-49F3635959C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605347" y="1694100"/>
            <a:ext cx="5503847" cy="4505001"/>
          </a:xfrm>
          <a:prstGeom prst="rect">
            <a:avLst/>
          </a:prstGeom>
        </p:spPr>
      </p:pic>
      <p:sp>
        <p:nvSpPr>
          <p:cNvPr id="6" name="Right Bracket 5">
            <a:extLst>
              <a:ext uri="{FF2B5EF4-FFF2-40B4-BE49-F238E27FC236}">
                <a16:creationId xmlns:a16="http://schemas.microsoft.com/office/drawing/2014/main" id="{47140200-B7FA-41EE-1A60-0D47EE0A3ADE}"/>
              </a:ext>
            </a:extLst>
          </p:cNvPr>
          <p:cNvSpPr/>
          <p:nvPr/>
        </p:nvSpPr>
        <p:spPr>
          <a:xfrm rot="5400000">
            <a:off x="6289285" y="5218775"/>
            <a:ext cx="312236" cy="698807"/>
          </a:xfrm>
          <a:prstGeom prst="rightBracket">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7585B"/>
              </a:solidFill>
              <a:effectLst/>
              <a:uLnTx/>
              <a:uFillTx/>
              <a:latin typeface="Helvetica"/>
              <a:ea typeface="+mn-ea"/>
              <a:cs typeface="+mn-cs"/>
            </a:endParaRPr>
          </a:p>
        </p:txBody>
      </p:sp>
      <p:sp>
        <p:nvSpPr>
          <p:cNvPr id="2" name="TextBox 1">
            <a:extLst>
              <a:ext uri="{FF2B5EF4-FFF2-40B4-BE49-F238E27FC236}">
                <a16:creationId xmlns:a16="http://schemas.microsoft.com/office/drawing/2014/main" id="{1B8DD391-0ACB-6179-C9AC-8D9EAB1FF248}"/>
              </a:ext>
            </a:extLst>
          </p:cNvPr>
          <p:cNvSpPr txBox="1"/>
          <p:nvPr/>
        </p:nvSpPr>
        <p:spPr>
          <a:xfrm>
            <a:off x="6096001" y="6088554"/>
            <a:ext cx="3006671"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Shi, et al. Cancer Medicine, 2021.</a:t>
            </a:r>
          </a:p>
        </p:txBody>
      </p:sp>
    </p:spTree>
    <p:extLst>
      <p:ext uri="{BB962C8B-B14F-4D97-AF65-F5344CB8AC3E}">
        <p14:creationId xmlns:p14="http://schemas.microsoft.com/office/powerpoint/2010/main" val="9921388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heckerboard(across)">
                                      <p:cBhvr>
                                        <p:cTn id="7" dur="500"/>
                                        <p:tgtEl>
                                          <p:spTgt spid="11"/>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checkerboard(across)">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808380" y="640298"/>
            <a:ext cx="10575235" cy="5665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1704110" y="6477000"/>
            <a:ext cx="8839199" cy="381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200" b="0" i="0" u="none" strike="noStrike" kern="1200" cap="none" spc="0" normalizeH="0" baseline="0" noProof="0" dirty="0">
                <a:ln>
                  <a:noFill/>
                </a:ln>
                <a:solidFill>
                  <a:srgbClr val="57585B"/>
                </a:solidFill>
                <a:effectLst/>
                <a:uLnTx/>
                <a:uFillTx/>
                <a:latin typeface="Arial" charset="0"/>
                <a:ea typeface="+mj-ea"/>
                <a:cs typeface="+mj-cs"/>
              </a:rPr>
              <a:t>Presented By Mark Socinski at 2018 ASCO Annual Meeting</a:t>
            </a:r>
          </a:p>
        </p:txBody>
      </p:sp>
      <p:sp>
        <p:nvSpPr>
          <p:cNvPr id="2" name="TextBox 1">
            <a:extLst>
              <a:ext uri="{FF2B5EF4-FFF2-40B4-BE49-F238E27FC236}">
                <a16:creationId xmlns:a16="http://schemas.microsoft.com/office/drawing/2014/main" id="{F1B0BCD5-A824-01E2-9657-B183DD762143}"/>
              </a:ext>
            </a:extLst>
          </p:cNvPr>
          <p:cNvSpPr txBox="1"/>
          <p:nvPr/>
        </p:nvSpPr>
        <p:spPr>
          <a:xfrm>
            <a:off x="3544562" y="5999110"/>
            <a:ext cx="1001197" cy="461665"/>
          </a:xfrm>
          <a:prstGeom prst="rect">
            <a:avLst/>
          </a:prstGeom>
          <a:solidFill>
            <a:schemeClr val="bg1"/>
          </a:solid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7585B"/>
              </a:solidFill>
              <a:effectLst/>
              <a:uLnTx/>
              <a:uFillTx/>
              <a:latin typeface="Helvetica"/>
              <a:ea typeface="+mn-ea"/>
              <a:cs typeface="+mn-cs"/>
            </a:endParaRPr>
          </a:p>
        </p:txBody>
      </p:sp>
      <p:sp>
        <p:nvSpPr>
          <p:cNvPr id="3" name="Rectangle 2">
            <a:extLst>
              <a:ext uri="{FF2B5EF4-FFF2-40B4-BE49-F238E27FC236}">
                <a16:creationId xmlns:a16="http://schemas.microsoft.com/office/drawing/2014/main" id="{48C114A1-69A5-53B4-1AA3-037A0BA1895D}"/>
              </a:ext>
            </a:extLst>
          </p:cNvPr>
          <p:cNvSpPr/>
          <p:nvPr/>
        </p:nvSpPr>
        <p:spPr>
          <a:xfrm>
            <a:off x="11097491" y="5902036"/>
            <a:ext cx="249382" cy="228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0FEE24F-5198-0B84-566A-9D95AAA715AF}"/>
              </a:ext>
            </a:extLst>
          </p:cNvPr>
          <p:cNvSpPr>
            <a:spLocks noGrp="1"/>
          </p:cNvSpPr>
          <p:nvPr>
            <p:ph type="body" sz="quarter" idx="28"/>
          </p:nvPr>
        </p:nvSpPr>
        <p:spPr>
          <a:xfrm>
            <a:off x="911385" y="4759960"/>
            <a:ext cx="4998719" cy="1673600"/>
          </a:xfrm>
        </p:spPr>
        <p:txBody>
          <a:bodyPr/>
          <a:lstStyle/>
          <a:p>
            <a:pPr>
              <a:spcBef>
                <a:spcPts val="0"/>
              </a:spcBef>
              <a:spcAft>
                <a:spcPts val="400"/>
              </a:spcAft>
            </a:pPr>
            <a:r>
              <a:rPr lang="en-US" dirty="0"/>
              <a:t>IMpower150: </a:t>
            </a:r>
            <a:r>
              <a:rPr lang="en-US" sz="1467" dirty="0" err="1"/>
              <a:t>chemo+VEGF</a:t>
            </a:r>
            <a:r>
              <a:rPr lang="en-US" sz="1467" dirty="0"/>
              <a:t> vs </a:t>
            </a:r>
            <a:r>
              <a:rPr lang="en-US" sz="1467" dirty="0" err="1"/>
              <a:t>chemo+VEGF+IO</a:t>
            </a:r>
            <a:endParaRPr lang="en-US" sz="1467" dirty="0"/>
          </a:p>
          <a:p>
            <a:pPr marL="380990" indent="-380990">
              <a:spcBef>
                <a:spcPts val="0"/>
              </a:spcBef>
              <a:buFont typeface="Arial" panose="020B0604020202020204" pitchFamily="34" charset="0"/>
              <a:buChar char="•"/>
            </a:pPr>
            <a:r>
              <a:rPr lang="en-US" sz="1467" dirty="0"/>
              <a:t>Exploratory analysis in 123 patients with EGFRm.</a:t>
            </a:r>
          </a:p>
          <a:p>
            <a:pPr lvl="1" indent="0">
              <a:spcBef>
                <a:spcPts val="400"/>
              </a:spcBef>
              <a:buNone/>
            </a:pPr>
            <a:r>
              <a:rPr lang="en-US" sz="1467" dirty="0"/>
              <a:t>For all pt, OS HR 0.60.</a:t>
            </a:r>
          </a:p>
          <a:p>
            <a:pPr lvl="1" indent="0">
              <a:spcBef>
                <a:spcPts val="400"/>
              </a:spcBef>
              <a:buNone/>
            </a:pPr>
            <a:r>
              <a:rPr lang="en-US" sz="1467" dirty="0"/>
              <a:t>For those treated with previous TKI, HR 0.74.</a:t>
            </a:r>
          </a:p>
          <a:p>
            <a:pPr marL="380990" indent="-380990">
              <a:buFont typeface="Arial" panose="020B0604020202020204" pitchFamily="34" charset="0"/>
              <a:buChar char="•"/>
            </a:pPr>
            <a:endParaRPr lang="en-US" dirty="0"/>
          </a:p>
        </p:txBody>
      </p:sp>
      <p:sp>
        <p:nvSpPr>
          <p:cNvPr id="5" name="Title 4">
            <a:extLst>
              <a:ext uri="{FF2B5EF4-FFF2-40B4-BE49-F238E27FC236}">
                <a16:creationId xmlns:a16="http://schemas.microsoft.com/office/drawing/2014/main" id="{F5156C72-210F-5C81-3C88-64A43ED5F4F6}"/>
              </a:ext>
            </a:extLst>
          </p:cNvPr>
          <p:cNvSpPr>
            <a:spLocks noGrp="1"/>
          </p:cNvSpPr>
          <p:nvPr>
            <p:ph type="title"/>
          </p:nvPr>
        </p:nvSpPr>
        <p:spPr>
          <a:xfrm>
            <a:off x="756213" y="990502"/>
            <a:ext cx="10586977" cy="519972"/>
          </a:xfrm>
        </p:spPr>
        <p:txBody>
          <a:bodyPr/>
          <a:lstStyle/>
          <a:p>
            <a:pPr algn="ctr"/>
            <a:r>
              <a:rPr lang="en-US" dirty="0"/>
              <a:t>Combination chemotherapy with </a:t>
            </a:r>
            <a:r>
              <a:rPr lang="en-US" dirty="0" err="1"/>
              <a:t>VEGFi</a:t>
            </a:r>
            <a:r>
              <a:rPr lang="en-US" dirty="0"/>
              <a:t> and IO</a:t>
            </a:r>
          </a:p>
        </p:txBody>
      </p:sp>
      <p:sp>
        <p:nvSpPr>
          <p:cNvPr id="7" name="Text Placeholder 6">
            <a:extLst>
              <a:ext uri="{FF2B5EF4-FFF2-40B4-BE49-F238E27FC236}">
                <a16:creationId xmlns:a16="http://schemas.microsoft.com/office/drawing/2014/main" id="{F0498ECF-AAA3-1DAF-A0B0-CE7D3293AC18}"/>
              </a:ext>
            </a:extLst>
          </p:cNvPr>
          <p:cNvSpPr>
            <a:spLocks noGrp="1"/>
          </p:cNvSpPr>
          <p:nvPr>
            <p:ph type="body" sz="quarter" idx="30"/>
          </p:nvPr>
        </p:nvSpPr>
        <p:spPr>
          <a:xfrm>
            <a:off x="6221853" y="4759961"/>
            <a:ext cx="5058763" cy="974819"/>
          </a:xfrm>
        </p:spPr>
        <p:txBody>
          <a:bodyPr/>
          <a:lstStyle/>
          <a:p>
            <a:pPr>
              <a:spcBef>
                <a:spcPts val="0"/>
              </a:spcBef>
              <a:spcAft>
                <a:spcPts val="400"/>
              </a:spcAft>
            </a:pPr>
            <a:r>
              <a:rPr lang="en-US" dirty="0"/>
              <a:t>ORIENT-31: </a:t>
            </a:r>
            <a:r>
              <a:rPr lang="en-US" sz="1467" dirty="0"/>
              <a:t>chemo vs </a:t>
            </a:r>
            <a:r>
              <a:rPr lang="en-US" sz="1467" dirty="0" err="1"/>
              <a:t>chemo+IO</a:t>
            </a:r>
            <a:r>
              <a:rPr lang="en-US" sz="1467" dirty="0"/>
              <a:t> vs </a:t>
            </a:r>
            <a:r>
              <a:rPr lang="en-US" sz="1467" dirty="0" err="1"/>
              <a:t>chemo+VEGF+IO</a:t>
            </a:r>
            <a:endParaRPr lang="en-US" sz="1467" dirty="0"/>
          </a:p>
          <a:p>
            <a:pPr marL="380990" indent="-380990">
              <a:spcBef>
                <a:spcPts val="0"/>
              </a:spcBef>
              <a:buFont typeface="Arial" panose="020B0604020202020204" pitchFamily="34" charset="0"/>
              <a:buChar char="•"/>
            </a:pPr>
            <a:r>
              <a:rPr lang="en-US" sz="1467" dirty="0"/>
              <a:t>PFS 4.3 vs 5.5 vs 7.2 months. </a:t>
            </a:r>
          </a:p>
          <a:p>
            <a:pPr marL="380990" indent="-380990">
              <a:spcBef>
                <a:spcPts val="0"/>
              </a:spcBef>
              <a:buFont typeface="Arial" panose="020B0604020202020204" pitchFamily="34" charset="0"/>
              <a:buChar char="•"/>
            </a:pPr>
            <a:r>
              <a:rPr lang="en-US" sz="1467" dirty="0"/>
              <a:t>OS curves are overlapping</a:t>
            </a:r>
            <a:endParaRPr lang="en-US" sz="1267" dirty="0"/>
          </a:p>
        </p:txBody>
      </p:sp>
      <p:pic>
        <p:nvPicPr>
          <p:cNvPr id="4098" name="Picture 2">
            <a:extLst>
              <a:ext uri="{FF2B5EF4-FFF2-40B4-BE49-F238E27FC236}">
                <a16:creationId xmlns:a16="http://schemas.microsoft.com/office/drawing/2014/main" id="{6858676A-6C3B-9A34-6829-1C74792CF99F}"/>
              </a:ext>
            </a:extLst>
          </p:cNvPr>
          <p:cNvPicPr>
            <a:picLocks noGrp="1" noChangeAspect="1" noChangeArrowheads="1"/>
          </p:cNvPicPr>
          <p:nvPr>
            <p:ph type="pic" sz="quarter" idx="29"/>
          </p:nvPr>
        </p:nvPicPr>
        <p:blipFill rotWithShape="1">
          <a:blip r:embed="rId3">
            <a:extLst>
              <a:ext uri="{28A0092B-C50C-407E-A947-70E740481C1C}">
                <a14:useLocalDpi xmlns:a14="http://schemas.microsoft.com/office/drawing/2010/main" val="0"/>
              </a:ext>
            </a:extLst>
          </a:blip>
          <a:srcRect l="-427" r="-445" b="184"/>
          <a:stretch>
            <a:fillRect/>
          </a:stretch>
        </p:blipFill>
        <p:spPr bwMode="auto">
          <a:xfrm>
            <a:off x="6244160" y="1966689"/>
            <a:ext cx="5118225" cy="274320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E275A44C-2950-8F83-2402-BBC2B7480628}"/>
              </a:ext>
            </a:extLst>
          </p:cNvPr>
          <p:cNvSpPr txBox="1"/>
          <p:nvPr/>
        </p:nvSpPr>
        <p:spPr>
          <a:xfrm>
            <a:off x="8380608" y="5867499"/>
            <a:ext cx="3153024" cy="830997"/>
          </a:xfrm>
          <a:prstGeom prst="rect">
            <a:avLst/>
          </a:prstGeom>
          <a:noFill/>
        </p:spPr>
        <p:txBody>
          <a:bodyPr wrap="square" rtlCol="0">
            <a:spAutoFit/>
          </a:bodyPr>
          <a:lstStyle/>
          <a:p>
            <a:pPr marL="304792" marR="0" lvl="0" indent="-304792"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err="1">
                <a:ln>
                  <a:noFill/>
                </a:ln>
                <a:solidFill>
                  <a:srgbClr val="57585B"/>
                </a:solidFill>
                <a:effectLst/>
                <a:uLnTx/>
                <a:uFillTx/>
                <a:latin typeface="Helvetica"/>
                <a:ea typeface="+mn-ea"/>
                <a:cs typeface="+mn-cs"/>
              </a:rPr>
              <a:t>Socinski</a:t>
            </a:r>
            <a:r>
              <a:rPr kumimoji="0" lang="en-US" sz="1200" b="0" i="0" u="none" strike="noStrike" kern="1200" cap="none" spc="0" normalizeH="0" baseline="0" noProof="0" dirty="0">
                <a:ln>
                  <a:noFill/>
                </a:ln>
                <a:solidFill>
                  <a:srgbClr val="57585B"/>
                </a:solidFill>
                <a:effectLst/>
                <a:uLnTx/>
                <a:uFillTx/>
                <a:latin typeface="Helvetica"/>
                <a:ea typeface="+mn-ea"/>
                <a:cs typeface="+mn-cs"/>
              </a:rPr>
              <a:t>, et al. New Eng J Med, 2018.</a:t>
            </a:r>
          </a:p>
          <a:p>
            <a:pPr marL="304792" marR="0" lvl="0" indent="-304792"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Reck, et al. Lancet Respir Med, 2019, and Nogami, et al. J Thor Oncol, 2022.</a:t>
            </a:r>
          </a:p>
          <a:p>
            <a:pPr marL="304792" marR="0" lvl="0" indent="-304792"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Lu, et al. Lancet Respir Med, 2023.</a:t>
            </a:r>
          </a:p>
        </p:txBody>
      </p:sp>
      <p:pic>
        <p:nvPicPr>
          <p:cNvPr id="4100" name="Picture 4">
            <a:extLst>
              <a:ext uri="{FF2B5EF4-FFF2-40B4-BE49-F238E27FC236}">
                <a16:creationId xmlns:a16="http://schemas.microsoft.com/office/drawing/2014/main" id="{8DF92865-173C-EBE3-9ECE-6DA9BD3C9F25}"/>
              </a:ext>
            </a:extLst>
          </p:cNvPr>
          <p:cNvPicPr>
            <a:picLocks noGrp="1" noChangeAspect="1" noChangeArrowheads="1"/>
          </p:cNvPicPr>
          <p:nvPr>
            <p:ph type="pic" sz="quarter" idx="23"/>
          </p:nvPr>
        </p:nvPicPr>
        <p:blipFill>
          <a:blip r:embed="rId4"/>
          <a:srcRect t="3597" b="53132"/>
          <a:stretch>
            <a:fillRect/>
          </a:stretch>
        </p:blipFill>
        <p:spPr bwMode="auto">
          <a:xfrm>
            <a:off x="829617" y="1950721"/>
            <a:ext cx="4979329" cy="2775140"/>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pic>
      <p:sp>
        <p:nvSpPr>
          <p:cNvPr id="9" name="Rectangle 8">
            <a:extLst>
              <a:ext uri="{FF2B5EF4-FFF2-40B4-BE49-F238E27FC236}">
                <a16:creationId xmlns:a16="http://schemas.microsoft.com/office/drawing/2014/main" id="{71C399D8-5B59-640C-1473-7ECEE861F22D}"/>
              </a:ext>
            </a:extLst>
          </p:cNvPr>
          <p:cNvSpPr/>
          <p:nvPr/>
        </p:nvSpPr>
        <p:spPr>
          <a:xfrm>
            <a:off x="4840225" y="1658111"/>
            <a:ext cx="152323" cy="1089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a:ea typeface="+mn-ea"/>
              <a:cs typeface="+mn-cs"/>
            </a:endParaRPr>
          </a:p>
        </p:txBody>
      </p:sp>
      <p:sp>
        <p:nvSpPr>
          <p:cNvPr id="10" name="Rectangle 9">
            <a:extLst>
              <a:ext uri="{FF2B5EF4-FFF2-40B4-BE49-F238E27FC236}">
                <a16:creationId xmlns:a16="http://schemas.microsoft.com/office/drawing/2014/main" id="{AE166D1E-6306-3B0F-FD17-6AE05D9CADFD}"/>
              </a:ext>
            </a:extLst>
          </p:cNvPr>
          <p:cNvSpPr/>
          <p:nvPr/>
        </p:nvSpPr>
        <p:spPr>
          <a:xfrm>
            <a:off x="4890192" y="4037353"/>
            <a:ext cx="152323" cy="22213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a:ea typeface="+mn-ea"/>
              <a:cs typeface="+mn-cs"/>
            </a:endParaRPr>
          </a:p>
        </p:txBody>
      </p:sp>
    </p:spTree>
    <p:extLst>
      <p:ext uri="{BB962C8B-B14F-4D97-AF65-F5344CB8AC3E}">
        <p14:creationId xmlns:p14="http://schemas.microsoft.com/office/powerpoint/2010/main" val="42402318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939EB0-B6EB-08F2-CE24-50EBDFB04CE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73F2F04-0368-CCB9-C0E1-B07E77DBECDD}"/>
              </a:ext>
            </a:extLst>
          </p:cNvPr>
          <p:cNvSpPr>
            <a:spLocks noGrp="1"/>
          </p:cNvSpPr>
          <p:nvPr>
            <p:ph type="title"/>
          </p:nvPr>
        </p:nvSpPr>
        <p:spPr>
          <a:xfrm>
            <a:off x="756213" y="1009118"/>
            <a:ext cx="10586977" cy="501356"/>
          </a:xfrm>
        </p:spPr>
        <p:txBody>
          <a:bodyPr/>
          <a:lstStyle/>
          <a:p>
            <a:pPr algn="ctr"/>
            <a:r>
              <a:rPr lang="en-US" sz="3600" dirty="0"/>
              <a:t>Ivonescimab: A PD-1/VEGF Bispecific Antibody</a:t>
            </a:r>
          </a:p>
        </p:txBody>
      </p:sp>
      <p:sp>
        <p:nvSpPr>
          <p:cNvPr id="9" name="Rectangle 8">
            <a:extLst>
              <a:ext uri="{FF2B5EF4-FFF2-40B4-BE49-F238E27FC236}">
                <a16:creationId xmlns:a16="http://schemas.microsoft.com/office/drawing/2014/main" id="{E4157E42-A220-550E-82DC-932AB12E9F57}"/>
              </a:ext>
            </a:extLst>
          </p:cNvPr>
          <p:cNvSpPr/>
          <p:nvPr/>
        </p:nvSpPr>
        <p:spPr>
          <a:xfrm>
            <a:off x="4840225" y="1658111"/>
            <a:ext cx="152323" cy="1089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a:ea typeface="+mn-ea"/>
              <a:cs typeface="+mn-cs"/>
            </a:endParaRPr>
          </a:p>
        </p:txBody>
      </p:sp>
      <p:sp>
        <p:nvSpPr>
          <p:cNvPr id="10" name="Rectangle 9">
            <a:extLst>
              <a:ext uri="{FF2B5EF4-FFF2-40B4-BE49-F238E27FC236}">
                <a16:creationId xmlns:a16="http://schemas.microsoft.com/office/drawing/2014/main" id="{633910D3-8BFA-6DD3-5A79-7157CDF93FD4}"/>
              </a:ext>
            </a:extLst>
          </p:cNvPr>
          <p:cNvSpPr/>
          <p:nvPr/>
        </p:nvSpPr>
        <p:spPr>
          <a:xfrm>
            <a:off x="4890192" y="4037353"/>
            <a:ext cx="152323" cy="22213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a:ea typeface="+mn-ea"/>
              <a:cs typeface="+mn-cs"/>
            </a:endParaRPr>
          </a:p>
        </p:txBody>
      </p:sp>
      <p:pic>
        <p:nvPicPr>
          <p:cNvPr id="16" name="Content Placeholder 4">
            <a:extLst>
              <a:ext uri="{FF2B5EF4-FFF2-40B4-BE49-F238E27FC236}">
                <a16:creationId xmlns:a16="http://schemas.microsoft.com/office/drawing/2014/main" id="{E1C0C150-9817-538D-214A-7BD70673F22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213025" y="2144369"/>
            <a:ext cx="3090253" cy="3785965"/>
          </a:xfrm>
          <a:prstGeom prst="rect">
            <a:avLst/>
          </a:prstGeom>
        </p:spPr>
      </p:pic>
      <p:pic>
        <p:nvPicPr>
          <p:cNvPr id="17" name="Picture 16">
            <a:extLst>
              <a:ext uri="{FF2B5EF4-FFF2-40B4-BE49-F238E27FC236}">
                <a16:creationId xmlns:a16="http://schemas.microsoft.com/office/drawing/2014/main" id="{7629DB2C-2384-AE25-FE13-13B2DEDDA07C}"/>
              </a:ext>
            </a:extLst>
          </p:cNvPr>
          <p:cNvPicPr>
            <a:picLocks noChangeAspect="1"/>
          </p:cNvPicPr>
          <p:nvPr/>
        </p:nvPicPr>
        <p:blipFill>
          <a:blip r:embed="rId5"/>
          <a:stretch>
            <a:fillRect/>
          </a:stretch>
        </p:blipFill>
        <p:spPr>
          <a:xfrm>
            <a:off x="5678137" y="1807689"/>
            <a:ext cx="4823322" cy="4681460"/>
          </a:xfrm>
          <a:prstGeom prst="rect">
            <a:avLst/>
          </a:prstGeom>
        </p:spPr>
      </p:pic>
    </p:spTree>
    <p:extLst>
      <p:ext uri="{BB962C8B-B14F-4D97-AF65-F5344CB8AC3E}">
        <p14:creationId xmlns:p14="http://schemas.microsoft.com/office/powerpoint/2010/main" val="32054758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C8D6A-FDAA-E0F0-9A49-E14807DEB8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9670B4-4A34-5AD4-1776-56B4EC920486}"/>
              </a:ext>
            </a:extLst>
          </p:cNvPr>
          <p:cNvSpPr>
            <a:spLocks noGrp="1"/>
          </p:cNvSpPr>
          <p:nvPr>
            <p:ph type="title"/>
          </p:nvPr>
        </p:nvSpPr>
        <p:spPr>
          <a:xfrm>
            <a:off x="146561" y="646377"/>
            <a:ext cx="9546587" cy="475572"/>
          </a:xfrm>
        </p:spPr>
        <p:txBody>
          <a:bodyPr/>
          <a:lstStyle/>
          <a:p>
            <a:r>
              <a:rPr lang="en-GB" sz="3600"/>
              <a:t>Phase 3 Study Design</a:t>
            </a:r>
            <a:endParaRPr lang="en-US" sz="3600"/>
          </a:p>
        </p:txBody>
      </p:sp>
      <p:grpSp>
        <p:nvGrpSpPr>
          <p:cNvPr id="9" name="Group 8">
            <a:extLst>
              <a:ext uri="{FF2B5EF4-FFF2-40B4-BE49-F238E27FC236}">
                <a16:creationId xmlns:a16="http://schemas.microsoft.com/office/drawing/2014/main" id="{A3DD98ED-A438-2481-1E33-E6968C1D7D3C}"/>
              </a:ext>
            </a:extLst>
          </p:cNvPr>
          <p:cNvGrpSpPr/>
          <p:nvPr/>
        </p:nvGrpSpPr>
        <p:grpSpPr>
          <a:xfrm>
            <a:off x="200494" y="709213"/>
            <a:ext cx="11870367" cy="5631120"/>
            <a:chOff x="200493" y="709213"/>
            <a:chExt cx="11870367" cy="5631118"/>
          </a:xfrm>
        </p:grpSpPr>
        <p:pic>
          <p:nvPicPr>
            <p:cNvPr id="22" name="Harmoni logo" descr="A black and green rectangle with a black background&#10;&#10;Description automatically generated">
              <a:extLst>
                <a:ext uri="{FF2B5EF4-FFF2-40B4-BE49-F238E27FC236}">
                  <a16:creationId xmlns:a16="http://schemas.microsoft.com/office/drawing/2014/main" id="{7F67EFB6-A7B2-20AD-B683-38F01E49E3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9332" y="709213"/>
              <a:ext cx="1511528" cy="347253"/>
            </a:xfrm>
            <a:prstGeom prst="rect">
              <a:avLst/>
            </a:prstGeom>
          </p:spPr>
        </p:pic>
        <p:grpSp>
          <p:nvGrpSpPr>
            <p:cNvPr id="7" name="Group 6">
              <a:extLst>
                <a:ext uri="{FF2B5EF4-FFF2-40B4-BE49-F238E27FC236}">
                  <a16:creationId xmlns:a16="http://schemas.microsoft.com/office/drawing/2014/main" id="{97BA955F-536B-1B1A-EBBB-EEB53732489C}"/>
                </a:ext>
              </a:extLst>
            </p:cNvPr>
            <p:cNvGrpSpPr/>
            <p:nvPr/>
          </p:nvGrpSpPr>
          <p:grpSpPr>
            <a:xfrm>
              <a:off x="200493" y="1342218"/>
              <a:ext cx="11870367" cy="4998113"/>
              <a:chOff x="200493" y="1342218"/>
              <a:chExt cx="11870367" cy="4998113"/>
            </a:xfrm>
          </p:grpSpPr>
          <p:sp>
            <p:nvSpPr>
              <p:cNvPr id="20" name="Rectangle: Rounded Corners 19">
                <a:extLst>
                  <a:ext uri="{FF2B5EF4-FFF2-40B4-BE49-F238E27FC236}">
                    <a16:creationId xmlns:a16="http://schemas.microsoft.com/office/drawing/2014/main" id="{03A469BA-2285-EBBF-007F-51B659F70876}"/>
                  </a:ext>
                </a:extLst>
              </p:cNvPr>
              <p:cNvSpPr/>
              <p:nvPr/>
            </p:nvSpPr>
            <p:spPr>
              <a:xfrm>
                <a:off x="7950756" y="1375755"/>
                <a:ext cx="3808855" cy="2158113"/>
              </a:xfrm>
              <a:prstGeom prst="roundRect">
                <a:avLst>
                  <a:gd name="adj" fmla="val 6107"/>
                </a:avLst>
              </a:prstGeom>
              <a:solidFill>
                <a:srgbClr val="E6ECF2"/>
              </a:solidFill>
              <a:ln w="12700" cap="flat" cmpd="sng" algn="ctr">
                <a:noFill/>
                <a:prstDash val="solid"/>
                <a:miter lim="800000"/>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300"/>
                  </a:spcAft>
                  <a:buClr>
                    <a:srgbClr val="FFFFFF"/>
                  </a:buClr>
                  <a:buSzPct val="80000"/>
                  <a:buFontTx/>
                  <a:buNone/>
                  <a:tabLst/>
                  <a:defRPr/>
                </a:pPr>
                <a:endParaRPr kumimoji="0" lang="en-US" sz="1400" b="0" i="0" u="none" strike="noStrike" kern="12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9" name="Rectangle: Rounded Corners 28">
                <a:extLst>
                  <a:ext uri="{FF2B5EF4-FFF2-40B4-BE49-F238E27FC236}">
                    <a16:creationId xmlns:a16="http://schemas.microsoft.com/office/drawing/2014/main" id="{06E54689-FB81-F02A-B5F9-B21272DC2694}"/>
                  </a:ext>
                </a:extLst>
              </p:cNvPr>
              <p:cNvSpPr/>
              <p:nvPr/>
            </p:nvSpPr>
            <p:spPr>
              <a:xfrm>
                <a:off x="261700" y="1495173"/>
                <a:ext cx="2584566" cy="4105773"/>
              </a:xfrm>
              <a:prstGeom prst="roundRect">
                <a:avLst>
                  <a:gd name="adj" fmla="val 6107"/>
                </a:avLst>
              </a:prstGeom>
              <a:solidFill>
                <a:srgbClr val="E6ECF2"/>
              </a:solidFill>
              <a:ln w="12700" cap="flat" cmpd="sng" algn="ctr">
                <a:noFill/>
                <a:prstDash val="solid"/>
                <a:miter lim="800000"/>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300"/>
                  </a:spcAft>
                  <a:buClr>
                    <a:srgbClr val="FFFFFF"/>
                  </a:buClr>
                  <a:buSzPct val="80000"/>
                  <a:buFontTx/>
                  <a:buNone/>
                  <a:tabLst/>
                  <a:defRPr/>
                </a:pPr>
                <a:r>
                  <a:rPr kumimoji="0" lang="en-GB" sz="18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Key Eligibility Criteria</a:t>
                </a:r>
              </a:p>
              <a:p>
                <a:pPr marL="0" marR="0" lvl="0" indent="0" algn="l" defTabSz="914377" rtl="0" eaLnBrk="1" fontAlgn="auto" latinLnBrk="0" hangingPunct="1">
                  <a:lnSpc>
                    <a:spcPct val="100000"/>
                  </a:lnSpc>
                  <a:spcBef>
                    <a:spcPts val="0"/>
                  </a:spcBef>
                  <a:spcAft>
                    <a:spcPts val="300"/>
                  </a:spcAft>
                  <a:buClr>
                    <a:srgbClr val="FFFFFF"/>
                  </a:buClr>
                  <a:buSzPct val="80000"/>
                  <a:buFontTx/>
                  <a:buNone/>
                  <a:tabLst/>
                  <a:defRPr/>
                </a:pPr>
                <a:r>
                  <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Locally advanced or metastatic NSCLC:</a:t>
                </a:r>
                <a:endPar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a:p>
                <a:pPr marL="227008" marR="0" lvl="0" indent="-227008" algn="l" defTabSz="914377" rtl="0" eaLnBrk="1" fontAlgn="auto" latinLnBrk="0" hangingPunct="1">
                  <a:lnSpc>
                    <a:spcPct val="100000"/>
                  </a:lnSpc>
                  <a:spcBef>
                    <a:spcPts val="0"/>
                  </a:spcBef>
                  <a:spcAft>
                    <a:spcPts val="300"/>
                  </a:spcAft>
                  <a:buClr>
                    <a:srgbClr val="000000"/>
                  </a:buClr>
                  <a:buSzPct val="8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EGFR sensitizing mutation+</a:t>
                </a:r>
              </a:p>
              <a:p>
                <a:pPr marL="227008" marR="0" lvl="0" indent="-227008" algn="l" defTabSz="914377" rtl="0" eaLnBrk="1" fontAlgn="auto" latinLnBrk="0" hangingPunct="1">
                  <a:lnSpc>
                    <a:spcPct val="100000"/>
                  </a:lnSpc>
                  <a:spcBef>
                    <a:spcPts val="0"/>
                  </a:spcBef>
                  <a:spcAft>
                    <a:spcPts val="300"/>
                  </a:spcAft>
                  <a:buClr>
                    <a:srgbClr val="000000"/>
                  </a:buClr>
                  <a:buSzPct val="8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rogressed on 3</a:t>
                </a:r>
                <a:r>
                  <a:rPr kumimoji="0" lang="en-US" sz="1400" b="0" i="0" u="none" strike="noStrike" kern="1200" cap="none" spc="0" normalizeH="0" baseline="3000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rd</a:t>
                </a: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gen EGFR-TKI</a:t>
                </a:r>
              </a:p>
              <a:p>
                <a:pPr marL="227008" marR="0" lvl="0" indent="-227008" algn="l" defTabSz="914377" rtl="0" eaLnBrk="1" fontAlgn="auto" latinLnBrk="0" hangingPunct="1">
                  <a:lnSpc>
                    <a:spcPct val="100000"/>
                  </a:lnSpc>
                  <a:spcBef>
                    <a:spcPts val="0"/>
                  </a:spcBef>
                  <a:spcAft>
                    <a:spcPts val="300"/>
                  </a:spcAft>
                  <a:buClr>
                    <a:srgbClr val="000000"/>
                  </a:buClr>
                  <a:buSzPct val="8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ECOG 0 or 1</a:t>
                </a:r>
              </a:p>
              <a:p>
                <a:pPr marL="227008" marR="0" lvl="0" indent="-227008" algn="l" defTabSz="914377" rtl="0" eaLnBrk="1" fontAlgn="auto" latinLnBrk="0" hangingPunct="1">
                  <a:lnSpc>
                    <a:spcPct val="100000"/>
                  </a:lnSpc>
                  <a:spcBef>
                    <a:spcPts val="0"/>
                  </a:spcBef>
                  <a:spcAft>
                    <a:spcPts val="300"/>
                  </a:spcAft>
                  <a:buClr>
                    <a:srgbClr val="000000"/>
                  </a:buClr>
                  <a:buSzPct val="8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Any PD-L1 expression</a:t>
                </a:r>
              </a:p>
              <a:p>
                <a:pPr marL="179066" marR="0" lvl="0" indent="-179066" algn="l" defTabSz="914377" rtl="0" eaLnBrk="1" fontAlgn="auto" latinLnBrk="0" hangingPunct="1">
                  <a:lnSpc>
                    <a:spcPct val="100000"/>
                  </a:lnSpc>
                  <a:spcBef>
                    <a:spcPts val="0"/>
                  </a:spcBef>
                  <a:spcAft>
                    <a:spcPts val="300"/>
                  </a:spcAft>
                  <a:buClr>
                    <a:srgbClr val="FFFFFF"/>
                  </a:buClr>
                  <a:buSzPct val="80000"/>
                  <a:buFont typeface="Wingdings" panose="05000000000000000000" pitchFamily="2" charset="2"/>
                  <a:buChar char="§"/>
                  <a:tabLst/>
                  <a:defRPr/>
                </a:pPr>
                <a:endParaRPr kumimoji="0" lang="en-US" sz="1800" b="0" i="0" u="none" strike="noStrike" kern="12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a:p>
                <a:pPr marL="0" marR="0" lvl="0" indent="0" algn="l" defTabSz="914377" rtl="0" eaLnBrk="1" fontAlgn="auto" latinLnBrk="0" hangingPunct="1">
                  <a:lnSpc>
                    <a:spcPct val="100000"/>
                  </a:lnSpc>
                  <a:spcBef>
                    <a:spcPts val="0"/>
                  </a:spcBef>
                  <a:spcAft>
                    <a:spcPts val="300"/>
                  </a:spcAft>
                  <a:buClr>
                    <a:srgbClr val="FFFFFF"/>
                  </a:buClr>
                  <a:buSzPct val="80000"/>
                  <a:buFontTx/>
                  <a:buNone/>
                  <a:tabLst/>
                  <a:defRPr/>
                </a:pPr>
                <a:r>
                  <a:rPr kumimoji="0" lang="en-GB" sz="14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Stratification factor</a:t>
                </a:r>
              </a:p>
              <a:p>
                <a:pPr marL="0" marR="0" lvl="0" indent="0" algn="l" defTabSz="914377" rtl="0" eaLnBrk="1" fontAlgn="auto" latinLnBrk="0" hangingPunct="1">
                  <a:lnSpc>
                    <a:spcPct val="100000"/>
                  </a:lnSpc>
                  <a:spcBef>
                    <a:spcPts val="0"/>
                  </a:spcBef>
                  <a:spcAft>
                    <a:spcPts val="600"/>
                  </a:spcAft>
                  <a:buClr>
                    <a:srgbClr val="FFFFFF"/>
                  </a:buClr>
                  <a:buSzPct val="80000"/>
                  <a:buFontTx/>
                  <a:buNone/>
                  <a:tabLst/>
                  <a:defRPr/>
                </a:pPr>
                <a:r>
                  <a:rPr kumimoji="0" lang="en-US" sz="14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by geographic region:</a:t>
                </a:r>
              </a:p>
              <a:p>
                <a:pPr marL="227008" marR="0" lvl="0" indent="-227008" algn="l" defTabSz="914377" rtl="0" eaLnBrk="1" fontAlgn="auto" latinLnBrk="0" hangingPunct="1">
                  <a:lnSpc>
                    <a:spcPct val="100000"/>
                  </a:lnSpc>
                  <a:spcBef>
                    <a:spcPts val="0"/>
                  </a:spcBef>
                  <a:spcAft>
                    <a:spcPts val="600"/>
                  </a:spcAft>
                  <a:buClr>
                    <a:srgbClr val="000000"/>
                  </a:buClr>
                  <a:buSzPct val="8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Brain metastases                 (yes or no)</a:t>
                </a:r>
              </a:p>
            </p:txBody>
          </p:sp>
          <p:sp>
            <p:nvSpPr>
              <p:cNvPr id="32" name="Rectangle: Rounded Corners 31">
                <a:extLst>
                  <a:ext uri="{FF2B5EF4-FFF2-40B4-BE49-F238E27FC236}">
                    <a16:creationId xmlns:a16="http://schemas.microsoft.com/office/drawing/2014/main" id="{6FAD28F0-BA1C-B2A1-B61B-061735F48F36}"/>
                  </a:ext>
                </a:extLst>
              </p:cNvPr>
              <p:cNvSpPr/>
              <p:nvPr/>
            </p:nvSpPr>
            <p:spPr>
              <a:xfrm>
                <a:off x="4483202" y="1469510"/>
                <a:ext cx="2851386" cy="1156161"/>
              </a:xfrm>
              <a:prstGeom prst="roundRect">
                <a:avLst/>
              </a:prstGeom>
              <a:solidFill>
                <a:srgbClr val="054883"/>
              </a:solidFill>
              <a:ln w="12700" cap="flat" cmpd="sng" algn="ctr">
                <a:noFill/>
                <a:prstDash val="solid"/>
                <a:miter lim="800000"/>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vonescimab + Chemotherap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N = 219)</a:t>
                </a:r>
              </a:p>
            </p:txBody>
          </p:sp>
          <p:sp>
            <p:nvSpPr>
              <p:cNvPr id="35" name="Rectangle: Rounded Corners 34">
                <a:extLst>
                  <a:ext uri="{FF2B5EF4-FFF2-40B4-BE49-F238E27FC236}">
                    <a16:creationId xmlns:a16="http://schemas.microsoft.com/office/drawing/2014/main" id="{41635851-FA7A-6662-5787-67429E89714B}"/>
                  </a:ext>
                </a:extLst>
              </p:cNvPr>
              <p:cNvSpPr/>
              <p:nvPr/>
            </p:nvSpPr>
            <p:spPr>
              <a:xfrm>
                <a:off x="4483202" y="3085572"/>
                <a:ext cx="2851386" cy="1045695"/>
              </a:xfrm>
              <a:prstGeom prst="roundRect">
                <a:avLst/>
              </a:prstGeom>
              <a:solidFill>
                <a:srgbClr val="848484"/>
              </a:solidFill>
              <a:ln w="12700" cap="flat" cmpd="sng" algn="ctr">
                <a:noFill/>
                <a:prstDash val="solid"/>
                <a:miter lim="800000"/>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lacebo +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hemotherap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N = 219)</a:t>
                </a:r>
                <a:endParaRPr kumimoji="0" lang="en-US" sz="1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46" name="Group 45">
                <a:extLst>
                  <a:ext uri="{FF2B5EF4-FFF2-40B4-BE49-F238E27FC236}">
                    <a16:creationId xmlns:a16="http://schemas.microsoft.com/office/drawing/2014/main" id="{31336BF5-1E8D-5AE6-5CE9-2C3237033655}"/>
                  </a:ext>
                </a:extLst>
              </p:cNvPr>
              <p:cNvGrpSpPr/>
              <p:nvPr/>
            </p:nvGrpSpPr>
            <p:grpSpPr>
              <a:xfrm>
                <a:off x="8236641" y="1342218"/>
                <a:ext cx="3501031" cy="2548923"/>
                <a:chOff x="4083693" y="4479372"/>
                <a:chExt cx="3553871" cy="2898111"/>
              </a:xfrm>
              <a:noFill/>
            </p:grpSpPr>
            <p:sp>
              <p:nvSpPr>
                <p:cNvPr id="47" name="Rectangle 46">
                  <a:extLst>
                    <a:ext uri="{FF2B5EF4-FFF2-40B4-BE49-F238E27FC236}">
                      <a16:creationId xmlns:a16="http://schemas.microsoft.com/office/drawing/2014/main" id="{A421E506-024C-CCF5-FE6C-069160AB303C}"/>
                    </a:ext>
                  </a:extLst>
                </p:cNvPr>
                <p:cNvSpPr/>
                <p:nvPr/>
              </p:nvSpPr>
              <p:spPr>
                <a:xfrm>
                  <a:off x="4103287" y="4479372"/>
                  <a:ext cx="3534277" cy="2898111"/>
                </a:xfrm>
                <a:prstGeom prst="rect">
                  <a:avLst/>
                </a:prstGeom>
                <a:grpFill/>
                <a:ln w="12700" cap="flat" cmpd="sng" algn="ctr">
                  <a:noFill/>
                  <a:prstDash val="sysDash"/>
                  <a:miter lim="800000"/>
                </a:ln>
                <a:effectLst/>
              </p:spPr>
              <p:txBody>
                <a:bodyPr lIns="91440" tIns="21600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
                      <a:srgbClr val="92D050"/>
                    </a:buClr>
                    <a:buSzTx/>
                    <a:buFontTx/>
                    <a:buNone/>
                    <a:tabLst/>
                    <a:defRPr/>
                  </a:pPr>
                  <a:r>
                    <a:rPr kumimoji="0" lang="en-US" sz="1600" b="1" i="0" u="none" strike="noStrike" kern="1200" cap="none" spc="0" normalizeH="0" baseline="0" noProof="0">
                      <a:ln>
                        <a:noFill/>
                      </a:ln>
                      <a:solidFill>
                        <a:srgbClr val="080808"/>
                      </a:solidFill>
                      <a:effectLst/>
                      <a:uLnTx/>
                      <a:uFillTx/>
                      <a:latin typeface="Roboto" panose="02000000000000000000" pitchFamily="2" charset="0"/>
                      <a:ea typeface="Roboto" panose="02000000000000000000" pitchFamily="2" charset="0"/>
                      <a:cs typeface="Roboto" panose="02000000000000000000" pitchFamily="2" charset="0"/>
                    </a:rPr>
                    <a:t>Primary</a:t>
                  </a:r>
                </a:p>
                <a:p>
                  <a:pPr marL="285744" marR="0" lvl="0" indent="-285744"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80808"/>
                      </a:solidFill>
                      <a:effectLst/>
                      <a:uLnTx/>
                      <a:uFillTx/>
                      <a:latin typeface="Roboto" panose="02000000000000000000" pitchFamily="2" charset="0"/>
                      <a:ea typeface="Roboto" panose="02000000000000000000" pitchFamily="2" charset="0"/>
                      <a:cs typeface="Roboto" panose="02000000000000000000" pitchFamily="2" charset="0"/>
                    </a:rPr>
                    <a:t>OS, PFS by IRRC per RECIST 1.1</a:t>
                  </a:r>
                </a:p>
                <a:p>
                  <a:pPr marL="0" marR="0" lvl="0" indent="0" algn="l" defTabSz="914377" rtl="0" eaLnBrk="1" fontAlgn="auto" latinLnBrk="0" hangingPunct="1">
                    <a:lnSpc>
                      <a:spcPct val="100000"/>
                    </a:lnSpc>
                    <a:spcBef>
                      <a:spcPts val="0"/>
                    </a:spcBef>
                    <a:spcAft>
                      <a:spcPts val="0"/>
                    </a:spcAft>
                    <a:buClr>
                      <a:srgbClr val="92D050"/>
                    </a:buClr>
                    <a:buSzTx/>
                    <a:buFontTx/>
                    <a:buNone/>
                    <a:tabLst/>
                    <a:defRPr/>
                  </a:pPr>
                  <a:r>
                    <a:rPr kumimoji="0" lang="en-US" sz="1600" b="1" i="0" u="none" strike="noStrike" kern="1200" cap="none" spc="0" normalizeH="0" baseline="0" noProof="0">
                      <a:ln>
                        <a:noFill/>
                      </a:ln>
                      <a:solidFill>
                        <a:srgbClr val="080808"/>
                      </a:solidFill>
                      <a:effectLst/>
                      <a:uLnTx/>
                      <a:uFillTx/>
                      <a:latin typeface="Roboto" panose="02000000000000000000" pitchFamily="2" charset="0"/>
                      <a:ea typeface="Roboto" panose="02000000000000000000" pitchFamily="2" charset="0"/>
                      <a:cs typeface="Roboto" panose="02000000000000000000" pitchFamily="2" charset="0"/>
                    </a:rPr>
                    <a:t>Secondary</a:t>
                  </a:r>
                </a:p>
                <a:p>
                  <a:pPr marL="285744" marR="0" lvl="0" indent="-285744" algn="l" defTabSz="914377"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600" b="1" i="0" u="none" strike="noStrike" kern="1200" cap="none" spc="0" normalizeH="0" baseline="0" noProof="0">
                      <a:ln>
                        <a:noFill/>
                      </a:ln>
                      <a:solidFill>
                        <a:srgbClr val="080808"/>
                      </a:solidFill>
                      <a:effectLst/>
                      <a:uLnTx/>
                      <a:uFillTx/>
                      <a:latin typeface="Roboto Light" panose="02000000000000000000" pitchFamily="2" charset="0"/>
                      <a:ea typeface="Roboto Light" panose="02000000000000000000" pitchFamily="2" charset="0"/>
                      <a:cs typeface="Roboto Light" panose="02000000000000000000" pitchFamily="2" charset="0"/>
                    </a:rPr>
                    <a:t>ORR by IRRC, DoR, safety and tolerability</a:t>
                  </a:r>
                </a:p>
              </p:txBody>
            </p:sp>
            <p:sp>
              <p:nvSpPr>
                <p:cNvPr id="48" name="Rectangle 47">
                  <a:extLst>
                    <a:ext uri="{FF2B5EF4-FFF2-40B4-BE49-F238E27FC236}">
                      <a16:creationId xmlns:a16="http://schemas.microsoft.com/office/drawing/2014/main" id="{594D66EA-BEB8-8273-E2CB-6833600673DE}"/>
                    </a:ext>
                  </a:extLst>
                </p:cNvPr>
                <p:cNvSpPr/>
                <p:nvPr/>
              </p:nvSpPr>
              <p:spPr>
                <a:xfrm>
                  <a:off x="4083693" y="4704731"/>
                  <a:ext cx="1875046" cy="511531"/>
                </a:xfrm>
                <a:prstGeom prst="rect">
                  <a:avLst/>
                </a:prstGeom>
                <a:grpFill/>
                <a:ln w="12700" cap="flat" cmpd="sng" algn="ctr">
                  <a:noFill/>
                  <a:prstDash val="solid"/>
                  <a:miter lim="800000"/>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Endpoints:</a:t>
                  </a:r>
                </a:p>
              </p:txBody>
            </p:sp>
          </p:grpSp>
          <p:sp>
            <p:nvSpPr>
              <p:cNvPr id="13" name="TextBox 12">
                <a:extLst>
                  <a:ext uri="{FF2B5EF4-FFF2-40B4-BE49-F238E27FC236}">
                    <a16:creationId xmlns:a16="http://schemas.microsoft.com/office/drawing/2014/main" id="{D63EC2EE-D9EB-7310-D7E0-E5622B99E512}"/>
                  </a:ext>
                </a:extLst>
              </p:cNvPr>
              <p:cNvSpPr txBox="1"/>
              <p:nvPr/>
            </p:nvSpPr>
            <p:spPr>
              <a:xfrm>
                <a:off x="8036263" y="3645810"/>
                <a:ext cx="3656389" cy="1938991"/>
              </a:xfrm>
              <a:prstGeom prst="rect">
                <a:avLst/>
              </a:prstGeom>
              <a:noFill/>
            </p:spPr>
            <p:txBody>
              <a:bodyPr wrap="square" lIns="91440" tIns="45720" rIns="91440" bIns="45720" rtlCol="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lanned Efficacy Analyses</a:t>
                </a:r>
                <a:endParaRPr kumimoji="0" lang="en-US"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FS primary (at ~231 events) &amp;        OS interim analyses</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OS final </a:t>
                </a:r>
                <a:r>
                  <a:rPr kumimoji="0" lang="pt-BR" sz="1600" b="0"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analysis</a:t>
                </a:r>
                <a:r>
                  <a:rPr kumimoji="0" lang="pt-BR"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pt-BR" sz="1600" b="0"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at</a:t>
                </a:r>
                <a:r>
                  <a:rPr kumimoji="0" lang="pt-BR"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261 </a:t>
                </a:r>
                <a:r>
                  <a:rPr kumimoji="0" lang="pt-BR" sz="1600" b="0"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events</a:t>
                </a:r>
                <a:r>
                  <a:rPr kumimoji="0" lang="pt-BR"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BR"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FPI: Jan 2022 (overall)</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LPI Asia: Nov 2022</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LPI NA &amp; EU (and overall): Oct 2024 </a:t>
                </a:r>
                <a:endParaRPr kumimoji="0" lang="pt-BR"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 name="Rectangle: Rounded Corners 13">
                <a:extLst>
                  <a:ext uri="{FF2B5EF4-FFF2-40B4-BE49-F238E27FC236}">
                    <a16:creationId xmlns:a16="http://schemas.microsoft.com/office/drawing/2014/main" id="{E01F8854-962C-0827-7C2E-83C7F6E60EC0}"/>
                  </a:ext>
                </a:extLst>
              </p:cNvPr>
              <p:cNvSpPr/>
              <p:nvPr/>
            </p:nvSpPr>
            <p:spPr>
              <a:xfrm>
                <a:off x="4065563" y="4338091"/>
                <a:ext cx="3282726" cy="134505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5" name="TextBox 14">
                <a:extLst>
                  <a:ext uri="{FF2B5EF4-FFF2-40B4-BE49-F238E27FC236}">
                    <a16:creationId xmlns:a16="http://schemas.microsoft.com/office/drawing/2014/main" id="{764F0D61-A24D-F73C-B4D7-FFB7F0ABF06C}"/>
                  </a:ext>
                </a:extLst>
              </p:cNvPr>
              <p:cNvSpPr txBox="1"/>
              <p:nvPr/>
            </p:nvSpPr>
            <p:spPr>
              <a:xfrm>
                <a:off x="4160305" y="4413016"/>
                <a:ext cx="3260605" cy="1208023"/>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Ivonescimab</a:t>
                </a:r>
                <a:r>
                  <a:rPr kumimoji="0" lang="en-US" sz="1400" b="0" i="0" u="none" strike="noStrike" kern="12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20 mg/kg Q3W</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Chemotherapy</a:t>
                </a: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a:t>
                </a:r>
              </a:p>
              <a:p>
                <a:pPr marL="227008" marR="0" lvl="0" indent="-227008"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Carboplatin: AUC5 Q3W x 4 cycles (21 day/cycle)</a:t>
                </a:r>
              </a:p>
              <a:p>
                <a:pPr marL="227008" marR="0" lvl="0" indent="-227008"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emetrexed: 500 mg/m</a:t>
                </a:r>
                <a:r>
                  <a:rPr kumimoji="0" lang="en-US" sz="1400" b="0" i="0" u="none" strike="noStrike" kern="1200" cap="none" spc="0" normalizeH="0" baseline="3000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2</a:t>
                </a:r>
                <a:r>
                  <a:rPr kumimoji="0" lang="en-US" sz="1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Q3W</a:t>
                </a:r>
              </a:p>
            </p:txBody>
          </p:sp>
          <p:sp>
            <p:nvSpPr>
              <p:cNvPr id="4" name="TextBox 3">
                <a:extLst>
                  <a:ext uri="{FF2B5EF4-FFF2-40B4-BE49-F238E27FC236}">
                    <a16:creationId xmlns:a16="http://schemas.microsoft.com/office/drawing/2014/main" id="{3FEAFD52-4E62-B030-E0D1-AB40768F3404}"/>
                  </a:ext>
                </a:extLst>
              </p:cNvPr>
              <p:cNvSpPr txBox="1"/>
              <p:nvPr/>
            </p:nvSpPr>
            <p:spPr>
              <a:xfrm>
                <a:off x="200493" y="5758063"/>
                <a:ext cx="553627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Roboto Medium" panose="02000000000000000000" pitchFamily="2" charset="0"/>
                    <a:ea typeface="Roboto Medium" panose="02000000000000000000" pitchFamily="2" charset="0"/>
                    <a:cs typeface="Roboto Medium" panose="02000000000000000000" pitchFamily="2" charset="0"/>
                  </a:rPr>
                  <a:t>Note: Positive outcomes were reported from the single-region (Asia) study </a:t>
                </a:r>
                <a:r>
                  <a:rPr kumimoji="0" lang="en-US" sz="1400" b="0" i="0" u="none" strike="noStrike" kern="1200" cap="none" spc="0" normalizeH="0" baseline="0" noProof="0" err="1">
                    <a:ln>
                      <a:noFill/>
                    </a:ln>
                    <a:solidFill>
                      <a:srgbClr val="0070C0"/>
                    </a:solidFill>
                    <a:effectLst/>
                    <a:uLnTx/>
                    <a:uFillTx/>
                    <a:latin typeface="Roboto Medium" panose="02000000000000000000" pitchFamily="2" charset="0"/>
                    <a:ea typeface="Roboto Medium" panose="02000000000000000000" pitchFamily="2" charset="0"/>
                    <a:cs typeface="Roboto Medium" panose="02000000000000000000" pitchFamily="2" charset="0"/>
                  </a:rPr>
                  <a:t>HARMONi</a:t>
                </a:r>
                <a:r>
                  <a:rPr kumimoji="0" lang="en-US" sz="1400" b="0" i="0" u="none" strike="noStrike" kern="1200" cap="none" spc="0" normalizeH="0" baseline="0" noProof="0">
                    <a:ln>
                      <a:noFill/>
                    </a:ln>
                    <a:solidFill>
                      <a:srgbClr val="0070C0"/>
                    </a:solidFill>
                    <a:effectLst/>
                    <a:uLnTx/>
                    <a:uFillTx/>
                    <a:latin typeface="Roboto Medium" panose="02000000000000000000" pitchFamily="2" charset="0"/>
                    <a:ea typeface="Roboto Medium" panose="02000000000000000000" pitchFamily="2" charset="0"/>
                    <a:cs typeface="Roboto Medium" panose="02000000000000000000" pitchFamily="2" charset="0"/>
                  </a:rPr>
                  <a:t>-A, with PFS as the primary endpoint.</a:t>
                </a:r>
              </a:p>
            </p:txBody>
          </p:sp>
          <p:sp>
            <p:nvSpPr>
              <p:cNvPr id="8" name="Left Bracket 7">
                <a:extLst>
                  <a:ext uri="{FF2B5EF4-FFF2-40B4-BE49-F238E27FC236}">
                    <a16:creationId xmlns:a16="http://schemas.microsoft.com/office/drawing/2014/main" id="{832D8681-9E85-34BB-3687-C473ECEDC2AA}"/>
                  </a:ext>
                </a:extLst>
              </p:cNvPr>
              <p:cNvSpPr/>
              <p:nvPr/>
            </p:nvSpPr>
            <p:spPr>
              <a:xfrm>
                <a:off x="4085658" y="2041377"/>
                <a:ext cx="397544" cy="1527376"/>
              </a:xfrm>
              <a:prstGeom prst="leftBracket">
                <a:avLst>
                  <a:gd name="adj" fmla="val 0"/>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nvGrpSpPr>
              <p:cNvPr id="16" name="Group 15">
                <a:extLst>
                  <a:ext uri="{FF2B5EF4-FFF2-40B4-BE49-F238E27FC236}">
                    <a16:creationId xmlns:a16="http://schemas.microsoft.com/office/drawing/2014/main" id="{6949F156-4963-A8FB-C307-142CAF0B96B8}"/>
                  </a:ext>
                </a:extLst>
              </p:cNvPr>
              <p:cNvGrpSpPr/>
              <p:nvPr/>
            </p:nvGrpSpPr>
            <p:grpSpPr>
              <a:xfrm>
                <a:off x="3035543" y="2378673"/>
                <a:ext cx="879404" cy="842636"/>
                <a:chOff x="2141649" y="4750276"/>
                <a:chExt cx="622123" cy="622123"/>
              </a:xfrm>
            </p:grpSpPr>
            <p:sp>
              <p:nvSpPr>
                <p:cNvPr id="17" name="Diamond 16">
                  <a:extLst>
                    <a:ext uri="{FF2B5EF4-FFF2-40B4-BE49-F238E27FC236}">
                      <a16:creationId xmlns:a16="http://schemas.microsoft.com/office/drawing/2014/main" id="{522DCB58-5C19-456B-4EB5-42CFF098FC2A}"/>
                    </a:ext>
                  </a:extLst>
                </p:cNvPr>
                <p:cNvSpPr/>
                <p:nvPr/>
              </p:nvSpPr>
              <p:spPr>
                <a:xfrm>
                  <a:off x="2141649" y="4750276"/>
                  <a:ext cx="622123" cy="622123"/>
                </a:xfrm>
                <a:prstGeom prst="diamond">
                  <a:avLst/>
                </a:prstGeom>
                <a:solidFill>
                  <a:srgbClr val="5B1F81"/>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 name="TextBox 4">
                  <a:extLst>
                    <a:ext uri="{FF2B5EF4-FFF2-40B4-BE49-F238E27FC236}">
                      <a16:creationId xmlns:a16="http://schemas.microsoft.com/office/drawing/2014/main" id="{48BD34A1-A02D-EA08-9ECE-361638539BED}"/>
                    </a:ext>
                  </a:extLst>
                </p:cNvPr>
                <p:cNvSpPr txBox="1"/>
                <p:nvPr/>
              </p:nvSpPr>
              <p:spPr>
                <a:xfrm>
                  <a:off x="2260479" y="4852935"/>
                  <a:ext cx="390356" cy="38629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R</a:t>
                  </a:r>
                  <a:br>
                    <a:rPr kumimoji="0" lang="en-US" sz="1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br>
                  <a:r>
                    <a:rPr kumimoji="0" lang="en-US" sz="1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1:1</a:t>
                  </a:r>
                </a:p>
              </p:txBody>
            </p:sp>
          </p:grpSp>
          <p:sp>
            <p:nvSpPr>
              <p:cNvPr id="19" name="TextBox 18">
                <a:extLst>
                  <a:ext uri="{FF2B5EF4-FFF2-40B4-BE49-F238E27FC236}">
                    <a16:creationId xmlns:a16="http://schemas.microsoft.com/office/drawing/2014/main" id="{03BD2E94-7456-9E64-08F3-FDBE8D3DDAE0}"/>
                  </a:ext>
                </a:extLst>
              </p:cNvPr>
              <p:cNvSpPr txBox="1"/>
              <p:nvPr/>
            </p:nvSpPr>
            <p:spPr>
              <a:xfrm>
                <a:off x="3060640" y="3260976"/>
                <a:ext cx="82921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80808"/>
                    </a:solidFill>
                    <a:effectLst/>
                    <a:uLnTx/>
                    <a:uFillTx/>
                    <a:latin typeface="Roboto" panose="02000000000000000000" pitchFamily="2" charset="0"/>
                    <a:ea typeface="Roboto" panose="02000000000000000000" pitchFamily="2" charset="0"/>
                    <a:cs typeface="Roboto" panose="02000000000000000000" pitchFamily="2" charset="0"/>
                  </a:rPr>
                  <a:t>N=438</a:t>
                </a:r>
              </a:p>
            </p:txBody>
          </p:sp>
          <p:sp>
            <p:nvSpPr>
              <p:cNvPr id="5" name="TextBox 4">
                <a:extLst>
                  <a:ext uri="{FF2B5EF4-FFF2-40B4-BE49-F238E27FC236}">
                    <a16:creationId xmlns:a16="http://schemas.microsoft.com/office/drawing/2014/main" id="{FC32E5C2-9A73-D41B-6104-E5AC32D681F7}"/>
                  </a:ext>
                </a:extLst>
              </p:cNvPr>
              <p:cNvSpPr txBox="1"/>
              <p:nvPr/>
            </p:nvSpPr>
            <p:spPr>
              <a:xfrm>
                <a:off x="8055984" y="5513245"/>
                <a:ext cx="4014876" cy="827086"/>
              </a:xfrm>
              <a:prstGeom prst="rect">
                <a:avLst/>
              </a:prstGeom>
              <a:noFill/>
            </p:spPr>
            <p:txBody>
              <a:bodyPr wrap="square">
                <a:spAutoFit/>
              </a:bodyPr>
              <a:lstStyle/>
              <a:p>
                <a:pPr marL="0" marR="0" lvl="0" indent="0" algn="l" defTabSz="914377" rtl="0" eaLnBrk="1" fontAlgn="auto" latinLnBrk="0" hangingPunct="1">
                  <a:lnSpc>
                    <a:spcPct val="115000"/>
                  </a:lnSpc>
                  <a:spcBef>
                    <a:spcPts val="0"/>
                  </a:spcBef>
                  <a:spcAft>
                    <a:spcPts val="800"/>
                  </a:spcAft>
                  <a:buClrTx/>
                  <a:buSzTx/>
                  <a:buFontTx/>
                  <a:buNone/>
                  <a:tabLst/>
                  <a:defRPr/>
                </a:pPr>
                <a:r>
                  <a:rPr kumimoji="0" lang="en-US" sz="700" b="0" i="0" u="none" strike="noStrike" kern="0" cap="none" spc="0" normalizeH="0" baseline="0" noProof="0" dirty="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DoR</a:t>
                </a:r>
                <a:r>
                  <a:rPr kumimoji="0" lang="en-US" sz="700" b="0" i="0" u="none" strike="noStrike" kern="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duration of response; ECOG=eastern cooperative oncology group; EGFR=</a:t>
                </a:r>
                <a:r>
                  <a:rPr kumimoji="0" lang="en-US" sz="700" b="0" i="0" u="none" strike="noStrike" kern="1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lang="en-US" sz="700" b="0" i="0" u="none" strike="noStrike" kern="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Epidermal growth factor receptor; EU=Europe; FPI=first patient in; IRRC=</a:t>
                </a:r>
                <a:r>
                  <a:rPr kumimoji="0" lang="en-US" sz="700" b="0" i="0" u="none" strike="noStrike" kern="1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lang="en-US" sz="700" b="0" i="0" u="none" strike="noStrike" kern="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independent radiology review committee; LPI=last patient in; </a:t>
                </a:r>
                <a:r>
                  <a:rPr kumimoji="0" lang="en-US" sz="700" b="0" i="0" u="none" strike="noStrike" kern="0" cap="none" spc="0" normalizeH="0" baseline="0" noProof="0" dirty="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mets</a:t>
                </a:r>
                <a:r>
                  <a:rPr kumimoji="0" lang="en-US" sz="700" b="0" i="0" u="none" strike="noStrike" kern="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metastases; NA=North America; ORR=overall response rate; OS=overall survival; NSCLC=non-small cell lung cancer; TKI=tyrosine kinase inhibitor; PD-L1= programmed cell death ligand; PFS=progression-free survival; Q3W=every 3 weeks; RECIST=</a:t>
                </a:r>
                <a:r>
                  <a:rPr kumimoji="0" lang="en-US" sz="700" b="0" i="0" u="none" strike="noStrike" kern="1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r</a:t>
                </a:r>
                <a:r>
                  <a:rPr kumimoji="0" lang="en-US" sz="700" b="0" i="0" u="none" strike="noStrike" kern="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esponse evaluation criteria in solid tumors.</a:t>
                </a:r>
                <a:endParaRPr kumimoji="0" lang="en-US" sz="700" b="0" i="0" u="none" strike="noStrike" kern="1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grpSp>
      </p:grpSp>
      <p:sp>
        <p:nvSpPr>
          <p:cNvPr id="3" name="TextBox 2">
            <a:extLst>
              <a:ext uri="{FF2B5EF4-FFF2-40B4-BE49-F238E27FC236}">
                <a16:creationId xmlns:a16="http://schemas.microsoft.com/office/drawing/2014/main" id="{D6E4D6E7-8D49-1F0D-253D-18A5D01418BE}"/>
              </a:ext>
            </a:extLst>
          </p:cNvPr>
          <p:cNvSpPr txBox="1"/>
          <p:nvPr/>
        </p:nvSpPr>
        <p:spPr>
          <a:xfrm>
            <a:off x="4363285" y="6406165"/>
            <a:ext cx="3091220" cy="25654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lumMod val="85000"/>
                  </a:srgbClr>
                </a:solidFill>
                <a:effectLst/>
                <a:uLnTx/>
                <a:uFillTx/>
                <a:latin typeface="Calibri"/>
                <a:ea typeface="+mn-ea"/>
                <a:cs typeface="+mn-cs"/>
              </a:rPr>
              <a:t>Goldman, et al. World Conf on Lung Cancer, 2025.</a:t>
            </a:r>
          </a:p>
        </p:txBody>
      </p:sp>
    </p:spTree>
    <p:extLst>
      <p:ext uri="{BB962C8B-B14F-4D97-AF65-F5344CB8AC3E}">
        <p14:creationId xmlns:p14="http://schemas.microsoft.com/office/powerpoint/2010/main" val="13929566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6A523-3A58-D581-99A0-3E9C031F08A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DD94150-9B10-8D78-36C5-2510CAD8CF10}"/>
              </a:ext>
            </a:extLst>
          </p:cNvPr>
          <p:cNvSpPr>
            <a:spLocks noGrp="1"/>
          </p:cNvSpPr>
          <p:nvPr>
            <p:ph type="title" idx="4294967295"/>
          </p:nvPr>
        </p:nvSpPr>
        <p:spPr>
          <a:xfrm>
            <a:off x="149632" y="637501"/>
            <a:ext cx="9546587" cy="475572"/>
          </a:xfrm>
          <a:prstGeom prst="rect">
            <a:avLst/>
          </a:prstGeom>
        </p:spPr>
        <p:txBody>
          <a:bodyPr lIns="91440" tIns="45720" rIns="91440" bIns="45720" anchor="t"/>
          <a:lstStyle/>
          <a:p>
            <a:r>
              <a:rPr lang="en-US" sz="3600" b="1">
                <a:latin typeface="Roboto" panose="02000000000000000000" pitchFamily="2" charset="0"/>
                <a:ea typeface="Roboto" panose="02000000000000000000" pitchFamily="2" charset="0"/>
                <a:cs typeface="Roboto" panose="02000000000000000000" pitchFamily="2" charset="0"/>
              </a:rPr>
              <a:t>Primary Endpoint: PFS by IRRC</a:t>
            </a:r>
            <a:br>
              <a:rPr lang="en-US" sz="4000" b="1">
                <a:latin typeface="Arial" panose="020B0604020202020204" pitchFamily="34" charset="0"/>
                <a:cs typeface="Arial" panose="020B0604020202020204" pitchFamily="34" charset="0"/>
              </a:rPr>
            </a:br>
            <a:r>
              <a:rPr lang="en-US" sz="2000" b="1">
                <a:latin typeface="Roboto" panose="02000000000000000000" pitchFamily="2" charset="0"/>
                <a:ea typeface="Roboto" panose="02000000000000000000" pitchFamily="2" charset="0"/>
                <a:cs typeface="Roboto" panose="02000000000000000000" pitchFamily="2" charset="0"/>
              </a:rPr>
              <a:t>Statistically significant and clinically meaningful benefit with ivonescimab</a:t>
            </a:r>
            <a:endParaRPr lang="en-US" sz="3200" b="1">
              <a:latin typeface="Roboto" panose="02000000000000000000" pitchFamily="2" charset="0"/>
              <a:ea typeface="Roboto" panose="02000000000000000000" pitchFamily="2" charset="0"/>
              <a:cs typeface="Roboto" panose="02000000000000000000" pitchFamily="2" charset="0"/>
            </a:endParaRPr>
          </a:p>
        </p:txBody>
      </p:sp>
      <p:grpSp>
        <p:nvGrpSpPr>
          <p:cNvPr id="9" name="Group 8">
            <a:extLst>
              <a:ext uri="{FF2B5EF4-FFF2-40B4-BE49-F238E27FC236}">
                <a16:creationId xmlns:a16="http://schemas.microsoft.com/office/drawing/2014/main" id="{BD8CDA4A-09E2-5C5B-F2D3-A2B96D23DDE6}"/>
              </a:ext>
            </a:extLst>
          </p:cNvPr>
          <p:cNvGrpSpPr/>
          <p:nvPr/>
        </p:nvGrpSpPr>
        <p:grpSpPr>
          <a:xfrm>
            <a:off x="283458" y="709214"/>
            <a:ext cx="11908543" cy="6178711"/>
            <a:chOff x="283457" y="709213"/>
            <a:chExt cx="11908543" cy="6178711"/>
          </a:xfrm>
        </p:grpSpPr>
        <p:sp>
          <p:nvSpPr>
            <p:cNvPr id="22" name="TextBox 21">
              <a:extLst>
                <a:ext uri="{FF2B5EF4-FFF2-40B4-BE49-F238E27FC236}">
                  <a16:creationId xmlns:a16="http://schemas.microsoft.com/office/drawing/2014/main" id="{CAA88454-EB3F-7A33-C1AB-A3A341FED20E}"/>
                </a:ext>
              </a:extLst>
            </p:cNvPr>
            <p:cNvSpPr txBox="1"/>
            <p:nvPr/>
          </p:nvSpPr>
          <p:spPr>
            <a:xfrm>
              <a:off x="283457" y="6009207"/>
              <a:ext cx="6628738"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0C0"/>
                  </a:solidFill>
                  <a:effectLst/>
                  <a:uLnTx/>
                  <a:uFillTx/>
                  <a:latin typeface="Roboto" panose="02000000000000000000" pitchFamily="2" charset="0"/>
                  <a:ea typeface="Roboto" panose="02000000000000000000" pitchFamily="2" charset="0"/>
                  <a:cs typeface="Roboto" panose="02000000000000000000" pitchFamily="2" charset="0"/>
                </a:rPr>
                <a:t>Consistent PFS benefit by investigator: HR = 0.58 (95% CI: 0.45-0.73) </a:t>
              </a:r>
            </a:p>
          </p:txBody>
        </p:sp>
        <p:graphicFrame>
          <p:nvGraphicFramePr>
            <p:cNvPr id="2" name="Chart 1">
              <a:extLst>
                <a:ext uri="{FF2B5EF4-FFF2-40B4-BE49-F238E27FC236}">
                  <a16:creationId xmlns:a16="http://schemas.microsoft.com/office/drawing/2014/main" id="{728A2CB2-C6A5-4476-1A46-D6689590A117}"/>
                </a:ext>
              </a:extLst>
            </p:cNvPr>
            <p:cNvGraphicFramePr>
              <a:graphicFrameLocks/>
            </p:cNvGraphicFramePr>
            <p:nvPr/>
          </p:nvGraphicFramePr>
          <p:xfrm>
            <a:off x="812752" y="1653276"/>
            <a:ext cx="9716294" cy="3855983"/>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F184F2BB-C1C8-BAFC-7E8D-11DFA3F37A88}"/>
                </a:ext>
              </a:extLst>
            </p:cNvPr>
            <p:cNvSpPr txBox="1"/>
            <p:nvPr/>
          </p:nvSpPr>
          <p:spPr>
            <a:xfrm>
              <a:off x="3867870" y="2963052"/>
              <a:ext cx="715260" cy="1477328"/>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54883"/>
                  </a:solidFill>
                  <a:effectLst/>
                  <a:uLnTx/>
                  <a:uFillTx/>
                  <a:latin typeface="Roboto" panose="02000000000000000000" pitchFamily="2" charset="0"/>
                  <a:ea typeface="Roboto" panose="02000000000000000000" pitchFamily="2" charset="0"/>
                  <a:cs typeface="Roboto" panose="02000000000000000000" pitchFamily="2" charset="0"/>
                </a:rPr>
                <a:t>54.0%</a:t>
              </a:r>
              <a:endParaRPr kumimoji="0" lang="en-US" sz="1500" b="1" i="0" u="none" strike="noStrike" kern="1200" cap="none" spc="0" normalizeH="0" baseline="0" noProof="0">
                <a:ln>
                  <a:noFill/>
                </a:ln>
                <a:solidFill>
                  <a:srgbClr val="848484"/>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848484"/>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848484"/>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848484"/>
                  </a:solidFill>
                  <a:effectLst/>
                  <a:uLnTx/>
                  <a:uFillTx/>
                  <a:latin typeface="Roboto" panose="02000000000000000000" pitchFamily="2" charset="0"/>
                  <a:ea typeface="Roboto" panose="02000000000000000000" pitchFamily="2" charset="0"/>
                  <a:cs typeface="Roboto" panose="02000000000000000000" pitchFamily="2" charset="0"/>
                </a:rPr>
                <a:t>34.7%</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848484"/>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848484"/>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 name="TextBox 15">
              <a:extLst>
                <a:ext uri="{FF2B5EF4-FFF2-40B4-BE49-F238E27FC236}">
                  <a16:creationId xmlns:a16="http://schemas.microsoft.com/office/drawing/2014/main" id="{6D1EE88F-6B2E-7775-476A-68EE38A77DB3}"/>
                </a:ext>
              </a:extLst>
            </p:cNvPr>
            <p:cNvSpPr txBox="1"/>
            <p:nvPr/>
          </p:nvSpPr>
          <p:spPr>
            <a:xfrm>
              <a:off x="5691837" y="3933059"/>
              <a:ext cx="715260" cy="82330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500" b="1" i="0" u="none" strike="noStrike" kern="1200" cap="none" spc="0" normalizeH="0" baseline="0" noProof="0">
                  <a:ln>
                    <a:noFill/>
                  </a:ln>
                  <a:solidFill>
                    <a:srgbClr val="054883"/>
                  </a:solidFill>
                  <a:effectLst/>
                  <a:uLnTx/>
                  <a:uFillTx/>
                  <a:latin typeface="Roboto" panose="02000000000000000000" pitchFamily="2" charset="0"/>
                  <a:ea typeface="Roboto" panose="02000000000000000000" pitchFamily="2" charset="0"/>
                  <a:cs typeface="Roboto" panose="02000000000000000000" pitchFamily="2" charset="0"/>
                </a:rPr>
                <a:t>25.4%</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054883"/>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lumMod val="50000"/>
                    </a:srgbClr>
                  </a:solidFill>
                  <a:effectLst/>
                  <a:uLnTx/>
                  <a:uFillTx/>
                  <a:latin typeface="Roboto" panose="02000000000000000000" pitchFamily="2" charset="0"/>
                  <a:ea typeface="Roboto" panose="02000000000000000000" pitchFamily="2" charset="0"/>
                  <a:cs typeface="Roboto" panose="02000000000000000000" pitchFamily="2" charset="0"/>
                </a:rPr>
                <a:t>8.3%</a:t>
              </a:r>
            </a:p>
          </p:txBody>
        </p:sp>
        <p:sp>
          <p:nvSpPr>
            <p:cNvPr id="8" name="TextBox 7">
              <a:extLst>
                <a:ext uri="{FF2B5EF4-FFF2-40B4-BE49-F238E27FC236}">
                  <a16:creationId xmlns:a16="http://schemas.microsoft.com/office/drawing/2014/main" id="{5ED956E9-7FBD-D5D1-03E9-6349CE3A19CB}"/>
                </a:ext>
              </a:extLst>
            </p:cNvPr>
            <p:cNvSpPr txBox="1"/>
            <p:nvPr/>
          </p:nvSpPr>
          <p:spPr>
            <a:xfrm>
              <a:off x="1888972" y="1641212"/>
              <a:ext cx="5133757" cy="3385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median FU: 22.3 mo</a:t>
              </a:r>
            </a:p>
          </p:txBody>
        </p:sp>
        <p:sp>
          <p:nvSpPr>
            <p:cNvPr id="13" name="TextBox 12">
              <a:extLst>
                <a:ext uri="{FF2B5EF4-FFF2-40B4-BE49-F238E27FC236}">
                  <a16:creationId xmlns:a16="http://schemas.microsoft.com/office/drawing/2014/main" id="{C9A5917B-B3D4-2F74-4217-D35BE4F9BA46}"/>
                </a:ext>
              </a:extLst>
            </p:cNvPr>
            <p:cNvSpPr txBox="1"/>
            <p:nvPr/>
          </p:nvSpPr>
          <p:spPr>
            <a:xfrm>
              <a:off x="283457" y="5332075"/>
              <a:ext cx="10604191" cy="7078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 at risk</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054883"/>
                  </a:solidFill>
                  <a:effectLst/>
                  <a:uLnTx/>
                  <a:uFillTx/>
                  <a:latin typeface="Roboto" panose="02000000000000000000" pitchFamily="2" charset="0"/>
                  <a:ea typeface="Roboto" panose="02000000000000000000" pitchFamily="2" charset="0"/>
                  <a:cs typeface="Roboto" panose="02000000000000000000" pitchFamily="2" charset="0"/>
                </a:rPr>
                <a:t>Ivonescimab+chemo</a:t>
              </a:r>
              <a:r>
                <a:rPr kumimoji="0" lang="en-US" sz="1400" b="0" i="0" u="none" strike="noStrike" kern="1200" cap="none" spc="0" normalizeH="0" baseline="0" noProof="0">
                  <a:ln>
                    <a:noFill/>
                  </a:ln>
                  <a:solidFill>
                    <a:srgbClr val="054883"/>
                  </a:solidFill>
                  <a:effectLst/>
                  <a:uLnTx/>
                  <a:uFillTx/>
                  <a:latin typeface="Roboto" panose="02000000000000000000" pitchFamily="2" charset="0"/>
                  <a:ea typeface="Roboto" panose="02000000000000000000" pitchFamily="2" charset="0"/>
                  <a:cs typeface="Roboto" panose="02000000000000000000" pitchFamily="2" charset="0"/>
                </a:rPr>
                <a:t> 172           134               76                48                34                24                16               10                 5                 0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6F6F6F"/>
                  </a:solidFill>
                  <a:effectLst/>
                  <a:uLnTx/>
                  <a:uFillTx/>
                  <a:latin typeface="Roboto" panose="02000000000000000000" pitchFamily="2" charset="0"/>
                  <a:ea typeface="Roboto" panose="02000000000000000000" pitchFamily="2" charset="0"/>
                  <a:cs typeface="Roboto" panose="02000000000000000000" pitchFamily="2" charset="0"/>
                </a:rPr>
                <a:t>Placebo+chemo</a:t>
              </a:r>
              <a:r>
                <a:rPr kumimoji="0" lang="en-US" sz="1400" b="0" i="0" u="none" strike="noStrike" kern="1200" cap="none" spc="0" normalizeH="0" baseline="0" noProof="0">
                  <a:ln>
                    <a:noFill/>
                  </a:ln>
                  <a:solidFill>
                    <a:srgbClr val="6F6F6F"/>
                  </a:solidFill>
                  <a:effectLst/>
                  <a:uLnTx/>
                  <a:uFillTx/>
                  <a:latin typeface="Roboto" panose="02000000000000000000" pitchFamily="2" charset="0"/>
                  <a:ea typeface="Roboto" panose="02000000000000000000" pitchFamily="2" charset="0"/>
                  <a:cs typeface="Roboto" panose="02000000000000000000" pitchFamily="2" charset="0"/>
                </a:rPr>
                <a:t>         173           100               50                24                12                9                   4                  2                  1                 0</a:t>
              </a:r>
            </a:p>
          </p:txBody>
        </p:sp>
        <p:sp>
          <p:nvSpPr>
            <p:cNvPr id="4" name="TextBox 3">
              <a:extLst>
                <a:ext uri="{FF2B5EF4-FFF2-40B4-BE49-F238E27FC236}">
                  <a16:creationId xmlns:a16="http://schemas.microsoft.com/office/drawing/2014/main" id="{F9378FDE-92E2-2994-5E59-F366E51C111C}"/>
                </a:ext>
              </a:extLst>
            </p:cNvPr>
            <p:cNvSpPr txBox="1"/>
            <p:nvPr/>
          </p:nvSpPr>
          <p:spPr>
            <a:xfrm>
              <a:off x="5082293" y="5340530"/>
              <a:ext cx="2027412" cy="31810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Months</a:t>
              </a:r>
              <a:endParaRPr kumimoji="0" lang="en-US" sz="16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6" name="Harmoni logo" descr="A black and green rectangle with a black background&#10;&#10;Description automatically generated">
              <a:extLst>
                <a:ext uri="{FF2B5EF4-FFF2-40B4-BE49-F238E27FC236}">
                  <a16:creationId xmlns:a16="http://schemas.microsoft.com/office/drawing/2014/main" id="{8319C8BA-1CC2-87DE-2BBC-A3192A76B3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59332" y="709213"/>
              <a:ext cx="1511528" cy="347253"/>
            </a:xfrm>
            <a:prstGeom prst="rect">
              <a:avLst/>
            </a:prstGeom>
          </p:spPr>
        </p:pic>
        <p:sp>
          <p:nvSpPr>
            <p:cNvPr id="7" name="TextBox 6">
              <a:extLst>
                <a:ext uri="{FF2B5EF4-FFF2-40B4-BE49-F238E27FC236}">
                  <a16:creationId xmlns:a16="http://schemas.microsoft.com/office/drawing/2014/main" id="{268DAA45-8765-8F5D-D090-6942AA1CC06F}"/>
                </a:ext>
              </a:extLst>
            </p:cNvPr>
            <p:cNvSpPr txBox="1"/>
            <p:nvPr/>
          </p:nvSpPr>
          <p:spPr>
            <a:xfrm>
              <a:off x="6761512" y="6680238"/>
              <a:ext cx="5430488" cy="207686"/>
            </a:xfrm>
            <a:prstGeom prst="rect">
              <a:avLst/>
            </a:prstGeom>
            <a:noFill/>
          </p:spPr>
          <p:txBody>
            <a:bodyPr wrap="square">
              <a:spAutoFit/>
            </a:bodyPr>
            <a:lstStyle/>
            <a:p>
              <a:pPr marL="0" marR="0" lvl="0" indent="0" algn="r" defTabSz="914377" rtl="0" eaLnBrk="1" fontAlgn="auto" latinLnBrk="0" hangingPunct="1">
                <a:lnSpc>
                  <a:spcPct val="115000"/>
                </a:lnSpc>
                <a:spcBef>
                  <a:spcPts val="0"/>
                </a:spcBef>
                <a:spcAft>
                  <a:spcPts val="800"/>
                </a:spcAft>
                <a:buClrTx/>
                <a:buSzTx/>
                <a:buFontTx/>
                <a:buNone/>
                <a:tabLst/>
                <a:defRPr/>
              </a:pPr>
              <a:r>
                <a:rPr kumimoji="0" lang="en-US"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CI=confidence interval; FU=follow-up; HR=hazard ratio; IRRC=</a:t>
              </a:r>
              <a:r>
                <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lang="en-US"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independent radiology review committee; PFS=progression-free survival.</a:t>
              </a:r>
              <a:endPar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grpSp>
      <p:graphicFrame>
        <p:nvGraphicFramePr>
          <p:cNvPr id="23" name="Table 22">
            <a:extLst>
              <a:ext uri="{FF2B5EF4-FFF2-40B4-BE49-F238E27FC236}">
                <a16:creationId xmlns:a16="http://schemas.microsoft.com/office/drawing/2014/main" id="{04943044-4157-213D-C1A5-99BCEAFC5155}"/>
              </a:ext>
            </a:extLst>
          </p:cNvPr>
          <p:cNvGraphicFramePr>
            <a:graphicFrameLocks noGrp="1"/>
          </p:cNvGraphicFramePr>
          <p:nvPr/>
        </p:nvGraphicFramePr>
        <p:xfrm>
          <a:off x="5551635" y="1824295"/>
          <a:ext cx="6438963" cy="1233910"/>
        </p:xfrm>
        <a:graphic>
          <a:graphicData uri="http://schemas.openxmlformats.org/drawingml/2006/table">
            <a:tbl>
              <a:tblPr firstRow="1" bandRow="1">
                <a:tableStyleId>{5C22544A-7EE6-4342-B048-85BDC9FD1C3A}</a:tableStyleId>
              </a:tblPr>
              <a:tblGrid>
                <a:gridCol w="2181004">
                  <a:extLst>
                    <a:ext uri="{9D8B030D-6E8A-4147-A177-3AD203B41FA5}">
                      <a16:colId xmlns:a16="http://schemas.microsoft.com/office/drawing/2014/main" val="991251694"/>
                    </a:ext>
                  </a:extLst>
                </a:gridCol>
                <a:gridCol w="1240789">
                  <a:extLst>
                    <a:ext uri="{9D8B030D-6E8A-4147-A177-3AD203B41FA5}">
                      <a16:colId xmlns:a16="http://schemas.microsoft.com/office/drawing/2014/main" val="3209216347"/>
                    </a:ext>
                  </a:extLst>
                </a:gridCol>
                <a:gridCol w="824187">
                  <a:extLst>
                    <a:ext uri="{9D8B030D-6E8A-4147-A177-3AD203B41FA5}">
                      <a16:colId xmlns:a16="http://schemas.microsoft.com/office/drawing/2014/main" val="3723422784"/>
                    </a:ext>
                  </a:extLst>
                </a:gridCol>
                <a:gridCol w="1264623">
                  <a:extLst>
                    <a:ext uri="{9D8B030D-6E8A-4147-A177-3AD203B41FA5}">
                      <a16:colId xmlns:a16="http://schemas.microsoft.com/office/drawing/2014/main" val="3568114232"/>
                    </a:ext>
                  </a:extLst>
                </a:gridCol>
                <a:gridCol w="928360">
                  <a:extLst>
                    <a:ext uri="{9D8B030D-6E8A-4147-A177-3AD203B41FA5}">
                      <a16:colId xmlns:a16="http://schemas.microsoft.com/office/drawing/2014/main" val="189870592"/>
                    </a:ext>
                  </a:extLst>
                </a:gridCol>
              </a:tblGrid>
              <a:tr h="538480">
                <a:tc>
                  <a:txBody>
                    <a:bodyPr/>
                    <a:lstStyle/>
                    <a:p>
                      <a:endParaRPr lang="en-US" sz="1600">
                        <a:solidFill>
                          <a:schemeClr val="tx1"/>
                        </a:solidFill>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noFill/>
                  </a:tcPr>
                </a:tc>
                <a:tc>
                  <a:txBody>
                    <a:bodyPr/>
                    <a:lstStyle/>
                    <a:p>
                      <a:pPr algn="ctr"/>
                      <a:r>
                        <a:rPr lang="en-US" sz="1500">
                          <a:solidFill>
                            <a:schemeClr val="tx1"/>
                          </a:solidFill>
                          <a:latin typeface="Roboto" panose="02000000000000000000" pitchFamily="2" charset="0"/>
                          <a:ea typeface="Roboto" panose="02000000000000000000" pitchFamily="2" charset="0"/>
                          <a:cs typeface="Roboto" panose="02000000000000000000" pitchFamily="2" charset="0"/>
                        </a:rPr>
                        <a:t>Events, n (%)</a:t>
                      </a:r>
                    </a:p>
                  </a:txBody>
                  <a:tcPr>
                    <a:lnB w="12700" cap="flat" cmpd="sng" algn="ctr">
                      <a:solidFill>
                        <a:schemeClr val="tx1"/>
                      </a:solidFill>
                      <a:prstDash val="solid"/>
                      <a:round/>
                      <a:headEnd type="none" w="med" len="med"/>
                      <a:tailEnd type="none" w="med" len="med"/>
                    </a:lnB>
                    <a:noFill/>
                  </a:tcPr>
                </a:tc>
                <a:tc>
                  <a:txBody>
                    <a:bodyPr/>
                    <a:lstStyle/>
                    <a:p>
                      <a:pPr algn="ctr"/>
                      <a:r>
                        <a:rPr lang="en-US" sz="1500">
                          <a:solidFill>
                            <a:schemeClr val="tx1"/>
                          </a:solidFill>
                          <a:latin typeface="Roboto" panose="02000000000000000000" pitchFamily="2" charset="0"/>
                          <a:ea typeface="Roboto" panose="02000000000000000000" pitchFamily="2" charset="0"/>
                          <a:cs typeface="Roboto" panose="02000000000000000000" pitchFamily="2" charset="0"/>
                        </a:rPr>
                        <a:t>Median (mo)</a:t>
                      </a:r>
                    </a:p>
                  </a:txBody>
                  <a:tcPr>
                    <a:lnB w="12700" cap="flat" cmpd="sng" algn="ctr">
                      <a:solidFill>
                        <a:schemeClr val="tx1"/>
                      </a:solidFill>
                      <a:prstDash val="solid"/>
                      <a:round/>
                      <a:headEnd type="none" w="med" len="med"/>
                      <a:tailEnd type="none" w="med" len="med"/>
                    </a:lnB>
                    <a:noFill/>
                  </a:tcPr>
                </a:tc>
                <a:tc>
                  <a:txBody>
                    <a:bodyPr/>
                    <a:lstStyle/>
                    <a:p>
                      <a:pPr algn="ctr"/>
                      <a:r>
                        <a:rPr lang="en-US" sz="1500">
                          <a:solidFill>
                            <a:schemeClr val="tx1"/>
                          </a:solidFill>
                          <a:latin typeface="Roboto" panose="02000000000000000000" pitchFamily="2" charset="0"/>
                          <a:ea typeface="Roboto" panose="02000000000000000000" pitchFamily="2" charset="0"/>
                          <a:cs typeface="Roboto" panose="02000000000000000000" pitchFamily="2" charset="0"/>
                        </a:rPr>
                        <a:t>HR </a:t>
                      </a:r>
                    </a:p>
                    <a:p>
                      <a:pPr algn="ctr"/>
                      <a:r>
                        <a:rPr lang="en-US" sz="1500">
                          <a:solidFill>
                            <a:schemeClr val="tx1"/>
                          </a:solidFill>
                          <a:latin typeface="Roboto" panose="02000000000000000000" pitchFamily="2" charset="0"/>
                          <a:ea typeface="Roboto" panose="02000000000000000000" pitchFamily="2" charset="0"/>
                          <a:cs typeface="Roboto" panose="02000000000000000000" pitchFamily="2" charset="0"/>
                        </a:rPr>
                        <a:t>(95% CI)</a:t>
                      </a:r>
                    </a:p>
                  </a:txBody>
                  <a:tcPr>
                    <a:lnB w="12700" cap="flat" cmpd="sng" algn="ctr">
                      <a:solidFill>
                        <a:schemeClr val="tx1"/>
                      </a:solidFill>
                      <a:prstDash val="solid"/>
                      <a:round/>
                      <a:headEnd type="none" w="med" len="med"/>
                      <a:tailEnd type="none" w="med" len="med"/>
                    </a:lnB>
                    <a:noFill/>
                  </a:tcPr>
                </a:tc>
                <a:tc>
                  <a:txBody>
                    <a:bodyPr/>
                    <a:lstStyle/>
                    <a:p>
                      <a:r>
                        <a:rPr lang="en-US" sz="1500" i="1">
                          <a:solidFill>
                            <a:schemeClr val="tx1"/>
                          </a:solidFill>
                          <a:latin typeface="Roboto" panose="02000000000000000000" pitchFamily="2" charset="0"/>
                          <a:ea typeface="Roboto" panose="02000000000000000000" pitchFamily="2" charset="0"/>
                          <a:cs typeface="Roboto" panose="02000000000000000000" pitchFamily="2" charset="0"/>
                        </a:rPr>
                        <a:t>P</a:t>
                      </a:r>
                      <a:r>
                        <a:rPr lang="en-US" sz="1500">
                          <a:solidFill>
                            <a:schemeClr val="tx1"/>
                          </a:solidFill>
                          <a:latin typeface="Roboto" panose="02000000000000000000" pitchFamily="2" charset="0"/>
                          <a:ea typeface="Roboto" panose="02000000000000000000" pitchFamily="2" charset="0"/>
                          <a:cs typeface="Roboto" panose="02000000000000000000" pitchFamily="2" charset="0"/>
                        </a:rPr>
                        <a:t> Value</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7429970"/>
                  </a:ext>
                </a:extLst>
              </a:tr>
              <a:tr h="342635">
                <a:tc>
                  <a:txBody>
                    <a:bodyPr/>
                    <a:lstStyle/>
                    <a:p>
                      <a:r>
                        <a:rPr lang="en-US" sz="1600" b="1">
                          <a:solidFill>
                            <a:srgbClr val="054883"/>
                          </a:solidFill>
                          <a:latin typeface="Roboto" panose="02000000000000000000" pitchFamily="2" charset="0"/>
                          <a:ea typeface="Roboto" panose="02000000000000000000" pitchFamily="2" charset="0"/>
                          <a:cs typeface="Roboto" panose="02000000000000000000" pitchFamily="2" charset="0"/>
                        </a:rPr>
                        <a:t>Ivonescimab+chemo</a:t>
                      </a:r>
                    </a:p>
                  </a:txBody>
                  <a:tcPr>
                    <a:lnT w="12700" cap="flat" cmpd="sng" algn="ctr">
                      <a:solidFill>
                        <a:schemeClr val="tx1"/>
                      </a:solidFill>
                      <a:prstDash val="solid"/>
                      <a:round/>
                      <a:headEnd type="none" w="med" len="med"/>
                      <a:tailEnd type="none" w="med" len="med"/>
                    </a:lnT>
                    <a:noFill/>
                  </a:tcPr>
                </a:tc>
                <a:tc>
                  <a:txBody>
                    <a:bodyPr/>
                    <a:lstStyle/>
                    <a:p>
                      <a:pPr algn="ctr"/>
                      <a:r>
                        <a:rPr lang="en-US" sz="1600">
                          <a:solidFill>
                            <a:srgbClr val="054883"/>
                          </a:solidFill>
                          <a:latin typeface="Roboto" panose="02000000000000000000" pitchFamily="2" charset="0"/>
                          <a:ea typeface="Roboto" panose="02000000000000000000" pitchFamily="2" charset="0"/>
                          <a:cs typeface="Roboto" panose="02000000000000000000" pitchFamily="2" charset="0"/>
                        </a:rPr>
                        <a:t>129 (75.0)</a:t>
                      </a:r>
                    </a:p>
                  </a:txBody>
                  <a:tcPr>
                    <a:lnT w="12700" cap="flat" cmpd="sng" algn="ctr">
                      <a:solidFill>
                        <a:schemeClr val="tx1"/>
                      </a:solidFill>
                      <a:prstDash val="solid"/>
                      <a:round/>
                      <a:headEnd type="none" w="med" len="med"/>
                      <a:tailEnd type="none" w="med" len="med"/>
                    </a:lnT>
                    <a:noFill/>
                  </a:tcPr>
                </a:tc>
                <a:tc>
                  <a:txBody>
                    <a:bodyPr/>
                    <a:lstStyle/>
                    <a:p>
                      <a:pPr algn="ctr"/>
                      <a:r>
                        <a:rPr lang="en-US" sz="1600">
                          <a:solidFill>
                            <a:srgbClr val="054883"/>
                          </a:solidFill>
                          <a:latin typeface="Roboto" panose="02000000000000000000" pitchFamily="2" charset="0"/>
                          <a:ea typeface="Roboto" panose="02000000000000000000" pitchFamily="2" charset="0"/>
                          <a:cs typeface="Roboto" panose="02000000000000000000" pitchFamily="2" charset="0"/>
                        </a:rPr>
                        <a:t>6.8</a:t>
                      </a:r>
                    </a:p>
                  </a:txBody>
                  <a:tcPr>
                    <a:lnT w="12700" cap="flat" cmpd="sng" algn="ctr">
                      <a:solidFill>
                        <a:schemeClr val="tx1"/>
                      </a:solidFill>
                      <a:prstDash val="solid"/>
                      <a:round/>
                      <a:headEnd type="none" w="med" len="med"/>
                      <a:tailEnd type="none" w="med" len="med"/>
                    </a:lnT>
                    <a:noFill/>
                  </a:tcPr>
                </a:tc>
                <a:tc rowSpan="2">
                  <a:txBody>
                    <a:bodyPr/>
                    <a:lstStyle/>
                    <a:p>
                      <a:pPr algn="ctr"/>
                      <a:r>
                        <a:rPr lang="en-US" sz="1600">
                          <a:solidFill>
                            <a:srgbClr val="054883"/>
                          </a:solidFill>
                          <a:latin typeface="Roboto" panose="02000000000000000000" pitchFamily="2" charset="0"/>
                          <a:ea typeface="Roboto" panose="02000000000000000000" pitchFamily="2" charset="0"/>
                          <a:cs typeface="Roboto" panose="02000000000000000000" pitchFamily="2" charset="0"/>
                        </a:rPr>
                        <a:t>0.52</a:t>
                      </a:r>
                    </a:p>
                    <a:p>
                      <a:pPr algn="ctr"/>
                      <a:r>
                        <a:rPr lang="en-US" sz="1600">
                          <a:solidFill>
                            <a:srgbClr val="054883"/>
                          </a:solidFill>
                          <a:latin typeface="Roboto" panose="02000000000000000000" pitchFamily="2" charset="0"/>
                          <a:ea typeface="Roboto" panose="02000000000000000000" pitchFamily="2" charset="0"/>
                          <a:cs typeface="Roboto" panose="02000000000000000000" pitchFamily="2" charset="0"/>
                        </a:rPr>
                        <a:t>(0.41-0.66)</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r>
                        <a:rPr lang="en-US" sz="1600">
                          <a:solidFill>
                            <a:srgbClr val="054883"/>
                          </a:solidFill>
                          <a:latin typeface="Roboto" panose="02000000000000000000" pitchFamily="2" charset="0"/>
                          <a:ea typeface="Roboto" panose="02000000000000000000" pitchFamily="2" charset="0"/>
                          <a:cs typeface="Roboto" panose="02000000000000000000" pitchFamily="2" charset="0"/>
                        </a:rPr>
                        <a:t>&lt;0.0001</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99379823"/>
                  </a:ext>
                </a:extLst>
              </a:tr>
              <a:tr h="342635">
                <a:tc>
                  <a:txBody>
                    <a:bodyPr/>
                    <a:lstStyle/>
                    <a:p>
                      <a:r>
                        <a:rPr lang="en-US" sz="1600" b="1">
                          <a:solidFill>
                            <a:srgbClr val="848484"/>
                          </a:solidFill>
                          <a:latin typeface="Roboto" panose="02000000000000000000" pitchFamily="2" charset="0"/>
                          <a:ea typeface="Roboto" panose="02000000000000000000" pitchFamily="2" charset="0"/>
                          <a:cs typeface="Roboto" panose="02000000000000000000" pitchFamily="2" charset="0"/>
                        </a:rPr>
                        <a:t>Placebo+chemo</a:t>
                      </a:r>
                    </a:p>
                  </a:txBody>
                  <a:tcPr>
                    <a:lnB w="12700" cap="flat" cmpd="sng" algn="ctr">
                      <a:solidFill>
                        <a:schemeClr val="tx1"/>
                      </a:solidFill>
                      <a:prstDash val="solid"/>
                      <a:round/>
                      <a:headEnd type="none" w="med" len="med"/>
                      <a:tailEnd type="none" w="med" len="med"/>
                    </a:lnB>
                    <a:noFill/>
                  </a:tcPr>
                </a:tc>
                <a:tc>
                  <a:txBody>
                    <a:bodyPr/>
                    <a:lstStyle/>
                    <a:p>
                      <a:pPr algn="ctr"/>
                      <a:r>
                        <a:rPr lang="en-US" sz="1600">
                          <a:solidFill>
                            <a:srgbClr val="848484"/>
                          </a:solidFill>
                          <a:latin typeface="Roboto" panose="02000000000000000000" pitchFamily="2" charset="0"/>
                          <a:ea typeface="Roboto" panose="02000000000000000000" pitchFamily="2" charset="0"/>
                          <a:cs typeface="Roboto" panose="02000000000000000000" pitchFamily="2" charset="0"/>
                        </a:rPr>
                        <a:t>146 (84.4)</a:t>
                      </a:r>
                    </a:p>
                  </a:txBody>
                  <a:tcPr>
                    <a:lnB w="12700" cap="flat" cmpd="sng" algn="ctr">
                      <a:solidFill>
                        <a:schemeClr val="tx1"/>
                      </a:solidFill>
                      <a:prstDash val="solid"/>
                      <a:round/>
                      <a:headEnd type="none" w="med" len="med"/>
                      <a:tailEnd type="none" w="med" len="med"/>
                    </a:lnB>
                    <a:noFill/>
                  </a:tcPr>
                </a:tc>
                <a:tc>
                  <a:txBody>
                    <a:bodyPr/>
                    <a:lstStyle/>
                    <a:p>
                      <a:pPr algn="ctr"/>
                      <a:r>
                        <a:rPr lang="en-US" sz="1600">
                          <a:solidFill>
                            <a:srgbClr val="848484"/>
                          </a:solidFill>
                          <a:latin typeface="Roboto" panose="02000000000000000000" pitchFamily="2" charset="0"/>
                          <a:ea typeface="Roboto" panose="02000000000000000000" pitchFamily="2" charset="0"/>
                          <a:cs typeface="Roboto" panose="02000000000000000000" pitchFamily="2" charset="0"/>
                        </a:rPr>
                        <a:t>4.4</a:t>
                      </a:r>
                    </a:p>
                  </a:txBody>
                  <a:tcPr>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248776269"/>
                  </a:ext>
                </a:extLst>
              </a:tr>
            </a:tbl>
          </a:graphicData>
        </a:graphic>
      </p:graphicFrame>
      <p:sp>
        <p:nvSpPr>
          <p:cNvPr id="3" name="TextBox 2">
            <a:extLst>
              <a:ext uri="{FF2B5EF4-FFF2-40B4-BE49-F238E27FC236}">
                <a16:creationId xmlns:a16="http://schemas.microsoft.com/office/drawing/2014/main" id="{33A54A87-66AB-48D6-88FA-52E59BD72A2A}"/>
              </a:ext>
            </a:extLst>
          </p:cNvPr>
          <p:cNvSpPr txBox="1"/>
          <p:nvPr/>
        </p:nvSpPr>
        <p:spPr>
          <a:xfrm>
            <a:off x="4363285" y="6406165"/>
            <a:ext cx="3091220" cy="25654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lumMod val="85000"/>
                  </a:srgbClr>
                </a:solidFill>
                <a:effectLst/>
                <a:uLnTx/>
                <a:uFillTx/>
                <a:latin typeface="Calibri"/>
                <a:ea typeface="+mn-ea"/>
                <a:cs typeface="+mn-cs"/>
              </a:rPr>
              <a:t>Goldman, et al. World Conf on Lung Cancer, 2025.</a:t>
            </a:r>
          </a:p>
        </p:txBody>
      </p:sp>
    </p:spTree>
    <p:extLst>
      <p:ext uri="{BB962C8B-B14F-4D97-AF65-F5344CB8AC3E}">
        <p14:creationId xmlns:p14="http://schemas.microsoft.com/office/powerpoint/2010/main" val="950890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935649"/>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30264606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A021B-A9F1-5171-CAAC-FF15705D54A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6D5F6E6-EEFE-3D17-28C0-F324E4ACD45E}"/>
              </a:ext>
            </a:extLst>
          </p:cNvPr>
          <p:cNvSpPr>
            <a:spLocks noGrp="1"/>
          </p:cNvSpPr>
          <p:nvPr>
            <p:ph type="title" idx="4294967295"/>
          </p:nvPr>
        </p:nvSpPr>
        <p:spPr>
          <a:xfrm>
            <a:off x="137363" y="557966"/>
            <a:ext cx="10297800" cy="475572"/>
          </a:xfrm>
          <a:prstGeom prst="rect">
            <a:avLst/>
          </a:prstGeom>
        </p:spPr>
        <p:txBody>
          <a:bodyPr lIns="91440" tIns="45720" rIns="91440" bIns="45720" anchor="t"/>
          <a:lstStyle/>
          <a:p>
            <a:r>
              <a:rPr lang="en-US" sz="3600" b="1">
                <a:latin typeface="Roboto" panose="02000000000000000000" pitchFamily="2" charset="0"/>
                <a:ea typeface="Roboto" panose="02000000000000000000" pitchFamily="2" charset="0"/>
                <a:cs typeface="Roboto" panose="02000000000000000000" pitchFamily="2" charset="0"/>
              </a:rPr>
              <a:t>Primary Endpoint: Overall Survival</a:t>
            </a:r>
            <a:br>
              <a:rPr lang="en-US" sz="3600" b="1">
                <a:latin typeface="Roboto" panose="02000000000000000000" pitchFamily="2" charset="0"/>
                <a:ea typeface="Roboto" panose="02000000000000000000" pitchFamily="2" charset="0"/>
                <a:cs typeface="Roboto" panose="02000000000000000000" pitchFamily="2" charset="0"/>
              </a:rPr>
            </a:br>
            <a:r>
              <a:rPr lang="en-US" sz="2400" b="1">
                <a:latin typeface="Roboto" panose="02000000000000000000" pitchFamily="2" charset="0"/>
                <a:ea typeface="Roboto" panose="02000000000000000000" pitchFamily="2" charset="0"/>
                <a:cs typeface="Roboto" panose="02000000000000000000" pitchFamily="2" charset="0"/>
              </a:rPr>
              <a:t>Favorable Trend Observed; NA &amp; EU Follow-up Not Yet Mature</a:t>
            </a:r>
          </a:p>
        </p:txBody>
      </p:sp>
      <p:grpSp>
        <p:nvGrpSpPr>
          <p:cNvPr id="6" name="Group 5">
            <a:extLst>
              <a:ext uri="{FF2B5EF4-FFF2-40B4-BE49-F238E27FC236}">
                <a16:creationId xmlns:a16="http://schemas.microsoft.com/office/drawing/2014/main" id="{6EBCAAE3-0CA1-D4EB-0C21-3B37431145C8}"/>
              </a:ext>
            </a:extLst>
          </p:cNvPr>
          <p:cNvGrpSpPr/>
          <p:nvPr/>
        </p:nvGrpSpPr>
        <p:grpSpPr>
          <a:xfrm>
            <a:off x="121035" y="709214"/>
            <a:ext cx="12089843" cy="6161919"/>
            <a:chOff x="121034" y="709213"/>
            <a:chExt cx="12089843" cy="6161919"/>
          </a:xfrm>
        </p:grpSpPr>
        <p:graphicFrame>
          <p:nvGraphicFramePr>
            <p:cNvPr id="10" name="Chart 9">
              <a:extLst>
                <a:ext uri="{FF2B5EF4-FFF2-40B4-BE49-F238E27FC236}">
                  <a16:creationId xmlns:a16="http://schemas.microsoft.com/office/drawing/2014/main" id="{7E1130EA-4CE5-4377-B409-C5992DA261D8}"/>
                </a:ext>
              </a:extLst>
            </p:cNvPr>
            <p:cNvGraphicFramePr>
              <a:graphicFrameLocks/>
            </p:cNvGraphicFramePr>
            <p:nvPr/>
          </p:nvGraphicFramePr>
          <p:xfrm>
            <a:off x="784860" y="1468120"/>
            <a:ext cx="9959340" cy="439882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B3EB86BC-15D9-7CE0-A75A-C02331E757B3}"/>
                </a:ext>
              </a:extLst>
            </p:cNvPr>
            <p:cNvSpPr txBox="1"/>
            <p:nvPr/>
          </p:nvSpPr>
          <p:spPr>
            <a:xfrm>
              <a:off x="2330305" y="3828004"/>
              <a:ext cx="2639024" cy="1261884"/>
            </a:xfrm>
            <a:prstGeom prst="rect">
              <a:avLst/>
            </a:prstGeom>
            <a:noFill/>
          </p:spPr>
          <p:txBody>
            <a:bodyPr wrap="square" lIns="91440" tIns="45720" rIns="91440" bIns="45720" rtlCol="0" anchor="t">
              <a:spAutoFit/>
            </a:bodyPr>
            <a:lstStyle/>
            <a:p>
              <a:pPr marL="0" marR="0" lvl="0" indent="0" algn="l" defTabSz="914377"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Median FU: </a:t>
              </a:r>
            </a:p>
            <a:p>
              <a:pPr marL="0" marR="0" lvl="0" indent="0" algn="l" defTabSz="91437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Overall </a:t>
              </a:r>
              <a:r>
                <a:rPr kumimoji="0" lang="en-US" sz="1600" b="0"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mFU</a:t>
              </a:r>
              <a:r>
                <a:rPr kumimoji="0" lang="en-US"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29.7 </a:t>
              </a:r>
              <a:r>
                <a:rPr kumimoji="0" lang="en-US" sz="1600" b="0"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mo</a:t>
              </a:r>
              <a:endParaRPr kumimoji="0" lang="en-US"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NA &amp; EU </a:t>
              </a:r>
              <a:r>
                <a:rPr kumimoji="0" lang="en-US" sz="1600" b="0"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mFU</a:t>
              </a:r>
              <a:r>
                <a:rPr kumimoji="0" lang="en-US"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9.2 </a:t>
              </a:r>
              <a:r>
                <a:rPr kumimoji="0" lang="en-US" sz="1600" b="0"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mo</a:t>
              </a:r>
              <a:endParaRPr kumimoji="0" lang="en-US" sz="2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TextBox 8">
              <a:extLst>
                <a:ext uri="{FF2B5EF4-FFF2-40B4-BE49-F238E27FC236}">
                  <a16:creationId xmlns:a16="http://schemas.microsoft.com/office/drawing/2014/main" id="{979BC51E-66B9-CA40-842A-FFA0B33E089B}"/>
                </a:ext>
              </a:extLst>
            </p:cNvPr>
            <p:cNvSpPr txBox="1"/>
            <p:nvPr/>
          </p:nvSpPr>
          <p:spPr>
            <a:xfrm>
              <a:off x="121034" y="5614584"/>
              <a:ext cx="11286992" cy="73866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No. at risk</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54883"/>
                  </a:solidFill>
                  <a:effectLst/>
                  <a:uLnTx/>
                  <a:uFillTx/>
                  <a:latin typeface="Roboto" panose="02000000000000000000" pitchFamily="2" charset="0"/>
                  <a:ea typeface="Roboto" panose="02000000000000000000" pitchFamily="2" charset="0"/>
                  <a:cs typeface="Roboto" panose="02000000000000000000" pitchFamily="2" charset="0"/>
                </a:rPr>
                <a:t>Ivonescimab+chemo</a:t>
              </a:r>
              <a:r>
                <a:rPr kumimoji="0" lang="en-US" sz="1400" b="0" i="0" u="none" strike="noStrike" kern="1200" cap="none" spc="0" normalizeH="0" baseline="0" noProof="0" dirty="0">
                  <a:ln>
                    <a:noFill/>
                  </a:ln>
                  <a:solidFill>
                    <a:srgbClr val="054883"/>
                  </a:solidFill>
                  <a:effectLst/>
                  <a:uLnTx/>
                  <a:uFillTx/>
                  <a:latin typeface="Roboto" panose="02000000000000000000" pitchFamily="2" charset="0"/>
                  <a:ea typeface="Roboto" panose="02000000000000000000" pitchFamily="2" charset="0"/>
                  <a:cs typeface="Roboto" panose="02000000000000000000" pitchFamily="2" charset="0"/>
                </a:rPr>
                <a:t>   219       212       189        137         98          77          60          51          43          33         26          16          5            0</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6F6F6F"/>
                  </a:solidFill>
                  <a:effectLst/>
                  <a:uLnTx/>
                  <a:uFillTx/>
                  <a:latin typeface="Roboto" panose="02000000000000000000" pitchFamily="2" charset="0"/>
                  <a:ea typeface="Roboto" panose="02000000000000000000" pitchFamily="2" charset="0"/>
                  <a:cs typeface="Roboto" panose="02000000000000000000" pitchFamily="2" charset="0"/>
                </a:rPr>
                <a:t>Placebo+chemo</a:t>
              </a:r>
              <a:r>
                <a:rPr kumimoji="0" lang="en-US" sz="1400" b="0" i="0" u="none" strike="noStrike" kern="1200" cap="none" spc="0" normalizeH="0" baseline="0" noProof="0" dirty="0">
                  <a:ln>
                    <a:noFill/>
                  </a:ln>
                  <a:solidFill>
                    <a:srgbClr val="6F6F6F"/>
                  </a:solidFill>
                  <a:effectLst/>
                  <a:uLnTx/>
                  <a:uFillTx/>
                  <a:latin typeface="Roboto" panose="02000000000000000000" pitchFamily="2" charset="0"/>
                  <a:ea typeface="Roboto" panose="02000000000000000000" pitchFamily="2" charset="0"/>
                  <a:cs typeface="Roboto" panose="02000000000000000000" pitchFamily="2" charset="0"/>
                </a:rPr>
                <a:t>           219       210       186        132         92          63          52          44          38          30         18           9            0</a:t>
              </a:r>
            </a:p>
          </p:txBody>
        </p:sp>
        <p:pic>
          <p:nvPicPr>
            <p:cNvPr id="13" name="Harmoni logo" descr="A black and green rectangle with a black background&#10;&#10;Description automatically generated">
              <a:extLst>
                <a:ext uri="{FF2B5EF4-FFF2-40B4-BE49-F238E27FC236}">
                  <a16:creationId xmlns:a16="http://schemas.microsoft.com/office/drawing/2014/main" id="{75F5149A-A138-79E3-B0FA-F2623477D4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59332" y="709213"/>
              <a:ext cx="1511528" cy="347253"/>
            </a:xfrm>
            <a:prstGeom prst="rect">
              <a:avLst/>
            </a:prstGeom>
          </p:spPr>
        </p:pic>
        <p:sp>
          <p:nvSpPr>
            <p:cNvPr id="4" name="TextBox 3">
              <a:extLst>
                <a:ext uri="{FF2B5EF4-FFF2-40B4-BE49-F238E27FC236}">
                  <a16:creationId xmlns:a16="http://schemas.microsoft.com/office/drawing/2014/main" id="{525DA6BB-A133-1AE3-F138-5EB0465FADC3}"/>
                </a:ext>
              </a:extLst>
            </p:cNvPr>
            <p:cNvSpPr txBox="1"/>
            <p:nvPr/>
          </p:nvSpPr>
          <p:spPr>
            <a:xfrm>
              <a:off x="7187072" y="6663446"/>
              <a:ext cx="5023805" cy="207686"/>
            </a:xfrm>
            <a:prstGeom prst="rect">
              <a:avLst/>
            </a:prstGeom>
            <a:noFill/>
          </p:spPr>
          <p:txBody>
            <a:bodyPr wrap="square">
              <a:spAutoFit/>
            </a:bodyPr>
            <a:lstStyle/>
            <a:p>
              <a:pPr marL="0" marR="0" lvl="0" indent="0" algn="r" defTabSz="914377" rtl="0" eaLnBrk="1" fontAlgn="auto" latinLnBrk="0" hangingPunct="1">
                <a:lnSpc>
                  <a:spcPct val="115000"/>
                </a:lnSpc>
                <a:spcBef>
                  <a:spcPts val="0"/>
                </a:spcBef>
                <a:spcAft>
                  <a:spcPts val="800"/>
                </a:spcAft>
                <a:buClrTx/>
                <a:buSzTx/>
                <a:buFontTx/>
                <a:buNone/>
                <a:tabLst/>
                <a:defRPr/>
              </a:pPr>
              <a:r>
                <a:rPr kumimoji="0" lang="pt-BR"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CI=</a:t>
              </a:r>
              <a:r>
                <a:rPr kumimoji="0" lang="pt-BR" sz="700" b="0" i="0" u="none" strike="noStrike" kern="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confidence</a:t>
              </a:r>
              <a:r>
                <a:rPr kumimoji="0" lang="pt-BR"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lang="pt-BR" sz="700" b="0" i="0" u="none" strike="noStrike" kern="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interval</a:t>
              </a:r>
              <a:r>
                <a:rPr kumimoji="0" lang="pt-BR"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EU=</a:t>
              </a:r>
              <a:r>
                <a:rPr kumimoji="0" lang="pt-BR" sz="700" b="0" i="0" u="none" strike="noStrike" kern="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Europe</a:t>
              </a:r>
              <a:r>
                <a:rPr kumimoji="0" lang="pt-BR"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FU=follow-up; HR=</a:t>
              </a:r>
              <a:r>
                <a:rPr kumimoji="0" lang="pt-BR" sz="700" b="0" i="0" u="none" strike="noStrike" kern="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hazard</a:t>
              </a:r>
              <a:r>
                <a:rPr kumimoji="0" lang="pt-BR"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lang="pt-BR" sz="700" b="0" i="0" u="none" strike="noStrike" kern="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ratio</a:t>
              </a:r>
              <a:r>
                <a:rPr kumimoji="0" lang="pt-BR"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NA=North </a:t>
              </a:r>
              <a:r>
                <a:rPr kumimoji="0" lang="pt-BR" sz="700" b="0" i="0" u="none" strike="noStrike" kern="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America</a:t>
              </a:r>
              <a:r>
                <a:rPr kumimoji="0" lang="pt-BR"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OS=overall </a:t>
              </a:r>
              <a:r>
                <a:rPr kumimoji="0" lang="pt-BR" sz="700" b="0" i="0" u="none" strike="noStrike" kern="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survival</a:t>
              </a:r>
              <a:r>
                <a:rPr kumimoji="0" lang="pt-BR"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a:t>
              </a:r>
              <a:endPar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grpSp>
      <p:graphicFrame>
        <p:nvGraphicFramePr>
          <p:cNvPr id="2" name="Table 1">
            <a:extLst>
              <a:ext uri="{FF2B5EF4-FFF2-40B4-BE49-F238E27FC236}">
                <a16:creationId xmlns:a16="http://schemas.microsoft.com/office/drawing/2014/main" id="{EE15D88D-8A6D-928B-5A7A-70B03D7B897A}"/>
              </a:ext>
            </a:extLst>
          </p:cNvPr>
          <p:cNvGraphicFramePr>
            <a:graphicFrameLocks noGrp="1"/>
          </p:cNvGraphicFramePr>
          <p:nvPr/>
        </p:nvGraphicFramePr>
        <p:xfrm>
          <a:off x="5827686" y="1580483"/>
          <a:ext cx="5935887" cy="1507848"/>
        </p:xfrm>
        <a:graphic>
          <a:graphicData uri="http://schemas.openxmlformats.org/drawingml/2006/table">
            <a:tbl>
              <a:tblPr firstRow="1" bandRow="1">
                <a:tableStyleId>{5C22544A-7EE6-4342-B048-85BDC9FD1C3A}</a:tableStyleId>
              </a:tblPr>
              <a:tblGrid>
                <a:gridCol w="2051912">
                  <a:extLst>
                    <a:ext uri="{9D8B030D-6E8A-4147-A177-3AD203B41FA5}">
                      <a16:colId xmlns:a16="http://schemas.microsoft.com/office/drawing/2014/main" val="991251694"/>
                    </a:ext>
                  </a:extLst>
                </a:gridCol>
                <a:gridCol w="1131808">
                  <a:extLst>
                    <a:ext uri="{9D8B030D-6E8A-4147-A177-3AD203B41FA5}">
                      <a16:colId xmlns:a16="http://schemas.microsoft.com/office/drawing/2014/main" val="3209216347"/>
                    </a:ext>
                  </a:extLst>
                </a:gridCol>
                <a:gridCol w="846820">
                  <a:extLst>
                    <a:ext uri="{9D8B030D-6E8A-4147-A177-3AD203B41FA5}">
                      <a16:colId xmlns:a16="http://schemas.microsoft.com/office/drawing/2014/main" val="3723422784"/>
                    </a:ext>
                  </a:extLst>
                </a:gridCol>
                <a:gridCol w="1058527">
                  <a:extLst>
                    <a:ext uri="{9D8B030D-6E8A-4147-A177-3AD203B41FA5}">
                      <a16:colId xmlns:a16="http://schemas.microsoft.com/office/drawing/2014/main" val="3568114232"/>
                    </a:ext>
                  </a:extLst>
                </a:gridCol>
                <a:gridCol w="846820">
                  <a:extLst>
                    <a:ext uri="{9D8B030D-6E8A-4147-A177-3AD203B41FA5}">
                      <a16:colId xmlns:a16="http://schemas.microsoft.com/office/drawing/2014/main" val="189870592"/>
                    </a:ext>
                  </a:extLst>
                </a:gridCol>
              </a:tblGrid>
              <a:tr h="538480">
                <a:tc>
                  <a:txBody>
                    <a:bodyPr/>
                    <a:lstStyle/>
                    <a:p>
                      <a:endParaRPr lang="en-US" sz="1500">
                        <a:solidFill>
                          <a:schemeClr val="tx1"/>
                        </a:solidFill>
                        <a:latin typeface="Roboto" panose="02000000000000000000" pitchFamily="2" charset="0"/>
                        <a:ea typeface="Roboto" panose="02000000000000000000" pitchFamily="2" charset="0"/>
                        <a:cs typeface="Roboto" panose="02000000000000000000" pitchFamily="2" charset="0"/>
                      </a:endParaRPr>
                    </a:p>
                  </a:txBody>
                  <a:tcPr>
                    <a:lnB w="12700" cap="flat" cmpd="sng" algn="ctr">
                      <a:solidFill>
                        <a:schemeClr val="tx1"/>
                      </a:solidFill>
                      <a:prstDash val="solid"/>
                      <a:round/>
                      <a:headEnd type="none" w="med" len="med"/>
                      <a:tailEnd type="none" w="med" len="med"/>
                    </a:lnB>
                    <a:noFill/>
                  </a:tcPr>
                </a:tc>
                <a:tc>
                  <a:txBody>
                    <a:bodyPr/>
                    <a:lstStyle/>
                    <a:p>
                      <a:pPr algn="ctr"/>
                      <a:r>
                        <a:rPr lang="en-US" sz="1500">
                          <a:solidFill>
                            <a:schemeClr val="tx1"/>
                          </a:solidFill>
                          <a:latin typeface="Roboto" panose="02000000000000000000" pitchFamily="2" charset="0"/>
                          <a:ea typeface="Roboto" panose="02000000000000000000" pitchFamily="2" charset="0"/>
                          <a:cs typeface="Roboto" panose="02000000000000000000" pitchFamily="2" charset="0"/>
                        </a:rPr>
                        <a:t>Events, n (%)</a:t>
                      </a:r>
                    </a:p>
                  </a:txBody>
                  <a:tcPr>
                    <a:lnB w="12700" cap="flat" cmpd="sng" algn="ctr">
                      <a:solidFill>
                        <a:schemeClr val="tx1"/>
                      </a:solidFill>
                      <a:prstDash val="solid"/>
                      <a:round/>
                      <a:headEnd type="none" w="med" len="med"/>
                      <a:tailEnd type="none" w="med" len="med"/>
                    </a:lnB>
                    <a:noFill/>
                  </a:tcPr>
                </a:tc>
                <a:tc>
                  <a:txBody>
                    <a:bodyPr/>
                    <a:lstStyle/>
                    <a:p>
                      <a:pPr algn="ctr"/>
                      <a:r>
                        <a:rPr lang="en-US" sz="1500">
                          <a:solidFill>
                            <a:schemeClr val="tx1"/>
                          </a:solidFill>
                          <a:latin typeface="Roboto" panose="02000000000000000000" pitchFamily="2" charset="0"/>
                          <a:ea typeface="Roboto" panose="02000000000000000000" pitchFamily="2" charset="0"/>
                          <a:cs typeface="Roboto" panose="02000000000000000000" pitchFamily="2" charset="0"/>
                        </a:rPr>
                        <a:t>Median (mo)</a:t>
                      </a:r>
                    </a:p>
                  </a:txBody>
                  <a:tcPr>
                    <a:lnB w="12700" cap="flat" cmpd="sng" algn="ctr">
                      <a:solidFill>
                        <a:schemeClr val="tx1"/>
                      </a:solidFill>
                      <a:prstDash val="solid"/>
                      <a:round/>
                      <a:headEnd type="none" w="med" len="med"/>
                      <a:tailEnd type="none" w="med" len="med"/>
                    </a:lnB>
                    <a:noFill/>
                  </a:tcPr>
                </a:tc>
                <a:tc>
                  <a:txBody>
                    <a:bodyPr/>
                    <a:lstStyle/>
                    <a:p>
                      <a:pPr algn="ctr"/>
                      <a:r>
                        <a:rPr lang="en-US" sz="1500">
                          <a:solidFill>
                            <a:schemeClr val="tx1"/>
                          </a:solidFill>
                          <a:latin typeface="Roboto" panose="02000000000000000000" pitchFamily="2" charset="0"/>
                          <a:ea typeface="Roboto" panose="02000000000000000000" pitchFamily="2" charset="0"/>
                          <a:cs typeface="Roboto" panose="02000000000000000000" pitchFamily="2" charset="0"/>
                        </a:rPr>
                        <a:t>HR </a:t>
                      </a:r>
                    </a:p>
                    <a:p>
                      <a:pPr algn="ctr"/>
                      <a:r>
                        <a:rPr lang="en-US" sz="1500">
                          <a:solidFill>
                            <a:schemeClr val="tx1"/>
                          </a:solidFill>
                          <a:latin typeface="Roboto" panose="02000000000000000000" pitchFamily="2" charset="0"/>
                          <a:ea typeface="Roboto" panose="02000000000000000000" pitchFamily="2" charset="0"/>
                          <a:cs typeface="Roboto" panose="02000000000000000000" pitchFamily="2" charset="0"/>
                        </a:rPr>
                        <a:t>(95% CI)</a:t>
                      </a:r>
                    </a:p>
                  </a:txBody>
                  <a:tcPr>
                    <a:lnB w="12700" cap="flat" cmpd="sng" algn="ctr">
                      <a:solidFill>
                        <a:schemeClr val="tx1"/>
                      </a:solidFill>
                      <a:prstDash val="solid"/>
                      <a:round/>
                      <a:headEnd type="none" w="med" len="med"/>
                      <a:tailEnd type="none" w="med" len="med"/>
                    </a:lnB>
                    <a:noFill/>
                  </a:tcPr>
                </a:tc>
                <a:tc>
                  <a:txBody>
                    <a:bodyPr/>
                    <a:lstStyle/>
                    <a:p>
                      <a:r>
                        <a:rPr lang="en-US" sz="1500" i="1">
                          <a:solidFill>
                            <a:schemeClr val="tx1"/>
                          </a:solidFill>
                          <a:latin typeface="Roboto" panose="02000000000000000000" pitchFamily="2" charset="0"/>
                          <a:ea typeface="Roboto" panose="02000000000000000000" pitchFamily="2" charset="0"/>
                          <a:cs typeface="Roboto" panose="02000000000000000000" pitchFamily="2" charset="0"/>
                        </a:rPr>
                        <a:t>P</a:t>
                      </a:r>
                      <a:r>
                        <a:rPr lang="en-US" sz="1500">
                          <a:solidFill>
                            <a:schemeClr val="tx1"/>
                          </a:solidFill>
                          <a:latin typeface="Roboto" panose="02000000000000000000" pitchFamily="2" charset="0"/>
                          <a:ea typeface="Roboto" panose="02000000000000000000" pitchFamily="2" charset="0"/>
                          <a:cs typeface="Roboto" panose="02000000000000000000" pitchFamily="2" charset="0"/>
                        </a:rPr>
                        <a:t> Value</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7429970"/>
                  </a:ext>
                </a:extLst>
              </a:tr>
              <a:tr h="351432">
                <a:tc>
                  <a:txBody>
                    <a:bodyPr/>
                    <a:lstStyle/>
                    <a:p>
                      <a:r>
                        <a:rPr lang="en-US" sz="1500" b="1">
                          <a:solidFill>
                            <a:srgbClr val="054883"/>
                          </a:solidFill>
                          <a:latin typeface="Roboto" panose="02000000000000000000" pitchFamily="2" charset="0"/>
                          <a:ea typeface="Roboto" panose="02000000000000000000" pitchFamily="2" charset="0"/>
                          <a:cs typeface="Roboto" panose="02000000000000000000" pitchFamily="2" charset="0"/>
                        </a:rPr>
                        <a:t>Ivonescimab + chemo</a:t>
                      </a:r>
                    </a:p>
                  </a:txBody>
                  <a:tcPr>
                    <a:lnT w="12700" cap="flat" cmpd="sng" algn="ctr">
                      <a:solidFill>
                        <a:schemeClr val="tx1"/>
                      </a:solidFill>
                      <a:prstDash val="solid"/>
                      <a:round/>
                      <a:headEnd type="none" w="med" len="med"/>
                      <a:tailEnd type="none" w="med" len="med"/>
                    </a:lnT>
                    <a:noFill/>
                  </a:tcPr>
                </a:tc>
                <a:tc>
                  <a:txBody>
                    <a:bodyPr/>
                    <a:lstStyle/>
                    <a:p>
                      <a:pPr algn="ctr"/>
                      <a:r>
                        <a:rPr lang="en-US" sz="1500">
                          <a:solidFill>
                            <a:srgbClr val="054883"/>
                          </a:solidFill>
                          <a:latin typeface="Roboto" panose="02000000000000000000" pitchFamily="2" charset="0"/>
                          <a:ea typeface="Roboto" panose="02000000000000000000" pitchFamily="2" charset="0"/>
                          <a:cs typeface="Roboto" panose="02000000000000000000" pitchFamily="2" charset="0"/>
                        </a:rPr>
                        <a:t>122 (55.7)</a:t>
                      </a:r>
                    </a:p>
                  </a:txBody>
                  <a:tcPr>
                    <a:lnT w="12700" cap="flat" cmpd="sng" algn="ctr">
                      <a:solidFill>
                        <a:schemeClr val="tx1"/>
                      </a:solidFill>
                      <a:prstDash val="solid"/>
                      <a:round/>
                      <a:headEnd type="none" w="med" len="med"/>
                      <a:tailEnd type="none" w="med" len="med"/>
                    </a:lnT>
                    <a:noFill/>
                  </a:tcPr>
                </a:tc>
                <a:tc>
                  <a:txBody>
                    <a:bodyPr/>
                    <a:lstStyle/>
                    <a:p>
                      <a:pPr algn="ctr"/>
                      <a:r>
                        <a:rPr lang="en-US" sz="1500">
                          <a:solidFill>
                            <a:srgbClr val="054883"/>
                          </a:solidFill>
                          <a:latin typeface="Roboto" panose="02000000000000000000" pitchFamily="2" charset="0"/>
                          <a:ea typeface="Roboto" panose="02000000000000000000" pitchFamily="2" charset="0"/>
                          <a:cs typeface="Roboto" panose="02000000000000000000" pitchFamily="2" charset="0"/>
                        </a:rPr>
                        <a:t>16.8</a:t>
                      </a:r>
                    </a:p>
                  </a:txBody>
                  <a:tcPr>
                    <a:lnT w="12700" cap="flat" cmpd="sng" algn="ctr">
                      <a:solidFill>
                        <a:schemeClr val="tx1"/>
                      </a:solidFill>
                      <a:prstDash val="solid"/>
                      <a:round/>
                      <a:headEnd type="none" w="med" len="med"/>
                      <a:tailEnd type="none" w="med" len="med"/>
                    </a:lnT>
                    <a:noFill/>
                  </a:tcPr>
                </a:tc>
                <a:tc rowSpan="2">
                  <a:txBody>
                    <a:bodyPr/>
                    <a:lstStyle/>
                    <a:p>
                      <a:pPr algn="ctr"/>
                      <a:r>
                        <a:rPr lang="en-US" sz="1500">
                          <a:solidFill>
                            <a:srgbClr val="054883"/>
                          </a:solidFill>
                          <a:latin typeface="Roboto" panose="02000000000000000000" pitchFamily="2" charset="0"/>
                          <a:ea typeface="Roboto" panose="02000000000000000000" pitchFamily="2" charset="0"/>
                          <a:cs typeface="Roboto" panose="02000000000000000000" pitchFamily="2" charset="0"/>
                        </a:rPr>
                        <a:t>0.79</a:t>
                      </a:r>
                    </a:p>
                    <a:p>
                      <a:pPr algn="ctr"/>
                      <a:r>
                        <a:rPr lang="en-US" sz="1500">
                          <a:solidFill>
                            <a:srgbClr val="054883"/>
                          </a:solidFill>
                          <a:latin typeface="Roboto" panose="02000000000000000000" pitchFamily="2" charset="0"/>
                          <a:ea typeface="Roboto" panose="02000000000000000000" pitchFamily="2" charset="0"/>
                          <a:cs typeface="Roboto" panose="02000000000000000000" pitchFamily="2" charset="0"/>
                        </a:rPr>
                        <a:t>(0.62-1.01)</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r>
                        <a:rPr lang="en-US" sz="1500">
                          <a:solidFill>
                            <a:srgbClr val="054883"/>
                          </a:solidFill>
                          <a:latin typeface="Roboto" panose="02000000000000000000" pitchFamily="2" charset="0"/>
                          <a:ea typeface="Roboto" panose="02000000000000000000" pitchFamily="2" charset="0"/>
                          <a:cs typeface="Roboto" panose="02000000000000000000" pitchFamily="2" charset="0"/>
                        </a:rPr>
                        <a:t>0.057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99379823"/>
                  </a:ext>
                </a:extLst>
              </a:tr>
              <a:tr h="410568">
                <a:tc>
                  <a:txBody>
                    <a:bodyPr/>
                    <a:lstStyle/>
                    <a:p>
                      <a:r>
                        <a:rPr lang="en-US" sz="1500" b="1">
                          <a:solidFill>
                            <a:srgbClr val="848484"/>
                          </a:solidFill>
                          <a:latin typeface="Roboto" panose="02000000000000000000" pitchFamily="2" charset="0"/>
                          <a:ea typeface="Roboto" panose="02000000000000000000" pitchFamily="2" charset="0"/>
                          <a:cs typeface="Roboto" panose="02000000000000000000" pitchFamily="2" charset="0"/>
                        </a:rPr>
                        <a:t>Placebo + chemo</a:t>
                      </a:r>
                    </a:p>
                  </a:txBody>
                  <a:tcPr>
                    <a:lnB w="12700" cap="flat" cmpd="sng" algn="ctr">
                      <a:solidFill>
                        <a:schemeClr val="tx1"/>
                      </a:solidFill>
                      <a:prstDash val="solid"/>
                      <a:round/>
                      <a:headEnd type="none" w="med" len="med"/>
                      <a:tailEnd type="none" w="med" len="med"/>
                    </a:lnB>
                    <a:noFill/>
                  </a:tcPr>
                </a:tc>
                <a:tc>
                  <a:txBody>
                    <a:bodyPr/>
                    <a:lstStyle/>
                    <a:p>
                      <a:pPr algn="ctr"/>
                      <a:r>
                        <a:rPr lang="en-US" sz="1500">
                          <a:solidFill>
                            <a:srgbClr val="848484"/>
                          </a:solidFill>
                          <a:latin typeface="Roboto" panose="02000000000000000000" pitchFamily="2" charset="0"/>
                          <a:ea typeface="Roboto" panose="02000000000000000000" pitchFamily="2" charset="0"/>
                          <a:cs typeface="Roboto" panose="02000000000000000000" pitchFamily="2" charset="0"/>
                        </a:rPr>
                        <a:t>140 (63.9)</a:t>
                      </a:r>
                    </a:p>
                  </a:txBody>
                  <a:tcPr>
                    <a:lnB w="12700" cap="flat" cmpd="sng" algn="ctr">
                      <a:solidFill>
                        <a:schemeClr val="tx1"/>
                      </a:solidFill>
                      <a:prstDash val="solid"/>
                      <a:round/>
                      <a:headEnd type="none" w="med" len="med"/>
                      <a:tailEnd type="none" w="med" len="med"/>
                    </a:lnB>
                    <a:noFill/>
                  </a:tcPr>
                </a:tc>
                <a:tc>
                  <a:txBody>
                    <a:bodyPr/>
                    <a:lstStyle/>
                    <a:p>
                      <a:pPr algn="ctr"/>
                      <a:r>
                        <a:rPr lang="en-US" sz="1500">
                          <a:solidFill>
                            <a:srgbClr val="848484"/>
                          </a:solidFill>
                          <a:latin typeface="Roboto" panose="02000000000000000000" pitchFamily="2" charset="0"/>
                          <a:ea typeface="Roboto" panose="02000000000000000000" pitchFamily="2" charset="0"/>
                          <a:cs typeface="Roboto" panose="02000000000000000000" pitchFamily="2" charset="0"/>
                        </a:rPr>
                        <a:t>14.0</a:t>
                      </a:r>
                    </a:p>
                  </a:txBody>
                  <a:tcPr>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248776269"/>
                  </a:ext>
                </a:extLst>
              </a:tr>
            </a:tbl>
          </a:graphicData>
        </a:graphic>
      </p:graphicFrame>
      <p:sp>
        <p:nvSpPr>
          <p:cNvPr id="3" name="TextBox 2">
            <a:extLst>
              <a:ext uri="{FF2B5EF4-FFF2-40B4-BE49-F238E27FC236}">
                <a16:creationId xmlns:a16="http://schemas.microsoft.com/office/drawing/2014/main" id="{E687752D-397D-66B0-3E30-B0AB7753FBC8}"/>
              </a:ext>
            </a:extLst>
          </p:cNvPr>
          <p:cNvSpPr txBox="1"/>
          <p:nvPr/>
        </p:nvSpPr>
        <p:spPr>
          <a:xfrm>
            <a:off x="4363285" y="6406165"/>
            <a:ext cx="3091220" cy="25654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lumMod val="85000"/>
                  </a:srgbClr>
                </a:solidFill>
                <a:effectLst/>
                <a:uLnTx/>
                <a:uFillTx/>
                <a:latin typeface="Calibri"/>
                <a:ea typeface="+mn-ea"/>
                <a:cs typeface="+mn-cs"/>
              </a:rPr>
              <a:t>Goldman, et al. World Conf on Lung Cancer, 2025.</a:t>
            </a:r>
          </a:p>
        </p:txBody>
      </p:sp>
    </p:spTree>
    <p:extLst>
      <p:ext uri="{BB962C8B-B14F-4D97-AF65-F5344CB8AC3E}">
        <p14:creationId xmlns:p14="http://schemas.microsoft.com/office/powerpoint/2010/main" val="22171508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F2882-3D51-86EC-893D-26661CC1A34C}"/>
            </a:ext>
          </a:extLst>
        </p:cNvPr>
        <p:cNvGrpSpPr/>
        <p:nvPr/>
      </p:nvGrpSpPr>
      <p:grpSpPr>
        <a:xfrm>
          <a:off x="0" y="0"/>
          <a:ext cx="0" cy="0"/>
          <a:chOff x="0" y="0"/>
          <a:chExt cx="0" cy="0"/>
        </a:xfrm>
      </p:grpSpPr>
      <p:grpSp>
        <p:nvGrpSpPr>
          <p:cNvPr id="9" name="Graphic 5">
            <a:extLst>
              <a:ext uri="{FF2B5EF4-FFF2-40B4-BE49-F238E27FC236}">
                <a16:creationId xmlns:a16="http://schemas.microsoft.com/office/drawing/2014/main" id="{EC2D433B-CC71-572F-C3C8-309D6D383F45}"/>
              </a:ext>
            </a:extLst>
          </p:cNvPr>
          <p:cNvGrpSpPr/>
          <p:nvPr/>
        </p:nvGrpSpPr>
        <p:grpSpPr>
          <a:xfrm>
            <a:off x="1480761" y="1798975"/>
            <a:ext cx="9204911" cy="4541920"/>
            <a:chOff x="1521660" y="2126318"/>
            <a:chExt cx="8714705" cy="4541920"/>
          </a:xfrm>
        </p:grpSpPr>
        <p:sp>
          <p:nvSpPr>
            <p:cNvPr id="10" name="Freeform: Shape 9">
              <a:extLst>
                <a:ext uri="{FF2B5EF4-FFF2-40B4-BE49-F238E27FC236}">
                  <a16:creationId xmlns:a16="http://schemas.microsoft.com/office/drawing/2014/main" id="{4D3BB224-4EA1-773A-F430-701825EBEC8E}"/>
                </a:ext>
              </a:extLst>
            </p:cNvPr>
            <p:cNvSpPr/>
            <p:nvPr/>
          </p:nvSpPr>
          <p:spPr>
            <a:xfrm>
              <a:off x="1521660" y="2126318"/>
              <a:ext cx="8707140" cy="4541920"/>
            </a:xfrm>
            <a:custGeom>
              <a:avLst/>
              <a:gdLst>
                <a:gd name="connsiteX0" fmla="*/ 0 w 8707140"/>
                <a:gd name="connsiteY0" fmla="*/ 0 h 4541920"/>
                <a:gd name="connsiteX1" fmla="*/ 8707140 w 8707140"/>
                <a:gd name="connsiteY1" fmla="*/ 0 h 4541920"/>
                <a:gd name="connsiteX2" fmla="*/ 8707140 w 8707140"/>
                <a:gd name="connsiteY2" fmla="*/ 4541920 h 4541920"/>
                <a:gd name="connsiteX3" fmla="*/ 0 w 8707140"/>
                <a:gd name="connsiteY3" fmla="*/ 4541920 h 4541920"/>
              </a:gdLst>
              <a:ahLst/>
              <a:cxnLst>
                <a:cxn ang="0">
                  <a:pos x="connsiteX0" y="connsiteY0"/>
                </a:cxn>
                <a:cxn ang="0">
                  <a:pos x="connsiteX1" y="connsiteY1"/>
                </a:cxn>
                <a:cxn ang="0">
                  <a:pos x="connsiteX2" y="connsiteY2"/>
                </a:cxn>
                <a:cxn ang="0">
                  <a:pos x="connsiteX3" y="connsiteY3"/>
                </a:cxn>
              </a:cxnLst>
              <a:rect l="l" t="t" r="r" b="b"/>
              <a:pathLst>
                <a:path w="8707140" h="4541920">
                  <a:moveTo>
                    <a:pt x="0" y="0"/>
                  </a:moveTo>
                  <a:lnTo>
                    <a:pt x="8707140" y="0"/>
                  </a:lnTo>
                  <a:lnTo>
                    <a:pt x="8707140" y="4541920"/>
                  </a:lnTo>
                  <a:lnTo>
                    <a:pt x="0" y="4541920"/>
                  </a:lnTo>
                  <a:close/>
                </a:path>
              </a:pathLst>
            </a:custGeom>
            <a:solidFill>
              <a:srgbClr val="FFFFFF"/>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1" name="Freeform: Shape 10">
              <a:extLst>
                <a:ext uri="{FF2B5EF4-FFF2-40B4-BE49-F238E27FC236}">
                  <a16:creationId xmlns:a16="http://schemas.microsoft.com/office/drawing/2014/main" id="{AF25537E-F5D5-4375-F0EA-86BBB1C20BB9}"/>
                </a:ext>
              </a:extLst>
            </p:cNvPr>
            <p:cNvSpPr/>
            <p:nvPr/>
          </p:nvSpPr>
          <p:spPr>
            <a:xfrm>
              <a:off x="1521660" y="2126318"/>
              <a:ext cx="8707140" cy="4541920"/>
            </a:xfrm>
            <a:custGeom>
              <a:avLst/>
              <a:gdLst>
                <a:gd name="connsiteX0" fmla="*/ 0 w 8707140"/>
                <a:gd name="connsiteY0" fmla="*/ 0 h 4541920"/>
                <a:gd name="connsiteX1" fmla="*/ 8707140 w 8707140"/>
                <a:gd name="connsiteY1" fmla="*/ 0 h 4541920"/>
                <a:gd name="connsiteX2" fmla="*/ 8707140 w 8707140"/>
                <a:gd name="connsiteY2" fmla="*/ 4541920 h 4541920"/>
                <a:gd name="connsiteX3" fmla="*/ 0 w 8707140"/>
                <a:gd name="connsiteY3" fmla="*/ 4541920 h 4541920"/>
              </a:gdLst>
              <a:ahLst/>
              <a:cxnLst>
                <a:cxn ang="0">
                  <a:pos x="connsiteX0" y="connsiteY0"/>
                </a:cxn>
                <a:cxn ang="0">
                  <a:pos x="connsiteX1" y="connsiteY1"/>
                </a:cxn>
                <a:cxn ang="0">
                  <a:pos x="connsiteX2" y="connsiteY2"/>
                </a:cxn>
                <a:cxn ang="0">
                  <a:pos x="connsiteX3" y="connsiteY3"/>
                </a:cxn>
              </a:cxnLst>
              <a:rect l="l" t="t" r="r" b="b"/>
              <a:pathLst>
                <a:path w="8707140" h="4541920">
                  <a:moveTo>
                    <a:pt x="0" y="0"/>
                  </a:moveTo>
                  <a:lnTo>
                    <a:pt x="8707140" y="0"/>
                  </a:lnTo>
                  <a:lnTo>
                    <a:pt x="8707140" y="4541920"/>
                  </a:lnTo>
                  <a:lnTo>
                    <a:pt x="0" y="4541920"/>
                  </a:lnTo>
                  <a:close/>
                </a:path>
              </a:pathLst>
            </a:custGeom>
            <a:solidFill>
              <a:srgbClr val="FFFFFF"/>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nvGrpSpPr>
            <p:cNvPr id="13" name="Graphic 5">
              <a:extLst>
                <a:ext uri="{FF2B5EF4-FFF2-40B4-BE49-F238E27FC236}">
                  <a16:creationId xmlns:a16="http://schemas.microsoft.com/office/drawing/2014/main" id="{2E4EE46F-EE46-1BF4-1F17-7FC69A5A8D6F}"/>
                </a:ext>
              </a:extLst>
            </p:cNvPr>
            <p:cNvGrpSpPr/>
            <p:nvPr/>
          </p:nvGrpSpPr>
          <p:grpSpPr>
            <a:xfrm>
              <a:off x="1687067" y="2531564"/>
              <a:ext cx="8094806" cy="3930405"/>
              <a:chOff x="1687067" y="2531564"/>
              <a:chExt cx="8094806" cy="3930405"/>
            </a:xfrm>
          </p:grpSpPr>
          <p:grpSp>
            <p:nvGrpSpPr>
              <p:cNvPr id="21" name="Graphic 5">
                <a:extLst>
                  <a:ext uri="{FF2B5EF4-FFF2-40B4-BE49-F238E27FC236}">
                    <a16:creationId xmlns:a16="http://schemas.microsoft.com/office/drawing/2014/main" id="{EFBA5AC5-EE1A-41DD-C405-350F62BB3384}"/>
                  </a:ext>
                </a:extLst>
              </p:cNvPr>
              <p:cNvGrpSpPr/>
              <p:nvPr/>
            </p:nvGrpSpPr>
            <p:grpSpPr>
              <a:xfrm>
                <a:off x="8635755" y="2641135"/>
                <a:ext cx="1146118" cy="3479055"/>
                <a:chOff x="8635755" y="2641135"/>
                <a:chExt cx="1146118" cy="3479055"/>
              </a:xfrm>
              <a:solidFill>
                <a:srgbClr val="000000"/>
              </a:solidFill>
            </p:grpSpPr>
            <p:sp>
              <p:nvSpPr>
                <p:cNvPr id="22" name="TextBox 21">
                  <a:extLst>
                    <a:ext uri="{FF2B5EF4-FFF2-40B4-BE49-F238E27FC236}">
                      <a16:creationId xmlns:a16="http://schemas.microsoft.com/office/drawing/2014/main" id="{48063B95-B489-2722-ED45-81C3D18367C6}"/>
                    </a:ext>
                  </a:extLst>
                </p:cNvPr>
                <p:cNvSpPr txBox="1"/>
                <p:nvPr/>
              </p:nvSpPr>
              <p:spPr>
                <a:xfrm>
                  <a:off x="8635755" y="2641135"/>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78 (0.62-0.99)</a:t>
                  </a:r>
                </a:p>
              </p:txBody>
            </p:sp>
            <p:sp>
              <p:nvSpPr>
                <p:cNvPr id="23" name="TextBox 22">
                  <a:extLst>
                    <a:ext uri="{FF2B5EF4-FFF2-40B4-BE49-F238E27FC236}">
                      <a16:creationId xmlns:a16="http://schemas.microsoft.com/office/drawing/2014/main" id="{A127FBAD-6A96-082E-EC00-C1AE3036A72B}"/>
                    </a:ext>
                  </a:extLst>
                </p:cNvPr>
                <p:cNvSpPr txBox="1"/>
                <p:nvPr/>
              </p:nvSpPr>
              <p:spPr>
                <a:xfrm>
                  <a:off x="8635755" y="2922422"/>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83 (0.62-1.11)</a:t>
                  </a:r>
                </a:p>
              </p:txBody>
            </p:sp>
            <p:sp>
              <p:nvSpPr>
                <p:cNvPr id="24" name="TextBox 23">
                  <a:extLst>
                    <a:ext uri="{FF2B5EF4-FFF2-40B4-BE49-F238E27FC236}">
                      <a16:creationId xmlns:a16="http://schemas.microsoft.com/office/drawing/2014/main" id="{7EBA8C96-3BE0-E629-4AF4-5924C7019918}"/>
                    </a:ext>
                  </a:extLst>
                </p:cNvPr>
                <p:cNvSpPr txBox="1"/>
                <p:nvPr/>
              </p:nvSpPr>
              <p:spPr>
                <a:xfrm>
                  <a:off x="8635755" y="3063062"/>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71 (0.48-1.05)</a:t>
                  </a:r>
                </a:p>
              </p:txBody>
            </p:sp>
            <p:sp>
              <p:nvSpPr>
                <p:cNvPr id="25" name="TextBox 24">
                  <a:extLst>
                    <a:ext uri="{FF2B5EF4-FFF2-40B4-BE49-F238E27FC236}">
                      <a16:creationId xmlns:a16="http://schemas.microsoft.com/office/drawing/2014/main" id="{B9FAA678-DF58-A7CD-1F82-C46B1EA6368E}"/>
                    </a:ext>
                  </a:extLst>
                </p:cNvPr>
                <p:cNvSpPr txBox="1"/>
                <p:nvPr/>
              </p:nvSpPr>
              <p:spPr>
                <a:xfrm>
                  <a:off x="8635755" y="3344348"/>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91 (0.67-1.23)</a:t>
                  </a:r>
                </a:p>
              </p:txBody>
            </p:sp>
            <p:sp>
              <p:nvSpPr>
                <p:cNvPr id="26" name="TextBox 25">
                  <a:extLst>
                    <a:ext uri="{FF2B5EF4-FFF2-40B4-BE49-F238E27FC236}">
                      <a16:creationId xmlns:a16="http://schemas.microsoft.com/office/drawing/2014/main" id="{84041CA2-7EFD-DAA7-3781-A365963974E9}"/>
                    </a:ext>
                  </a:extLst>
                </p:cNvPr>
                <p:cNvSpPr txBox="1"/>
                <p:nvPr/>
              </p:nvSpPr>
              <p:spPr>
                <a:xfrm>
                  <a:off x="8635755" y="3484992"/>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64 (0.44-0.92)</a:t>
                  </a:r>
                </a:p>
              </p:txBody>
            </p:sp>
            <p:sp>
              <p:nvSpPr>
                <p:cNvPr id="27" name="TextBox 26">
                  <a:extLst>
                    <a:ext uri="{FF2B5EF4-FFF2-40B4-BE49-F238E27FC236}">
                      <a16:creationId xmlns:a16="http://schemas.microsoft.com/office/drawing/2014/main" id="{BB007196-EF5B-16FD-DF86-4A64E12C4B74}"/>
                    </a:ext>
                  </a:extLst>
                </p:cNvPr>
                <p:cNvSpPr txBox="1"/>
                <p:nvPr/>
              </p:nvSpPr>
              <p:spPr>
                <a:xfrm>
                  <a:off x="8635755" y="3766280"/>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87 (0.55-1.36)</a:t>
                  </a:r>
                </a:p>
              </p:txBody>
            </p:sp>
            <p:sp>
              <p:nvSpPr>
                <p:cNvPr id="28" name="TextBox 27">
                  <a:extLst>
                    <a:ext uri="{FF2B5EF4-FFF2-40B4-BE49-F238E27FC236}">
                      <a16:creationId xmlns:a16="http://schemas.microsoft.com/office/drawing/2014/main" id="{E999BC7E-D290-4BB3-5C2C-1B9010ABF85E}"/>
                    </a:ext>
                  </a:extLst>
                </p:cNvPr>
                <p:cNvSpPr txBox="1"/>
                <p:nvPr/>
              </p:nvSpPr>
              <p:spPr>
                <a:xfrm>
                  <a:off x="8635755" y="3906923"/>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74 (0.40-1.38)</a:t>
                  </a:r>
                </a:p>
              </p:txBody>
            </p:sp>
            <p:sp>
              <p:nvSpPr>
                <p:cNvPr id="29" name="TextBox 28">
                  <a:extLst>
                    <a:ext uri="{FF2B5EF4-FFF2-40B4-BE49-F238E27FC236}">
                      <a16:creationId xmlns:a16="http://schemas.microsoft.com/office/drawing/2014/main" id="{C99103B6-24F5-64DB-11E2-5AC2407051B7}"/>
                    </a:ext>
                  </a:extLst>
                </p:cNvPr>
                <p:cNvSpPr txBox="1"/>
                <p:nvPr/>
              </p:nvSpPr>
              <p:spPr>
                <a:xfrm>
                  <a:off x="8635755" y="4047564"/>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76 (0.58-0.99)</a:t>
                  </a:r>
                </a:p>
              </p:txBody>
            </p:sp>
            <p:sp>
              <p:nvSpPr>
                <p:cNvPr id="30" name="TextBox 29">
                  <a:extLst>
                    <a:ext uri="{FF2B5EF4-FFF2-40B4-BE49-F238E27FC236}">
                      <a16:creationId xmlns:a16="http://schemas.microsoft.com/office/drawing/2014/main" id="{5B9DCDD2-8CA0-C193-4BA4-4B42923E0B24}"/>
                    </a:ext>
                  </a:extLst>
                </p:cNvPr>
                <p:cNvSpPr txBox="1"/>
                <p:nvPr/>
              </p:nvSpPr>
              <p:spPr>
                <a:xfrm>
                  <a:off x="8635755" y="4328852"/>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70 (0.44-1.12)</a:t>
                  </a:r>
                </a:p>
              </p:txBody>
            </p:sp>
            <p:sp>
              <p:nvSpPr>
                <p:cNvPr id="31" name="TextBox 30">
                  <a:extLst>
                    <a:ext uri="{FF2B5EF4-FFF2-40B4-BE49-F238E27FC236}">
                      <a16:creationId xmlns:a16="http://schemas.microsoft.com/office/drawing/2014/main" id="{3E4D54C8-3E4D-05E7-6B3C-868548A78A0B}"/>
                    </a:ext>
                  </a:extLst>
                </p:cNvPr>
                <p:cNvSpPr txBox="1"/>
                <p:nvPr/>
              </p:nvSpPr>
              <p:spPr>
                <a:xfrm>
                  <a:off x="8635755" y="4469494"/>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81 (0.62-1.06)</a:t>
                  </a:r>
                </a:p>
              </p:txBody>
            </p:sp>
            <p:sp>
              <p:nvSpPr>
                <p:cNvPr id="32" name="TextBox 31">
                  <a:extLst>
                    <a:ext uri="{FF2B5EF4-FFF2-40B4-BE49-F238E27FC236}">
                      <a16:creationId xmlns:a16="http://schemas.microsoft.com/office/drawing/2014/main" id="{4EF006C2-69C1-F1C1-7368-43DB4AE726C2}"/>
                    </a:ext>
                  </a:extLst>
                </p:cNvPr>
                <p:cNvSpPr txBox="1"/>
                <p:nvPr/>
              </p:nvSpPr>
              <p:spPr>
                <a:xfrm>
                  <a:off x="8635755" y="4728693"/>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81 (0.61-1.06)</a:t>
                  </a:r>
                </a:p>
              </p:txBody>
            </p:sp>
            <p:sp>
              <p:nvSpPr>
                <p:cNvPr id="33" name="TextBox 32">
                  <a:extLst>
                    <a:ext uri="{FF2B5EF4-FFF2-40B4-BE49-F238E27FC236}">
                      <a16:creationId xmlns:a16="http://schemas.microsoft.com/office/drawing/2014/main" id="{7E351AA1-AA9E-112A-FC31-691BA0A36D32}"/>
                    </a:ext>
                  </a:extLst>
                </p:cNvPr>
                <p:cNvSpPr txBox="1"/>
                <p:nvPr/>
              </p:nvSpPr>
              <p:spPr>
                <a:xfrm>
                  <a:off x="8635755" y="4869338"/>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74 (0.48-1.13)</a:t>
                  </a:r>
                </a:p>
              </p:txBody>
            </p:sp>
            <p:sp>
              <p:nvSpPr>
                <p:cNvPr id="34" name="TextBox 33">
                  <a:extLst>
                    <a:ext uri="{FF2B5EF4-FFF2-40B4-BE49-F238E27FC236}">
                      <a16:creationId xmlns:a16="http://schemas.microsoft.com/office/drawing/2014/main" id="{5A4D9882-DB2B-6507-F6C4-3DDFCA55666D}"/>
                    </a:ext>
                  </a:extLst>
                </p:cNvPr>
                <p:cNvSpPr txBox="1"/>
                <p:nvPr/>
              </p:nvSpPr>
              <p:spPr>
                <a:xfrm>
                  <a:off x="8635755" y="5146205"/>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72 (0.43-1.21)</a:t>
                  </a:r>
                </a:p>
              </p:txBody>
            </p:sp>
            <p:sp>
              <p:nvSpPr>
                <p:cNvPr id="35" name="TextBox 34">
                  <a:extLst>
                    <a:ext uri="{FF2B5EF4-FFF2-40B4-BE49-F238E27FC236}">
                      <a16:creationId xmlns:a16="http://schemas.microsoft.com/office/drawing/2014/main" id="{A101D8DE-3967-D0A1-3F13-B6C16B4B4687}"/>
                    </a:ext>
                  </a:extLst>
                </p:cNvPr>
                <p:cNvSpPr txBox="1"/>
                <p:nvPr/>
              </p:nvSpPr>
              <p:spPr>
                <a:xfrm>
                  <a:off x="8635755" y="5286849"/>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79 (0.61-1.03)</a:t>
                  </a:r>
                </a:p>
              </p:txBody>
            </p:sp>
            <p:sp>
              <p:nvSpPr>
                <p:cNvPr id="36" name="TextBox 35">
                  <a:extLst>
                    <a:ext uri="{FF2B5EF4-FFF2-40B4-BE49-F238E27FC236}">
                      <a16:creationId xmlns:a16="http://schemas.microsoft.com/office/drawing/2014/main" id="{925577A6-567D-E43C-A995-DA11C7E667C4}"/>
                    </a:ext>
                  </a:extLst>
                </p:cNvPr>
                <p:cNvSpPr txBox="1"/>
                <p:nvPr/>
              </p:nvSpPr>
              <p:spPr>
                <a:xfrm>
                  <a:off x="8635755" y="5572551"/>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93 (0.68-1.27)</a:t>
                  </a:r>
                </a:p>
              </p:txBody>
            </p:sp>
            <p:sp>
              <p:nvSpPr>
                <p:cNvPr id="37" name="TextBox 36">
                  <a:extLst>
                    <a:ext uri="{FF2B5EF4-FFF2-40B4-BE49-F238E27FC236}">
                      <a16:creationId xmlns:a16="http://schemas.microsoft.com/office/drawing/2014/main" id="{12D2D5AE-DC98-41B3-E903-01630D3F413F}"/>
                    </a:ext>
                  </a:extLst>
                </p:cNvPr>
                <p:cNvSpPr txBox="1"/>
                <p:nvPr/>
              </p:nvSpPr>
              <p:spPr>
                <a:xfrm>
                  <a:off x="8635755" y="5713194"/>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55 (0.37-0.82)</a:t>
                  </a:r>
                </a:p>
              </p:txBody>
            </p:sp>
            <p:sp>
              <p:nvSpPr>
                <p:cNvPr id="38" name="TextBox 37">
                  <a:extLst>
                    <a:ext uri="{FF2B5EF4-FFF2-40B4-BE49-F238E27FC236}">
                      <a16:creationId xmlns:a16="http://schemas.microsoft.com/office/drawing/2014/main" id="{3B7728E9-50C8-E057-DF57-219DF967E564}"/>
                    </a:ext>
                  </a:extLst>
                </p:cNvPr>
                <p:cNvSpPr txBox="1"/>
                <p:nvPr/>
              </p:nvSpPr>
              <p:spPr>
                <a:xfrm>
                  <a:off x="8635755" y="5853835"/>
                  <a:ext cx="1146118"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0.60 (0.31-1.15)</a:t>
                  </a:r>
                </a:p>
              </p:txBody>
            </p:sp>
          </p:grpSp>
          <p:grpSp>
            <p:nvGrpSpPr>
              <p:cNvPr id="39" name="Graphic 5">
                <a:extLst>
                  <a:ext uri="{FF2B5EF4-FFF2-40B4-BE49-F238E27FC236}">
                    <a16:creationId xmlns:a16="http://schemas.microsoft.com/office/drawing/2014/main" id="{4E7E0AE1-C153-B543-990B-9294961FB335}"/>
                  </a:ext>
                </a:extLst>
              </p:cNvPr>
              <p:cNvGrpSpPr/>
              <p:nvPr/>
            </p:nvGrpSpPr>
            <p:grpSpPr>
              <a:xfrm>
                <a:off x="5605689" y="2531564"/>
                <a:ext cx="2856663" cy="3930405"/>
                <a:chOff x="5605689" y="2531564"/>
                <a:chExt cx="2856663" cy="3930405"/>
              </a:xfrm>
            </p:grpSpPr>
            <p:grpSp>
              <p:nvGrpSpPr>
                <p:cNvPr id="40" name="Graphic 5">
                  <a:extLst>
                    <a:ext uri="{FF2B5EF4-FFF2-40B4-BE49-F238E27FC236}">
                      <a16:creationId xmlns:a16="http://schemas.microsoft.com/office/drawing/2014/main" id="{B15E10D0-412E-AB4E-0447-8ADBB625AFBC}"/>
                    </a:ext>
                  </a:extLst>
                </p:cNvPr>
                <p:cNvGrpSpPr/>
                <p:nvPr/>
              </p:nvGrpSpPr>
              <p:grpSpPr>
                <a:xfrm>
                  <a:off x="6755233" y="2531564"/>
                  <a:ext cx="1263337" cy="3642209"/>
                  <a:chOff x="6755233" y="2531564"/>
                  <a:chExt cx="1263337" cy="3642209"/>
                </a:xfrm>
              </p:grpSpPr>
              <p:sp>
                <p:nvSpPr>
                  <p:cNvPr id="41" name="Freeform: Shape 40">
                    <a:extLst>
                      <a:ext uri="{FF2B5EF4-FFF2-40B4-BE49-F238E27FC236}">
                        <a16:creationId xmlns:a16="http://schemas.microsoft.com/office/drawing/2014/main" id="{CCA70A75-8A47-B0D8-9E4C-45009729014C}"/>
                      </a:ext>
                    </a:extLst>
                  </p:cNvPr>
                  <p:cNvSpPr/>
                  <p:nvPr/>
                </p:nvSpPr>
                <p:spPr>
                  <a:xfrm>
                    <a:off x="7490438" y="2723039"/>
                    <a:ext cx="83213" cy="57892"/>
                  </a:xfrm>
                  <a:custGeom>
                    <a:avLst/>
                    <a:gdLst>
                      <a:gd name="connsiteX0" fmla="*/ 546 w 83213"/>
                      <a:gd name="connsiteY0" fmla="*/ 77 h 57892"/>
                      <a:gd name="connsiteX1" fmla="*/ 83759 w 83213"/>
                      <a:gd name="connsiteY1" fmla="*/ 77 h 57892"/>
                      <a:gd name="connsiteX2" fmla="*/ 83759 w 83213"/>
                      <a:gd name="connsiteY2" fmla="*/ 57969 h 57892"/>
                      <a:gd name="connsiteX3" fmla="*/ 546 w 83213"/>
                      <a:gd name="connsiteY3" fmla="*/ 57969 h 57892"/>
                    </a:gdLst>
                    <a:ahLst/>
                    <a:cxnLst>
                      <a:cxn ang="0">
                        <a:pos x="connsiteX0" y="connsiteY0"/>
                      </a:cxn>
                      <a:cxn ang="0">
                        <a:pos x="connsiteX1" y="connsiteY1"/>
                      </a:cxn>
                      <a:cxn ang="0">
                        <a:pos x="connsiteX2" y="connsiteY2"/>
                      </a:cxn>
                      <a:cxn ang="0">
                        <a:pos x="connsiteX3" y="connsiteY3"/>
                      </a:cxn>
                    </a:cxnLst>
                    <a:rect l="l" t="t" r="r" b="b"/>
                    <a:pathLst>
                      <a:path w="83213" h="57892">
                        <a:moveTo>
                          <a:pt x="546" y="77"/>
                        </a:moveTo>
                        <a:lnTo>
                          <a:pt x="83759" y="77"/>
                        </a:lnTo>
                        <a:lnTo>
                          <a:pt x="83759" y="57969"/>
                        </a:lnTo>
                        <a:lnTo>
                          <a:pt x="546" y="57969"/>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2" name="Freeform: Shape 41">
                    <a:extLst>
                      <a:ext uri="{FF2B5EF4-FFF2-40B4-BE49-F238E27FC236}">
                        <a16:creationId xmlns:a16="http://schemas.microsoft.com/office/drawing/2014/main" id="{A3B3477B-376A-85EC-868C-C22FE006793D}"/>
                      </a:ext>
                    </a:extLst>
                  </p:cNvPr>
                  <p:cNvSpPr/>
                  <p:nvPr/>
                </p:nvSpPr>
                <p:spPr>
                  <a:xfrm>
                    <a:off x="7556033" y="3011487"/>
                    <a:ext cx="52953" cy="36840"/>
                  </a:xfrm>
                  <a:custGeom>
                    <a:avLst/>
                    <a:gdLst>
                      <a:gd name="connsiteX0" fmla="*/ 546 w 52953"/>
                      <a:gd name="connsiteY0" fmla="*/ 77 h 36840"/>
                      <a:gd name="connsiteX1" fmla="*/ 53500 w 52953"/>
                      <a:gd name="connsiteY1" fmla="*/ 77 h 36840"/>
                      <a:gd name="connsiteX2" fmla="*/ 53500 w 52953"/>
                      <a:gd name="connsiteY2" fmla="*/ 36918 h 36840"/>
                      <a:gd name="connsiteX3" fmla="*/ 546 w 52953"/>
                      <a:gd name="connsiteY3" fmla="*/ 36918 h 36840"/>
                    </a:gdLst>
                    <a:ahLst/>
                    <a:cxnLst>
                      <a:cxn ang="0">
                        <a:pos x="connsiteX0" y="connsiteY0"/>
                      </a:cxn>
                      <a:cxn ang="0">
                        <a:pos x="connsiteX1" y="connsiteY1"/>
                      </a:cxn>
                      <a:cxn ang="0">
                        <a:pos x="connsiteX2" y="connsiteY2"/>
                      </a:cxn>
                      <a:cxn ang="0">
                        <a:pos x="connsiteX3" y="connsiteY3"/>
                      </a:cxn>
                    </a:cxnLst>
                    <a:rect l="l" t="t" r="r" b="b"/>
                    <a:pathLst>
                      <a:path w="52953" h="36840">
                        <a:moveTo>
                          <a:pt x="546" y="77"/>
                        </a:moveTo>
                        <a:lnTo>
                          <a:pt x="53500" y="77"/>
                        </a:lnTo>
                        <a:lnTo>
                          <a:pt x="53500" y="36918"/>
                        </a:lnTo>
                        <a:lnTo>
                          <a:pt x="546" y="36918"/>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3" name="Freeform: Shape 42">
                    <a:extLst>
                      <a:ext uri="{FF2B5EF4-FFF2-40B4-BE49-F238E27FC236}">
                        <a16:creationId xmlns:a16="http://schemas.microsoft.com/office/drawing/2014/main" id="{120FEAB8-7CB4-E9ED-69C2-1BD960518582}"/>
                      </a:ext>
                    </a:extLst>
                  </p:cNvPr>
                  <p:cNvSpPr/>
                  <p:nvPr/>
                </p:nvSpPr>
                <p:spPr>
                  <a:xfrm>
                    <a:off x="7427196" y="3155712"/>
                    <a:ext cx="37824" cy="26314"/>
                  </a:xfrm>
                  <a:custGeom>
                    <a:avLst/>
                    <a:gdLst>
                      <a:gd name="connsiteX0" fmla="*/ 546 w 37824"/>
                      <a:gd name="connsiteY0" fmla="*/ 77 h 26314"/>
                      <a:gd name="connsiteX1" fmla="*/ 38370 w 37824"/>
                      <a:gd name="connsiteY1" fmla="*/ 77 h 26314"/>
                      <a:gd name="connsiteX2" fmla="*/ 38370 w 37824"/>
                      <a:gd name="connsiteY2" fmla="*/ 26392 h 26314"/>
                      <a:gd name="connsiteX3" fmla="*/ 546 w 37824"/>
                      <a:gd name="connsiteY3" fmla="*/ 26392 h 26314"/>
                    </a:gdLst>
                    <a:ahLst/>
                    <a:cxnLst>
                      <a:cxn ang="0">
                        <a:pos x="connsiteX0" y="connsiteY0"/>
                      </a:cxn>
                      <a:cxn ang="0">
                        <a:pos x="connsiteX1" y="connsiteY1"/>
                      </a:cxn>
                      <a:cxn ang="0">
                        <a:pos x="connsiteX2" y="connsiteY2"/>
                      </a:cxn>
                      <a:cxn ang="0">
                        <a:pos x="connsiteX3" y="connsiteY3"/>
                      </a:cxn>
                    </a:cxnLst>
                    <a:rect l="l" t="t" r="r" b="b"/>
                    <a:pathLst>
                      <a:path w="37824" h="26314">
                        <a:moveTo>
                          <a:pt x="546" y="77"/>
                        </a:moveTo>
                        <a:lnTo>
                          <a:pt x="38370" y="77"/>
                        </a:lnTo>
                        <a:lnTo>
                          <a:pt x="38370" y="26392"/>
                        </a:lnTo>
                        <a:lnTo>
                          <a:pt x="546" y="26392"/>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Shape 43">
                    <a:extLst>
                      <a:ext uri="{FF2B5EF4-FFF2-40B4-BE49-F238E27FC236}">
                        <a16:creationId xmlns:a16="http://schemas.microsoft.com/office/drawing/2014/main" id="{E8289E9B-33C5-EA9C-C87C-2C3A9F6E9EAD}"/>
                      </a:ext>
                    </a:extLst>
                  </p:cNvPr>
                  <p:cNvSpPr/>
                  <p:nvPr/>
                </p:nvSpPr>
                <p:spPr>
                  <a:xfrm>
                    <a:off x="7634647" y="3428370"/>
                    <a:ext cx="52953" cy="36840"/>
                  </a:xfrm>
                  <a:custGeom>
                    <a:avLst/>
                    <a:gdLst>
                      <a:gd name="connsiteX0" fmla="*/ 546 w 52953"/>
                      <a:gd name="connsiteY0" fmla="*/ 77 h 36840"/>
                      <a:gd name="connsiteX1" fmla="*/ 53500 w 52953"/>
                      <a:gd name="connsiteY1" fmla="*/ 77 h 36840"/>
                      <a:gd name="connsiteX2" fmla="*/ 53500 w 52953"/>
                      <a:gd name="connsiteY2" fmla="*/ 36918 h 36840"/>
                      <a:gd name="connsiteX3" fmla="*/ 546 w 52953"/>
                      <a:gd name="connsiteY3" fmla="*/ 36918 h 36840"/>
                    </a:gdLst>
                    <a:ahLst/>
                    <a:cxnLst>
                      <a:cxn ang="0">
                        <a:pos x="connsiteX0" y="connsiteY0"/>
                      </a:cxn>
                      <a:cxn ang="0">
                        <a:pos x="connsiteX1" y="connsiteY1"/>
                      </a:cxn>
                      <a:cxn ang="0">
                        <a:pos x="connsiteX2" y="connsiteY2"/>
                      </a:cxn>
                      <a:cxn ang="0">
                        <a:pos x="connsiteX3" y="connsiteY3"/>
                      </a:cxn>
                    </a:cxnLst>
                    <a:rect l="l" t="t" r="r" b="b"/>
                    <a:pathLst>
                      <a:path w="52953" h="36840">
                        <a:moveTo>
                          <a:pt x="546" y="77"/>
                        </a:moveTo>
                        <a:lnTo>
                          <a:pt x="53500" y="77"/>
                        </a:lnTo>
                        <a:lnTo>
                          <a:pt x="53500" y="36918"/>
                        </a:lnTo>
                        <a:lnTo>
                          <a:pt x="546" y="36918"/>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5" name="Freeform: Shape 44">
                    <a:extLst>
                      <a:ext uri="{FF2B5EF4-FFF2-40B4-BE49-F238E27FC236}">
                        <a16:creationId xmlns:a16="http://schemas.microsoft.com/office/drawing/2014/main" id="{5BD4E278-63A8-A9A9-498B-2CAEB98EA491}"/>
                      </a:ext>
                    </a:extLst>
                  </p:cNvPr>
                  <p:cNvSpPr/>
                  <p:nvPr/>
                </p:nvSpPr>
                <p:spPr>
                  <a:xfrm>
                    <a:off x="7340140" y="3572595"/>
                    <a:ext cx="37824" cy="26314"/>
                  </a:xfrm>
                  <a:custGeom>
                    <a:avLst/>
                    <a:gdLst>
                      <a:gd name="connsiteX0" fmla="*/ 546 w 37824"/>
                      <a:gd name="connsiteY0" fmla="*/ 77 h 26314"/>
                      <a:gd name="connsiteX1" fmla="*/ 38370 w 37824"/>
                      <a:gd name="connsiteY1" fmla="*/ 77 h 26314"/>
                      <a:gd name="connsiteX2" fmla="*/ 38370 w 37824"/>
                      <a:gd name="connsiteY2" fmla="*/ 26392 h 26314"/>
                      <a:gd name="connsiteX3" fmla="*/ 546 w 37824"/>
                      <a:gd name="connsiteY3" fmla="*/ 26392 h 26314"/>
                    </a:gdLst>
                    <a:ahLst/>
                    <a:cxnLst>
                      <a:cxn ang="0">
                        <a:pos x="connsiteX0" y="connsiteY0"/>
                      </a:cxn>
                      <a:cxn ang="0">
                        <a:pos x="connsiteX1" y="connsiteY1"/>
                      </a:cxn>
                      <a:cxn ang="0">
                        <a:pos x="connsiteX2" y="connsiteY2"/>
                      </a:cxn>
                      <a:cxn ang="0">
                        <a:pos x="connsiteX3" y="connsiteY3"/>
                      </a:cxn>
                    </a:cxnLst>
                    <a:rect l="l" t="t" r="r" b="b"/>
                    <a:pathLst>
                      <a:path w="37824" h="26314">
                        <a:moveTo>
                          <a:pt x="546" y="77"/>
                        </a:moveTo>
                        <a:lnTo>
                          <a:pt x="38370" y="77"/>
                        </a:lnTo>
                        <a:lnTo>
                          <a:pt x="38370" y="26392"/>
                        </a:lnTo>
                        <a:lnTo>
                          <a:pt x="546" y="26392"/>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6" name="Freeform: Shape 45">
                    <a:extLst>
                      <a:ext uri="{FF2B5EF4-FFF2-40B4-BE49-F238E27FC236}">
                        <a16:creationId xmlns:a16="http://schemas.microsoft.com/office/drawing/2014/main" id="{9DDA37F9-CAE4-06DA-E9B2-C9B36E06E627}"/>
                      </a:ext>
                    </a:extLst>
                  </p:cNvPr>
                  <p:cNvSpPr/>
                  <p:nvPr/>
                </p:nvSpPr>
                <p:spPr>
                  <a:xfrm>
                    <a:off x="7598517" y="3850516"/>
                    <a:ext cx="37824" cy="26314"/>
                  </a:xfrm>
                  <a:custGeom>
                    <a:avLst/>
                    <a:gdLst>
                      <a:gd name="connsiteX0" fmla="*/ 546 w 37824"/>
                      <a:gd name="connsiteY0" fmla="*/ 77 h 26314"/>
                      <a:gd name="connsiteX1" fmla="*/ 38370 w 37824"/>
                      <a:gd name="connsiteY1" fmla="*/ 77 h 26314"/>
                      <a:gd name="connsiteX2" fmla="*/ 38370 w 37824"/>
                      <a:gd name="connsiteY2" fmla="*/ 26392 h 26314"/>
                      <a:gd name="connsiteX3" fmla="*/ 546 w 37824"/>
                      <a:gd name="connsiteY3" fmla="*/ 26392 h 26314"/>
                    </a:gdLst>
                    <a:ahLst/>
                    <a:cxnLst>
                      <a:cxn ang="0">
                        <a:pos x="connsiteX0" y="connsiteY0"/>
                      </a:cxn>
                      <a:cxn ang="0">
                        <a:pos x="connsiteX1" y="connsiteY1"/>
                      </a:cxn>
                      <a:cxn ang="0">
                        <a:pos x="connsiteX2" y="connsiteY2"/>
                      </a:cxn>
                      <a:cxn ang="0">
                        <a:pos x="connsiteX3" y="connsiteY3"/>
                      </a:cxn>
                    </a:cxnLst>
                    <a:rect l="l" t="t" r="r" b="b"/>
                    <a:pathLst>
                      <a:path w="37824" h="26314">
                        <a:moveTo>
                          <a:pt x="546" y="77"/>
                        </a:moveTo>
                        <a:lnTo>
                          <a:pt x="38370" y="77"/>
                        </a:lnTo>
                        <a:lnTo>
                          <a:pt x="38370" y="26392"/>
                        </a:lnTo>
                        <a:lnTo>
                          <a:pt x="546" y="26392"/>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7" name="Freeform: Shape 46">
                    <a:extLst>
                      <a:ext uri="{FF2B5EF4-FFF2-40B4-BE49-F238E27FC236}">
                        <a16:creationId xmlns:a16="http://schemas.microsoft.com/office/drawing/2014/main" id="{DE382CF0-4A88-F342-F106-581A974E87A1}"/>
                      </a:ext>
                    </a:extLst>
                  </p:cNvPr>
                  <p:cNvSpPr/>
                  <p:nvPr/>
                </p:nvSpPr>
                <p:spPr>
                  <a:xfrm>
                    <a:off x="7470217" y="3994741"/>
                    <a:ext cx="22694" cy="15788"/>
                  </a:xfrm>
                  <a:custGeom>
                    <a:avLst/>
                    <a:gdLst>
                      <a:gd name="connsiteX0" fmla="*/ 546 w 22694"/>
                      <a:gd name="connsiteY0" fmla="*/ 77 h 15788"/>
                      <a:gd name="connsiteX1" fmla="*/ 23241 w 22694"/>
                      <a:gd name="connsiteY1" fmla="*/ 77 h 15788"/>
                      <a:gd name="connsiteX2" fmla="*/ 23241 w 22694"/>
                      <a:gd name="connsiteY2" fmla="*/ 15866 h 15788"/>
                      <a:gd name="connsiteX3" fmla="*/ 546 w 22694"/>
                      <a:gd name="connsiteY3" fmla="*/ 15866 h 15788"/>
                    </a:gdLst>
                    <a:ahLst/>
                    <a:cxnLst>
                      <a:cxn ang="0">
                        <a:pos x="connsiteX0" y="connsiteY0"/>
                      </a:cxn>
                      <a:cxn ang="0">
                        <a:pos x="connsiteX1" y="connsiteY1"/>
                      </a:cxn>
                      <a:cxn ang="0">
                        <a:pos x="connsiteX2" y="connsiteY2"/>
                      </a:cxn>
                      <a:cxn ang="0">
                        <a:pos x="connsiteX3" y="connsiteY3"/>
                      </a:cxn>
                    </a:cxnLst>
                    <a:rect l="l" t="t" r="r" b="b"/>
                    <a:pathLst>
                      <a:path w="22694" h="15788">
                        <a:moveTo>
                          <a:pt x="546" y="77"/>
                        </a:moveTo>
                        <a:lnTo>
                          <a:pt x="23241" y="77"/>
                        </a:lnTo>
                        <a:lnTo>
                          <a:pt x="23241" y="15866"/>
                        </a:lnTo>
                        <a:lnTo>
                          <a:pt x="546" y="15866"/>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8" name="Freeform: Shape 47">
                    <a:extLst>
                      <a:ext uri="{FF2B5EF4-FFF2-40B4-BE49-F238E27FC236}">
                        <a16:creationId xmlns:a16="http://schemas.microsoft.com/office/drawing/2014/main" id="{25C2EDD4-36C2-2686-D0EE-130B98361311}"/>
                      </a:ext>
                    </a:extLst>
                  </p:cNvPr>
                  <p:cNvSpPr/>
                  <p:nvPr/>
                </p:nvSpPr>
                <p:spPr>
                  <a:xfrm>
                    <a:off x="7475467" y="4123178"/>
                    <a:ext cx="52953" cy="36840"/>
                  </a:xfrm>
                  <a:custGeom>
                    <a:avLst/>
                    <a:gdLst>
                      <a:gd name="connsiteX0" fmla="*/ 546 w 52953"/>
                      <a:gd name="connsiteY0" fmla="*/ 77 h 36840"/>
                      <a:gd name="connsiteX1" fmla="*/ 53500 w 52953"/>
                      <a:gd name="connsiteY1" fmla="*/ 77 h 36840"/>
                      <a:gd name="connsiteX2" fmla="*/ 53500 w 52953"/>
                      <a:gd name="connsiteY2" fmla="*/ 36918 h 36840"/>
                      <a:gd name="connsiteX3" fmla="*/ 546 w 52953"/>
                      <a:gd name="connsiteY3" fmla="*/ 36918 h 36840"/>
                    </a:gdLst>
                    <a:ahLst/>
                    <a:cxnLst>
                      <a:cxn ang="0">
                        <a:pos x="connsiteX0" y="connsiteY0"/>
                      </a:cxn>
                      <a:cxn ang="0">
                        <a:pos x="connsiteX1" y="connsiteY1"/>
                      </a:cxn>
                      <a:cxn ang="0">
                        <a:pos x="connsiteX2" y="connsiteY2"/>
                      </a:cxn>
                      <a:cxn ang="0">
                        <a:pos x="connsiteX3" y="connsiteY3"/>
                      </a:cxn>
                    </a:cxnLst>
                    <a:rect l="l" t="t" r="r" b="b"/>
                    <a:pathLst>
                      <a:path w="52953" h="36840">
                        <a:moveTo>
                          <a:pt x="546" y="77"/>
                        </a:moveTo>
                        <a:lnTo>
                          <a:pt x="53500" y="77"/>
                        </a:lnTo>
                        <a:lnTo>
                          <a:pt x="53500" y="36918"/>
                        </a:lnTo>
                        <a:lnTo>
                          <a:pt x="546" y="36918"/>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9" name="Freeform: Shape 48">
                    <a:extLst>
                      <a:ext uri="{FF2B5EF4-FFF2-40B4-BE49-F238E27FC236}">
                        <a16:creationId xmlns:a16="http://schemas.microsoft.com/office/drawing/2014/main" id="{CE0BEA63-7681-6806-160C-498032439FFB}"/>
                      </a:ext>
                    </a:extLst>
                  </p:cNvPr>
                  <p:cNvSpPr/>
                  <p:nvPr/>
                </p:nvSpPr>
                <p:spPr>
                  <a:xfrm>
                    <a:off x="7421447" y="4406361"/>
                    <a:ext cx="37824" cy="26314"/>
                  </a:xfrm>
                  <a:custGeom>
                    <a:avLst/>
                    <a:gdLst>
                      <a:gd name="connsiteX0" fmla="*/ 546 w 37824"/>
                      <a:gd name="connsiteY0" fmla="*/ 77 h 26314"/>
                      <a:gd name="connsiteX1" fmla="*/ 38370 w 37824"/>
                      <a:gd name="connsiteY1" fmla="*/ 77 h 26314"/>
                      <a:gd name="connsiteX2" fmla="*/ 38370 w 37824"/>
                      <a:gd name="connsiteY2" fmla="*/ 26392 h 26314"/>
                      <a:gd name="connsiteX3" fmla="*/ 546 w 37824"/>
                      <a:gd name="connsiteY3" fmla="*/ 26392 h 26314"/>
                    </a:gdLst>
                    <a:ahLst/>
                    <a:cxnLst>
                      <a:cxn ang="0">
                        <a:pos x="connsiteX0" y="connsiteY0"/>
                      </a:cxn>
                      <a:cxn ang="0">
                        <a:pos x="connsiteX1" y="connsiteY1"/>
                      </a:cxn>
                      <a:cxn ang="0">
                        <a:pos x="connsiteX2" y="connsiteY2"/>
                      </a:cxn>
                      <a:cxn ang="0">
                        <a:pos x="connsiteX3" y="connsiteY3"/>
                      </a:cxn>
                    </a:cxnLst>
                    <a:rect l="l" t="t" r="r" b="b"/>
                    <a:pathLst>
                      <a:path w="37824" h="26314">
                        <a:moveTo>
                          <a:pt x="546" y="77"/>
                        </a:moveTo>
                        <a:lnTo>
                          <a:pt x="38370" y="77"/>
                        </a:lnTo>
                        <a:lnTo>
                          <a:pt x="38370" y="26392"/>
                        </a:lnTo>
                        <a:lnTo>
                          <a:pt x="546" y="26392"/>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0" name="Freeform: Shape 49">
                    <a:extLst>
                      <a:ext uri="{FF2B5EF4-FFF2-40B4-BE49-F238E27FC236}">
                        <a16:creationId xmlns:a16="http://schemas.microsoft.com/office/drawing/2014/main" id="{E1FDE0BA-159E-15CE-D696-29007F9B31EB}"/>
                      </a:ext>
                    </a:extLst>
                  </p:cNvPr>
                  <p:cNvSpPr/>
                  <p:nvPr/>
                </p:nvSpPr>
                <p:spPr>
                  <a:xfrm>
                    <a:off x="7526719" y="4534798"/>
                    <a:ext cx="68083" cy="47366"/>
                  </a:xfrm>
                  <a:custGeom>
                    <a:avLst/>
                    <a:gdLst>
                      <a:gd name="connsiteX0" fmla="*/ 546 w 68083"/>
                      <a:gd name="connsiteY0" fmla="*/ 77 h 47366"/>
                      <a:gd name="connsiteX1" fmla="*/ 68630 w 68083"/>
                      <a:gd name="connsiteY1" fmla="*/ 77 h 47366"/>
                      <a:gd name="connsiteX2" fmla="*/ 68630 w 68083"/>
                      <a:gd name="connsiteY2" fmla="*/ 47444 h 47366"/>
                      <a:gd name="connsiteX3" fmla="*/ 546 w 68083"/>
                      <a:gd name="connsiteY3" fmla="*/ 47444 h 47366"/>
                    </a:gdLst>
                    <a:ahLst/>
                    <a:cxnLst>
                      <a:cxn ang="0">
                        <a:pos x="connsiteX0" y="connsiteY0"/>
                      </a:cxn>
                      <a:cxn ang="0">
                        <a:pos x="connsiteX1" y="connsiteY1"/>
                      </a:cxn>
                      <a:cxn ang="0">
                        <a:pos x="connsiteX2" y="connsiteY2"/>
                      </a:cxn>
                      <a:cxn ang="0">
                        <a:pos x="connsiteX3" y="connsiteY3"/>
                      </a:cxn>
                    </a:cxnLst>
                    <a:rect l="l" t="t" r="r" b="b"/>
                    <a:pathLst>
                      <a:path w="68083" h="47366">
                        <a:moveTo>
                          <a:pt x="546" y="77"/>
                        </a:moveTo>
                        <a:lnTo>
                          <a:pt x="68630" y="77"/>
                        </a:lnTo>
                        <a:lnTo>
                          <a:pt x="68630" y="47444"/>
                        </a:lnTo>
                        <a:lnTo>
                          <a:pt x="546" y="47444"/>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1" name="Freeform: Shape 50">
                    <a:extLst>
                      <a:ext uri="{FF2B5EF4-FFF2-40B4-BE49-F238E27FC236}">
                        <a16:creationId xmlns:a16="http://schemas.microsoft.com/office/drawing/2014/main" id="{A1811703-736C-D24A-823D-D68522CA0E23}"/>
                      </a:ext>
                    </a:extLst>
                  </p:cNvPr>
                  <p:cNvSpPr/>
                  <p:nvPr/>
                </p:nvSpPr>
                <p:spPr>
                  <a:xfrm>
                    <a:off x="7521628" y="4812719"/>
                    <a:ext cx="68083" cy="47366"/>
                  </a:xfrm>
                  <a:custGeom>
                    <a:avLst/>
                    <a:gdLst>
                      <a:gd name="connsiteX0" fmla="*/ 546 w 68083"/>
                      <a:gd name="connsiteY0" fmla="*/ 77 h 47366"/>
                      <a:gd name="connsiteX1" fmla="*/ 68630 w 68083"/>
                      <a:gd name="connsiteY1" fmla="*/ 77 h 47366"/>
                      <a:gd name="connsiteX2" fmla="*/ 68630 w 68083"/>
                      <a:gd name="connsiteY2" fmla="*/ 47444 h 47366"/>
                      <a:gd name="connsiteX3" fmla="*/ 546 w 68083"/>
                      <a:gd name="connsiteY3" fmla="*/ 47444 h 47366"/>
                    </a:gdLst>
                    <a:ahLst/>
                    <a:cxnLst>
                      <a:cxn ang="0">
                        <a:pos x="connsiteX0" y="connsiteY0"/>
                      </a:cxn>
                      <a:cxn ang="0">
                        <a:pos x="connsiteX1" y="connsiteY1"/>
                      </a:cxn>
                      <a:cxn ang="0">
                        <a:pos x="connsiteX2" y="connsiteY2"/>
                      </a:cxn>
                      <a:cxn ang="0">
                        <a:pos x="connsiteX3" y="connsiteY3"/>
                      </a:cxn>
                    </a:cxnLst>
                    <a:rect l="l" t="t" r="r" b="b"/>
                    <a:pathLst>
                      <a:path w="68083" h="47366">
                        <a:moveTo>
                          <a:pt x="546" y="77"/>
                        </a:moveTo>
                        <a:lnTo>
                          <a:pt x="68630" y="77"/>
                        </a:lnTo>
                        <a:lnTo>
                          <a:pt x="68630" y="47444"/>
                        </a:lnTo>
                        <a:lnTo>
                          <a:pt x="546" y="47444"/>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2" name="Freeform: Shape 51">
                    <a:extLst>
                      <a:ext uri="{FF2B5EF4-FFF2-40B4-BE49-F238E27FC236}">
                        <a16:creationId xmlns:a16="http://schemas.microsoft.com/office/drawing/2014/main" id="{55E3F50F-6C03-2C56-7757-ECBC5830F6DF}"/>
                      </a:ext>
                    </a:extLst>
                  </p:cNvPr>
                  <p:cNvSpPr/>
                  <p:nvPr/>
                </p:nvSpPr>
                <p:spPr>
                  <a:xfrm>
                    <a:off x="7462017" y="4962207"/>
                    <a:ext cx="37824" cy="26314"/>
                  </a:xfrm>
                  <a:custGeom>
                    <a:avLst/>
                    <a:gdLst>
                      <a:gd name="connsiteX0" fmla="*/ 546 w 37824"/>
                      <a:gd name="connsiteY0" fmla="*/ 77 h 26314"/>
                      <a:gd name="connsiteX1" fmla="*/ 38370 w 37824"/>
                      <a:gd name="connsiteY1" fmla="*/ 77 h 26314"/>
                      <a:gd name="connsiteX2" fmla="*/ 38370 w 37824"/>
                      <a:gd name="connsiteY2" fmla="*/ 26392 h 26314"/>
                      <a:gd name="connsiteX3" fmla="*/ 546 w 37824"/>
                      <a:gd name="connsiteY3" fmla="*/ 26392 h 26314"/>
                    </a:gdLst>
                    <a:ahLst/>
                    <a:cxnLst>
                      <a:cxn ang="0">
                        <a:pos x="connsiteX0" y="connsiteY0"/>
                      </a:cxn>
                      <a:cxn ang="0">
                        <a:pos x="connsiteX1" y="connsiteY1"/>
                      </a:cxn>
                      <a:cxn ang="0">
                        <a:pos x="connsiteX2" y="connsiteY2"/>
                      </a:cxn>
                      <a:cxn ang="0">
                        <a:pos x="connsiteX3" y="connsiteY3"/>
                      </a:cxn>
                    </a:cxnLst>
                    <a:rect l="l" t="t" r="r" b="b"/>
                    <a:pathLst>
                      <a:path w="37824" h="26314">
                        <a:moveTo>
                          <a:pt x="546" y="77"/>
                        </a:moveTo>
                        <a:lnTo>
                          <a:pt x="38370" y="77"/>
                        </a:lnTo>
                        <a:lnTo>
                          <a:pt x="38370" y="26392"/>
                        </a:lnTo>
                        <a:lnTo>
                          <a:pt x="546" y="26392"/>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3" name="Freeform: Shape 52">
                    <a:extLst>
                      <a:ext uri="{FF2B5EF4-FFF2-40B4-BE49-F238E27FC236}">
                        <a16:creationId xmlns:a16="http://schemas.microsoft.com/office/drawing/2014/main" id="{0BD2C320-5270-0517-CA02-D4F90A9FF970}"/>
                      </a:ext>
                    </a:extLst>
                  </p:cNvPr>
                  <p:cNvSpPr/>
                  <p:nvPr/>
                </p:nvSpPr>
                <p:spPr>
                  <a:xfrm>
                    <a:off x="7438702" y="5240127"/>
                    <a:ext cx="37824" cy="26314"/>
                  </a:xfrm>
                  <a:custGeom>
                    <a:avLst/>
                    <a:gdLst>
                      <a:gd name="connsiteX0" fmla="*/ 546 w 37824"/>
                      <a:gd name="connsiteY0" fmla="*/ 77 h 26314"/>
                      <a:gd name="connsiteX1" fmla="*/ 38370 w 37824"/>
                      <a:gd name="connsiteY1" fmla="*/ 77 h 26314"/>
                      <a:gd name="connsiteX2" fmla="*/ 38370 w 37824"/>
                      <a:gd name="connsiteY2" fmla="*/ 26392 h 26314"/>
                      <a:gd name="connsiteX3" fmla="*/ 546 w 37824"/>
                      <a:gd name="connsiteY3" fmla="*/ 26392 h 26314"/>
                    </a:gdLst>
                    <a:ahLst/>
                    <a:cxnLst>
                      <a:cxn ang="0">
                        <a:pos x="connsiteX0" y="connsiteY0"/>
                      </a:cxn>
                      <a:cxn ang="0">
                        <a:pos x="connsiteX1" y="connsiteY1"/>
                      </a:cxn>
                      <a:cxn ang="0">
                        <a:pos x="connsiteX2" y="connsiteY2"/>
                      </a:cxn>
                      <a:cxn ang="0">
                        <a:pos x="connsiteX3" y="connsiteY3"/>
                      </a:cxn>
                    </a:cxnLst>
                    <a:rect l="l" t="t" r="r" b="b"/>
                    <a:pathLst>
                      <a:path w="37824" h="26314">
                        <a:moveTo>
                          <a:pt x="546" y="77"/>
                        </a:moveTo>
                        <a:lnTo>
                          <a:pt x="38370" y="77"/>
                        </a:lnTo>
                        <a:lnTo>
                          <a:pt x="38370" y="26392"/>
                        </a:lnTo>
                        <a:lnTo>
                          <a:pt x="546" y="26392"/>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4" name="Freeform: Shape 53">
                    <a:extLst>
                      <a:ext uri="{FF2B5EF4-FFF2-40B4-BE49-F238E27FC236}">
                        <a16:creationId xmlns:a16="http://schemas.microsoft.com/office/drawing/2014/main" id="{45505053-4F28-53D1-17E3-98223EED6485}"/>
                      </a:ext>
                    </a:extLst>
                  </p:cNvPr>
                  <p:cNvSpPr/>
                  <p:nvPr/>
                </p:nvSpPr>
                <p:spPr>
                  <a:xfrm>
                    <a:off x="7509017" y="5368564"/>
                    <a:ext cx="68083" cy="47366"/>
                  </a:xfrm>
                  <a:custGeom>
                    <a:avLst/>
                    <a:gdLst>
                      <a:gd name="connsiteX0" fmla="*/ 546 w 68083"/>
                      <a:gd name="connsiteY0" fmla="*/ 77 h 47366"/>
                      <a:gd name="connsiteX1" fmla="*/ 68630 w 68083"/>
                      <a:gd name="connsiteY1" fmla="*/ 77 h 47366"/>
                      <a:gd name="connsiteX2" fmla="*/ 68630 w 68083"/>
                      <a:gd name="connsiteY2" fmla="*/ 47444 h 47366"/>
                      <a:gd name="connsiteX3" fmla="*/ 546 w 68083"/>
                      <a:gd name="connsiteY3" fmla="*/ 47444 h 47366"/>
                    </a:gdLst>
                    <a:ahLst/>
                    <a:cxnLst>
                      <a:cxn ang="0">
                        <a:pos x="connsiteX0" y="connsiteY0"/>
                      </a:cxn>
                      <a:cxn ang="0">
                        <a:pos x="connsiteX1" y="connsiteY1"/>
                      </a:cxn>
                      <a:cxn ang="0">
                        <a:pos x="connsiteX2" y="connsiteY2"/>
                      </a:cxn>
                      <a:cxn ang="0">
                        <a:pos x="connsiteX3" y="connsiteY3"/>
                      </a:cxn>
                    </a:cxnLst>
                    <a:rect l="l" t="t" r="r" b="b"/>
                    <a:pathLst>
                      <a:path w="68083" h="47366">
                        <a:moveTo>
                          <a:pt x="546" y="77"/>
                        </a:moveTo>
                        <a:lnTo>
                          <a:pt x="68630" y="77"/>
                        </a:lnTo>
                        <a:lnTo>
                          <a:pt x="68630" y="47444"/>
                        </a:lnTo>
                        <a:lnTo>
                          <a:pt x="546" y="47444"/>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5" name="Freeform: Shape 54">
                    <a:extLst>
                      <a:ext uri="{FF2B5EF4-FFF2-40B4-BE49-F238E27FC236}">
                        <a16:creationId xmlns:a16="http://schemas.microsoft.com/office/drawing/2014/main" id="{EDCA70F6-3145-AA28-5D76-C63B436DC6E4}"/>
                      </a:ext>
                    </a:extLst>
                  </p:cNvPr>
                  <p:cNvSpPr/>
                  <p:nvPr/>
                </p:nvSpPr>
                <p:spPr>
                  <a:xfrm>
                    <a:off x="7652984" y="5651747"/>
                    <a:ext cx="52953" cy="36840"/>
                  </a:xfrm>
                  <a:custGeom>
                    <a:avLst/>
                    <a:gdLst>
                      <a:gd name="connsiteX0" fmla="*/ 546 w 52953"/>
                      <a:gd name="connsiteY0" fmla="*/ 77 h 36840"/>
                      <a:gd name="connsiteX1" fmla="*/ 53500 w 52953"/>
                      <a:gd name="connsiteY1" fmla="*/ 77 h 36840"/>
                      <a:gd name="connsiteX2" fmla="*/ 53500 w 52953"/>
                      <a:gd name="connsiteY2" fmla="*/ 36918 h 36840"/>
                      <a:gd name="connsiteX3" fmla="*/ 546 w 52953"/>
                      <a:gd name="connsiteY3" fmla="*/ 36918 h 36840"/>
                    </a:gdLst>
                    <a:ahLst/>
                    <a:cxnLst>
                      <a:cxn ang="0">
                        <a:pos x="connsiteX0" y="connsiteY0"/>
                      </a:cxn>
                      <a:cxn ang="0">
                        <a:pos x="connsiteX1" y="connsiteY1"/>
                      </a:cxn>
                      <a:cxn ang="0">
                        <a:pos x="connsiteX2" y="connsiteY2"/>
                      </a:cxn>
                      <a:cxn ang="0">
                        <a:pos x="connsiteX3" y="connsiteY3"/>
                      </a:cxn>
                    </a:cxnLst>
                    <a:rect l="l" t="t" r="r" b="b"/>
                    <a:pathLst>
                      <a:path w="52953" h="36840">
                        <a:moveTo>
                          <a:pt x="546" y="77"/>
                        </a:moveTo>
                        <a:lnTo>
                          <a:pt x="53500" y="77"/>
                        </a:lnTo>
                        <a:lnTo>
                          <a:pt x="53500" y="36918"/>
                        </a:lnTo>
                        <a:lnTo>
                          <a:pt x="546" y="36918"/>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6" name="Freeform: Shape 55">
                    <a:extLst>
                      <a:ext uri="{FF2B5EF4-FFF2-40B4-BE49-F238E27FC236}">
                        <a16:creationId xmlns:a16="http://schemas.microsoft.com/office/drawing/2014/main" id="{CD40EA07-540D-9E0D-D5E3-31629B4F3780}"/>
                      </a:ext>
                    </a:extLst>
                  </p:cNvPr>
                  <p:cNvSpPr/>
                  <p:nvPr/>
                </p:nvSpPr>
                <p:spPr>
                  <a:xfrm>
                    <a:off x="7212892" y="5795973"/>
                    <a:ext cx="37824" cy="26314"/>
                  </a:xfrm>
                  <a:custGeom>
                    <a:avLst/>
                    <a:gdLst>
                      <a:gd name="connsiteX0" fmla="*/ 546 w 37824"/>
                      <a:gd name="connsiteY0" fmla="*/ 77 h 26314"/>
                      <a:gd name="connsiteX1" fmla="*/ 38370 w 37824"/>
                      <a:gd name="connsiteY1" fmla="*/ 77 h 26314"/>
                      <a:gd name="connsiteX2" fmla="*/ 38370 w 37824"/>
                      <a:gd name="connsiteY2" fmla="*/ 26392 h 26314"/>
                      <a:gd name="connsiteX3" fmla="*/ 546 w 37824"/>
                      <a:gd name="connsiteY3" fmla="*/ 26392 h 26314"/>
                    </a:gdLst>
                    <a:ahLst/>
                    <a:cxnLst>
                      <a:cxn ang="0">
                        <a:pos x="connsiteX0" y="connsiteY0"/>
                      </a:cxn>
                      <a:cxn ang="0">
                        <a:pos x="connsiteX1" y="connsiteY1"/>
                      </a:cxn>
                      <a:cxn ang="0">
                        <a:pos x="connsiteX2" y="connsiteY2"/>
                      </a:cxn>
                      <a:cxn ang="0">
                        <a:pos x="connsiteX3" y="connsiteY3"/>
                      </a:cxn>
                    </a:cxnLst>
                    <a:rect l="l" t="t" r="r" b="b"/>
                    <a:pathLst>
                      <a:path w="37824" h="26314">
                        <a:moveTo>
                          <a:pt x="546" y="77"/>
                        </a:moveTo>
                        <a:lnTo>
                          <a:pt x="38370" y="77"/>
                        </a:lnTo>
                        <a:lnTo>
                          <a:pt x="38370" y="26392"/>
                        </a:lnTo>
                        <a:lnTo>
                          <a:pt x="546" y="26392"/>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1DC10D1A-A2BB-E868-770E-0EE3F05B09B4}"/>
                      </a:ext>
                    </a:extLst>
                  </p:cNvPr>
                  <p:cNvSpPr/>
                  <p:nvPr/>
                </p:nvSpPr>
                <p:spPr>
                  <a:xfrm>
                    <a:off x="7295159" y="5940194"/>
                    <a:ext cx="22694" cy="15788"/>
                  </a:xfrm>
                  <a:custGeom>
                    <a:avLst/>
                    <a:gdLst>
                      <a:gd name="connsiteX0" fmla="*/ 546 w 22694"/>
                      <a:gd name="connsiteY0" fmla="*/ 77 h 15788"/>
                      <a:gd name="connsiteX1" fmla="*/ 23241 w 22694"/>
                      <a:gd name="connsiteY1" fmla="*/ 77 h 15788"/>
                      <a:gd name="connsiteX2" fmla="*/ 23241 w 22694"/>
                      <a:gd name="connsiteY2" fmla="*/ 15866 h 15788"/>
                      <a:gd name="connsiteX3" fmla="*/ 546 w 22694"/>
                      <a:gd name="connsiteY3" fmla="*/ 15866 h 15788"/>
                    </a:gdLst>
                    <a:ahLst/>
                    <a:cxnLst>
                      <a:cxn ang="0">
                        <a:pos x="connsiteX0" y="connsiteY0"/>
                      </a:cxn>
                      <a:cxn ang="0">
                        <a:pos x="connsiteX1" y="connsiteY1"/>
                      </a:cxn>
                      <a:cxn ang="0">
                        <a:pos x="connsiteX2" y="connsiteY2"/>
                      </a:cxn>
                      <a:cxn ang="0">
                        <a:pos x="connsiteX3" y="connsiteY3"/>
                      </a:cxn>
                    </a:cxnLst>
                    <a:rect l="l" t="t" r="r" b="b"/>
                    <a:pathLst>
                      <a:path w="22694" h="15788">
                        <a:moveTo>
                          <a:pt x="546" y="77"/>
                        </a:moveTo>
                        <a:lnTo>
                          <a:pt x="23241" y="77"/>
                        </a:lnTo>
                        <a:lnTo>
                          <a:pt x="23241" y="15866"/>
                        </a:lnTo>
                        <a:lnTo>
                          <a:pt x="546" y="15866"/>
                        </a:lnTo>
                        <a:close/>
                      </a:path>
                    </a:pathLst>
                  </a:custGeom>
                  <a:solidFill>
                    <a:srgbClr val="FF0000"/>
                  </a:solidFill>
                  <a:ln w="755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id="{0AF49FEF-453D-E950-4630-4656C4DB6C90}"/>
                      </a:ext>
                    </a:extLst>
                  </p:cNvPr>
                  <p:cNvSpPr/>
                  <p:nvPr/>
                </p:nvSpPr>
                <p:spPr>
                  <a:xfrm>
                    <a:off x="7337545" y="2754617"/>
                    <a:ext cx="396556" cy="5262"/>
                  </a:xfrm>
                  <a:custGeom>
                    <a:avLst/>
                    <a:gdLst>
                      <a:gd name="connsiteX0" fmla="*/ 546 w 396556"/>
                      <a:gd name="connsiteY0" fmla="*/ 77 h 5262"/>
                      <a:gd name="connsiteX1" fmla="*/ 397103 w 396556"/>
                      <a:gd name="connsiteY1" fmla="*/ 77 h 5262"/>
                    </a:gdLst>
                    <a:ahLst/>
                    <a:cxnLst>
                      <a:cxn ang="0">
                        <a:pos x="connsiteX0" y="connsiteY0"/>
                      </a:cxn>
                      <a:cxn ang="0">
                        <a:pos x="connsiteX1" y="connsiteY1"/>
                      </a:cxn>
                    </a:cxnLst>
                    <a:rect l="l" t="t" r="r" b="b"/>
                    <a:pathLst>
                      <a:path w="396556" h="5262">
                        <a:moveTo>
                          <a:pt x="546" y="77"/>
                        </a:moveTo>
                        <a:lnTo>
                          <a:pt x="397103"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9" name="Freeform: Shape 58">
                    <a:extLst>
                      <a:ext uri="{FF2B5EF4-FFF2-40B4-BE49-F238E27FC236}">
                        <a16:creationId xmlns:a16="http://schemas.microsoft.com/office/drawing/2014/main" id="{4A7E8F65-92E3-CA4B-5B59-8A17455EEE91}"/>
                      </a:ext>
                    </a:extLst>
                  </p:cNvPr>
                  <p:cNvSpPr/>
                  <p:nvPr/>
                </p:nvSpPr>
                <p:spPr>
                  <a:xfrm>
                    <a:off x="7340707" y="3032539"/>
                    <a:ext cx="491170" cy="5262"/>
                  </a:xfrm>
                  <a:custGeom>
                    <a:avLst/>
                    <a:gdLst>
                      <a:gd name="connsiteX0" fmla="*/ 546 w 491170"/>
                      <a:gd name="connsiteY0" fmla="*/ 77 h 5262"/>
                      <a:gd name="connsiteX1" fmla="*/ 491716 w 491170"/>
                      <a:gd name="connsiteY1" fmla="*/ 77 h 5262"/>
                    </a:gdLst>
                    <a:ahLst/>
                    <a:cxnLst>
                      <a:cxn ang="0">
                        <a:pos x="connsiteX0" y="connsiteY0"/>
                      </a:cxn>
                      <a:cxn ang="0">
                        <a:pos x="connsiteX1" y="connsiteY1"/>
                      </a:cxn>
                    </a:cxnLst>
                    <a:rect l="l" t="t" r="r" b="b"/>
                    <a:pathLst>
                      <a:path w="491170" h="5262">
                        <a:moveTo>
                          <a:pt x="546" y="77"/>
                        </a:moveTo>
                        <a:lnTo>
                          <a:pt x="491716"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0" name="Freeform: Shape 59">
                    <a:extLst>
                      <a:ext uri="{FF2B5EF4-FFF2-40B4-BE49-F238E27FC236}">
                        <a16:creationId xmlns:a16="http://schemas.microsoft.com/office/drawing/2014/main" id="{CD77EEBA-0D6D-471E-B29B-86C9EC6B78CD}"/>
                      </a:ext>
                    </a:extLst>
                  </p:cNvPr>
                  <p:cNvSpPr/>
                  <p:nvPr/>
                </p:nvSpPr>
                <p:spPr>
                  <a:xfrm>
                    <a:off x="7113800" y="3171501"/>
                    <a:ext cx="672189" cy="5262"/>
                  </a:xfrm>
                  <a:custGeom>
                    <a:avLst/>
                    <a:gdLst>
                      <a:gd name="connsiteX0" fmla="*/ 546 w 672189"/>
                      <a:gd name="connsiteY0" fmla="*/ 77 h 5262"/>
                      <a:gd name="connsiteX1" fmla="*/ 672736 w 672189"/>
                      <a:gd name="connsiteY1" fmla="*/ 77 h 5262"/>
                    </a:gdLst>
                    <a:ahLst/>
                    <a:cxnLst>
                      <a:cxn ang="0">
                        <a:pos x="connsiteX0" y="connsiteY0"/>
                      </a:cxn>
                      <a:cxn ang="0">
                        <a:pos x="connsiteX1" y="connsiteY1"/>
                      </a:cxn>
                    </a:cxnLst>
                    <a:rect l="l" t="t" r="r" b="b"/>
                    <a:pathLst>
                      <a:path w="672189" h="5262">
                        <a:moveTo>
                          <a:pt x="546" y="77"/>
                        </a:moveTo>
                        <a:lnTo>
                          <a:pt x="672736"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1" name="Freeform: Shape 60">
                    <a:extLst>
                      <a:ext uri="{FF2B5EF4-FFF2-40B4-BE49-F238E27FC236}">
                        <a16:creationId xmlns:a16="http://schemas.microsoft.com/office/drawing/2014/main" id="{E1483542-7739-093F-5A85-22BFBC589F96}"/>
                      </a:ext>
                    </a:extLst>
                  </p:cNvPr>
                  <p:cNvSpPr/>
                  <p:nvPr/>
                </p:nvSpPr>
                <p:spPr>
                  <a:xfrm>
                    <a:off x="7407822" y="3449421"/>
                    <a:ext cx="514167" cy="5262"/>
                  </a:xfrm>
                  <a:custGeom>
                    <a:avLst/>
                    <a:gdLst>
                      <a:gd name="connsiteX0" fmla="*/ 546 w 514167"/>
                      <a:gd name="connsiteY0" fmla="*/ 77 h 5262"/>
                      <a:gd name="connsiteX1" fmla="*/ 514714 w 514167"/>
                      <a:gd name="connsiteY1" fmla="*/ 77 h 5262"/>
                    </a:gdLst>
                    <a:ahLst/>
                    <a:cxnLst>
                      <a:cxn ang="0">
                        <a:pos x="connsiteX0" y="connsiteY0"/>
                      </a:cxn>
                      <a:cxn ang="0">
                        <a:pos x="connsiteX1" y="connsiteY1"/>
                      </a:cxn>
                    </a:cxnLst>
                    <a:rect l="l" t="t" r="r" b="b"/>
                    <a:pathLst>
                      <a:path w="514167" h="5262">
                        <a:moveTo>
                          <a:pt x="546" y="77"/>
                        </a:moveTo>
                        <a:lnTo>
                          <a:pt x="514714"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2" name="Freeform: Shape 61">
                    <a:extLst>
                      <a:ext uri="{FF2B5EF4-FFF2-40B4-BE49-F238E27FC236}">
                        <a16:creationId xmlns:a16="http://schemas.microsoft.com/office/drawing/2014/main" id="{23AB7B35-C4DD-6A1E-970F-73E2E11D7AEE}"/>
                      </a:ext>
                    </a:extLst>
                  </p:cNvPr>
                  <p:cNvSpPr/>
                  <p:nvPr/>
                </p:nvSpPr>
                <p:spPr>
                  <a:xfrm>
                    <a:off x="7050126" y="3588384"/>
                    <a:ext cx="625416" cy="5262"/>
                  </a:xfrm>
                  <a:custGeom>
                    <a:avLst/>
                    <a:gdLst>
                      <a:gd name="connsiteX0" fmla="*/ 546 w 625416"/>
                      <a:gd name="connsiteY0" fmla="*/ 77 h 5262"/>
                      <a:gd name="connsiteX1" fmla="*/ 625962 w 625416"/>
                      <a:gd name="connsiteY1" fmla="*/ 77 h 5262"/>
                    </a:gdLst>
                    <a:ahLst/>
                    <a:cxnLst>
                      <a:cxn ang="0">
                        <a:pos x="connsiteX0" y="connsiteY0"/>
                      </a:cxn>
                      <a:cxn ang="0">
                        <a:pos x="connsiteX1" y="connsiteY1"/>
                      </a:cxn>
                    </a:cxnLst>
                    <a:rect l="l" t="t" r="r" b="b"/>
                    <a:pathLst>
                      <a:path w="625416" h="5262">
                        <a:moveTo>
                          <a:pt x="546" y="77"/>
                        </a:moveTo>
                        <a:lnTo>
                          <a:pt x="625962"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3" name="Freeform: Shape 62">
                    <a:extLst>
                      <a:ext uri="{FF2B5EF4-FFF2-40B4-BE49-F238E27FC236}">
                        <a16:creationId xmlns:a16="http://schemas.microsoft.com/office/drawing/2014/main" id="{8FC10A10-4050-00DE-98B5-F2536E455E32}"/>
                      </a:ext>
                    </a:extLst>
                  </p:cNvPr>
                  <p:cNvSpPr/>
                  <p:nvPr/>
                </p:nvSpPr>
                <p:spPr>
                  <a:xfrm>
                    <a:off x="7232341" y="3866304"/>
                    <a:ext cx="777749" cy="5262"/>
                  </a:xfrm>
                  <a:custGeom>
                    <a:avLst/>
                    <a:gdLst>
                      <a:gd name="connsiteX0" fmla="*/ 546 w 777749"/>
                      <a:gd name="connsiteY0" fmla="*/ 77 h 5262"/>
                      <a:gd name="connsiteX1" fmla="*/ 778296 w 777749"/>
                      <a:gd name="connsiteY1" fmla="*/ 77 h 5262"/>
                    </a:gdLst>
                    <a:ahLst/>
                    <a:cxnLst>
                      <a:cxn ang="0">
                        <a:pos x="connsiteX0" y="connsiteY0"/>
                      </a:cxn>
                      <a:cxn ang="0">
                        <a:pos x="connsiteX1" y="connsiteY1"/>
                      </a:cxn>
                    </a:cxnLst>
                    <a:rect l="l" t="t" r="r" b="b"/>
                    <a:pathLst>
                      <a:path w="777749" h="5262">
                        <a:moveTo>
                          <a:pt x="546" y="77"/>
                        </a:moveTo>
                        <a:lnTo>
                          <a:pt x="778296"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76" name="Freeform: Shape 575">
                    <a:extLst>
                      <a:ext uri="{FF2B5EF4-FFF2-40B4-BE49-F238E27FC236}">
                        <a16:creationId xmlns:a16="http://schemas.microsoft.com/office/drawing/2014/main" id="{A1A5B4FE-5467-5A58-6F12-7CD73BACA8A7}"/>
                      </a:ext>
                    </a:extLst>
                  </p:cNvPr>
                  <p:cNvSpPr/>
                  <p:nvPr/>
                </p:nvSpPr>
                <p:spPr>
                  <a:xfrm>
                    <a:off x="6952131" y="4005267"/>
                    <a:ext cx="1066439" cy="5262"/>
                  </a:xfrm>
                  <a:custGeom>
                    <a:avLst/>
                    <a:gdLst>
                      <a:gd name="connsiteX0" fmla="*/ 546 w 1066439"/>
                      <a:gd name="connsiteY0" fmla="*/ 77 h 5262"/>
                      <a:gd name="connsiteX1" fmla="*/ 1066985 w 1066439"/>
                      <a:gd name="connsiteY1" fmla="*/ 77 h 5262"/>
                    </a:gdLst>
                    <a:ahLst/>
                    <a:cxnLst>
                      <a:cxn ang="0">
                        <a:pos x="connsiteX0" y="connsiteY0"/>
                      </a:cxn>
                      <a:cxn ang="0">
                        <a:pos x="connsiteX1" y="connsiteY1"/>
                      </a:cxn>
                    </a:cxnLst>
                    <a:rect l="l" t="t" r="r" b="b"/>
                    <a:pathLst>
                      <a:path w="1066439" h="5262">
                        <a:moveTo>
                          <a:pt x="546" y="77"/>
                        </a:moveTo>
                        <a:lnTo>
                          <a:pt x="1066985"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77" name="Freeform: Shape 576">
                    <a:extLst>
                      <a:ext uri="{FF2B5EF4-FFF2-40B4-BE49-F238E27FC236}">
                        <a16:creationId xmlns:a16="http://schemas.microsoft.com/office/drawing/2014/main" id="{3761880F-2E6F-F8FE-101D-116DEF79D7FA}"/>
                      </a:ext>
                    </a:extLst>
                  </p:cNvPr>
                  <p:cNvSpPr/>
                  <p:nvPr/>
                </p:nvSpPr>
                <p:spPr>
                  <a:xfrm>
                    <a:off x="7275498" y="4144230"/>
                    <a:ext cx="460457" cy="5262"/>
                  </a:xfrm>
                  <a:custGeom>
                    <a:avLst/>
                    <a:gdLst>
                      <a:gd name="connsiteX0" fmla="*/ 546 w 460457"/>
                      <a:gd name="connsiteY0" fmla="*/ 77 h 5262"/>
                      <a:gd name="connsiteX1" fmla="*/ 461003 w 460457"/>
                      <a:gd name="connsiteY1" fmla="*/ 77 h 5262"/>
                    </a:gdLst>
                    <a:ahLst/>
                    <a:cxnLst>
                      <a:cxn ang="0">
                        <a:pos x="connsiteX0" y="connsiteY0"/>
                      </a:cxn>
                      <a:cxn ang="0">
                        <a:pos x="connsiteX1" y="connsiteY1"/>
                      </a:cxn>
                    </a:cxnLst>
                    <a:rect l="l" t="t" r="r" b="b"/>
                    <a:pathLst>
                      <a:path w="460457" h="5262">
                        <a:moveTo>
                          <a:pt x="546" y="77"/>
                        </a:moveTo>
                        <a:lnTo>
                          <a:pt x="461003"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78" name="Freeform: Shape 577">
                    <a:extLst>
                      <a:ext uri="{FF2B5EF4-FFF2-40B4-BE49-F238E27FC236}">
                        <a16:creationId xmlns:a16="http://schemas.microsoft.com/office/drawing/2014/main" id="{6A4852FE-E184-E0EC-B698-EA6137F2D1A4}"/>
                      </a:ext>
                    </a:extLst>
                  </p:cNvPr>
                  <p:cNvSpPr/>
                  <p:nvPr/>
                </p:nvSpPr>
                <p:spPr>
                  <a:xfrm>
                    <a:off x="7047539" y="4422150"/>
                    <a:ext cx="793212" cy="5262"/>
                  </a:xfrm>
                  <a:custGeom>
                    <a:avLst/>
                    <a:gdLst>
                      <a:gd name="connsiteX0" fmla="*/ 546 w 793212"/>
                      <a:gd name="connsiteY0" fmla="*/ 77 h 5262"/>
                      <a:gd name="connsiteX1" fmla="*/ 793758 w 793212"/>
                      <a:gd name="connsiteY1" fmla="*/ 77 h 5262"/>
                    </a:gdLst>
                    <a:ahLst/>
                    <a:cxnLst>
                      <a:cxn ang="0">
                        <a:pos x="connsiteX0" y="connsiteY0"/>
                      </a:cxn>
                      <a:cxn ang="0">
                        <a:pos x="connsiteX1" y="connsiteY1"/>
                      </a:cxn>
                    </a:cxnLst>
                    <a:rect l="l" t="t" r="r" b="b"/>
                    <a:pathLst>
                      <a:path w="793212" h="5262">
                        <a:moveTo>
                          <a:pt x="546" y="77"/>
                        </a:moveTo>
                        <a:lnTo>
                          <a:pt x="793758"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79" name="Freeform: Shape 578">
                    <a:extLst>
                      <a:ext uri="{FF2B5EF4-FFF2-40B4-BE49-F238E27FC236}">
                        <a16:creationId xmlns:a16="http://schemas.microsoft.com/office/drawing/2014/main" id="{C366E11B-4221-A209-CAEC-46D5EDBEFF85}"/>
                      </a:ext>
                    </a:extLst>
                  </p:cNvPr>
                  <p:cNvSpPr/>
                  <p:nvPr/>
                </p:nvSpPr>
                <p:spPr>
                  <a:xfrm>
                    <a:off x="7335722" y="4561113"/>
                    <a:ext cx="457642" cy="5262"/>
                  </a:xfrm>
                  <a:custGeom>
                    <a:avLst/>
                    <a:gdLst>
                      <a:gd name="connsiteX0" fmla="*/ 546 w 457642"/>
                      <a:gd name="connsiteY0" fmla="*/ 77 h 5262"/>
                      <a:gd name="connsiteX1" fmla="*/ 458189 w 457642"/>
                      <a:gd name="connsiteY1" fmla="*/ 77 h 5262"/>
                    </a:gdLst>
                    <a:ahLst/>
                    <a:cxnLst>
                      <a:cxn ang="0">
                        <a:pos x="connsiteX0" y="connsiteY0"/>
                      </a:cxn>
                      <a:cxn ang="0">
                        <a:pos x="connsiteX1" y="connsiteY1"/>
                      </a:cxn>
                    </a:cxnLst>
                    <a:rect l="l" t="t" r="r" b="b"/>
                    <a:pathLst>
                      <a:path w="457642" h="5262">
                        <a:moveTo>
                          <a:pt x="546" y="77"/>
                        </a:moveTo>
                        <a:lnTo>
                          <a:pt x="45818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0" name="Freeform: Shape 579">
                    <a:extLst>
                      <a:ext uri="{FF2B5EF4-FFF2-40B4-BE49-F238E27FC236}">
                        <a16:creationId xmlns:a16="http://schemas.microsoft.com/office/drawing/2014/main" id="{3E76ABB4-15B1-E528-62C6-08AFD6FB8E9F}"/>
                      </a:ext>
                    </a:extLst>
                  </p:cNvPr>
                  <p:cNvSpPr/>
                  <p:nvPr/>
                </p:nvSpPr>
                <p:spPr>
                  <a:xfrm>
                    <a:off x="7322423" y="4839033"/>
                    <a:ext cx="474066" cy="5262"/>
                  </a:xfrm>
                  <a:custGeom>
                    <a:avLst/>
                    <a:gdLst>
                      <a:gd name="connsiteX0" fmla="*/ 546 w 474066"/>
                      <a:gd name="connsiteY0" fmla="*/ 77 h 5262"/>
                      <a:gd name="connsiteX1" fmla="*/ 474612 w 474066"/>
                      <a:gd name="connsiteY1" fmla="*/ 77 h 5262"/>
                    </a:gdLst>
                    <a:ahLst/>
                    <a:cxnLst>
                      <a:cxn ang="0">
                        <a:pos x="connsiteX0" y="connsiteY0"/>
                      </a:cxn>
                      <a:cxn ang="0">
                        <a:pos x="connsiteX1" y="connsiteY1"/>
                      </a:cxn>
                    </a:cxnLst>
                    <a:rect l="l" t="t" r="r" b="b"/>
                    <a:pathLst>
                      <a:path w="474066" h="5262">
                        <a:moveTo>
                          <a:pt x="546" y="77"/>
                        </a:moveTo>
                        <a:lnTo>
                          <a:pt x="474612"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1" name="Freeform: Shape 580">
                    <a:extLst>
                      <a:ext uri="{FF2B5EF4-FFF2-40B4-BE49-F238E27FC236}">
                        <a16:creationId xmlns:a16="http://schemas.microsoft.com/office/drawing/2014/main" id="{D58B0431-F715-F469-4C96-E0DC8A36F811}"/>
                      </a:ext>
                    </a:extLst>
                  </p:cNvPr>
                  <p:cNvSpPr/>
                  <p:nvPr/>
                </p:nvSpPr>
                <p:spPr>
                  <a:xfrm>
                    <a:off x="7124050" y="4977996"/>
                    <a:ext cx="721323" cy="5262"/>
                  </a:xfrm>
                  <a:custGeom>
                    <a:avLst/>
                    <a:gdLst>
                      <a:gd name="connsiteX0" fmla="*/ 546 w 721323"/>
                      <a:gd name="connsiteY0" fmla="*/ 77 h 5262"/>
                      <a:gd name="connsiteX1" fmla="*/ 721869 w 721323"/>
                      <a:gd name="connsiteY1" fmla="*/ 77 h 5262"/>
                    </a:gdLst>
                    <a:ahLst/>
                    <a:cxnLst>
                      <a:cxn ang="0">
                        <a:pos x="connsiteX0" y="connsiteY0"/>
                      </a:cxn>
                      <a:cxn ang="0">
                        <a:pos x="connsiteX1" y="connsiteY1"/>
                      </a:cxn>
                    </a:cxnLst>
                    <a:rect l="l" t="t" r="r" b="b"/>
                    <a:pathLst>
                      <a:path w="721323" h="5262">
                        <a:moveTo>
                          <a:pt x="546" y="77"/>
                        </a:moveTo>
                        <a:lnTo>
                          <a:pt x="72186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2" name="Freeform: Shape 581">
                    <a:extLst>
                      <a:ext uri="{FF2B5EF4-FFF2-40B4-BE49-F238E27FC236}">
                        <a16:creationId xmlns:a16="http://schemas.microsoft.com/office/drawing/2014/main" id="{4C576BC5-0A65-D98F-86DF-18D088D5929F}"/>
                      </a:ext>
                    </a:extLst>
                  </p:cNvPr>
                  <p:cNvSpPr/>
                  <p:nvPr/>
                </p:nvSpPr>
                <p:spPr>
                  <a:xfrm>
                    <a:off x="7016455" y="5255916"/>
                    <a:ext cx="889883" cy="5262"/>
                  </a:xfrm>
                  <a:custGeom>
                    <a:avLst/>
                    <a:gdLst>
                      <a:gd name="connsiteX0" fmla="*/ 546 w 889883"/>
                      <a:gd name="connsiteY0" fmla="*/ 77 h 5262"/>
                      <a:gd name="connsiteX1" fmla="*/ 890430 w 889883"/>
                      <a:gd name="connsiteY1" fmla="*/ 77 h 5262"/>
                    </a:gdLst>
                    <a:ahLst/>
                    <a:cxnLst>
                      <a:cxn ang="0">
                        <a:pos x="connsiteX0" y="connsiteY0"/>
                      </a:cxn>
                      <a:cxn ang="0">
                        <a:pos x="connsiteX1" y="connsiteY1"/>
                      </a:cxn>
                    </a:cxnLst>
                    <a:rect l="l" t="t" r="r" b="b"/>
                    <a:pathLst>
                      <a:path w="889883" h="5262">
                        <a:moveTo>
                          <a:pt x="546" y="77"/>
                        </a:moveTo>
                        <a:lnTo>
                          <a:pt x="890430"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3" name="Freeform: Shape 582">
                    <a:extLst>
                      <a:ext uri="{FF2B5EF4-FFF2-40B4-BE49-F238E27FC236}">
                        <a16:creationId xmlns:a16="http://schemas.microsoft.com/office/drawing/2014/main" id="{D03CD551-140E-D758-EB1A-624B666B970D}"/>
                      </a:ext>
                    </a:extLst>
                  </p:cNvPr>
                  <p:cNvSpPr/>
                  <p:nvPr/>
                </p:nvSpPr>
                <p:spPr>
                  <a:xfrm>
                    <a:off x="7325404" y="5394879"/>
                    <a:ext cx="442868" cy="5262"/>
                  </a:xfrm>
                  <a:custGeom>
                    <a:avLst/>
                    <a:gdLst>
                      <a:gd name="connsiteX0" fmla="*/ 546 w 442868"/>
                      <a:gd name="connsiteY0" fmla="*/ 77 h 5262"/>
                      <a:gd name="connsiteX1" fmla="*/ 443415 w 442868"/>
                      <a:gd name="connsiteY1" fmla="*/ 77 h 5262"/>
                    </a:gdLst>
                    <a:ahLst/>
                    <a:cxnLst>
                      <a:cxn ang="0">
                        <a:pos x="connsiteX0" y="connsiteY0"/>
                      </a:cxn>
                      <a:cxn ang="0">
                        <a:pos x="connsiteX1" y="connsiteY1"/>
                      </a:cxn>
                    </a:cxnLst>
                    <a:rect l="l" t="t" r="r" b="b"/>
                    <a:pathLst>
                      <a:path w="442868" h="5262">
                        <a:moveTo>
                          <a:pt x="546" y="77"/>
                        </a:moveTo>
                        <a:lnTo>
                          <a:pt x="443415"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4" name="Freeform: Shape 583">
                    <a:extLst>
                      <a:ext uri="{FF2B5EF4-FFF2-40B4-BE49-F238E27FC236}">
                        <a16:creationId xmlns:a16="http://schemas.microsoft.com/office/drawing/2014/main" id="{28076AAA-60BB-0BE7-E194-2F5EDFD9ABAC}"/>
                      </a:ext>
                    </a:extLst>
                  </p:cNvPr>
                  <p:cNvSpPr/>
                  <p:nvPr/>
                </p:nvSpPr>
                <p:spPr>
                  <a:xfrm>
                    <a:off x="7417952" y="5672799"/>
                    <a:ext cx="530583" cy="5262"/>
                  </a:xfrm>
                  <a:custGeom>
                    <a:avLst/>
                    <a:gdLst>
                      <a:gd name="connsiteX0" fmla="*/ 546 w 530583"/>
                      <a:gd name="connsiteY0" fmla="*/ 77 h 5262"/>
                      <a:gd name="connsiteX1" fmla="*/ 531129 w 530583"/>
                      <a:gd name="connsiteY1" fmla="*/ 77 h 5262"/>
                    </a:gdLst>
                    <a:ahLst/>
                    <a:cxnLst>
                      <a:cxn ang="0">
                        <a:pos x="connsiteX0" y="connsiteY0"/>
                      </a:cxn>
                      <a:cxn ang="0">
                        <a:pos x="connsiteX1" y="connsiteY1"/>
                      </a:cxn>
                    </a:cxnLst>
                    <a:rect l="l" t="t" r="r" b="b"/>
                    <a:pathLst>
                      <a:path w="530583" h="5262">
                        <a:moveTo>
                          <a:pt x="546" y="77"/>
                        </a:moveTo>
                        <a:lnTo>
                          <a:pt x="53112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5" name="Freeform: Shape 584">
                    <a:extLst>
                      <a:ext uri="{FF2B5EF4-FFF2-40B4-BE49-F238E27FC236}">
                        <a16:creationId xmlns:a16="http://schemas.microsoft.com/office/drawing/2014/main" id="{32D3FC31-BFCB-062A-9D18-EDE79A9975D5}"/>
                      </a:ext>
                    </a:extLst>
                  </p:cNvPr>
                  <p:cNvSpPr/>
                  <p:nvPr/>
                </p:nvSpPr>
                <p:spPr>
                  <a:xfrm>
                    <a:off x="6901061" y="5811762"/>
                    <a:ext cx="669050" cy="5262"/>
                  </a:xfrm>
                  <a:custGeom>
                    <a:avLst/>
                    <a:gdLst>
                      <a:gd name="connsiteX0" fmla="*/ 546 w 669050"/>
                      <a:gd name="connsiteY0" fmla="*/ 77 h 5262"/>
                      <a:gd name="connsiteX1" fmla="*/ 669596 w 669050"/>
                      <a:gd name="connsiteY1" fmla="*/ 77 h 5262"/>
                    </a:gdLst>
                    <a:ahLst/>
                    <a:cxnLst>
                      <a:cxn ang="0">
                        <a:pos x="connsiteX0" y="connsiteY0"/>
                      </a:cxn>
                      <a:cxn ang="0">
                        <a:pos x="connsiteX1" y="connsiteY1"/>
                      </a:cxn>
                    </a:cxnLst>
                    <a:rect l="l" t="t" r="r" b="b"/>
                    <a:pathLst>
                      <a:path w="669050" h="5262">
                        <a:moveTo>
                          <a:pt x="546" y="77"/>
                        </a:moveTo>
                        <a:lnTo>
                          <a:pt x="669596"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6" name="Freeform: Shape 585">
                    <a:extLst>
                      <a:ext uri="{FF2B5EF4-FFF2-40B4-BE49-F238E27FC236}">
                        <a16:creationId xmlns:a16="http://schemas.microsoft.com/office/drawing/2014/main" id="{4C3DBE50-92C4-EAEB-B62E-C9D3D1B9108F}"/>
                      </a:ext>
                    </a:extLst>
                  </p:cNvPr>
                  <p:cNvSpPr/>
                  <p:nvPr/>
                </p:nvSpPr>
                <p:spPr>
                  <a:xfrm>
                    <a:off x="6755233" y="5950720"/>
                    <a:ext cx="1110118" cy="5262"/>
                  </a:xfrm>
                  <a:custGeom>
                    <a:avLst/>
                    <a:gdLst>
                      <a:gd name="connsiteX0" fmla="*/ 546 w 1110118"/>
                      <a:gd name="connsiteY0" fmla="*/ 77 h 5262"/>
                      <a:gd name="connsiteX1" fmla="*/ 1110665 w 1110118"/>
                      <a:gd name="connsiteY1" fmla="*/ 77 h 5262"/>
                    </a:gdLst>
                    <a:ahLst/>
                    <a:cxnLst>
                      <a:cxn ang="0">
                        <a:pos x="connsiteX0" y="connsiteY0"/>
                      </a:cxn>
                      <a:cxn ang="0">
                        <a:pos x="connsiteX1" y="connsiteY1"/>
                      </a:cxn>
                    </a:cxnLst>
                    <a:rect l="l" t="t" r="r" b="b"/>
                    <a:pathLst>
                      <a:path w="1110118" h="5262">
                        <a:moveTo>
                          <a:pt x="546" y="77"/>
                        </a:moveTo>
                        <a:lnTo>
                          <a:pt x="1110665"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7" name="Freeform: Shape 586">
                    <a:extLst>
                      <a:ext uri="{FF2B5EF4-FFF2-40B4-BE49-F238E27FC236}">
                        <a16:creationId xmlns:a16="http://schemas.microsoft.com/office/drawing/2014/main" id="{98E73D14-0EB7-20DB-8C4F-03169924B372}"/>
                      </a:ext>
                    </a:extLst>
                  </p:cNvPr>
                  <p:cNvSpPr/>
                  <p:nvPr/>
                </p:nvSpPr>
                <p:spPr>
                  <a:xfrm>
                    <a:off x="7744383" y="2531564"/>
                    <a:ext cx="7564" cy="3642209"/>
                  </a:xfrm>
                  <a:custGeom>
                    <a:avLst/>
                    <a:gdLst>
                      <a:gd name="connsiteX0" fmla="*/ 546 w 7564"/>
                      <a:gd name="connsiteY0" fmla="*/ 3642286 h 3642209"/>
                      <a:gd name="connsiteX1" fmla="*/ 546 w 7564"/>
                      <a:gd name="connsiteY1" fmla="*/ 77 h 3642209"/>
                    </a:gdLst>
                    <a:ahLst/>
                    <a:cxnLst>
                      <a:cxn ang="0">
                        <a:pos x="connsiteX0" y="connsiteY0"/>
                      </a:cxn>
                      <a:cxn ang="0">
                        <a:pos x="connsiteX1" y="connsiteY1"/>
                      </a:cxn>
                    </a:cxnLst>
                    <a:rect l="l" t="t" r="r" b="b"/>
                    <a:pathLst>
                      <a:path w="7564" h="3642209">
                        <a:moveTo>
                          <a:pt x="546" y="3642286"/>
                        </a:moveTo>
                        <a:lnTo>
                          <a:pt x="546" y="77"/>
                        </a:lnTo>
                      </a:path>
                    </a:pathLst>
                  </a:custGeom>
                  <a:noFill/>
                  <a:ln w="7559" cap="flat">
                    <a:solidFill>
                      <a:srgbClr val="000000"/>
                    </a:solidFill>
                    <a:custDash>
                      <a:ds d="300000" sp="300000"/>
                    </a:custDash>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8" name="Freeform: Shape 587">
                    <a:extLst>
                      <a:ext uri="{FF2B5EF4-FFF2-40B4-BE49-F238E27FC236}">
                        <a16:creationId xmlns:a16="http://schemas.microsoft.com/office/drawing/2014/main" id="{E0280657-2FDA-1EE6-DCEE-648935F5CF47}"/>
                      </a:ext>
                    </a:extLst>
                  </p:cNvPr>
                  <p:cNvSpPr/>
                  <p:nvPr/>
                </p:nvSpPr>
                <p:spPr>
                  <a:xfrm>
                    <a:off x="7744383" y="2531564"/>
                    <a:ext cx="3146" cy="5262"/>
                  </a:xfrm>
                  <a:custGeom>
                    <a:avLst/>
                    <a:gdLst>
                      <a:gd name="connsiteX0" fmla="*/ 3693 w 3146"/>
                      <a:gd name="connsiteY0" fmla="*/ 5340 h 5262"/>
                      <a:gd name="connsiteX1" fmla="*/ 546 w 3146"/>
                      <a:gd name="connsiteY1" fmla="*/ 77 h 5262"/>
                    </a:gdLst>
                    <a:ahLst/>
                    <a:cxnLst>
                      <a:cxn ang="0">
                        <a:pos x="connsiteX0" y="connsiteY0"/>
                      </a:cxn>
                      <a:cxn ang="0">
                        <a:pos x="connsiteX1" y="connsiteY1"/>
                      </a:cxn>
                    </a:cxnLst>
                    <a:rect l="l" t="t" r="r" b="b"/>
                    <a:pathLst>
                      <a:path w="3146" h="5262">
                        <a:moveTo>
                          <a:pt x="3693" y="5340"/>
                        </a:moveTo>
                        <a:lnTo>
                          <a:pt x="546"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589" name="Graphic 5">
                  <a:extLst>
                    <a:ext uri="{FF2B5EF4-FFF2-40B4-BE49-F238E27FC236}">
                      <a16:creationId xmlns:a16="http://schemas.microsoft.com/office/drawing/2014/main" id="{97809F0E-526C-F08C-901C-CCDB1454FF61}"/>
                    </a:ext>
                  </a:extLst>
                </p:cNvPr>
                <p:cNvGrpSpPr/>
                <p:nvPr/>
              </p:nvGrpSpPr>
              <p:grpSpPr>
                <a:xfrm>
                  <a:off x="5605689" y="6173773"/>
                  <a:ext cx="2856663" cy="288196"/>
                  <a:chOff x="5605689" y="6173773"/>
                  <a:chExt cx="2856663" cy="288196"/>
                </a:xfrm>
              </p:grpSpPr>
              <p:sp>
                <p:nvSpPr>
                  <p:cNvPr id="590" name="Freeform: Shape 589">
                    <a:extLst>
                      <a:ext uri="{FF2B5EF4-FFF2-40B4-BE49-F238E27FC236}">
                        <a16:creationId xmlns:a16="http://schemas.microsoft.com/office/drawing/2014/main" id="{43BBEF79-E59E-AF06-4E51-5A4DDFD49DF1}"/>
                      </a:ext>
                    </a:extLst>
                  </p:cNvPr>
                  <p:cNvSpPr/>
                  <p:nvPr/>
                </p:nvSpPr>
                <p:spPr>
                  <a:xfrm>
                    <a:off x="5667155" y="6173773"/>
                    <a:ext cx="2776362" cy="5262"/>
                  </a:xfrm>
                  <a:custGeom>
                    <a:avLst/>
                    <a:gdLst>
                      <a:gd name="connsiteX0" fmla="*/ 546 w 2776362"/>
                      <a:gd name="connsiteY0" fmla="*/ 77 h 5262"/>
                      <a:gd name="connsiteX1" fmla="*/ 2776909 w 2776362"/>
                      <a:gd name="connsiteY1" fmla="*/ 77 h 5262"/>
                    </a:gdLst>
                    <a:ahLst/>
                    <a:cxnLst>
                      <a:cxn ang="0">
                        <a:pos x="connsiteX0" y="connsiteY0"/>
                      </a:cxn>
                      <a:cxn ang="0">
                        <a:pos x="connsiteX1" y="connsiteY1"/>
                      </a:cxn>
                    </a:cxnLst>
                    <a:rect l="l" t="t" r="r" b="b"/>
                    <a:pathLst>
                      <a:path w="2776362" h="5262">
                        <a:moveTo>
                          <a:pt x="546" y="77"/>
                        </a:moveTo>
                        <a:lnTo>
                          <a:pt x="277690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91" name="Freeform: Shape 590">
                    <a:extLst>
                      <a:ext uri="{FF2B5EF4-FFF2-40B4-BE49-F238E27FC236}">
                        <a16:creationId xmlns:a16="http://schemas.microsoft.com/office/drawing/2014/main" id="{C4E98BEA-28A5-9A02-D2CF-0BCE35B06F29}"/>
                      </a:ext>
                    </a:extLst>
                  </p:cNvPr>
                  <p:cNvSpPr/>
                  <p:nvPr/>
                </p:nvSpPr>
                <p:spPr>
                  <a:xfrm>
                    <a:off x="5772778" y="6173773"/>
                    <a:ext cx="7564" cy="39998"/>
                  </a:xfrm>
                  <a:custGeom>
                    <a:avLst/>
                    <a:gdLst>
                      <a:gd name="connsiteX0" fmla="*/ 546 w 7564"/>
                      <a:gd name="connsiteY0" fmla="*/ 77 h 39998"/>
                      <a:gd name="connsiteX1" fmla="*/ 546 w 7564"/>
                      <a:gd name="connsiteY1" fmla="*/ 40076 h 39998"/>
                    </a:gdLst>
                    <a:ahLst/>
                    <a:cxnLst>
                      <a:cxn ang="0">
                        <a:pos x="connsiteX0" y="connsiteY0"/>
                      </a:cxn>
                      <a:cxn ang="0">
                        <a:pos x="connsiteX1" y="connsiteY1"/>
                      </a:cxn>
                    </a:cxnLst>
                    <a:rect l="l" t="t" r="r" b="b"/>
                    <a:pathLst>
                      <a:path w="7564" h="39998">
                        <a:moveTo>
                          <a:pt x="546" y="77"/>
                        </a:moveTo>
                        <a:lnTo>
                          <a:pt x="546" y="40076"/>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92" name="TextBox 591">
                    <a:extLst>
                      <a:ext uri="{FF2B5EF4-FFF2-40B4-BE49-F238E27FC236}">
                        <a16:creationId xmlns:a16="http://schemas.microsoft.com/office/drawing/2014/main" id="{2096978C-53FA-0EBF-0DAC-04C4F0AFB5A0}"/>
                      </a:ext>
                    </a:extLst>
                  </p:cNvPr>
                  <p:cNvSpPr txBox="1"/>
                  <p:nvPr/>
                </p:nvSpPr>
                <p:spPr>
                  <a:xfrm>
                    <a:off x="5605689" y="6207925"/>
                    <a:ext cx="352396" cy="25404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a:ln/>
                        <a:solidFill>
                          <a:srgbClr val="000000"/>
                        </a:solidFill>
                        <a:effectLst/>
                        <a:uLnTx/>
                        <a:uFillTx/>
                        <a:latin typeface="Arial"/>
                        <a:ea typeface="+mn-ea"/>
                        <a:cs typeface="Arial"/>
                        <a:sym typeface="Arial"/>
                        <a:rtl val="0"/>
                      </a:rPr>
                      <a:t>0.1</a:t>
                    </a:r>
                  </a:p>
                </p:txBody>
              </p:sp>
              <p:sp>
                <p:nvSpPr>
                  <p:cNvPr id="593" name="Freeform: Shape 592">
                    <a:extLst>
                      <a:ext uri="{FF2B5EF4-FFF2-40B4-BE49-F238E27FC236}">
                        <a16:creationId xmlns:a16="http://schemas.microsoft.com/office/drawing/2014/main" id="{58C1D3EB-E999-D5B4-9088-F24CFB120990}"/>
                      </a:ext>
                    </a:extLst>
                  </p:cNvPr>
                  <p:cNvSpPr/>
                  <p:nvPr/>
                </p:nvSpPr>
                <p:spPr>
                  <a:xfrm>
                    <a:off x="7150867" y="6173773"/>
                    <a:ext cx="7564" cy="39998"/>
                  </a:xfrm>
                  <a:custGeom>
                    <a:avLst/>
                    <a:gdLst>
                      <a:gd name="connsiteX0" fmla="*/ 546 w 7564"/>
                      <a:gd name="connsiteY0" fmla="*/ 77 h 39998"/>
                      <a:gd name="connsiteX1" fmla="*/ 546 w 7564"/>
                      <a:gd name="connsiteY1" fmla="*/ 40076 h 39998"/>
                    </a:gdLst>
                    <a:ahLst/>
                    <a:cxnLst>
                      <a:cxn ang="0">
                        <a:pos x="connsiteX0" y="connsiteY0"/>
                      </a:cxn>
                      <a:cxn ang="0">
                        <a:pos x="connsiteX1" y="connsiteY1"/>
                      </a:cxn>
                    </a:cxnLst>
                    <a:rect l="l" t="t" r="r" b="b"/>
                    <a:pathLst>
                      <a:path w="7564" h="39998">
                        <a:moveTo>
                          <a:pt x="546" y="77"/>
                        </a:moveTo>
                        <a:lnTo>
                          <a:pt x="546" y="40076"/>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94" name="TextBox 593">
                    <a:extLst>
                      <a:ext uri="{FF2B5EF4-FFF2-40B4-BE49-F238E27FC236}">
                        <a16:creationId xmlns:a16="http://schemas.microsoft.com/office/drawing/2014/main" id="{0F927A95-AE05-C344-907C-9F1E21C884D2}"/>
                      </a:ext>
                    </a:extLst>
                  </p:cNvPr>
                  <p:cNvSpPr txBox="1"/>
                  <p:nvPr/>
                </p:nvSpPr>
                <p:spPr>
                  <a:xfrm>
                    <a:off x="6983779" y="6207925"/>
                    <a:ext cx="352396" cy="25404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a:ln/>
                        <a:solidFill>
                          <a:srgbClr val="000000"/>
                        </a:solidFill>
                        <a:effectLst/>
                        <a:uLnTx/>
                        <a:uFillTx/>
                        <a:latin typeface="Arial"/>
                        <a:ea typeface="+mn-ea"/>
                        <a:cs typeface="Arial"/>
                        <a:sym typeface="Arial"/>
                        <a:rtl val="0"/>
                      </a:rPr>
                      <a:t>0.5</a:t>
                    </a:r>
                  </a:p>
                </p:txBody>
              </p:sp>
              <p:sp>
                <p:nvSpPr>
                  <p:cNvPr id="595" name="Freeform: Shape 594">
                    <a:extLst>
                      <a:ext uri="{FF2B5EF4-FFF2-40B4-BE49-F238E27FC236}">
                        <a16:creationId xmlns:a16="http://schemas.microsoft.com/office/drawing/2014/main" id="{BC65622F-5C7C-7459-6AF6-BF0FB88C6BDA}"/>
                      </a:ext>
                    </a:extLst>
                  </p:cNvPr>
                  <p:cNvSpPr/>
                  <p:nvPr/>
                </p:nvSpPr>
                <p:spPr>
                  <a:xfrm>
                    <a:off x="7744383" y="6173773"/>
                    <a:ext cx="7564" cy="39998"/>
                  </a:xfrm>
                  <a:custGeom>
                    <a:avLst/>
                    <a:gdLst>
                      <a:gd name="connsiteX0" fmla="*/ 546 w 7564"/>
                      <a:gd name="connsiteY0" fmla="*/ 77 h 39998"/>
                      <a:gd name="connsiteX1" fmla="*/ 546 w 7564"/>
                      <a:gd name="connsiteY1" fmla="*/ 40076 h 39998"/>
                    </a:gdLst>
                    <a:ahLst/>
                    <a:cxnLst>
                      <a:cxn ang="0">
                        <a:pos x="connsiteX0" y="connsiteY0"/>
                      </a:cxn>
                      <a:cxn ang="0">
                        <a:pos x="connsiteX1" y="connsiteY1"/>
                      </a:cxn>
                    </a:cxnLst>
                    <a:rect l="l" t="t" r="r" b="b"/>
                    <a:pathLst>
                      <a:path w="7564" h="39998">
                        <a:moveTo>
                          <a:pt x="546" y="77"/>
                        </a:moveTo>
                        <a:lnTo>
                          <a:pt x="546" y="40076"/>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96" name="TextBox 595">
                    <a:extLst>
                      <a:ext uri="{FF2B5EF4-FFF2-40B4-BE49-F238E27FC236}">
                        <a16:creationId xmlns:a16="http://schemas.microsoft.com/office/drawing/2014/main" id="{379A74FC-4BAC-3EFB-AA58-2B80575EB541}"/>
                      </a:ext>
                    </a:extLst>
                  </p:cNvPr>
                  <p:cNvSpPr txBox="1"/>
                  <p:nvPr/>
                </p:nvSpPr>
                <p:spPr>
                  <a:xfrm>
                    <a:off x="7622683" y="6207925"/>
                    <a:ext cx="246161" cy="25404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597" name="Freeform: Shape 596">
                    <a:extLst>
                      <a:ext uri="{FF2B5EF4-FFF2-40B4-BE49-F238E27FC236}">
                        <a16:creationId xmlns:a16="http://schemas.microsoft.com/office/drawing/2014/main" id="{976E0C7A-B263-8E58-DD23-DC2CBE4CF303}"/>
                      </a:ext>
                    </a:extLst>
                  </p:cNvPr>
                  <p:cNvSpPr/>
                  <p:nvPr/>
                </p:nvSpPr>
                <p:spPr>
                  <a:xfrm>
                    <a:off x="8337890" y="6173773"/>
                    <a:ext cx="7564" cy="39998"/>
                  </a:xfrm>
                  <a:custGeom>
                    <a:avLst/>
                    <a:gdLst>
                      <a:gd name="connsiteX0" fmla="*/ 546 w 7564"/>
                      <a:gd name="connsiteY0" fmla="*/ 77 h 39998"/>
                      <a:gd name="connsiteX1" fmla="*/ 546 w 7564"/>
                      <a:gd name="connsiteY1" fmla="*/ 40076 h 39998"/>
                    </a:gdLst>
                    <a:ahLst/>
                    <a:cxnLst>
                      <a:cxn ang="0">
                        <a:pos x="connsiteX0" y="connsiteY0"/>
                      </a:cxn>
                      <a:cxn ang="0">
                        <a:pos x="connsiteX1" y="connsiteY1"/>
                      </a:cxn>
                    </a:cxnLst>
                    <a:rect l="l" t="t" r="r" b="b"/>
                    <a:pathLst>
                      <a:path w="7564" h="39998">
                        <a:moveTo>
                          <a:pt x="546" y="77"/>
                        </a:moveTo>
                        <a:lnTo>
                          <a:pt x="546" y="40076"/>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98" name="TextBox 597">
                    <a:extLst>
                      <a:ext uri="{FF2B5EF4-FFF2-40B4-BE49-F238E27FC236}">
                        <a16:creationId xmlns:a16="http://schemas.microsoft.com/office/drawing/2014/main" id="{A6087599-706B-E137-2C84-CAE4C1206F14}"/>
                      </a:ext>
                    </a:extLst>
                  </p:cNvPr>
                  <p:cNvSpPr txBox="1"/>
                  <p:nvPr/>
                </p:nvSpPr>
                <p:spPr>
                  <a:xfrm>
                    <a:off x="8216191" y="6207925"/>
                    <a:ext cx="246161" cy="25404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a:ln/>
                        <a:solidFill>
                          <a:srgbClr val="000000"/>
                        </a:solidFill>
                        <a:effectLst/>
                        <a:uLnTx/>
                        <a:uFillTx/>
                        <a:latin typeface="Arial"/>
                        <a:ea typeface="+mn-ea"/>
                        <a:cs typeface="Arial"/>
                        <a:sym typeface="Arial"/>
                        <a:rtl val="0"/>
                      </a:rPr>
                      <a:t>2</a:t>
                    </a:r>
                  </a:p>
                </p:txBody>
              </p:sp>
            </p:grpSp>
          </p:grpSp>
          <p:grpSp>
            <p:nvGrpSpPr>
              <p:cNvPr id="599" name="Graphic 5">
                <a:extLst>
                  <a:ext uri="{FF2B5EF4-FFF2-40B4-BE49-F238E27FC236}">
                    <a16:creationId xmlns:a16="http://schemas.microsoft.com/office/drawing/2014/main" id="{259068F6-0BD3-0EEF-2CE3-B410C467F8C4}"/>
                  </a:ext>
                </a:extLst>
              </p:cNvPr>
              <p:cNvGrpSpPr/>
              <p:nvPr/>
            </p:nvGrpSpPr>
            <p:grpSpPr>
              <a:xfrm>
                <a:off x="4816238" y="2660477"/>
                <a:ext cx="668063" cy="3462458"/>
                <a:chOff x="4816238" y="2660477"/>
                <a:chExt cx="668063" cy="3462458"/>
              </a:xfrm>
              <a:solidFill>
                <a:srgbClr val="000000"/>
              </a:solidFill>
            </p:grpSpPr>
            <p:sp>
              <p:nvSpPr>
                <p:cNvPr id="600" name="TextBox 599">
                  <a:extLst>
                    <a:ext uri="{FF2B5EF4-FFF2-40B4-BE49-F238E27FC236}">
                      <a16:creationId xmlns:a16="http://schemas.microsoft.com/office/drawing/2014/main" id="{679D56DA-CF96-FEF0-067A-6893BDB038A1}"/>
                    </a:ext>
                  </a:extLst>
                </p:cNvPr>
                <p:cNvSpPr txBox="1"/>
                <p:nvPr/>
              </p:nvSpPr>
              <p:spPr>
                <a:xfrm>
                  <a:off x="4816238" y="2660477"/>
                  <a:ext cx="668063"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56/219</a:t>
                  </a:r>
                </a:p>
              </p:txBody>
            </p:sp>
            <p:sp>
              <p:nvSpPr>
                <p:cNvPr id="601" name="TextBox 600">
                  <a:extLst>
                    <a:ext uri="{FF2B5EF4-FFF2-40B4-BE49-F238E27FC236}">
                      <a16:creationId xmlns:a16="http://schemas.microsoft.com/office/drawing/2014/main" id="{5977EF35-70DE-5E3A-FB48-CAC33992389A}"/>
                    </a:ext>
                  </a:extLst>
                </p:cNvPr>
                <p:cNvSpPr txBox="1"/>
                <p:nvPr/>
              </p:nvSpPr>
              <p:spPr>
                <a:xfrm>
                  <a:off x="4857846" y="2938398"/>
                  <a:ext cx="592182"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98/131</a:t>
                  </a:r>
                </a:p>
              </p:txBody>
            </p:sp>
            <p:sp>
              <p:nvSpPr>
                <p:cNvPr id="602" name="TextBox 601">
                  <a:extLst>
                    <a:ext uri="{FF2B5EF4-FFF2-40B4-BE49-F238E27FC236}">
                      <a16:creationId xmlns:a16="http://schemas.microsoft.com/office/drawing/2014/main" id="{E59491C2-7E6F-A43D-FCB8-CAD392B46243}"/>
                    </a:ext>
                  </a:extLst>
                </p:cNvPr>
                <p:cNvSpPr txBox="1"/>
                <p:nvPr/>
              </p:nvSpPr>
              <p:spPr>
                <a:xfrm>
                  <a:off x="4899451" y="3077361"/>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58/88</a:t>
                  </a:r>
                </a:p>
              </p:txBody>
            </p:sp>
            <p:sp>
              <p:nvSpPr>
                <p:cNvPr id="603" name="TextBox 602">
                  <a:extLst>
                    <a:ext uri="{FF2B5EF4-FFF2-40B4-BE49-F238E27FC236}">
                      <a16:creationId xmlns:a16="http://schemas.microsoft.com/office/drawing/2014/main" id="{25A95CD7-EF87-B602-FC8D-5937FCEC0C57}"/>
                    </a:ext>
                  </a:extLst>
                </p:cNvPr>
                <p:cNvSpPr txBox="1"/>
                <p:nvPr/>
              </p:nvSpPr>
              <p:spPr>
                <a:xfrm>
                  <a:off x="4857846" y="3355281"/>
                  <a:ext cx="592182"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87/127</a:t>
                  </a:r>
                </a:p>
              </p:txBody>
            </p:sp>
            <p:sp>
              <p:nvSpPr>
                <p:cNvPr id="604" name="TextBox 603">
                  <a:extLst>
                    <a:ext uri="{FF2B5EF4-FFF2-40B4-BE49-F238E27FC236}">
                      <a16:creationId xmlns:a16="http://schemas.microsoft.com/office/drawing/2014/main" id="{E79B1D93-7C3A-C981-B222-E73F9CC03D5D}"/>
                    </a:ext>
                  </a:extLst>
                </p:cNvPr>
                <p:cNvSpPr txBox="1"/>
                <p:nvPr/>
              </p:nvSpPr>
              <p:spPr>
                <a:xfrm>
                  <a:off x="4899451" y="3494244"/>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69/92</a:t>
                  </a:r>
                </a:p>
              </p:txBody>
            </p:sp>
            <p:sp>
              <p:nvSpPr>
                <p:cNvPr id="605" name="TextBox 604">
                  <a:extLst>
                    <a:ext uri="{FF2B5EF4-FFF2-40B4-BE49-F238E27FC236}">
                      <a16:creationId xmlns:a16="http://schemas.microsoft.com/office/drawing/2014/main" id="{7F18A994-3D94-3C99-04EA-E5D4A2DD960F}"/>
                    </a:ext>
                  </a:extLst>
                </p:cNvPr>
                <p:cNvSpPr txBox="1"/>
                <p:nvPr/>
              </p:nvSpPr>
              <p:spPr>
                <a:xfrm>
                  <a:off x="4899451" y="3772163"/>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39/82</a:t>
                  </a:r>
                </a:p>
              </p:txBody>
            </p:sp>
            <p:sp>
              <p:nvSpPr>
                <p:cNvPr id="606" name="TextBox 605">
                  <a:extLst>
                    <a:ext uri="{FF2B5EF4-FFF2-40B4-BE49-F238E27FC236}">
                      <a16:creationId xmlns:a16="http://schemas.microsoft.com/office/drawing/2014/main" id="{0D980AE7-0505-03B9-8BC5-906505B7F057}"/>
                    </a:ext>
                  </a:extLst>
                </p:cNvPr>
                <p:cNvSpPr txBox="1"/>
                <p:nvPr/>
              </p:nvSpPr>
              <p:spPr>
                <a:xfrm>
                  <a:off x="4899451" y="3911127"/>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24/50</a:t>
                  </a:r>
                </a:p>
              </p:txBody>
            </p:sp>
            <p:sp>
              <p:nvSpPr>
                <p:cNvPr id="607" name="TextBox 606">
                  <a:extLst>
                    <a:ext uri="{FF2B5EF4-FFF2-40B4-BE49-F238E27FC236}">
                      <a16:creationId xmlns:a16="http://schemas.microsoft.com/office/drawing/2014/main" id="{254DF39F-E357-9E63-3D1A-40A11702AA8C}"/>
                    </a:ext>
                  </a:extLst>
                </p:cNvPr>
                <p:cNvSpPr txBox="1"/>
                <p:nvPr/>
              </p:nvSpPr>
              <p:spPr>
                <a:xfrm>
                  <a:off x="4816238" y="4050090"/>
                  <a:ext cx="668063"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17/137</a:t>
                  </a:r>
                </a:p>
              </p:txBody>
            </p:sp>
            <p:sp>
              <p:nvSpPr>
                <p:cNvPr id="608" name="TextBox 607">
                  <a:extLst>
                    <a:ext uri="{FF2B5EF4-FFF2-40B4-BE49-F238E27FC236}">
                      <a16:creationId xmlns:a16="http://schemas.microsoft.com/office/drawing/2014/main" id="{18A71C63-F499-02A7-1366-3ABFD8BDA48C}"/>
                    </a:ext>
                  </a:extLst>
                </p:cNvPr>
                <p:cNvSpPr txBox="1"/>
                <p:nvPr/>
              </p:nvSpPr>
              <p:spPr>
                <a:xfrm>
                  <a:off x="4899451" y="4328010"/>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40/54</a:t>
                  </a:r>
                </a:p>
              </p:txBody>
            </p:sp>
            <p:sp>
              <p:nvSpPr>
                <p:cNvPr id="609" name="TextBox 608">
                  <a:extLst>
                    <a:ext uri="{FF2B5EF4-FFF2-40B4-BE49-F238E27FC236}">
                      <a16:creationId xmlns:a16="http://schemas.microsoft.com/office/drawing/2014/main" id="{531C68C3-816F-F119-F43B-998960D1118F}"/>
                    </a:ext>
                  </a:extLst>
                </p:cNvPr>
                <p:cNvSpPr txBox="1"/>
                <p:nvPr/>
              </p:nvSpPr>
              <p:spPr>
                <a:xfrm>
                  <a:off x="4816238" y="4466973"/>
                  <a:ext cx="668063"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16/165</a:t>
                  </a:r>
                </a:p>
              </p:txBody>
            </p:sp>
            <p:sp>
              <p:nvSpPr>
                <p:cNvPr id="610" name="TextBox 609">
                  <a:extLst>
                    <a:ext uri="{FF2B5EF4-FFF2-40B4-BE49-F238E27FC236}">
                      <a16:creationId xmlns:a16="http://schemas.microsoft.com/office/drawing/2014/main" id="{D3BF2228-9ADF-E8F1-E923-B7A545D6F541}"/>
                    </a:ext>
                  </a:extLst>
                </p:cNvPr>
                <p:cNvSpPr txBox="1"/>
                <p:nvPr/>
              </p:nvSpPr>
              <p:spPr>
                <a:xfrm>
                  <a:off x="4816238" y="4744893"/>
                  <a:ext cx="668063"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11/155</a:t>
                  </a:r>
                </a:p>
              </p:txBody>
            </p:sp>
            <p:sp>
              <p:nvSpPr>
                <p:cNvPr id="611" name="TextBox 610">
                  <a:extLst>
                    <a:ext uri="{FF2B5EF4-FFF2-40B4-BE49-F238E27FC236}">
                      <a16:creationId xmlns:a16="http://schemas.microsoft.com/office/drawing/2014/main" id="{AA851C55-E61E-DEE4-3330-7884DF7D3B45}"/>
                    </a:ext>
                  </a:extLst>
                </p:cNvPr>
                <p:cNvSpPr txBox="1"/>
                <p:nvPr/>
              </p:nvSpPr>
              <p:spPr>
                <a:xfrm>
                  <a:off x="4899451" y="4883857"/>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45/64</a:t>
                  </a:r>
                </a:p>
              </p:txBody>
            </p:sp>
            <p:sp>
              <p:nvSpPr>
                <p:cNvPr id="612" name="TextBox 611">
                  <a:extLst>
                    <a:ext uri="{FF2B5EF4-FFF2-40B4-BE49-F238E27FC236}">
                      <a16:creationId xmlns:a16="http://schemas.microsoft.com/office/drawing/2014/main" id="{CCE0B94D-EEEF-A538-5D42-CBC90B4A3D6A}"/>
                    </a:ext>
                  </a:extLst>
                </p:cNvPr>
                <p:cNvSpPr txBox="1"/>
                <p:nvPr/>
              </p:nvSpPr>
              <p:spPr>
                <a:xfrm>
                  <a:off x="4899451" y="5161777"/>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35/62</a:t>
                  </a:r>
                </a:p>
              </p:txBody>
            </p:sp>
            <p:sp>
              <p:nvSpPr>
                <p:cNvPr id="613" name="TextBox 612">
                  <a:extLst>
                    <a:ext uri="{FF2B5EF4-FFF2-40B4-BE49-F238E27FC236}">
                      <a16:creationId xmlns:a16="http://schemas.microsoft.com/office/drawing/2014/main" id="{D3C8FB22-BC67-EEBD-7F07-D05E9476AA8A}"/>
                    </a:ext>
                  </a:extLst>
                </p:cNvPr>
                <p:cNvSpPr txBox="1"/>
                <p:nvPr/>
              </p:nvSpPr>
              <p:spPr>
                <a:xfrm>
                  <a:off x="4816238" y="5300740"/>
                  <a:ext cx="668063"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21/157</a:t>
                  </a:r>
                </a:p>
              </p:txBody>
            </p:sp>
            <p:sp>
              <p:nvSpPr>
                <p:cNvPr id="614" name="TextBox 613">
                  <a:extLst>
                    <a:ext uri="{FF2B5EF4-FFF2-40B4-BE49-F238E27FC236}">
                      <a16:creationId xmlns:a16="http://schemas.microsoft.com/office/drawing/2014/main" id="{676DB2BA-2069-71CE-8BCE-1E49B940F620}"/>
                    </a:ext>
                  </a:extLst>
                </p:cNvPr>
                <p:cNvSpPr txBox="1"/>
                <p:nvPr/>
              </p:nvSpPr>
              <p:spPr>
                <a:xfrm>
                  <a:off x="4857846" y="5578660"/>
                  <a:ext cx="592182"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77/118</a:t>
                  </a:r>
                </a:p>
              </p:txBody>
            </p:sp>
            <p:sp>
              <p:nvSpPr>
                <p:cNvPr id="615" name="TextBox 614">
                  <a:extLst>
                    <a:ext uri="{FF2B5EF4-FFF2-40B4-BE49-F238E27FC236}">
                      <a16:creationId xmlns:a16="http://schemas.microsoft.com/office/drawing/2014/main" id="{FBD83169-FFBC-61EF-EEBE-4DBC93B0A364}"/>
                    </a:ext>
                  </a:extLst>
                </p:cNvPr>
                <p:cNvSpPr txBox="1"/>
                <p:nvPr/>
              </p:nvSpPr>
              <p:spPr>
                <a:xfrm>
                  <a:off x="4899451" y="5717622"/>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73/90</a:t>
                  </a:r>
                </a:p>
              </p:txBody>
            </p:sp>
            <p:sp>
              <p:nvSpPr>
                <p:cNvPr id="617" name="TextBox 616">
                  <a:extLst>
                    <a:ext uri="{FF2B5EF4-FFF2-40B4-BE49-F238E27FC236}">
                      <a16:creationId xmlns:a16="http://schemas.microsoft.com/office/drawing/2014/main" id="{78D3FD26-DE7E-BECA-605A-D5494C6EC392}"/>
                    </a:ext>
                  </a:extLst>
                </p:cNvPr>
                <p:cNvSpPr txBox="1"/>
                <p:nvPr/>
              </p:nvSpPr>
              <p:spPr>
                <a:xfrm>
                  <a:off x="4899451" y="5856580"/>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8/25</a:t>
                  </a:r>
                </a:p>
              </p:txBody>
            </p:sp>
          </p:grpSp>
          <p:grpSp>
            <p:nvGrpSpPr>
              <p:cNvPr id="618" name="Graphic 5">
                <a:extLst>
                  <a:ext uri="{FF2B5EF4-FFF2-40B4-BE49-F238E27FC236}">
                    <a16:creationId xmlns:a16="http://schemas.microsoft.com/office/drawing/2014/main" id="{761AF9B2-83F1-35DE-BDD5-79C1E4A36F87}"/>
                  </a:ext>
                </a:extLst>
              </p:cNvPr>
              <p:cNvGrpSpPr/>
              <p:nvPr/>
            </p:nvGrpSpPr>
            <p:grpSpPr>
              <a:xfrm>
                <a:off x="4021929" y="2660477"/>
                <a:ext cx="668063" cy="3462458"/>
                <a:chOff x="4021929" y="2660477"/>
                <a:chExt cx="668063" cy="3462458"/>
              </a:xfrm>
              <a:solidFill>
                <a:srgbClr val="000000"/>
              </a:solidFill>
            </p:grpSpPr>
            <p:sp>
              <p:nvSpPr>
                <p:cNvPr id="619" name="TextBox 618">
                  <a:extLst>
                    <a:ext uri="{FF2B5EF4-FFF2-40B4-BE49-F238E27FC236}">
                      <a16:creationId xmlns:a16="http://schemas.microsoft.com/office/drawing/2014/main" id="{C2EF3468-430C-09BC-DA89-C8D99C22F0EC}"/>
                    </a:ext>
                  </a:extLst>
                </p:cNvPr>
                <p:cNvSpPr txBox="1"/>
                <p:nvPr/>
              </p:nvSpPr>
              <p:spPr>
                <a:xfrm>
                  <a:off x="4021929" y="2660477"/>
                  <a:ext cx="668063"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34/219</a:t>
                  </a:r>
                </a:p>
              </p:txBody>
            </p:sp>
            <p:sp>
              <p:nvSpPr>
                <p:cNvPr id="620" name="TextBox 619">
                  <a:extLst>
                    <a:ext uri="{FF2B5EF4-FFF2-40B4-BE49-F238E27FC236}">
                      <a16:creationId xmlns:a16="http://schemas.microsoft.com/office/drawing/2014/main" id="{51098BBF-0205-3CAD-A14D-D14692810B4B}"/>
                    </a:ext>
                  </a:extLst>
                </p:cNvPr>
                <p:cNvSpPr txBox="1"/>
                <p:nvPr/>
              </p:nvSpPr>
              <p:spPr>
                <a:xfrm>
                  <a:off x="4063537" y="2938398"/>
                  <a:ext cx="592182"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90/136</a:t>
                  </a:r>
                </a:p>
              </p:txBody>
            </p:sp>
            <p:sp>
              <p:nvSpPr>
                <p:cNvPr id="621" name="TextBox 620">
                  <a:extLst>
                    <a:ext uri="{FF2B5EF4-FFF2-40B4-BE49-F238E27FC236}">
                      <a16:creationId xmlns:a16="http://schemas.microsoft.com/office/drawing/2014/main" id="{0A801B5A-57AC-6F70-ED5A-F78FF49828F7}"/>
                    </a:ext>
                  </a:extLst>
                </p:cNvPr>
                <p:cNvSpPr txBox="1"/>
                <p:nvPr/>
              </p:nvSpPr>
              <p:spPr>
                <a:xfrm>
                  <a:off x="4105142" y="3077361"/>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44/83</a:t>
                  </a:r>
                </a:p>
              </p:txBody>
            </p:sp>
            <p:sp>
              <p:nvSpPr>
                <p:cNvPr id="622" name="TextBox 621">
                  <a:extLst>
                    <a:ext uri="{FF2B5EF4-FFF2-40B4-BE49-F238E27FC236}">
                      <a16:creationId xmlns:a16="http://schemas.microsoft.com/office/drawing/2014/main" id="{4C6CB832-B5B2-FB35-840C-07F0A2844B5E}"/>
                    </a:ext>
                  </a:extLst>
                </p:cNvPr>
                <p:cNvSpPr txBox="1"/>
                <p:nvPr/>
              </p:nvSpPr>
              <p:spPr>
                <a:xfrm>
                  <a:off x="4063537" y="3355281"/>
                  <a:ext cx="592182"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84/130</a:t>
                  </a:r>
                </a:p>
              </p:txBody>
            </p:sp>
            <p:sp>
              <p:nvSpPr>
                <p:cNvPr id="623" name="TextBox 622">
                  <a:extLst>
                    <a:ext uri="{FF2B5EF4-FFF2-40B4-BE49-F238E27FC236}">
                      <a16:creationId xmlns:a16="http://schemas.microsoft.com/office/drawing/2014/main" id="{D94D24AC-13F9-AB77-E9EB-0EBD82570CD9}"/>
                    </a:ext>
                  </a:extLst>
                </p:cNvPr>
                <p:cNvSpPr txBox="1"/>
                <p:nvPr/>
              </p:nvSpPr>
              <p:spPr>
                <a:xfrm>
                  <a:off x="4105142" y="3494244"/>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50/89</a:t>
                  </a:r>
                </a:p>
              </p:txBody>
            </p:sp>
            <p:sp>
              <p:nvSpPr>
                <p:cNvPr id="642" name="TextBox 641">
                  <a:extLst>
                    <a:ext uri="{FF2B5EF4-FFF2-40B4-BE49-F238E27FC236}">
                      <a16:creationId xmlns:a16="http://schemas.microsoft.com/office/drawing/2014/main" id="{947655FD-1F72-0C15-3856-9B75853FAF6C}"/>
                    </a:ext>
                  </a:extLst>
                </p:cNvPr>
                <p:cNvSpPr txBox="1"/>
                <p:nvPr/>
              </p:nvSpPr>
              <p:spPr>
                <a:xfrm>
                  <a:off x="4105142" y="3772163"/>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36/83</a:t>
                  </a:r>
                </a:p>
              </p:txBody>
            </p:sp>
            <p:sp>
              <p:nvSpPr>
                <p:cNvPr id="643" name="TextBox 642">
                  <a:extLst>
                    <a:ext uri="{FF2B5EF4-FFF2-40B4-BE49-F238E27FC236}">
                      <a16:creationId xmlns:a16="http://schemas.microsoft.com/office/drawing/2014/main" id="{B81CE50D-84B8-AB5B-B21F-6F9D2961C9D0}"/>
                    </a:ext>
                  </a:extLst>
                </p:cNvPr>
                <p:cNvSpPr txBox="1"/>
                <p:nvPr/>
              </p:nvSpPr>
              <p:spPr>
                <a:xfrm>
                  <a:off x="4105142" y="3911127"/>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7/43</a:t>
                  </a:r>
                </a:p>
              </p:txBody>
            </p:sp>
            <p:sp>
              <p:nvSpPr>
                <p:cNvPr id="664" name="TextBox 663">
                  <a:extLst>
                    <a:ext uri="{FF2B5EF4-FFF2-40B4-BE49-F238E27FC236}">
                      <a16:creationId xmlns:a16="http://schemas.microsoft.com/office/drawing/2014/main" id="{D045E309-5D32-020E-D43B-ABBC5A3A1947}"/>
                    </a:ext>
                  </a:extLst>
                </p:cNvPr>
                <p:cNvSpPr txBox="1"/>
                <p:nvPr/>
              </p:nvSpPr>
              <p:spPr>
                <a:xfrm>
                  <a:off x="4063537" y="4050090"/>
                  <a:ext cx="592182"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98/136</a:t>
                  </a:r>
                </a:p>
              </p:txBody>
            </p:sp>
            <p:sp>
              <p:nvSpPr>
                <p:cNvPr id="682" name="TextBox 681">
                  <a:extLst>
                    <a:ext uri="{FF2B5EF4-FFF2-40B4-BE49-F238E27FC236}">
                      <a16:creationId xmlns:a16="http://schemas.microsoft.com/office/drawing/2014/main" id="{CB857626-819E-6CA9-4FF8-59D722360043}"/>
                    </a:ext>
                  </a:extLst>
                </p:cNvPr>
                <p:cNvSpPr txBox="1"/>
                <p:nvPr/>
              </p:nvSpPr>
              <p:spPr>
                <a:xfrm>
                  <a:off x="4105142" y="4328010"/>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33/54</a:t>
                  </a:r>
                </a:p>
              </p:txBody>
            </p:sp>
            <p:sp>
              <p:nvSpPr>
                <p:cNvPr id="683" name="TextBox 682">
                  <a:extLst>
                    <a:ext uri="{FF2B5EF4-FFF2-40B4-BE49-F238E27FC236}">
                      <a16:creationId xmlns:a16="http://schemas.microsoft.com/office/drawing/2014/main" id="{CDE75625-E562-7155-4F08-87F0366022FA}"/>
                    </a:ext>
                  </a:extLst>
                </p:cNvPr>
                <p:cNvSpPr txBox="1"/>
                <p:nvPr/>
              </p:nvSpPr>
              <p:spPr>
                <a:xfrm>
                  <a:off x="4021929" y="4466973"/>
                  <a:ext cx="668063"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01/165</a:t>
                  </a:r>
                </a:p>
              </p:txBody>
            </p:sp>
            <p:sp>
              <p:nvSpPr>
                <p:cNvPr id="714" name="TextBox 713">
                  <a:extLst>
                    <a:ext uri="{FF2B5EF4-FFF2-40B4-BE49-F238E27FC236}">
                      <a16:creationId xmlns:a16="http://schemas.microsoft.com/office/drawing/2014/main" id="{F37DABF7-08BF-B634-1C7D-A8C241715BF7}"/>
                    </a:ext>
                  </a:extLst>
                </p:cNvPr>
                <p:cNvSpPr txBox="1"/>
                <p:nvPr/>
              </p:nvSpPr>
              <p:spPr>
                <a:xfrm>
                  <a:off x="4063537" y="4744893"/>
                  <a:ext cx="592182"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92/143</a:t>
                  </a:r>
                </a:p>
              </p:txBody>
            </p:sp>
            <p:sp>
              <p:nvSpPr>
                <p:cNvPr id="715" name="TextBox 714">
                  <a:extLst>
                    <a:ext uri="{FF2B5EF4-FFF2-40B4-BE49-F238E27FC236}">
                      <a16:creationId xmlns:a16="http://schemas.microsoft.com/office/drawing/2014/main" id="{F9069CAD-E30C-DA17-D220-36E016AB1EAF}"/>
                    </a:ext>
                  </a:extLst>
                </p:cNvPr>
                <p:cNvSpPr txBox="1"/>
                <p:nvPr/>
              </p:nvSpPr>
              <p:spPr>
                <a:xfrm>
                  <a:off x="4105142" y="4883857"/>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42/76</a:t>
                  </a:r>
                </a:p>
              </p:txBody>
            </p:sp>
            <p:sp>
              <p:nvSpPr>
                <p:cNvPr id="734" name="TextBox 733">
                  <a:extLst>
                    <a:ext uri="{FF2B5EF4-FFF2-40B4-BE49-F238E27FC236}">
                      <a16:creationId xmlns:a16="http://schemas.microsoft.com/office/drawing/2014/main" id="{24700CDC-0761-395A-A8BA-7C226FA15A95}"/>
                    </a:ext>
                  </a:extLst>
                </p:cNvPr>
                <p:cNvSpPr txBox="1"/>
                <p:nvPr/>
              </p:nvSpPr>
              <p:spPr>
                <a:xfrm>
                  <a:off x="4105142" y="5161777"/>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24/57</a:t>
                  </a:r>
                </a:p>
              </p:txBody>
            </p:sp>
            <p:sp>
              <p:nvSpPr>
                <p:cNvPr id="735" name="TextBox 734">
                  <a:extLst>
                    <a:ext uri="{FF2B5EF4-FFF2-40B4-BE49-F238E27FC236}">
                      <a16:creationId xmlns:a16="http://schemas.microsoft.com/office/drawing/2014/main" id="{E37C7C52-153E-D3DE-BA51-51E6A8EFBCD9}"/>
                    </a:ext>
                  </a:extLst>
                </p:cNvPr>
                <p:cNvSpPr txBox="1"/>
                <p:nvPr/>
              </p:nvSpPr>
              <p:spPr>
                <a:xfrm>
                  <a:off x="4021929" y="5300740"/>
                  <a:ext cx="668063"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10/162</a:t>
                  </a:r>
                </a:p>
              </p:txBody>
            </p:sp>
            <p:sp>
              <p:nvSpPr>
                <p:cNvPr id="772" name="TextBox 771">
                  <a:extLst>
                    <a:ext uri="{FF2B5EF4-FFF2-40B4-BE49-F238E27FC236}">
                      <a16:creationId xmlns:a16="http://schemas.microsoft.com/office/drawing/2014/main" id="{7AED3D0D-519A-411E-88EF-A1D7E6E6437D}"/>
                    </a:ext>
                  </a:extLst>
                </p:cNvPr>
                <p:cNvSpPr txBox="1"/>
                <p:nvPr/>
              </p:nvSpPr>
              <p:spPr>
                <a:xfrm>
                  <a:off x="4063537" y="5578660"/>
                  <a:ext cx="592182"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84/131</a:t>
                  </a:r>
                </a:p>
              </p:txBody>
            </p:sp>
            <p:sp>
              <p:nvSpPr>
                <p:cNvPr id="798" name="TextBox 797">
                  <a:extLst>
                    <a:ext uri="{FF2B5EF4-FFF2-40B4-BE49-F238E27FC236}">
                      <a16:creationId xmlns:a16="http://schemas.microsoft.com/office/drawing/2014/main" id="{12F9306C-E972-2B57-91FA-936C32348609}"/>
                    </a:ext>
                  </a:extLst>
                </p:cNvPr>
                <p:cNvSpPr txBox="1"/>
                <p:nvPr/>
              </p:nvSpPr>
              <p:spPr>
                <a:xfrm>
                  <a:off x="4105142" y="5717622"/>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39/74</a:t>
                  </a:r>
                </a:p>
              </p:txBody>
            </p:sp>
            <p:sp>
              <p:nvSpPr>
                <p:cNvPr id="799" name="TextBox 798">
                  <a:extLst>
                    <a:ext uri="{FF2B5EF4-FFF2-40B4-BE49-F238E27FC236}">
                      <a16:creationId xmlns:a16="http://schemas.microsoft.com/office/drawing/2014/main" id="{F115E2B5-C808-CA1A-8BDD-88A430A73296}"/>
                    </a:ext>
                  </a:extLst>
                </p:cNvPr>
                <p:cNvSpPr txBox="1"/>
                <p:nvPr/>
              </p:nvSpPr>
              <p:spPr>
                <a:xfrm>
                  <a:off x="4105142" y="5856580"/>
                  <a:ext cx="516300" cy="26635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31" b="0" i="0" u="none" strike="noStrike" kern="1200" cap="none" spc="0" normalizeH="0" baseline="0" noProof="0">
                      <a:ln/>
                      <a:solidFill>
                        <a:srgbClr val="000000"/>
                      </a:solidFill>
                      <a:effectLst/>
                      <a:uLnTx/>
                      <a:uFillTx/>
                      <a:latin typeface="Arial"/>
                      <a:ea typeface="+mn-ea"/>
                      <a:cs typeface="Arial"/>
                      <a:sym typeface="Arial"/>
                      <a:rtl val="0"/>
                    </a:rPr>
                    <a:t>19/29</a:t>
                  </a:r>
                </a:p>
              </p:txBody>
            </p:sp>
          </p:grpSp>
          <p:grpSp>
            <p:nvGrpSpPr>
              <p:cNvPr id="800" name="Graphic 5">
                <a:extLst>
                  <a:ext uri="{FF2B5EF4-FFF2-40B4-BE49-F238E27FC236}">
                    <a16:creationId xmlns:a16="http://schemas.microsoft.com/office/drawing/2014/main" id="{6C8F63AC-5573-C411-581F-0EB7001ABEFE}"/>
                  </a:ext>
                </a:extLst>
              </p:cNvPr>
              <p:cNvGrpSpPr/>
              <p:nvPr/>
            </p:nvGrpSpPr>
            <p:grpSpPr>
              <a:xfrm>
                <a:off x="1687067" y="2627470"/>
                <a:ext cx="2595460" cy="3505730"/>
                <a:chOff x="1687067" y="2627470"/>
                <a:chExt cx="2595460" cy="3505730"/>
              </a:xfrm>
            </p:grpSpPr>
            <p:sp>
              <p:nvSpPr>
                <p:cNvPr id="801" name="Freeform: Shape 800">
                  <a:extLst>
                    <a:ext uri="{FF2B5EF4-FFF2-40B4-BE49-F238E27FC236}">
                      <a16:creationId xmlns:a16="http://schemas.microsoft.com/office/drawing/2014/main" id="{C14B71ED-F4F9-0DB3-3883-08292097BE29}"/>
                    </a:ext>
                  </a:extLst>
                </p:cNvPr>
                <p:cNvSpPr/>
                <p:nvPr/>
              </p:nvSpPr>
              <p:spPr>
                <a:xfrm>
                  <a:off x="1733261" y="2754617"/>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02" name="Freeform: Shape 801">
                  <a:extLst>
                    <a:ext uri="{FF2B5EF4-FFF2-40B4-BE49-F238E27FC236}">
                      <a16:creationId xmlns:a16="http://schemas.microsoft.com/office/drawing/2014/main" id="{2503786D-3E22-882A-2E48-669837CEF80B}"/>
                    </a:ext>
                  </a:extLst>
                </p:cNvPr>
                <p:cNvSpPr/>
                <p:nvPr/>
              </p:nvSpPr>
              <p:spPr>
                <a:xfrm>
                  <a:off x="1733261" y="2893578"/>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03" name="Freeform: Shape 802">
                  <a:extLst>
                    <a:ext uri="{FF2B5EF4-FFF2-40B4-BE49-F238E27FC236}">
                      <a16:creationId xmlns:a16="http://schemas.microsoft.com/office/drawing/2014/main" id="{BAA07E4B-ABE8-B2EC-7890-D28576D0900C}"/>
                    </a:ext>
                  </a:extLst>
                </p:cNvPr>
                <p:cNvSpPr/>
                <p:nvPr/>
              </p:nvSpPr>
              <p:spPr>
                <a:xfrm>
                  <a:off x="1733261" y="3032539"/>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04" name="Freeform: Shape 803">
                  <a:extLst>
                    <a:ext uri="{FF2B5EF4-FFF2-40B4-BE49-F238E27FC236}">
                      <a16:creationId xmlns:a16="http://schemas.microsoft.com/office/drawing/2014/main" id="{9EF391B1-89F0-2896-658B-43F8B0799D4C}"/>
                    </a:ext>
                  </a:extLst>
                </p:cNvPr>
                <p:cNvSpPr/>
                <p:nvPr/>
              </p:nvSpPr>
              <p:spPr>
                <a:xfrm>
                  <a:off x="1733261" y="3171501"/>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05" name="Freeform: Shape 804">
                  <a:extLst>
                    <a:ext uri="{FF2B5EF4-FFF2-40B4-BE49-F238E27FC236}">
                      <a16:creationId xmlns:a16="http://schemas.microsoft.com/office/drawing/2014/main" id="{6A1D614A-7F2D-8575-295A-4139E1C89839}"/>
                    </a:ext>
                  </a:extLst>
                </p:cNvPr>
                <p:cNvSpPr/>
                <p:nvPr/>
              </p:nvSpPr>
              <p:spPr>
                <a:xfrm>
                  <a:off x="1733261" y="3310459"/>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06" name="Freeform: Shape 805">
                  <a:extLst>
                    <a:ext uri="{FF2B5EF4-FFF2-40B4-BE49-F238E27FC236}">
                      <a16:creationId xmlns:a16="http://schemas.microsoft.com/office/drawing/2014/main" id="{A1626AAA-088B-FDC5-E643-E5647DF1CFB8}"/>
                    </a:ext>
                  </a:extLst>
                </p:cNvPr>
                <p:cNvSpPr/>
                <p:nvPr/>
              </p:nvSpPr>
              <p:spPr>
                <a:xfrm>
                  <a:off x="1733261" y="3449421"/>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07" name="Freeform: Shape 806">
                  <a:extLst>
                    <a:ext uri="{FF2B5EF4-FFF2-40B4-BE49-F238E27FC236}">
                      <a16:creationId xmlns:a16="http://schemas.microsoft.com/office/drawing/2014/main" id="{B62C929D-540D-81F0-7DE5-9A4FC3A42185}"/>
                    </a:ext>
                  </a:extLst>
                </p:cNvPr>
                <p:cNvSpPr/>
                <p:nvPr/>
              </p:nvSpPr>
              <p:spPr>
                <a:xfrm>
                  <a:off x="1733261" y="3588384"/>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09" name="Freeform: Shape 808">
                  <a:extLst>
                    <a:ext uri="{FF2B5EF4-FFF2-40B4-BE49-F238E27FC236}">
                      <a16:creationId xmlns:a16="http://schemas.microsoft.com/office/drawing/2014/main" id="{10794EE6-4472-8F6B-E5AC-462FBE5D85B3}"/>
                    </a:ext>
                  </a:extLst>
                </p:cNvPr>
                <p:cNvSpPr/>
                <p:nvPr/>
              </p:nvSpPr>
              <p:spPr>
                <a:xfrm>
                  <a:off x="1733261" y="3727342"/>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12" name="Freeform: Shape 811">
                  <a:extLst>
                    <a:ext uri="{FF2B5EF4-FFF2-40B4-BE49-F238E27FC236}">
                      <a16:creationId xmlns:a16="http://schemas.microsoft.com/office/drawing/2014/main" id="{817EE958-97DC-1784-72AE-D9BE8FF5D8A7}"/>
                    </a:ext>
                  </a:extLst>
                </p:cNvPr>
                <p:cNvSpPr/>
                <p:nvPr/>
              </p:nvSpPr>
              <p:spPr>
                <a:xfrm>
                  <a:off x="1733261" y="3866304"/>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13" name="Freeform: Shape 812">
                  <a:extLst>
                    <a:ext uri="{FF2B5EF4-FFF2-40B4-BE49-F238E27FC236}">
                      <a16:creationId xmlns:a16="http://schemas.microsoft.com/office/drawing/2014/main" id="{0463B308-5462-9CC8-DE4D-47F97071A425}"/>
                    </a:ext>
                  </a:extLst>
                </p:cNvPr>
                <p:cNvSpPr/>
                <p:nvPr/>
              </p:nvSpPr>
              <p:spPr>
                <a:xfrm>
                  <a:off x="1733261" y="4005267"/>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14" name="Freeform: Shape 813">
                  <a:extLst>
                    <a:ext uri="{FF2B5EF4-FFF2-40B4-BE49-F238E27FC236}">
                      <a16:creationId xmlns:a16="http://schemas.microsoft.com/office/drawing/2014/main" id="{164D467A-01CC-2287-4104-5C359515C42A}"/>
                    </a:ext>
                  </a:extLst>
                </p:cNvPr>
                <p:cNvSpPr/>
                <p:nvPr/>
              </p:nvSpPr>
              <p:spPr>
                <a:xfrm>
                  <a:off x="1733261" y="4144230"/>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15" name="Freeform: Shape 814">
                  <a:extLst>
                    <a:ext uri="{FF2B5EF4-FFF2-40B4-BE49-F238E27FC236}">
                      <a16:creationId xmlns:a16="http://schemas.microsoft.com/office/drawing/2014/main" id="{44D96F1E-6339-3716-3DE6-7843DF26EB2A}"/>
                    </a:ext>
                  </a:extLst>
                </p:cNvPr>
                <p:cNvSpPr/>
                <p:nvPr/>
              </p:nvSpPr>
              <p:spPr>
                <a:xfrm>
                  <a:off x="1733261" y="4283187"/>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16" name="Freeform: Shape 815">
                  <a:extLst>
                    <a:ext uri="{FF2B5EF4-FFF2-40B4-BE49-F238E27FC236}">
                      <a16:creationId xmlns:a16="http://schemas.microsoft.com/office/drawing/2014/main" id="{F3906BE7-608A-DC94-B4EB-BBA4710F378F}"/>
                    </a:ext>
                  </a:extLst>
                </p:cNvPr>
                <p:cNvSpPr/>
                <p:nvPr/>
              </p:nvSpPr>
              <p:spPr>
                <a:xfrm>
                  <a:off x="1733261" y="4422150"/>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17" name="Freeform: Shape 816">
                  <a:extLst>
                    <a:ext uri="{FF2B5EF4-FFF2-40B4-BE49-F238E27FC236}">
                      <a16:creationId xmlns:a16="http://schemas.microsoft.com/office/drawing/2014/main" id="{5E1F6566-4C52-66AC-41FE-E10CB404ADD2}"/>
                    </a:ext>
                  </a:extLst>
                </p:cNvPr>
                <p:cNvSpPr/>
                <p:nvPr/>
              </p:nvSpPr>
              <p:spPr>
                <a:xfrm>
                  <a:off x="1733261" y="4561113"/>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18" name="Freeform: Shape 817">
                  <a:extLst>
                    <a:ext uri="{FF2B5EF4-FFF2-40B4-BE49-F238E27FC236}">
                      <a16:creationId xmlns:a16="http://schemas.microsoft.com/office/drawing/2014/main" id="{C8CD3B1A-6DA4-F27E-4BB0-61611E8C9C7E}"/>
                    </a:ext>
                  </a:extLst>
                </p:cNvPr>
                <p:cNvSpPr/>
                <p:nvPr/>
              </p:nvSpPr>
              <p:spPr>
                <a:xfrm>
                  <a:off x="1733261" y="4700070"/>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19" name="Freeform: Shape 818">
                  <a:extLst>
                    <a:ext uri="{FF2B5EF4-FFF2-40B4-BE49-F238E27FC236}">
                      <a16:creationId xmlns:a16="http://schemas.microsoft.com/office/drawing/2014/main" id="{9A3A1CE0-566B-A44A-A087-4C60B9D63F75}"/>
                    </a:ext>
                  </a:extLst>
                </p:cNvPr>
                <p:cNvSpPr/>
                <p:nvPr/>
              </p:nvSpPr>
              <p:spPr>
                <a:xfrm>
                  <a:off x="1733261" y="4839033"/>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20" name="Freeform: Shape 819">
                  <a:extLst>
                    <a:ext uri="{FF2B5EF4-FFF2-40B4-BE49-F238E27FC236}">
                      <a16:creationId xmlns:a16="http://schemas.microsoft.com/office/drawing/2014/main" id="{B396B3D8-FC79-37C2-4E46-FEEFC5011815}"/>
                    </a:ext>
                  </a:extLst>
                </p:cNvPr>
                <p:cNvSpPr/>
                <p:nvPr/>
              </p:nvSpPr>
              <p:spPr>
                <a:xfrm>
                  <a:off x="1733261" y="4977996"/>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21" name="Freeform: Shape 820">
                  <a:extLst>
                    <a:ext uri="{FF2B5EF4-FFF2-40B4-BE49-F238E27FC236}">
                      <a16:creationId xmlns:a16="http://schemas.microsoft.com/office/drawing/2014/main" id="{FD3462FE-C52A-A044-C577-CC969377D8ED}"/>
                    </a:ext>
                  </a:extLst>
                </p:cNvPr>
                <p:cNvSpPr/>
                <p:nvPr/>
              </p:nvSpPr>
              <p:spPr>
                <a:xfrm>
                  <a:off x="1733261" y="5116953"/>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22" name="Freeform: Shape 821">
                  <a:extLst>
                    <a:ext uri="{FF2B5EF4-FFF2-40B4-BE49-F238E27FC236}">
                      <a16:creationId xmlns:a16="http://schemas.microsoft.com/office/drawing/2014/main" id="{4B754D6E-DD25-587C-E047-77D2E84B069E}"/>
                    </a:ext>
                  </a:extLst>
                </p:cNvPr>
                <p:cNvSpPr/>
                <p:nvPr/>
              </p:nvSpPr>
              <p:spPr>
                <a:xfrm>
                  <a:off x="1733261" y="5255916"/>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23" name="Freeform: Shape 822">
                  <a:extLst>
                    <a:ext uri="{FF2B5EF4-FFF2-40B4-BE49-F238E27FC236}">
                      <a16:creationId xmlns:a16="http://schemas.microsoft.com/office/drawing/2014/main" id="{A7F3C84A-1852-0310-FBFD-FB121FA51998}"/>
                    </a:ext>
                  </a:extLst>
                </p:cNvPr>
                <p:cNvSpPr/>
                <p:nvPr/>
              </p:nvSpPr>
              <p:spPr>
                <a:xfrm>
                  <a:off x="1733261" y="5394879"/>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24" name="Freeform: Shape 823">
                  <a:extLst>
                    <a:ext uri="{FF2B5EF4-FFF2-40B4-BE49-F238E27FC236}">
                      <a16:creationId xmlns:a16="http://schemas.microsoft.com/office/drawing/2014/main" id="{4A34B2EA-C13C-6EE6-3FB1-6001DFE8A744}"/>
                    </a:ext>
                  </a:extLst>
                </p:cNvPr>
                <p:cNvSpPr/>
                <p:nvPr/>
              </p:nvSpPr>
              <p:spPr>
                <a:xfrm>
                  <a:off x="1733261" y="5533837"/>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25" name="Freeform: Shape 824">
                  <a:extLst>
                    <a:ext uri="{FF2B5EF4-FFF2-40B4-BE49-F238E27FC236}">
                      <a16:creationId xmlns:a16="http://schemas.microsoft.com/office/drawing/2014/main" id="{834C3E2C-26B4-2CE3-A65A-6883CF0309C4}"/>
                    </a:ext>
                  </a:extLst>
                </p:cNvPr>
                <p:cNvSpPr/>
                <p:nvPr/>
              </p:nvSpPr>
              <p:spPr>
                <a:xfrm>
                  <a:off x="1733261" y="5672799"/>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26" name="Freeform: Shape 825">
                  <a:extLst>
                    <a:ext uri="{FF2B5EF4-FFF2-40B4-BE49-F238E27FC236}">
                      <a16:creationId xmlns:a16="http://schemas.microsoft.com/office/drawing/2014/main" id="{04D93925-E073-EBB7-3420-FBFC82B8B083}"/>
                    </a:ext>
                  </a:extLst>
                </p:cNvPr>
                <p:cNvSpPr/>
                <p:nvPr/>
              </p:nvSpPr>
              <p:spPr>
                <a:xfrm>
                  <a:off x="1733261" y="5811762"/>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27" name="Freeform: Shape 826">
                  <a:extLst>
                    <a:ext uri="{FF2B5EF4-FFF2-40B4-BE49-F238E27FC236}">
                      <a16:creationId xmlns:a16="http://schemas.microsoft.com/office/drawing/2014/main" id="{C38AFA57-6217-98B1-F43F-F0C103EED46F}"/>
                    </a:ext>
                  </a:extLst>
                </p:cNvPr>
                <p:cNvSpPr/>
                <p:nvPr/>
              </p:nvSpPr>
              <p:spPr>
                <a:xfrm>
                  <a:off x="1733261" y="5950720"/>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28" name="TextBox 827">
                  <a:extLst>
                    <a:ext uri="{FF2B5EF4-FFF2-40B4-BE49-F238E27FC236}">
                      <a16:creationId xmlns:a16="http://schemas.microsoft.com/office/drawing/2014/main" id="{5E5ADEE8-EE7E-3F07-00D9-78B84C805F32}"/>
                    </a:ext>
                  </a:extLst>
                </p:cNvPr>
                <p:cNvSpPr txBox="1"/>
                <p:nvPr/>
              </p:nvSpPr>
              <p:spPr>
                <a:xfrm>
                  <a:off x="1687067" y="2627470"/>
                  <a:ext cx="1457234"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solidFill>
                        <a:srgbClr val="000000"/>
                      </a:solidFill>
                      <a:effectLst/>
                      <a:uLnTx/>
                      <a:uFillTx/>
                      <a:latin typeface="Arial"/>
                      <a:ea typeface="+mn-ea"/>
                      <a:cs typeface="Arial"/>
                      <a:sym typeface="Arial"/>
                      <a:rtl val="0"/>
                    </a:rPr>
                    <a:t>Overall population</a:t>
                  </a:r>
                </a:p>
              </p:txBody>
            </p:sp>
            <p:sp>
              <p:nvSpPr>
                <p:cNvPr id="829" name="TextBox 828">
                  <a:extLst>
                    <a:ext uri="{FF2B5EF4-FFF2-40B4-BE49-F238E27FC236}">
                      <a16:creationId xmlns:a16="http://schemas.microsoft.com/office/drawing/2014/main" id="{6DD4E9C9-E518-A5DE-91D9-28F71A359C33}"/>
                    </a:ext>
                  </a:extLst>
                </p:cNvPr>
                <p:cNvSpPr txBox="1"/>
                <p:nvPr/>
              </p:nvSpPr>
              <p:spPr>
                <a:xfrm>
                  <a:off x="1687067" y="2810601"/>
                  <a:ext cx="432829"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solidFill>
                        <a:srgbClr val="000000"/>
                      </a:solidFill>
                      <a:effectLst/>
                      <a:uLnTx/>
                      <a:uFillTx/>
                      <a:latin typeface="Arial"/>
                      <a:ea typeface="+mn-ea"/>
                      <a:cs typeface="Arial"/>
                      <a:sym typeface="Arial"/>
                      <a:rtl val="0"/>
                    </a:rPr>
                    <a:t>Age</a:t>
                  </a:r>
                </a:p>
              </p:txBody>
            </p:sp>
            <p:sp>
              <p:nvSpPr>
                <p:cNvPr id="830" name="TextBox 829">
                  <a:extLst>
                    <a:ext uri="{FF2B5EF4-FFF2-40B4-BE49-F238E27FC236}">
                      <a16:creationId xmlns:a16="http://schemas.microsoft.com/office/drawing/2014/main" id="{F8B7FEFA-6859-54B9-2B7D-5FE90F795C18}"/>
                    </a:ext>
                  </a:extLst>
                </p:cNvPr>
                <p:cNvSpPr txBox="1"/>
                <p:nvPr/>
              </p:nvSpPr>
              <p:spPr>
                <a:xfrm>
                  <a:off x="1687067" y="3227482"/>
                  <a:ext cx="417653"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solidFill>
                        <a:srgbClr val="000000"/>
                      </a:solidFill>
                      <a:effectLst/>
                      <a:uLnTx/>
                      <a:uFillTx/>
                      <a:latin typeface="Arial"/>
                      <a:ea typeface="+mn-ea"/>
                      <a:cs typeface="Arial"/>
                      <a:sym typeface="Arial"/>
                      <a:rtl val="0"/>
                    </a:rPr>
                    <a:t>Sex</a:t>
                  </a:r>
                </a:p>
              </p:txBody>
            </p:sp>
            <p:sp>
              <p:nvSpPr>
                <p:cNvPr id="831" name="TextBox 830">
                  <a:extLst>
                    <a:ext uri="{FF2B5EF4-FFF2-40B4-BE49-F238E27FC236}">
                      <a16:creationId xmlns:a16="http://schemas.microsoft.com/office/drawing/2014/main" id="{01BCE404-FEFA-EBCE-AFD3-DCC3F314497B}"/>
                    </a:ext>
                  </a:extLst>
                </p:cNvPr>
                <p:cNvSpPr txBox="1"/>
                <p:nvPr/>
              </p:nvSpPr>
              <p:spPr>
                <a:xfrm>
                  <a:off x="1687067" y="3644365"/>
                  <a:ext cx="1388940"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solidFill>
                        <a:srgbClr val="000000"/>
                      </a:solidFill>
                      <a:effectLst/>
                      <a:uLnTx/>
                      <a:uFillTx/>
                      <a:latin typeface="Arial"/>
                      <a:ea typeface="+mn-ea"/>
                      <a:cs typeface="Arial"/>
                      <a:sym typeface="Arial"/>
                      <a:rtl val="0"/>
                    </a:rPr>
                    <a:t>Geographic region</a:t>
                  </a:r>
                </a:p>
              </p:txBody>
            </p:sp>
            <p:sp>
              <p:nvSpPr>
                <p:cNvPr id="832" name="TextBox 831">
                  <a:extLst>
                    <a:ext uri="{FF2B5EF4-FFF2-40B4-BE49-F238E27FC236}">
                      <a16:creationId xmlns:a16="http://schemas.microsoft.com/office/drawing/2014/main" id="{FCBC9D6E-11D2-6D79-D860-466FB0BDA359}"/>
                    </a:ext>
                  </a:extLst>
                </p:cNvPr>
                <p:cNvSpPr txBox="1"/>
                <p:nvPr/>
              </p:nvSpPr>
              <p:spPr>
                <a:xfrm>
                  <a:off x="1687067" y="4200211"/>
                  <a:ext cx="2595460"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solidFill>
                        <a:srgbClr val="000000"/>
                      </a:solidFill>
                      <a:effectLst/>
                      <a:uLnTx/>
                      <a:uFillTx/>
                      <a:latin typeface="Arial"/>
                      <a:ea typeface="+mn-ea"/>
                      <a:cs typeface="Arial"/>
                      <a:sym typeface="Arial"/>
                      <a:rtl val="0"/>
                    </a:rPr>
                    <a:t>Brain metastases prior to study entry</a:t>
                  </a:r>
                </a:p>
              </p:txBody>
            </p:sp>
            <p:sp>
              <p:nvSpPr>
                <p:cNvPr id="833" name="TextBox 832">
                  <a:extLst>
                    <a:ext uri="{FF2B5EF4-FFF2-40B4-BE49-F238E27FC236}">
                      <a16:creationId xmlns:a16="http://schemas.microsoft.com/office/drawing/2014/main" id="{8B7CB64F-6965-0406-BBE8-680F36197703}"/>
                    </a:ext>
                  </a:extLst>
                </p:cNvPr>
                <p:cNvSpPr txBox="1"/>
                <p:nvPr/>
              </p:nvSpPr>
              <p:spPr>
                <a:xfrm>
                  <a:off x="1687067" y="4617094"/>
                  <a:ext cx="1244765"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solidFill>
                        <a:srgbClr val="000000"/>
                      </a:solidFill>
                      <a:effectLst/>
                      <a:uLnTx/>
                      <a:uFillTx/>
                      <a:latin typeface="Arial"/>
                      <a:ea typeface="+mn-ea"/>
                      <a:cs typeface="Arial"/>
                      <a:sym typeface="Arial"/>
                      <a:rtl val="0"/>
                    </a:rPr>
                    <a:t>Smoking history</a:t>
                  </a:r>
                </a:p>
              </p:txBody>
            </p:sp>
            <p:sp>
              <p:nvSpPr>
                <p:cNvPr id="834" name="TextBox 833">
                  <a:extLst>
                    <a:ext uri="{FF2B5EF4-FFF2-40B4-BE49-F238E27FC236}">
                      <a16:creationId xmlns:a16="http://schemas.microsoft.com/office/drawing/2014/main" id="{6F700066-BD12-26CC-12D8-D26FBA596348}"/>
                    </a:ext>
                  </a:extLst>
                </p:cNvPr>
                <p:cNvSpPr txBox="1"/>
                <p:nvPr/>
              </p:nvSpPr>
              <p:spPr>
                <a:xfrm>
                  <a:off x="1687067" y="5033976"/>
                  <a:ext cx="2481637"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solidFill>
                        <a:srgbClr val="000000"/>
                      </a:solidFill>
                      <a:effectLst/>
                      <a:uLnTx/>
                      <a:uFillTx/>
                      <a:latin typeface="Arial"/>
                      <a:ea typeface="+mn-ea"/>
                      <a:cs typeface="Arial"/>
                      <a:sym typeface="Arial"/>
                      <a:rtl val="0"/>
                    </a:rPr>
                    <a:t>Baseline ECOG performance status</a:t>
                  </a:r>
                </a:p>
              </p:txBody>
            </p:sp>
            <p:sp>
              <p:nvSpPr>
                <p:cNvPr id="835" name="TextBox 834">
                  <a:extLst>
                    <a:ext uri="{FF2B5EF4-FFF2-40B4-BE49-F238E27FC236}">
                      <a16:creationId xmlns:a16="http://schemas.microsoft.com/office/drawing/2014/main" id="{14ADC344-87B1-023F-3D46-4CE4A8A15468}"/>
                    </a:ext>
                  </a:extLst>
                </p:cNvPr>
                <p:cNvSpPr txBox="1"/>
                <p:nvPr/>
              </p:nvSpPr>
              <p:spPr>
                <a:xfrm>
                  <a:off x="1687067" y="5450860"/>
                  <a:ext cx="1768348"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solidFill>
                        <a:srgbClr val="000000"/>
                      </a:solidFill>
                      <a:effectLst/>
                      <a:uLnTx/>
                      <a:uFillTx/>
                      <a:latin typeface="Arial"/>
                      <a:ea typeface="+mn-ea"/>
                      <a:cs typeface="Arial"/>
                      <a:sym typeface="Arial"/>
                      <a:rtl val="0"/>
                    </a:rPr>
                    <a:t>Baseline EGFR mutation</a:t>
                  </a:r>
                </a:p>
              </p:txBody>
            </p:sp>
            <p:sp>
              <p:nvSpPr>
                <p:cNvPr id="836" name="Freeform: Shape 835">
                  <a:extLst>
                    <a:ext uri="{FF2B5EF4-FFF2-40B4-BE49-F238E27FC236}">
                      <a16:creationId xmlns:a16="http://schemas.microsoft.com/office/drawing/2014/main" id="{6246B43E-FB1E-318A-5406-2CF7CD5513E2}"/>
                    </a:ext>
                  </a:extLst>
                </p:cNvPr>
                <p:cNvSpPr/>
                <p:nvPr/>
              </p:nvSpPr>
              <p:spPr>
                <a:xfrm>
                  <a:off x="1733261" y="2754617"/>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37" name="Freeform: Shape 836">
                  <a:extLst>
                    <a:ext uri="{FF2B5EF4-FFF2-40B4-BE49-F238E27FC236}">
                      <a16:creationId xmlns:a16="http://schemas.microsoft.com/office/drawing/2014/main" id="{0EE4951D-0D8E-81BB-A77B-405799CD2BF0}"/>
                    </a:ext>
                  </a:extLst>
                </p:cNvPr>
                <p:cNvSpPr/>
                <p:nvPr/>
              </p:nvSpPr>
              <p:spPr>
                <a:xfrm>
                  <a:off x="1733261" y="2893578"/>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38" name="Freeform: Shape 837">
                  <a:extLst>
                    <a:ext uri="{FF2B5EF4-FFF2-40B4-BE49-F238E27FC236}">
                      <a16:creationId xmlns:a16="http://schemas.microsoft.com/office/drawing/2014/main" id="{A36FB582-3A66-F345-7167-CB991DBBB662}"/>
                    </a:ext>
                  </a:extLst>
                </p:cNvPr>
                <p:cNvSpPr/>
                <p:nvPr/>
              </p:nvSpPr>
              <p:spPr>
                <a:xfrm>
                  <a:off x="1733261" y="3310459"/>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39" name="Freeform: Shape 838">
                  <a:extLst>
                    <a:ext uri="{FF2B5EF4-FFF2-40B4-BE49-F238E27FC236}">
                      <a16:creationId xmlns:a16="http://schemas.microsoft.com/office/drawing/2014/main" id="{03F2D9C9-5975-40FA-9497-F4D107FA6BDD}"/>
                    </a:ext>
                  </a:extLst>
                </p:cNvPr>
                <p:cNvSpPr/>
                <p:nvPr/>
              </p:nvSpPr>
              <p:spPr>
                <a:xfrm>
                  <a:off x="1733261" y="3727342"/>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40" name="Freeform: Shape 839">
                  <a:extLst>
                    <a:ext uri="{FF2B5EF4-FFF2-40B4-BE49-F238E27FC236}">
                      <a16:creationId xmlns:a16="http://schemas.microsoft.com/office/drawing/2014/main" id="{A2AC8162-3C38-88B2-85AA-3F1A9094B905}"/>
                    </a:ext>
                  </a:extLst>
                </p:cNvPr>
                <p:cNvSpPr/>
                <p:nvPr/>
              </p:nvSpPr>
              <p:spPr>
                <a:xfrm>
                  <a:off x="1733261" y="4283187"/>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41" name="Freeform: Shape 840">
                  <a:extLst>
                    <a:ext uri="{FF2B5EF4-FFF2-40B4-BE49-F238E27FC236}">
                      <a16:creationId xmlns:a16="http://schemas.microsoft.com/office/drawing/2014/main" id="{69F7A8D5-AD2A-C3EF-55C0-B8E4F7F1E9F9}"/>
                    </a:ext>
                  </a:extLst>
                </p:cNvPr>
                <p:cNvSpPr/>
                <p:nvPr/>
              </p:nvSpPr>
              <p:spPr>
                <a:xfrm>
                  <a:off x="1733261" y="4700070"/>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42" name="Freeform: Shape 841">
                  <a:extLst>
                    <a:ext uri="{FF2B5EF4-FFF2-40B4-BE49-F238E27FC236}">
                      <a16:creationId xmlns:a16="http://schemas.microsoft.com/office/drawing/2014/main" id="{EC2A3067-4CD7-C9E7-6F4F-335F34D097B5}"/>
                    </a:ext>
                  </a:extLst>
                </p:cNvPr>
                <p:cNvSpPr/>
                <p:nvPr/>
              </p:nvSpPr>
              <p:spPr>
                <a:xfrm>
                  <a:off x="1733261" y="5116953"/>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43" name="Freeform: Shape 842">
                  <a:extLst>
                    <a:ext uri="{FF2B5EF4-FFF2-40B4-BE49-F238E27FC236}">
                      <a16:creationId xmlns:a16="http://schemas.microsoft.com/office/drawing/2014/main" id="{8AB3A48B-A4DA-52CE-CF0E-7611FD267266}"/>
                    </a:ext>
                  </a:extLst>
                </p:cNvPr>
                <p:cNvSpPr/>
                <p:nvPr/>
              </p:nvSpPr>
              <p:spPr>
                <a:xfrm>
                  <a:off x="1733261" y="5533837"/>
                  <a:ext cx="7564" cy="5262"/>
                </a:xfrm>
                <a:custGeom>
                  <a:avLst/>
                  <a:gdLst>
                    <a:gd name="connsiteX0" fmla="*/ 19 w 7564"/>
                    <a:gd name="connsiteY0" fmla="*/ 77 h 5262"/>
                    <a:gd name="connsiteX1" fmla="*/ 19 w 7564"/>
                    <a:gd name="connsiteY1" fmla="*/ 77 h 5262"/>
                  </a:gdLst>
                  <a:ahLst/>
                  <a:cxnLst>
                    <a:cxn ang="0">
                      <a:pos x="connsiteX0" y="connsiteY0"/>
                    </a:cxn>
                    <a:cxn ang="0">
                      <a:pos x="connsiteX1" y="connsiteY1"/>
                    </a:cxn>
                  </a:cxnLst>
                  <a:rect l="l" t="t" r="r" b="b"/>
                  <a:pathLst>
                    <a:path w="7564" h="5262">
                      <a:moveTo>
                        <a:pt x="19" y="77"/>
                      </a:moveTo>
                      <a:lnTo>
                        <a:pt x="19" y="77"/>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44" name="TextBox 843">
                  <a:extLst>
                    <a:ext uri="{FF2B5EF4-FFF2-40B4-BE49-F238E27FC236}">
                      <a16:creationId xmlns:a16="http://schemas.microsoft.com/office/drawing/2014/main" id="{8ECF9B4D-1583-8EA9-65FA-79484A2D302D}"/>
                    </a:ext>
                  </a:extLst>
                </p:cNvPr>
                <p:cNvSpPr txBox="1"/>
                <p:nvPr/>
              </p:nvSpPr>
              <p:spPr>
                <a:xfrm>
                  <a:off x="1799805" y="2949562"/>
                  <a:ext cx="778850"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lt;65 years</a:t>
                  </a:r>
                </a:p>
              </p:txBody>
            </p:sp>
            <p:sp>
              <p:nvSpPr>
                <p:cNvPr id="845" name="TextBox 844">
                  <a:extLst>
                    <a:ext uri="{FF2B5EF4-FFF2-40B4-BE49-F238E27FC236}">
                      <a16:creationId xmlns:a16="http://schemas.microsoft.com/office/drawing/2014/main" id="{915C1ABD-CAE8-AA85-73A2-79E2FC424D9C}"/>
                    </a:ext>
                  </a:extLst>
                </p:cNvPr>
                <p:cNvSpPr txBox="1"/>
                <p:nvPr/>
              </p:nvSpPr>
              <p:spPr>
                <a:xfrm>
                  <a:off x="1799805" y="3088525"/>
                  <a:ext cx="859286"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gt;=65 years</a:t>
                  </a:r>
                </a:p>
              </p:txBody>
            </p:sp>
            <p:sp>
              <p:nvSpPr>
                <p:cNvPr id="846" name="TextBox 845">
                  <a:extLst>
                    <a:ext uri="{FF2B5EF4-FFF2-40B4-BE49-F238E27FC236}">
                      <a16:creationId xmlns:a16="http://schemas.microsoft.com/office/drawing/2014/main" id="{6D6863AD-F991-7BBF-0B87-BD8BDD7EE9C8}"/>
                    </a:ext>
                  </a:extLst>
                </p:cNvPr>
                <p:cNvSpPr txBox="1"/>
                <p:nvPr/>
              </p:nvSpPr>
              <p:spPr>
                <a:xfrm>
                  <a:off x="1799805" y="3366445"/>
                  <a:ext cx="630122"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Female</a:t>
                  </a:r>
                </a:p>
              </p:txBody>
            </p:sp>
            <p:sp>
              <p:nvSpPr>
                <p:cNvPr id="847" name="TextBox 846">
                  <a:extLst>
                    <a:ext uri="{FF2B5EF4-FFF2-40B4-BE49-F238E27FC236}">
                      <a16:creationId xmlns:a16="http://schemas.microsoft.com/office/drawing/2014/main" id="{F14AE6CA-F6A6-954F-A0C3-3182369052D6}"/>
                    </a:ext>
                  </a:extLst>
                </p:cNvPr>
                <p:cNvSpPr txBox="1"/>
                <p:nvPr/>
              </p:nvSpPr>
              <p:spPr>
                <a:xfrm>
                  <a:off x="1799805" y="3505407"/>
                  <a:ext cx="470771"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Male</a:t>
                  </a:r>
                </a:p>
              </p:txBody>
            </p:sp>
            <p:sp>
              <p:nvSpPr>
                <p:cNvPr id="848" name="TextBox 847">
                  <a:extLst>
                    <a:ext uri="{FF2B5EF4-FFF2-40B4-BE49-F238E27FC236}">
                      <a16:creationId xmlns:a16="http://schemas.microsoft.com/office/drawing/2014/main" id="{3A68533E-E9E1-67C4-5E52-02C3EA2EC3B4}"/>
                    </a:ext>
                  </a:extLst>
                </p:cNvPr>
                <p:cNvSpPr txBox="1"/>
                <p:nvPr/>
              </p:nvSpPr>
              <p:spPr>
                <a:xfrm>
                  <a:off x="1799805" y="3783329"/>
                  <a:ext cx="721180"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NA &amp; EU</a:t>
                  </a:r>
                </a:p>
              </p:txBody>
            </p:sp>
            <p:sp>
              <p:nvSpPr>
                <p:cNvPr id="849" name="TextBox 848">
                  <a:extLst>
                    <a:ext uri="{FF2B5EF4-FFF2-40B4-BE49-F238E27FC236}">
                      <a16:creationId xmlns:a16="http://schemas.microsoft.com/office/drawing/2014/main" id="{9B732772-31EB-3033-445D-826F8823780E}"/>
                    </a:ext>
                  </a:extLst>
                </p:cNvPr>
                <p:cNvSpPr txBox="1"/>
                <p:nvPr/>
              </p:nvSpPr>
              <p:spPr>
                <a:xfrm>
                  <a:off x="1912545" y="3922290"/>
                  <a:ext cx="364537"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NA</a:t>
                  </a:r>
                </a:p>
              </p:txBody>
            </p:sp>
            <p:sp>
              <p:nvSpPr>
                <p:cNvPr id="850" name="TextBox 849">
                  <a:extLst>
                    <a:ext uri="{FF2B5EF4-FFF2-40B4-BE49-F238E27FC236}">
                      <a16:creationId xmlns:a16="http://schemas.microsoft.com/office/drawing/2014/main" id="{3A133B5E-897E-FEDC-B97C-C44ACAB24D83}"/>
                    </a:ext>
                  </a:extLst>
                </p:cNvPr>
                <p:cNvSpPr txBox="1"/>
                <p:nvPr/>
              </p:nvSpPr>
              <p:spPr>
                <a:xfrm>
                  <a:off x="1799805" y="4061253"/>
                  <a:ext cx="440418"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Asia</a:t>
                  </a:r>
                </a:p>
              </p:txBody>
            </p:sp>
            <p:sp>
              <p:nvSpPr>
                <p:cNvPr id="851" name="TextBox 850">
                  <a:extLst>
                    <a:ext uri="{FF2B5EF4-FFF2-40B4-BE49-F238E27FC236}">
                      <a16:creationId xmlns:a16="http://schemas.microsoft.com/office/drawing/2014/main" id="{BB77F497-6499-2DA9-014C-7348363BC9CF}"/>
                    </a:ext>
                  </a:extLst>
                </p:cNvPr>
                <p:cNvSpPr txBox="1"/>
                <p:nvPr/>
              </p:nvSpPr>
              <p:spPr>
                <a:xfrm>
                  <a:off x="1799805" y="4339173"/>
                  <a:ext cx="645299"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Present</a:t>
                  </a:r>
                </a:p>
              </p:txBody>
            </p:sp>
            <p:sp>
              <p:nvSpPr>
                <p:cNvPr id="852" name="TextBox 851">
                  <a:extLst>
                    <a:ext uri="{FF2B5EF4-FFF2-40B4-BE49-F238E27FC236}">
                      <a16:creationId xmlns:a16="http://schemas.microsoft.com/office/drawing/2014/main" id="{CD9788EC-25C5-E2E6-A0E1-918481EB84DF}"/>
                    </a:ext>
                  </a:extLst>
                </p:cNvPr>
                <p:cNvSpPr txBox="1"/>
                <p:nvPr/>
              </p:nvSpPr>
              <p:spPr>
                <a:xfrm>
                  <a:off x="1799805" y="4478136"/>
                  <a:ext cx="599770"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Absent</a:t>
                  </a:r>
                </a:p>
              </p:txBody>
            </p:sp>
            <p:sp>
              <p:nvSpPr>
                <p:cNvPr id="853" name="TextBox 852">
                  <a:extLst>
                    <a:ext uri="{FF2B5EF4-FFF2-40B4-BE49-F238E27FC236}">
                      <a16:creationId xmlns:a16="http://schemas.microsoft.com/office/drawing/2014/main" id="{789DA02A-B38B-04F8-3913-64C6F04334B8}"/>
                    </a:ext>
                  </a:extLst>
                </p:cNvPr>
                <p:cNvSpPr txBox="1"/>
                <p:nvPr/>
              </p:nvSpPr>
              <p:spPr>
                <a:xfrm>
                  <a:off x="1799805" y="4756056"/>
                  <a:ext cx="539064"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Never</a:t>
                  </a:r>
                </a:p>
              </p:txBody>
            </p:sp>
            <p:sp>
              <p:nvSpPr>
                <p:cNvPr id="854" name="TextBox 853">
                  <a:extLst>
                    <a:ext uri="{FF2B5EF4-FFF2-40B4-BE49-F238E27FC236}">
                      <a16:creationId xmlns:a16="http://schemas.microsoft.com/office/drawing/2014/main" id="{C1471C61-38D2-4B15-2552-181F6438BB5B}"/>
                    </a:ext>
                  </a:extLst>
                </p:cNvPr>
                <p:cNvSpPr txBox="1"/>
                <p:nvPr/>
              </p:nvSpPr>
              <p:spPr>
                <a:xfrm>
                  <a:off x="1799805" y="4895019"/>
                  <a:ext cx="1108177"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Former/Current</a:t>
                  </a:r>
                </a:p>
              </p:txBody>
            </p:sp>
            <p:sp>
              <p:nvSpPr>
                <p:cNvPr id="855" name="TextBox 854">
                  <a:extLst>
                    <a:ext uri="{FF2B5EF4-FFF2-40B4-BE49-F238E27FC236}">
                      <a16:creationId xmlns:a16="http://schemas.microsoft.com/office/drawing/2014/main" id="{A9E013BA-3F83-C10B-7746-FFF51ADB40F6}"/>
                    </a:ext>
                  </a:extLst>
                </p:cNvPr>
                <p:cNvSpPr txBox="1"/>
                <p:nvPr/>
              </p:nvSpPr>
              <p:spPr>
                <a:xfrm>
                  <a:off x="1799805" y="5172939"/>
                  <a:ext cx="250713"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856" name="TextBox 855">
                  <a:extLst>
                    <a:ext uri="{FF2B5EF4-FFF2-40B4-BE49-F238E27FC236}">
                      <a16:creationId xmlns:a16="http://schemas.microsoft.com/office/drawing/2014/main" id="{3FC4B838-E474-DCE4-FFE9-A837DB2B2DF4}"/>
                    </a:ext>
                  </a:extLst>
                </p:cNvPr>
                <p:cNvSpPr txBox="1"/>
                <p:nvPr/>
              </p:nvSpPr>
              <p:spPr>
                <a:xfrm>
                  <a:off x="1799805" y="5311902"/>
                  <a:ext cx="250713"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857" name="TextBox 856">
                  <a:extLst>
                    <a:ext uri="{FF2B5EF4-FFF2-40B4-BE49-F238E27FC236}">
                      <a16:creationId xmlns:a16="http://schemas.microsoft.com/office/drawing/2014/main" id="{DE97BC93-86A6-6B4F-28A0-83079599B3DD}"/>
                    </a:ext>
                  </a:extLst>
                </p:cNvPr>
                <p:cNvSpPr txBox="1"/>
                <p:nvPr/>
              </p:nvSpPr>
              <p:spPr>
                <a:xfrm>
                  <a:off x="1799805" y="5589822"/>
                  <a:ext cx="531476"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19Del</a:t>
                  </a:r>
                </a:p>
              </p:txBody>
            </p:sp>
            <p:sp>
              <p:nvSpPr>
                <p:cNvPr id="858" name="TextBox 857">
                  <a:extLst>
                    <a:ext uri="{FF2B5EF4-FFF2-40B4-BE49-F238E27FC236}">
                      <a16:creationId xmlns:a16="http://schemas.microsoft.com/office/drawing/2014/main" id="{925495C9-AA62-F944-0CE9-F6CD635FC3CF}"/>
                    </a:ext>
                  </a:extLst>
                </p:cNvPr>
                <p:cNvSpPr txBox="1"/>
                <p:nvPr/>
              </p:nvSpPr>
              <p:spPr>
                <a:xfrm>
                  <a:off x="1799805" y="5728784"/>
                  <a:ext cx="577005"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L858R</a:t>
                  </a:r>
                </a:p>
              </p:txBody>
            </p:sp>
            <p:sp>
              <p:nvSpPr>
                <p:cNvPr id="859" name="TextBox 858">
                  <a:extLst>
                    <a:ext uri="{FF2B5EF4-FFF2-40B4-BE49-F238E27FC236}">
                      <a16:creationId xmlns:a16="http://schemas.microsoft.com/office/drawing/2014/main" id="{1E0D28B5-349B-3145-A628-912EC876276D}"/>
                    </a:ext>
                  </a:extLst>
                </p:cNvPr>
                <p:cNvSpPr txBox="1"/>
                <p:nvPr/>
              </p:nvSpPr>
              <p:spPr>
                <a:xfrm>
                  <a:off x="1799805" y="5867743"/>
                  <a:ext cx="599770" cy="26545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a:ln/>
                      <a:solidFill>
                        <a:srgbClr val="000000"/>
                      </a:solidFill>
                      <a:effectLst/>
                      <a:uLnTx/>
                      <a:uFillTx/>
                      <a:latin typeface="Arial"/>
                      <a:ea typeface="+mn-ea"/>
                      <a:cs typeface="Arial"/>
                      <a:sym typeface="Arial"/>
                      <a:rtl val="0"/>
                    </a:rPr>
                    <a:t>T790M</a:t>
                  </a:r>
                </a:p>
              </p:txBody>
            </p:sp>
          </p:grpSp>
        </p:grpSp>
        <p:sp>
          <p:nvSpPr>
            <p:cNvPr id="860" name="Freeform: Shape 859">
              <a:extLst>
                <a:ext uri="{FF2B5EF4-FFF2-40B4-BE49-F238E27FC236}">
                  <a16:creationId xmlns:a16="http://schemas.microsoft.com/office/drawing/2014/main" id="{82FDBA71-F4D0-935B-7311-51CFE22A3E90}"/>
                </a:ext>
              </a:extLst>
            </p:cNvPr>
            <p:cNvSpPr/>
            <p:nvPr/>
          </p:nvSpPr>
          <p:spPr>
            <a:xfrm>
              <a:off x="1521660" y="2422148"/>
              <a:ext cx="8714705" cy="5262"/>
            </a:xfrm>
            <a:custGeom>
              <a:avLst/>
              <a:gdLst>
                <a:gd name="connsiteX0" fmla="*/ 0 w 8714705"/>
                <a:gd name="connsiteY0" fmla="*/ 0 h 5262"/>
                <a:gd name="connsiteX1" fmla="*/ 8714705 w 8714705"/>
                <a:gd name="connsiteY1" fmla="*/ 0 h 5262"/>
              </a:gdLst>
              <a:ahLst/>
              <a:cxnLst>
                <a:cxn ang="0">
                  <a:pos x="connsiteX0" y="connsiteY0"/>
                </a:cxn>
                <a:cxn ang="0">
                  <a:pos x="connsiteX1" y="connsiteY1"/>
                </a:cxn>
              </a:cxnLst>
              <a:rect l="l" t="t" r="r" b="b"/>
              <a:pathLst>
                <a:path w="8714705" h="5262">
                  <a:moveTo>
                    <a:pt x="0" y="0"/>
                  </a:moveTo>
                  <a:lnTo>
                    <a:pt x="8714705" y="0"/>
                  </a:lnTo>
                </a:path>
              </a:pathLst>
            </a:custGeom>
            <a:noFill/>
            <a:ln w="7559" cap="flat">
              <a:solidFill>
                <a:srgbClr val="000000"/>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sp>
        <p:nvSpPr>
          <p:cNvPr id="5" name="Title 4">
            <a:extLst>
              <a:ext uri="{FF2B5EF4-FFF2-40B4-BE49-F238E27FC236}">
                <a16:creationId xmlns:a16="http://schemas.microsoft.com/office/drawing/2014/main" id="{912F6F21-45F5-FCB7-1E83-18F02FD9D29E}"/>
              </a:ext>
            </a:extLst>
          </p:cNvPr>
          <p:cNvSpPr>
            <a:spLocks noGrp="1"/>
          </p:cNvSpPr>
          <p:nvPr>
            <p:ph type="title" idx="4294967295"/>
          </p:nvPr>
        </p:nvSpPr>
        <p:spPr>
          <a:xfrm>
            <a:off x="121141" y="550973"/>
            <a:ext cx="10533161" cy="475572"/>
          </a:xfrm>
          <a:prstGeom prst="rect">
            <a:avLst/>
          </a:prstGeom>
        </p:spPr>
        <p:txBody>
          <a:bodyPr lIns="91440" tIns="45720" rIns="91440" bIns="45720" anchor="t"/>
          <a:lstStyle/>
          <a:p>
            <a:r>
              <a:rPr lang="en-US" sz="3200" b="1" dirty="0">
                <a:latin typeface="Roboto" panose="02000000000000000000" pitchFamily="2" charset="0"/>
                <a:ea typeface="Roboto" panose="02000000000000000000" pitchFamily="2" charset="0"/>
                <a:cs typeface="Roboto" panose="02000000000000000000" pitchFamily="2" charset="0"/>
              </a:rPr>
              <a:t>Overall Survival Subgroup Analysis – Longer Term FU </a:t>
            </a:r>
            <a:r>
              <a:rPr lang="en-US" sz="1800" b="1" dirty="0">
                <a:latin typeface="Roboto" panose="02000000000000000000" pitchFamily="2" charset="0"/>
                <a:ea typeface="Roboto" panose="02000000000000000000" pitchFamily="2" charset="0"/>
                <a:cs typeface="Roboto" panose="02000000000000000000" pitchFamily="2" charset="0"/>
              </a:rPr>
              <a:t>Consistent across pre-defined subgroups</a:t>
            </a:r>
            <a:endParaRPr lang="en-US" sz="2800" b="1" dirty="0">
              <a:latin typeface="Roboto" panose="02000000000000000000" pitchFamily="2" charset="0"/>
              <a:ea typeface="Roboto" panose="02000000000000000000" pitchFamily="2" charset="0"/>
              <a:cs typeface="Roboto" panose="02000000000000000000" pitchFamily="2" charset="0"/>
            </a:endParaRPr>
          </a:p>
        </p:txBody>
      </p:sp>
      <p:pic>
        <p:nvPicPr>
          <p:cNvPr id="2" name="Harmoni logo" descr="A black and green rectangle with a black background&#10;&#10;Description automatically generated">
            <a:extLst>
              <a:ext uri="{FF2B5EF4-FFF2-40B4-BE49-F238E27FC236}">
                <a16:creationId xmlns:a16="http://schemas.microsoft.com/office/drawing/2014/main" id="{4784353B-48C0-EB09-606D-D648BEDB77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9332" y="788759"/>
            <a:ext cx="1511528" cy="347253"/>
          </a:xfrm>
          <a:prstGeom prst="rect">
            <a:avLst/>
          </a:prstGeom>
        </p:spPr>
      </p:pic>
      <p:sp>
        <p:nvSpPr>
          <p:cNvPr id="4" name="TextBox 3">
            <a:extLst>
              <a:ext uri="{FF2B5EF4-FFF2-40B4-BE49-F238E27FC236}">
                <a16:creationId xmlns:a16="http://schemas.microsoft.com/office/drawing/2014/main" id="{3D03F428-42D5-3F45-D33E-6BE07E5AEB7A}"/>
              </a:ext>
            </a:extLst>
          </p:cNvPr>
          <p:cNvSpPr txBox="1"/>
          <p:nvPr/>
        </p:nvSpPr>
        <p:spPr>
          <a:xfrm>
            <a:off x="2268200" y="6670299"/>
            <a:ext cx="8812227" cy="207686"/>
          </a:xfrm>
          <a:prstGeom prst="rect">
            <a:avLst/>
          </a:prstGeom>
          <a:noFill/>
        </p:spPr>
        <p:txBody>
          <a:bodyPr wrap="square">
            <a:spAutoFit/>
          </a:bodyPr>
          <a:lstStyle/>
          <a:p>
            <a:pPr marL="0" marR="0" lvl="0" indent="0" algn="r" defTabSz="914377" rtl="0" eaLnBrk="1" fontAlgn="auto" latinLnBrk="0" hangingPunct="1">
              <a:lnSpc>
                <a:spcPct val="115000"/>
              </a:lnSpc>
              <a:spcBef>
                <a:spcPts val="0"/>
              </a:spcBef>
              <a:spcAft>
                <a:spcPts val="800"/>
              </a:spcAft>
              <a:buClrTx/>
              <a:buSzTx/>
              <a:buFontTx/>
              <a:buNone/>
              <a:tabLst/>
              <a:defRPr/>
            </a:pPr>
            <a:r>
              <a:rPr kumimoji="0" lang="en-US" sz="700" b="0" i="0" u="none" strike="noStrike" kern="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ECOG=eastern cooperative oncology group; EGFR=</a:t>
            </a:r>
            <a:r>
              <a:rPr kumimoji="0" lang="en-US" sz="700" b="0" i="0" u="none" strike="noStrike" kern="1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lang="en-US" sz="700" b="0" i="0" u="none" strike="noStrike" kern="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Epidermal growth factor receptor; NA = North America, EU = Europe, PS=performance status; TKI=tyrosine kinase inhibitor.</a:t>
            </a:r>
            <a:endParaRPr kumimoji="0" lang="en-US" sz="700" b="0" i="0" u="none" strike="noStrike" kern="1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808" name="Rectangle 807">
            <a:extLst>
              <a:ext uri="{FF2B5EF4-FFF2-40B4-BE49-F238E27FC236}">
                <a16:creationId xmlns:a16="http://schemas.microsoft.com/office/drawing/2014/main" id="{6B3BB780-D145-AB87-E5C7-8BE58E44C72F}"/>
              </a:ext>
            </a:extLst>
          </p:cNvPr>
          <p:cNvSpPr/>
          <p:nvPr/>
        </p:nvSpPr>
        <p:spPr>
          <a:xfrm>
            <a:off x="1387995" y="1382163"/>
            <a:ext cx="9372788" cy="47557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Ivonescimab      Placebo                                      Favor  Ivonescimab           Favor Placebo         Hazard Ratio</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 chemo          + chemo                                          + chemo                              + chemo                  (95% CI)</a:t>
            </a:r>
          </a:p>
        </p:txBody>
      </p:sp>
      <p:cxnSp>
        <p:nvCxnSpPr>
          <p:cNvPr id="810" name="Straight Arrow Connector 809">
            <a:extLst>
              <a:ext uri="{FF2B5EF4-FFF2-40B4-BE49-F238E27FC236}">
                <a16:creationId xmlns:a16="http://schemas.microsoft.com/office/drawing/2014/main" id="{547F4262-9B53-1F18-4332-5B4E4C555383}"/>
              </a:ext>
            </a:extLst>
          </p:cNvPr>
          <p:cNvCxnSpPr>
            <a:cxnSpLocks/>
          </p:cNvCxnSpPr>
          <p:nvPr/>
        </p:nvCxnSpPr>
        <p:spPr>
          <a:xfrm>
            <a:off x="7742767" y="1712553"/>
            <a:ext cx="537596" cy="0"/>
          </a:xfrm>
          <a:prstGeom prst="straightConnector1">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11" name="TextBox 810">
            <a:extLst>
              <a:ext uri="{FF2B5EF4-FFF2-40B4-BE49-F238E27FC236}">
                <a16:creationId xmlns:a16="http://schemas.microsoft.com/office/drawing/2014/main" id="{724FA0E0-8187-7300-3628-478337F28279}"/>
              </a:ext>
            </a:extLst>
          </p:cNvPr>
          <p:cNvSpPr txBox="1"/>
          <p:nvPr/>
        </p:nvSpPr>
        <p:spPr>
          <a:xfrm>
            <a:off x="4089116" y="1863645"/>
            <a:ext cx="1544012" cy="246221"/>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Events/N)    (Events/N)</a:t>
            </a:r>
          </a:p>
        </p:txBody>
      </p:sp>
      <p:sp>
        <p:nvSpPr>
          <p:cNvPr id="3" name="Right Bracket 2">
            <a:extLst>
              <a:ext uri="{FF2B5EF4-FFF2-40B4-BE49-F238E27FC236}">
                <a16:creationId xmlns:a16="http://schemas.microsoft.com/office/drawing/2014/main" id="{317A18E5-3823-A92E-BB9A-AFC5A3007268}"/>
              </a:ext>
            </a:extLst>
          </p:cNvPr>
          <p:cNvSpPr/>
          <p:nvPr/>
        </p:nvSpPr>
        <p:spPr>
          <a:xfrm>
            <a:off x="8378022" y="5236113"/>
            <a:ext cx="309365" cy="467992"/>
          </a:xfrm>
          <a:prstGeom prst="rightBracket">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5E98C220-98F0-7820-06B0-B7F01A7617F2}"/>
              </a:ext>
            </a:extLst>
          </p:cNvPr>
          <p:cNvSpPr txBox="1"/>
          <p:nvPr/>
        </p:nvSpPr>
        <p:spPr>
          <a:xfrm>
            <a:off x="4363285" y="6406165"/>
            <a:ext cx="3091220" cy="25654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lumMod val="85000"/>
                  </a:srgbClr>
                </a:solidFill>
                <a:effectLst/>
                <a:uLnTx/>
                <a:uFillTx/>
                <a:latin typeface="Calibri"/>
                <a:ea typeface="+mn-ea"/>
                <a:cs typeface="+mn-cs"/>
              </a:rPr>
              <a:t>Goldman, et al. World Conf on Lung Cancer, 2025.</a:t>
            </a:r>
          </a:p>
        </p:txBody>
      </p:sp>
    </p:spTree>
    <p:extLst>
      <p:ext uri="{BB962C8B-B14F-4D97-AF65-F5344CB8AC3E}">
        <p14:creationId xmlns:p14="http://schemas.microsoft.com/office/powerpoint/2010/main" val="10156204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40ABA1-866F-7AE2-B077-94506C0D400C}"/>
            </a:ext>
          </a:extLst>
        </p:cNvPr>
        <p:cNvGrpSpPr/>
        <p:nvPr/>
      </p:nvGrpSpPr>
      <p:grpSpPr>
        <a:xfrm>
          <a:off x="0" y="0"/>
          <a:ext cx="0" cy="0"/>
          <a:chOff x="0" y="0"/>
          <a:chExt cx="0" cy="0"/>
        </a:xfrm>
      </p:grpSpPr>
      <p:grpSp>
        <p:nvGrpSpPr>
          <p:cNvPr id="12" name="Group 4">
            <a:extLst>
              <a:ext uri="{FF2B5EF4-FFF2-40B4-BE49-F238E27FC236}">
                <a16:creationId xmlns:a16="http://schemas.microsoft.com/office/drawing/2014/main" id="{66FF9B03-C338-A409-EFCD-8BE62BBB4E06}"/>
              </a:ext>
            </a:extLst>
          </p:cNvPr>
          <p:cNvGrpSpPr>
            <a:grpSpLocks noChangeAspect="1"/>
          </p:cNvGrpSpPr>
          <p:nvPr/>
        </p:nvGrpSpPr>
        <p:grpSpPr bwMode="auto">
          <a:xfrm>
            <a:off x="4772728" y="1236953"/>
            <a:ext cx="7280275" cy="4932363"/>
            <a:chOff x="3013" y="997"/>
            <a:chExt cx="4586" cy="3107"/>
          </a:xfrm>
        </p:grpSpPr>
        <p:sp>
          <p:nvSpPr>
            <p:cNvPr id="13" name="AutoShape 3">
              <a:extLst>
                <a:ext uri="{FF2B5EF4-FFF2-40B4-BE49-F238E27FC236}">
                  <a16:creationId xmlns:a16="http://schemas.microsoft.com/office/drawing/2014/main" id="{8933AC76-8231-DABC-B99C-A2D008856624}"/>
                </a:ext>
              </a:extLst>
            </p:cNvPr>
            <p:cNvSpPr>
              <a:spLocks noChangeAspect="1" noChangeArrowheads="1" noTextEdit="1"/>
            </p:cNvSpPr>
            <p:nvPr/>
          </p:nvSpPr>
          <p:spPr bwMode="auto">
            <a:xfrm>
              <a:off x="3113" y="997"/>
              <a:ext cx="4479" cy="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4" name="Rectangle 5">
              <a:extLst>
                <a:ext uri="{FF2B5EF4-FFF2-40B4-BE49-F238E27FC236}">
                  <a16:creationId xmlns:a16="http://schemas.microsoft.com/office/drawing/2014/main" id="{FAF69653-55A0-ED94-7086-ADBD00B14B0F}"/>
                </a:ext>
              </a:extLst>
            </p:cNvPr>
            <p:cNvSpPr>
              <a:spLocks noChangeArrowheads="1"/>
            </p:cNvSpPr>
            <p:nvPr/>
          </p:nvSpPr>
          <p:spPr bwMode="auto">
            <a:xfrm>
              <a:off x="3113" y="997"/>
              <a:ext cx="4486" cy="31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5" name="Rectangle 6">
              <a:extLst>
                <a:ext uri="{FF2B5EF4-FFF2-40B4-BE49-F238E27FC236}">
                  <a16:creationId xmlns:a16="http://schemas.microsoft.com/office/drawing/2014/main" id="{69BAB12D-EB31-FFDF-8869-EF1E1D8D1D2B}"/>
                </a:ext>
              </a:extLst>
            </p:cNvPr>
            <p:cNvSpPr>
              <a:spLocks noChangeArrowheads="1"/>
            </p:cNvSpPr>
            <p:nvPr/>
          </p:nvSpPr>
          <p:spPr bwMode="auto">
            <a:xfrm>
              <a:off x="3113" y="997"/>
              <a:ext cx="4486" cy="3107"/>
            </a:xfrm>
            <a:prstGeom prst="rect">
              <a:avLst/>
            </a:prstGeom>
            <a:noFill/>
            <a:ln w="63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6" name="Line 7">
              <a:extLst>
                <a:ext uri="{FF2B5EF4-FFF2-40B4-BE49-F238E27FC236}">
                  <a16:creationId xmlns:a16="http://schemas.microsoft.com/office/drawing/2014/main" id="{B9CCCC54-467B-66C8-C2B7-F1882648F10B}"/>
                </a:ext>
              </a:extLst>
            </p:cNvPr>
            <p:cNvSpPr>
              <a:spLocks noChangeShapeType="1"/>
            </p:cNvSpPr>
            <p:nvPr/>
          </p:nvSpPr>
          <p:spPr bwMode="auto">
            <a:xfrm flipV="1">
              <a:off x="4107" y="1252"/>
              <a:ext cx="0" cy="2582"/>
            </a:xfrm>
            <a:prstGeom prst="line">
              <a:avLst/>
            </a:prstGeom>
            <a:noFill/>
            <a:ln w="6350" cap="flat">
              <a:solidFill>
                <a:srgbClr val="E5E5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7" name="Line 8">
              <a:extLst>
                <a:ext uri="{FF2B5EF4-FFF2-40B4-BE49-F238E27FC236}">
                  <a16:creationId xmlns:a16="http://schemas.microsoft.com/office/drawing/2014/main" id="{FB164C3B-B2CF-5B96-D005-4C42489D8C4A}"/>
                </a:ext>
              </a:extLst>
            </p:cNvPr>
            <p:cNvSpPr>
              <a:spLocks noChangeShapeType="1"/>
            </p:cNvSpPr>
            <p:nvPr/>
          </p:nvSpPr>
          <p:spPr bwMode="auto">
            <a:xfrm flipV="1">
              <a:off x="4710" y="1252"/>
              <a:ext cx="0" cy="2582"/>
            </a:xfrm>
            <a:prstGeom prst="line">
              <a:avLst/>
            </a:prstGeom>
            <a:noFill/>
            <a:ln w="6350" cap="flat">
              <a:solidFill>
                <a:srgbClr val="E5E5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8" name="Line 9">
              <a:extLst>
                <a:ext uri="{FF2B5EF4-FFF2-40B4-BE49-F238E27FC236}">
                  <a16:creationId xmlns:a16="http://schemas.microsoft.com/office/drawing/2014/main" id="{C6538838-391B-11DC-1AE8-93BB57461CDF}"/>
                </a:ext>
              </a:extLst>
            </p:cNvPr>
            <p:cNvSpPr>
              <a:spLocks noChangeShapeType="1"/>
            </p:cNvSpPr>
            <p:nvPr/>
          </p:nvSpPr>
          <p:spPr bwMode="auto">
            <a:xfrm flipV="1">
              <a:off x="5313" y="1252"/>
              <a:ext cx="0" cy="2582"/>
            </a:xfrm>
            <a:prstGeom prst="line">
              <a:avLst/>
            </a:prstGeom>
            <a:noFill/>
            <a:ln w="6350" cap="flat">
              <a:solidFill>
                <a:srgbClr val="E5E5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9" name="Line 10">
              <a:extLst>
                <a:ext uri="{FF2B5EF4-FFF2-40B4-BE49-F238E27FC236}">
                  <a16:creationId xmlns:a16="http://schemas.microsoft.com/office/drawing/2014/main" id="{CA15DA90-B3FD-2F2F-3E61-8717BF6501C2}"/>
                </a:ext>
              </a:extLst>
            </p:cNvPr>
            <p:cNvSpPr>
              <a:spLocks noChangeShapeType="1"/>
            </p:cNvSpPr>
            <p:nvPr/>
          </p:nvSpPr>
          <p:spPr bwMode="auto">
            <a:xfrm flipV="1">
              <a:off x="5916" y="1252"/>
              <a:ext cx="0" cy="2582"/>
            </a:xfrm>
            <a:prstGeom prst="line">
              <a:avLst/>
            </a:prstGeom>
            <a:noFill/>
            <a:ln w="6350" cap="flat">
              <a:solidFill>
                <a:srgbClr val="E5E5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0" name="Line 11">
              <a:extLst>
                <a:ext uri="{FF2B5EF4-FFF2-40B4-BE49-F238E27FC236}">
                  <a16:creationId xmlns:a16="http://schemas.microsoft.com/office/drawing/2014/main" id="{DCE2298E-D19E-1DFD-4CC5-3FB0FC5BDB82}"/>
                </a:ext>
              </a:extLst>
            </p:cNvPr>
            <p:cNvSpPr>
              <a:spLocks noChangeShapeType="1"/>
            </p:cNvSpPr>
            <p:nvPr/>
          </p:nvSpPr>
          <p:spPr bwMode="auto">
            <a:xfrm flipV="1">
              <a:off x="6519" y="1252"/>
              <a:ext cx="0" cy="2582"/>
            </a:xfrm>
            <a:prstGeom prst="line">
              <a:avLst/>
            </a:prstGeom>
            <a:noFill/>
            <a:ln w="6350" cap="flat">
              <a:solidFill>
                <a:srgbClr val="E5E5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1" name="Line 12">
              <a:extLst>
                <a:ext uri="{FF2B5EF4-FFF2-40B4-BE49-F238E27FC236}">
                  <a16:creationId xmlns:a16="http://schemas.microsoft.com/office/drawing/2014/main" id="{E8D7AF63-A87A-2233-EBA4-29851119057D}"/>
                </a:ext>
              </a:extLst>
            </p:cNvPr>
            <p:cNvSpPr>
              <a:spLocks noChangeShapeType="1"/>
            </p:cNvSpPr>
            <p:nvPr/>
          </p:nvSpPr>
          <p:spPr bwMode="auto">
            <a:xfrm flipV="1">
              <a:off x="7122" y="1252"/>
              <a:ext cx="0" cy="2582"/>
            </a:xfrm>
            <a:prstGeom prst="line">
              <a:avLst/>
            </a:prstGeom>
            <a:noFill/>
            <a:ln w="6350" cap="flat">
              <a:solidFill>
                <a:srgbClr val="E5E5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2" name="Rectangle 13">
              <a:extLst>
                <a:ext uri="{FF2B5EF4-FFF2-40B4-BE49-F238E27FC236}">
                  <a16:creationId xmlns:a16="http://schemas.microsoft.com/office/drawing/2014/main" id="{583CB0D1-BA9B-09B5-DD64-08EEF1AD6197}"/>
                </a:ext>
              </a:extLst>
            </p:cNvPr>
            <p:cNvSpPr>
              <a:spLocks noChangeArrowheads="1"/>
            </p:cNvSpPr>
            <p:nvPr/>
          </p:nvSpPr>
          <p:spPr bwMode="auto">
            <a:xfrm>
              <a:off x="4107" y="2470"/>
              <a:ext cx="815" cy="68"/>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3" name="Rectangle 14">
              <a:extLst>
                <a:ext uri="{FF2B5EF4-FFF2-40B4-BE49-F238E27FC236}">
                  <a16:creationId xmlns:a16="http://schemas.microsoft.com/office/drawing/2014/main" id="{23645243-AECB-53A9-8511-216122F3658F}"/>
                </a:ext>
              </a:extLst>
            </p:cNvPr>
            <p:cNvSpPr>
              <a:spLocks noChangeArrowheads="1"/>
            </p:cNvSpPr>
            <p:nvPr/>
          </p:nvSpPr>
          <p:spPr bwMode="auto">
            <a:xfrm>
              <a:off x="4107" y="2276"/>
              <a:ext cx="940" cy="68"/>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4" name="Rectangle 15">
              <a:extLst>
                <a:ext uri="{FF2B5EF4-FFF2-40B4-BE49-F238E27FC236}">
                  <a16:creationId xmlns:a16="http://schemas.microsoft.com/office/drawing/2014/main" id="{217116B0-FA90-903E-CF91-E5F463967806}"/>
                </a:ext>
              </a:extLst>
            </p:cNvPr>
            <p:cNvSpPr>
              <a:spLocks noChangeArrowheads="1"/>
            </p:cNvSpPr>
            <p:nvPr/>
          </p:nvSpPr>
          <p:spPr bwMode="auto">
            <a:xfrm>
              <a:off x="4107" y="1493"/>
              <a:ext cx="1479" cy="68"/>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5" name="Rectangle 16">
              <a:extLst>
                <a:ext uri="{FF2B5EF4-FFF2-40B4-BE49-F238E27FC236}">
                  <a16:creationId xmlns:a16="http://schemas.microsoft.com/office/drawing/2014/main" id="{CDB6D1AB-5AF1-D4A7-4163-058EACCEAA62}"/>
                </a:ext>
              </a:extLst>
            </p:cNvPr>
            <p:cNvSpPr>
              <a:spLocks noChangeArrowheads="1"/>
            </p:cNvSpPr>
            <p:nvPr/>
          </p:nvSpPr>
          <p:spPr bwMode="auto">
            <a:xfrm>
              <a:off x="4107" y="3252"/>
              <a:ext cx="524" cy="69"/>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6" name="Rectangle 17">
              <a:extLst>
                <a:ext uri="{FF2B5EF4-FFF2-40B4-BE49-F238E27FC236}">
                  <a16:creationId xmlns:a16="http://schemas.microsoft.com/office/drawing/2014/main" id="{04B83245-ED62-9CFA-44AD-CA40F24D5A2A}"/>
                </a:ext>
              </a:extLst>
            </p:cNvPr>
            <p:cNvSpPr>
              <a:spLocks noChangeArrowheads="1"/>
            </p:cNvSpPr>
            <p:nvPr/>
          </p:nvSpPr>
          <p:spPr bwMode="auto">
            <a:xfrm>
              <a:off x="4107" y="3446"/>
              <a:ext cx="524" cy="69"/>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7" name="Rectangle 18">
              <a:extLst>
                <a:ext uri="{FF2B5EF4-FFF2-40B4-BE49-F238E27FC236}">
                  <a16:creationId xmlns:a16="http://schemas.microsoft.com/office/drawing/2014/main" id="{CF580043-3EA9-BB0F-2BD3-1A845074C253}"/>
                </a:ext>
              </a:extLst>
            </p:cNvPr>
            <p:cNvSpPr>
              <a:spLocks noChangeArrowheads="1"/>
            </p:cNvSpPr>
            <p:nvPr/>
          </p:nvSpPr>
          <p:spPr bwMode="auto">
            <a:xfrm>
              <a:off x="4107" y="2861"/>
              <a:ext cx="747" cy="68"/>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8" name="Rectangle 19">
              <a:extLst>
                <a:ext uri="{FF2B5EF4-FFF2-40B4-BE49-F238E27FC236}">
                  <a16:creationId xmlns:a16="http://schemas.microsoft.com/office/drawing/2014/main" id="{7EF5F47A-3CEE-98CD-20FC-C45919B821F0}"/>
                </a:ext>
              </a:extLst>
            </p:cNvPr>
            <p:cNvSpPr>
              <a:spLocks noChangeArrowheads="1"/>
            </p:cNvSpPr>
            <p:nvPr/>
          </p:nvSpPr>
          <p:spPr bwMode="auto">
            <a:xfrm>
              <a:off x="4107" y="3644"/>
              <a:ext cx="456" cy="68"/>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9" name="Rectangle 20">
              <a:extLst>
                <a:ext uri="{FF2B5EF4-FFF2-40B4-BE49-F238E27FC236}">
                  <a16:creationId xmlns:a16="http://schemas.microsoft.com/office/drawing/2014/main" id="{8F275C81-190A-0108-E2EA-769A2FB7EEE7}"/>
                </a:ext>
              </a:extLst>
            </p:cNvPr>
            <p:cNvSpPr>
              <a:spLocks noChangeArrowheads="1"/>
            </p:cNvSpPr>
            <p:nvPr/>
          </p:nvSpPr>
          <p:spPr bwMode="auto">
            <a:xfrm>
              <a:off x="4107" y="2667"/>
              <a:ext cx="844" cy="68"/>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0" name="Rectangle 21">
              <a:extLst>
                <a:ext uri="{FF2B5EF4-FFF2-40B4-BE49-F238E27FC236}">
                  <a16:creationId xmlns:a16="http://schemas.microsoft.com/office/drawing/2014/main" id="{98DBB79A-51C0-8187-02C5-55C8203D4AE8}"/>
                </a:ext>
              </a:extLst>
            </p:cNvPr>
            <p:cNvSpPr>
              <a:spLocks noChangeArrowheads="1"/>
            </p:cNvSpPr>
            <p:nvPr/>
          </p:nvSpPr>
          <p:spPr bwMode="auto">
            <a:xfrm>
              <a:off x="4107" y="1884"/>
              <a:ext cx="1285" cy="68"/>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1" name="Rectangle 22">
              <a:extLst>
                <a:ext uri="{FF2B5EF4-FFF2-40B4-BE49-F238E27FC236}">
                  <a16:creationId xmlns:a16="http://schemas.microsoft.com/office/drawing/2014/main" id="{00574EF0-1097-27A6-2E87-BCEF9EA60780}"/>
                </a:ext>
              </a:extLst>
            </p:cNvPr>
            <p:cNvSpPr>
              <a:spLocks noChangeArrowheads="1"/>
            </p:cNvSpPr>
            <p:nvPr/>
          </p:nvSpPr>
          <p:spPr bwMode="auto">
            <a:xfrm>
              <a:off x="4107" y="2078"/>
              <a:ext cx="984" cy="68"/>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2" name="Rectangle 23">
              <a:extLst>
                <a:ext uri="{FF2B5EF4-FFF2-40B4-BE49-F238E27FC236}">
                  <a16:creationId xmlns:a16="http://schemas.microsoft.com/office/drawing/2014/main" id="{D5EC25E4-8E7E-CCF7-6879-D3987062C4D8}"/>
                </a:ext>
              </a:extLst>
            </p:cNvPr>
            <p:cNvSpPr>
              <a:spLocks noChangeArrowheads="1"/>
            </p:cNvSpPr>
            <p:nvPr/>
          </p:nvSpPr>
          <p:spPr bwMode="auto">
            <a:xfrm>
              <a:off x="4107" y="3055"/>
              <a:ext cx="621" cy="68"/>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3" name="Rectangle 24">
              <a:extLst>
                <a:ext uri="{FF2B5EF4-FFF2-40B4-BE49-F238E27FC236}">
                  <a16:creationId xmlns:a16="http://schemas.microsoft.com/office/drawing/2014/main" id="{D640CC94-C346-AD31-C3CB-08DCD9D0C9EF}"/>
                </a:ext>
              </a:extLst>
            </p:cNvPr>
            <p:cNvSpPr>
              <a:spLocks noChangeArrowheads="1"/>
            </p:cNvSpPr>
            <p:nvPr/>
          </p:nvSpPr>
          <p:spPr bwMode="auto">
            <a:xfrm>
              <a:off x="4107" y="1687"/>
              <a:ext cx="1357" cy="71"/>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4" name="Rectangle 25">
              <a:extLst>
                <a:ext uri="{FF2B5EF4-FFF2-40B4-BE49-F238E27FC236}">
                  <a16:creationId xmlns:a16="http://schemas.microsoft.com/office/drawing/2014/main" id="{D9F8C9FB-396F-18C7-9B73-FE871017FBD9}"/>
                </a:ext>
              </a:extLst>
            </p:cNvPr>
            <p:cNvSpPr>
              <a:spLocks noChangeArrowheads="1"/>
            </p:cNvSpPr>
            <p:nvPr/>
          </p:nvSpPr>
          <p:spPr bwMode="auto">
            <a:xfrm>
              <a:off x="4107" y="2549"/>
              <a:ext cx="858" cy="68"/>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5" name="Rectangle 26">
              <a:extLst>
                <a:ext uri="{FF2B5EF4-FFF2-40B4-BE49-F238E27FC236}">
                  <a16:creationId xmlns:a16="http://schemas.microsoft.com/office/drawing/2014/main" id="{3F0A284D-52C7-9491-576F-4774394AF195}"/>
                </a:ext>
              </a:extLst>
            </p:cNvPr>
            <p:cNvSpPr>
              <a:spLocks noChangeArrowheads="1"/>
            </p:cNvSpPr>
            <p:nvPr/>
          </p:nvSpPr>
          <p:spPr bwMode="auto">
            <a:xfrm>
              <a:off x="4107" y="2351"/>
              <a:ext cx="790" cy="72"/>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6" name="Rectangle 27">
              <a:extLst>
                <a:ext uri="{FF2B5EF4-FFF2-40B4-BE49-F238E27FC236}">
                  <a16:creationId xmlns:a16="http://schemas.microsoft.com/office/drawing/2014/main" id="{1345E164-799D-647A-1E44-EEACB6ACF55F}"/>
                </a:ext>
              </a:extLst>
            </p:cNvPr>
            <p:cNvSpPr>
              <a:spLocks noChangeArrowheads="1"/>
            </p:cNvSpPr>
            <p:nvPr/>
          </p:nvSpPr>
          <p:spPr bwMode="auto">
            <a:xfrm>
              <a:off x="4107" y="1572"/>
              <a:ext cx="1701" cy="68"/>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7" name="Rectangle 28">
              <a:extLst>
                <a:ext uri="{FF2B5EF4-FFF2-40B4-BE49-F238E27FC236}">
                  <a16:creationId xmlns:a16="http://schemas.microsoft.com/office/drawing/2014/main" id="{BD97EF38-3725-CFE2-7D0C-6638CAFAA849}"/>
                </a:ext>
              </a:extLst>
            </p:cNvPr>
            <p:cNvSpPr>
              <a:spLocks noChangeArrowheads="1"/>
            </p:cNvSpPr>
            <p:nvPr/>
          </p:nvSpPr>
          <p:spPr bwMode="auto">
            <a:xfrm>
              <a:off x="4107" y="3331"/>
              <a:ext cx="305" cy="69"/>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8" name="Rectangle 29">
              <a:extLst>
                <a:ext uri="{FF2B5EF4-FFF2-40B4-BE49-F238E27FC236}">
                  <a16:creationId xmlns:a16="http://schemas.microsoft.com/office/drawing/2014/main" id="{7AED6280-04E2-4286-CB14-029F6B7FA483}"/>
                </a:ext>
              </a:extLst>
            </p:cNvPr>
            <p:cNvSpPr>
              <a:spLocks noChangeArrowheads="1"/>
            </p:cNvSpPr>
            <p:nvPr/>
          </p:nvSpPr>
          <p:spPr bwMode="auto">
            <a:xfrm>
              <a:off x="4107" y="3525"/>
              <a:ext cx="359" cy="69"/>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9" name="Rectangle 30">
              <a:extLst>
                <a:ext uri="{FF2B5EF4-FFF2-40B4-BE49-F238E27FC236}">
                  <a16:creationId xmlns:a16="http://schemas.microsoft.com/office/drawing/2014/main" id="{6DB2A915-7C53-60D0-0E4B-382185CA78AE}"/>
                </a:ext>
              </a:extLst>
            </p:cNvPr>
            <p:cNvSpPr>
              <a:spLocks noChangeArrowheads="1"/>
            </p:cNvSpPr>
            <p:nvPr/>
          </p:nvSpPr>
          <p:spPr bwMode="auto">
            <a:xfrm>
              <a:off x="4107" y="2940"/>
              <a:ext cx="539" cy="68"/>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0" name="Rectangle 31">
              <a:extLst>
                <a:ext uri="{FF2B5EF4-FFF2-40B4-BE49-F238E27FC236}">
                  <a16:creationId xmlns:a16="http://schemas.microsoft.com/office/drawing/2014/main" id="{603E7046-11E2-D8B5-371E-E6EE404FC3F2}"/>
                </a:ext>
              </a:extLst>
            </p:cNvPr>
            <p:cNvSpPr>
              <a:spLocks noChangeArrowheads="1"/>
            </p:cNvSpPr>
            <p:nvPr/>
          </p:nvSpPr>
          <p:spPr bwMode="auto">
            <a:xfrm>
              <a:off x="4107" y="3719"/>
              <a:ext cx="320" cy="72"/>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1" name="Rectangle 32">
              <a:extLst>
                <a:ext uri="{FF2B5EF4-FFF2-40B4-BE49-F238E27FC236}">
                  <a16:creationId xmlns:a16="http://schemas.microsoft.com/office/drawing/2014/main" id="{BE30B63F-D724-DCCF-B38D-3FD1B4F3DE62}"/>
                </a:ext>
              </a:extLst>
            </p:cNvPr>
            <p:cNvSpPr>
              <a:spLocks noChangeArrowheads="1"/>
            </p:cNvSpPr>
            <p:nvPr/>
          </p:nvSpPr>
          <p:spPr bwMode="auto">
            <a:xfrm>
              <a:off x="4107" y="2742"/>
              <a:ext cx="844" cy="69"/>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2" name="Rectangle 33">
              <a:extLst>
                <a:ext uri="{FF2B5EF4-FFF2-40B4-BE49-F238E27FC236}">
                  <a16:creationId xmlns:a16="http://schemas.microsoft.com/office/drawing/2014/main" id="{36CDBD6A-5D8D-9C26-9B34-411D328C36BC}"/>
                </a:ext>
              </a:extLst>
            </p:cNvPr>
            <p:cNvSpPr>
              <a:spLocks noChangeArrowheads="1"/>
            </p:cNvSpPr>
            <p:nvPr/>
          </p:nvSpPr>
          <p:spPr bwMode="auto">
            <a:xfrm>
              <a:off x="4107" y="1963"/>
              <a:ext cx="1271" cy="68"/>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3" name="Rectangle 34">
              <a:extLst>
                <a:ext uri="{FF2B5EF4-FFF2-40B4-BE49-F238E27FC236}">
                  <a16:creationId xmlns:a16="http://schemas.microsoft.com/office/drawing/2014/main" id="{BFB29E3D-7142-2712-3C39-8BCFA76E7954}"/>
                </a:ext>
              </a:extLst>
            </p:cNvPr>
            <p:cNvSpPr>
              <a:spLocks noChangeArrowheads="1"/>
            </p:cNvSpPr>
            <p:nvPr/>
          </p:nvSpPr>
          <p:spPr bwMode="auto">
            <a:xfrm>
              <a:off x="4107" y="2157"/>
              <a:ext cx="844" cy="68"/>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4" name="Rectangle 35">
              <a:extLst>
                <a:ext uri="{FF2B5EF4-FFF2-40B4-BE49-F238E27FC236}">
                  <a16:creationId xmlns:a16="http://schemas.microsoft.com/office/drawing/2014/main" id="{77CBDD14-C11C-2F53-85CB-871A842D6E36}"/>
                </a:ext>
              </a:extLst>
            </p:cNvPr>
            <p:cNvSpPr>
              <a:spLocks noChangeArrowheads="1"/>
            </p:cNvSpPr>
            <p:nvPr/>
          </p:nvSpPr>
          <p:spPr bwMode="auto">
            <a:xfrm>
              <a:off x="4107" y="3134"/>
              <a:ext cx="567" cy="68"/>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5" name="Rectangle 36">
              <a:extLst>
                <a:ext uri="{FF2B5EF4-FFF2-40B4-BE49-F238E27FC236}">
                  <a16:creationId xmlns:a16="http://schemas.microsoft.com/office/drawing/2014/main" id="{4A8B0BAF-0972-5E63-DDD8-D2EC5BE78D00}"/>
                </a:ext>
              </a:extLst>
            </p:cNvPr>
            <p:cNvSpPr>
              <a:spLocks noChangeArrowheads="1"/>
            </p:cNvSpPr>
            <p:nvPr/>
          </p:nvSpPr>
          <p:spPr bwMode="auto">
            <a:xfrm>
              <a:off x="4107" y="1766"/>
              <a:ext cx="1328" cy="68"/>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6" name="Rectangle 37">
              <a:extLst>
                <a:ext uri="{FF2B5EF4-FFF2-40B4-BE49-F238E27FC236}">
                  <a16:creationId xmlns:a16="http://schemas.microsoft.com/office/drawing/2014/main" id="{34ABD57D-145E-3ED6-8154-CFAB8380DD2B}"/>
                </a:ext>
              </a:extLst>
            </p:cNvPr>
            <p:cNvSpPr>
              <a:spLocks noChangeArrowheads="1"/>
            </p:cNvSpPr>
            <p:nvPr/>
          </p:nvSpPr>
          <p:spPr bwMode="auto">
            <a:xfrm>
              <a:off x="4107" y="1299"/>
              <a:ext cx="2864" cy="68"/>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7" name="Rectangle 38">
              <a:extLst>
                <a:ext uri="{FF2B5EF4-FFF2-40B4-BE49-F238E27FC236}">
                  <a16:creationId xmlns:a16="http://schemas.microsoft.com/office/drawing/2014/main" id="{8C40FFE9-6E41-A19C-0919-BEFE3260CC12}"/>
                </a:ext>
              </a:extLst>
            </p:cNvPr>
            <p:cNvSpPr>
              <a:spLocks noChangeArrowheads="1"/>
            </p:cNvSpPr>
            <p:nvPr/>
          </p:nvSpPr>
          <p:spPr bwMode="auto">
            <a:xfrm>
              <a:off x="4107" y="1374"/>
              <a:ext cx="2807" cy="68"/>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8" name="Rectangle 39">
              <a:extLst>
                <a:ext uri="{FF2B5EF4-FFF2-40B4-BE49-F238E27FC236}">
                  <a16:creationId xmlns:a16="http://schemas.microsoft.com/office/drawing/2014/main" id="{321E24BF-A91A-B038-FA9C-6833EFC007B5}"/>
                </a:ext>
              </a:extLst>
            </p:cNvPr>
            <p:cNvSpPr>
              <a:spLocks noChangeArrowheads="1"/>
            </p:cNvSpPr>
            <p:nvPr/>
          </p:nvSpPr>
          <p:spPr bwMode="auto">
            <a:xfrm>
              <a:off x="4107" y="2470"/>
              <a:ext cx="68" cy="68"/>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9" name="Rectangle 40">
              <a:extLst>
                <a:ext uri="{FF2B5EF4-FFF2-40B4-BE49-F238E27FC236}">
                  <a16:creationId xmlns:a16="http://schemas.microsoft.com/office/drawing/2014/main" id="{CB7D634D-0953-8DA7-9875-8BED04690735}"/>
                </a:ext>
              </a:extLst>
            </p:cNvPr>
            <p:cNvSpPr>
              <a:spLocks noChangeArrowheads="1"/>
            </p:cNvSpPr>
            <p:nvPr/>
          </p:nvSpPr>
          <p:spPr bwMode="auto">
            <a:xfrm>
              <a:off x="4107" y="2276"/>
              <a:ext cx="29" cy="68"/>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0" name="Rectangle 41">
              <a:extLst>
                <a:ext uri="{FF2B5EF4-FFF2-40B4-BE49-F238E27FC236}">
                  <a16:creationId xmlns:a16="http://schemas.microsoft.com/office/drawing/2014/main" id="{9FCC806A-1173-0447-61BB-88AF3FABA3D9}"/>
                </a:ext>
              </a:extLst>
            </p:cNvPr>
            <p:cNvSpPr>
              <a:spLocks noChangeArrowheads="1"/>
            </p:cNvSpPr>
            <p:nvPr/>
          </p:nvSpPr>
          <p:spPr bwMode="auto">
            <a:xfrm>
              <a:off x="4107" y="1493"/>
              <a:ext cx="305" cy="68"/>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1" name="Rectangle 42">
              <a:extLst>
                <a:ext uri="{FF2B5EF4-FFF2-40B4-BE49-F238E27FC236}">
                  <a16:creationId xmlns:a16="http://schemas.microsoft.com/office/drawing/2014/main" id="{C6B5C7FC-CA2A-3292-110E-EB8AE028B9E9}"/>
                </a:ext>
              </a:extLst>
            </p:cNvPr>
            <p:cNvSpPr>
              <a:spLocks noChangeArrowheads="1"/>
            </p:cNvSpPr>
            <p:nvPr/>
          </p:nvSpPr>
          <p:spPr bwMode="auto">
            <a:xfrm>
              <a:off x="4107" y="3252"/>
              <a:ext cx="83" cy="69"/>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2" name="Rectangle 43">
              <a:extLst>
                <a:ext uri="{FF2B5EF4-FFF2-40B4-BE49-F238E27FC236}">
                  <a16:creationId xmlns:a16="http://schemas.microsoft.com/office/drawing/2014/main" id="{E430C9A3-83D5-7AC1-F1B0-2E8B9BBF7C03}"/>
                </a:ext>
              </a:extLst>
            </p:cNvPr>
            <p:cNvSpPr>
              <a:spLocks noChangeArrowheads="1"/>
            </p:cNvSpPr>
            <p:nvPr/>
          </p:nvSpPr>
          <p:spPr bwMode="auto">
            <a:xfrm>
              <a:off x="4107" y="3446"/>
              <a:ext cx="1" cy="69"/>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3" name="Rectangle 44">
              <a:extLst>
                <a:ext uri="{FF2B5EF4-FFF2-40B4-BE49-F238E27FC236}">
                  <a16:creationId xmlns:a16="http://schemas.microsoft.com/office/drawing/2014/main" id="{D1A56DC6-ECC0-9AF5-D180-25505AA647D2}"/>
                </a:ext>
              </a:extLst>
            </p:cNvPr>
            <p:cNvSpPr>
              <a:spLocks noChangeArrowheads="1"/>
            </p:cNvSpPr>
            <p:nvPr/>
          </p:nvSpPr>
          <p:spPr bwMode="auto">
            <a:xfrm>
              <a:off x="4107" y="2861"/>
              <a:ext cx="1" cy="68"/>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4" name="Rectangle 45">
              <a:extLst>
                <a:ext uri="{FF2B5EF4-FFF2-40B4-BE49-F238E27FC236}">
                  <a16:creationId xmlns:a16="http://schemas.microsoft.com/office/drawing/2014/main" id="{0AFAAEDB-6B9C-7C11-2F68-F6765E782F20}"/>
                </a:ext>
              </a:extLst>
            </p:cNvPr>
            <p:cNvSpPr>
              <a:spLocks noChangeArrowheads="1"/>
            </p:cNvSpPr>
            <p:nvPr/>
          </p:nvSpPr>
          <p:spPr bwMode="auto">
            <a:xfrm>
              <a:off x="4107" y="3644"/>
              <a:ext cx="54" cy="68"/>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5" name="Rectangle 46">
              <a:extLst>
                <a:ext uri="{FF2B5EF4-FFF2-40B4-BE49-F238E27FC236}">
                  <a16:creationId xmlns:a16="http://schemas.microsoft.com/office/drawing/2014/main" id="{EB8A1BA2-2A19-051C-C46A-CB8F8DEECB80}"/>
                </a:ext>
              </a:extLst>
            </p:cNvPr>
            <p:cNvSpPr>
              <a:spLocks noChangeArrowheads="1"/>
            </p:cNvSpPr>
            <p:nvPr/>
          </p:nvSpPr>
          <p:spPr bwMode="auto">
            <a:xfrm>
              <a:off x="4107" y="2667"/>
              <a:ext cx="43" cy="68"/>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6" name="Rectangle 47">
              <a:extLst>
                <a:ext uri="{FF2B5EF4-FFF2-40B4-BE49-F238E27FC236}">
                  <a16:creationId xmlns:a16="http://schemas.microsoft.com/office/drawing/2014/main" id="{1578BACB-D020-3D74-3D12-1B66325F8873}"/>
                </a:ext>
              </a:extLst>
            </p:cNvPr>
            <p:cNvSpPr>
              <a:spLocks noChangeArrowheads="1"/>
            </p:cNvSpPr>
            <p:nvPr/>
          </p:nvSpPr>
          <p:spPr bwMode="auto">
            <a:xfrm>
              <a:off x="4107" y="1884"/>
              <a:ext cx="582" cy="68"/>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7" name="Rectangle 48">
              <a:extLst>
                <a:ext uri="{FF2B5EF4-FFF2-40B4-BE49-F238E27FC236}">
                  <a16:creationId xmlns:a16="http://schemas.microsoft.com/office/drawing/2014/main" id="{B0A01341-B5FF-02AD-C165-E189EACDC73E}"/>
                </a:ext>
              </a:extLst>
            </p:cNvPr>
            <p:cNvSpPr>
              <a:spLocks noChangeArrowheads="1"/>
            </p:cNvSpPr>
            <p:nvPr/>
          </p:nvSpPr>
          <p:spPr bwMode="auto">
            <a:xfrm>
              <a:off x="4107" y="2078"/>
              <a:ext cx="373" cy="68"/>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8" name="Rectangle 49">
              <a:extLst>
                <a:ext uri="{FF2B5EF4-FFF2-40B4-BE49-F238E27FC236}">
                  <a16:creationId xmlns:a16="http://schemas.microsoft.com/office/drawing/2014/main" id="{C2791EA6-9586-382A-C9C0-5F005F7D4AD4}"/>
                </a:ext>
              </a:extLst>
            </p:cNvPr>
            <p:cNvSpPr>
              <a:spLocks noChangeArrowheads="1"/>
            </p:cNvSpPr>
            <p:nvPr/>
          </p:nvSpPr>
          <p:spPr bwMode="auto">
            <a:xfrm>
              <a:off x="4107" y="3055"/>
              <a:ext cx="43" cy="68"/>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59" name="Rectangle 50">
              <a:extLst>
                <a:ext uri="{FF2B5EF4-FFF2-40B4-BE49-F238E27FC236}">
                  <a16:creationId xmlns:a16="http://schemas.microsoft.com/office/drawing/2014/main" id="{32469CE4-029C-83FE-4FFD-B15DFE16867A}"/>
                </a:ext>
              </a:extLst>
            </p:cNvPr>
            <p:cNvSpPr>
              <a:spLocks noChangeArrowheads="1"/>
            </p:cNvSpPr>
            <p:nvPr/>
          </p:nvSpPr>
          <p:spPr bwMode="auto">
            <a:xfrm>
              <a:off x="4107" y="1687"/>
              <a:ext cx="388" cy="71"/>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0" name="Rectangle 51">
              <a:extLst>
                <a:ext uri="{FF2B5EF4-FFF2-40B4-BE49-F238E27FC236}">
                  <a16:creationId xmlns:a16="http://schemas.microsoft.com/office/drawing/2014/main" id="{6DA3E8A6-0DE9-CE70-A202-3FEF8860BABF}"/>
                </a:ext>
              </a:extLst>
            </p:cNvPr>
            <p:cNvSpPr>
              <a:spLocks noChangeArrowheads="1"/>
            </p:cNvSpPr>
            <p:nvPr/>
          </p:nvSpPr>
          <p:spPr bwMode="auto">
            <a:xfrm>
              <a:off x="4107" y="2549"/>
              <a:ext cx="83" cy="68"/>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1" name="Rectangle 52">
              <a:extLst>
                <a:ext uri="{FF2B5EF4-FFF2-40B4-BE49-F238E27FC236}">
                  <a16:creationId xmlns:a16="http://schemas.microsoft.com/office/drawing/2014/main" id="{E45DD702-16B0-1EAE-D70B-9F192435FC2B}"/>
                </a:ext>
              </a:extLst>
            </p:cNvPr>
            <p:cNvSpPr>
              <a:spLocks noChangeArrowheads="1"/>
            </p:cNvSpPr>
            <p:nvPr/>
          </p:nvSpPr>
          <p:spPr bwMode="auto">
            <a:xfrm>
              <a:off x="4107" y="2351"/>
              <a:ext cx="29" cy="72"/>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2" name="Rectangle 53">
              <a:extLst>
                <a:ext uri="{FF2B5EF4-FFF2-40B4-BE49-F238E27FC236}">
                  <a16:creationId xmlns:a16="http://schemas.microsoft.com/office/drawing/2014/main" id="{9DD0B642-6B49-ECF2-6177-7ED34F018642}"/>
                </a:ext>
              </a:extLst>
            </p:cNvPr>
            <p:cNvSpPr>
              <a:spLocks noChangeArrowheads="1"/>
            </p:cNvSpPr>
            <p:nvPr/>
          </p:nvSpPr>
          <p:spPr bwMode="auto">
            <a:xfrm>
              <a:off x="4107" y="1572"/>
              <a:ext cx="373" cy="68"/>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3" name="Rectangle 54">
              <a:extLst>
                <a:ext uri="{FF2B5EF4-FFF2-40B4-BE49-F238E27FC236}">
                  <a16:creationId xmlns:a16="http://schemas.microsoft.com/office/drawing/2014/main" id="{F094C327-A39C-B34A-8BB1-5AF3235F849E}"/>
                </a:ext>
              </a:extLst>
            </p:cNvPr>
            <p:cNvSpPr>
              <a:spLocks noChangeArrowheads="1"/>
            </p:cNvSpPr>
            <p:nvPr/>
          </p:nvSpPr>
          <p:spPr bwMode="auto">
            <a:xfrm>
              <a:off x="4107" y="3331"/>
              <a:ext cx="29" cy="69"/>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4" name="Rectangle 55">
              <a:extLst>
                <a:ext uri="{FF2B5EF4-FFF2-40B4-BE49-F238E27FC236}">
                  <a16:creationId xmlns:a16="http://schemas.microsoft.com/office/drawing/2014/main" id="{6BC72070-6D08-25D4-FB2A-529C86767594}"/>
                </a:ext>
              </a:extLst>
            </p:cNvPr>
            <p:cNvSpPr>
              <a:spLocks noChangeArrowheads="1"/>
            </p:cNvSpPr>
            <p:nvPr/>
          </p:nvSpPr>
          <p:spPr bwMode="auto">
            <a:xfrm>
              <a:off x="4107" y="3525"/>
              <a:ext cx="1" cy="69"/>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5" name="Rectangle 56">
              <a:extLst>
                <a:ext uri="{FF2B5EF4-FFF2-40B4-BE49-F238E27FC236}">
                  <a16:creationId xmlns:a16="http://schemas.microsoft.com/office/drawing/2014/main" id="{3E8ACBA3-4B3B-A77D-3BE1-02CE0BC307C3}"/>
                </a:ext>
              </a:extLst>
            </p:cNvPr>
            <p:cNvSpPr>
              <a:spLocks noChangeArrowheads="1"/>
            </p:cNvSpPr>
            <p:nvPr/>
          </p:nvSpPr>
          <p:spPr bwMode="auto">
            <a:xfrm>
              <a:off x="4107" y="2940"/>
              <a:ext cx="15" cy="68"/>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6" name="Rectangle 57">
              <a:extLst>
                <a:ext uri="{FF2B5EF4-FFF2-40B4-BE49-F238E27FC236}">
                  <a16:creationId xmlns:a16="http://schemas.microsoft.com/office/drawing/2014/main" id="{AAA749B9-F869-CB6A-A977-B7D7CD648B7A}"/>
                </a:ext>
              </a:extLst>
            </p:cNvPr>
            <p:cNvSpPr>
              <a:spLocks noChangeArrowheads="1"/>
            </p:cNvSpPr>
            <p:nvPr/>
          </p:nvSpPr>
          <p:spPr bwMode="auto">
            <a:xfrm>
              <a:off x="4107" y="3719"/>
              <a:ext cx="15" cy="72"/>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7" name="Rectangle 58">
              <a:extLst>
                <a:ext uri="{FF2B5EF4-FFF2-40B4-BE49-F238E27FC236}">
                  <a16:creationId xmlns:a16="http://schemas.microsoft.com/office/drawing/2014/main" id="{E4FDFC6C-78A1-8723-AB22-625235E11F35}"/>
                </a:ext>
              </a:extLst>
            </p:cNvPr>
            <p:cNvSpPr>
              <a:spLocks noChangeArrowheads="1"/>
            </p:cNvSpPr>
            <p:nvPr/>
          </p:nvSpPr>
          <p:spPr bwMode="auto">
            <a:xfrm>
              <a:off x="4107" y="2742"/>
              <a:ext cx="1" cy="69"/>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8" name="Rectangle 59">
              <a:extLst>
                <a:ext uri="{FF2B5EF4-FFF2-40B4-BE49-F238E27FC236}">
                  <a16:creationId xmlns:a16="http://schemas.microsoft.com/office/drawing/2014/main" id="{355F317B-F3CF-C61C-2C8D-499C85281531}"/>
                </a:ext>
              </a:extLst>
            </p:cNvPr>
            <p:cNvSpPr>
              <a:spLocks noChangeArrowheads="1"/>
            </p:cNvSpPr>
            <p:nvPr/>
          </p:nvSpPr>
          <p:spPr bwMode="auto">
            <a:xfrm>
              <a:off x="4107" y="1963"/>
              <a:ext cx="499" cy="68"/>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69" name="Rectangle 60">
              <a:extLst>
                <a:ext uri="{FF2B5EF4-FFF2-40B4-BE49-F238E27FC236}">
                  <a16:creationId xmlns:a16="http://schemas.microsoft.com/office/drawing/2014/main" id="{E1388BAC-5392-E1B0-8506-8B23B1697C6A}"/>
                </a:ext>
              </a:extLst>
            </p:cNvPr>
            <p:cNvSpPr>
              <a:spLocks noChangeArrowheads="1"/>
            </p:cNvSpPr>
            <p:nvPr/>
          </p:nvSpPr>
          <p:spPr bwMode="auto">
            <a:xfrm>
              <a:off x="4107" y="2157"/>
              <a:ext cx="194" cy="68"/>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0" name="Rectangle 61">
              <a:extLst>
                <a:ext uri="{FF2B5EF4-FFF2-40B4-BE49-F238E27FC236}">
                  <a16:creationId xmlns:a16="http://schemas.microsoft.com/office/drawing/2014/main" id="{F1698059-8F44-86B1-9F63-9C3843C588C8}"/>
                </a:ext>
              </a:extLst>
            </p:cNvPr>
            <p:cNvSpPr>
              <a:spLocks noChangeArrowheads="1"/>
            </p:cNvSpPr>
            <p:nvPr/>
          </p:nvSpPr>
          <p:spPr bwMode="auto">
            <a:xfrm>
              <a:off x="4107" y="3134"/>
              <a:ext cx="1" cy="68"/>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1" name="Rectangle 62">
              <a:extLst>
                <a:ext uri="{FF2B5EF4-FFF2-40B4-BE49-F238E27FC236}">
                  <a16:creationId xmlns:a16="http://schemas.microsoft.com/office/drawing/2014/main" id="{F313583C-862D-A4C9-10E8-4D8283F19961}"/>
                </a:ext>
              </a:extLst>
            </p:cNvPr>
            <p:cNvSpPr>
              <a:spLocks noChangeArrowheads="1"/>
            </p:cNvSpPr>
            <p:nvPr/>
          </p:nvSpPr>
          <p:spPr bwMode="auto">
            <a:xfrm>
              <a:off x="4107" y="1766"/>
              <a:ext cx="330" cy="68"/>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2" name="Rectangle 63">
              <a:extLst>
                <a:ext uri="{FF2B5EF4-FFF2-40B4-BE49-F238E27FC236}">
                  <a16:creationId xmlns:a16="http://schemas.microsoft.com/office/drawing/2014/main" id="{449A1D5C-6368-0CE8-00CF-A266F54A1555}"/>
                </a:ext>
              </a:extLst>
            </p:cNvPr>
            <p:cNvSpPr>
              <a:spLocks noChangeArrowheads="1"/>
            </p:cNvSpPr>
            <p:nvPr/>
          </p:nvSpPr>
          <p:spPr bwMode="auto">
            <a:xfrm>
              <a:off x="4107" y="1299"/>
              <a:ext cx="1508" cy="68"/>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3" name="Rectangle 64">
              <a:extLst>
                <a:ext uri="{FF2B5EF4-FFF2-40B4-BE49-F238E27FC236}">
                  <a16:creationId xmlns:a16="http://schemas.microsoft.com/office/drawing/2014/main" id="{87482748-785A-5C72-A428-9C07D2BC66D7}"/>
                </a:ext>
              </a:extLst>
            </p:cNvPr>
            <p:cNvSpPr>
              <a:spLocks noChangeArrowheads="1"/>
            </p:cNvSpPr>
            <p:nvPr/>
          </p:nvSpPr>
          <p:spPr bwMode="auto">
            <a:xfrm>
              <a:off x="4107" y="1374"/>
              <a:ext cx="1271" cy="68"/>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4" name="Rectangle 65">
              <a:extLst>
                <a:ext uri="{FF2B5EF4-FFF2-40B4-BE49-F238E27FC236}">
                  <a16:creationId xmlns:a16="http://schemas.microsoft.com/office/drawing/2014/main" id="{1D1A850C-9A33-F207-2B2E-3C3ED5387F5F}"/>
                </a:ext>
              </a:extLst>
            </p:cNvPr>
            <p:cNvSpPr>
              <a:spLocks noChangeArrowheads="1"/>
            </p:cNvSpPr>
            <p:nvPr/>
          </p:nvSpPr>
          <p:spPr bwMode="auto">
            <a:xfrm>
              <a:off x="4204" y="2453"/>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3</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5" name="Rectangle 66">
              <a:extLst>
                <a:ext uri="{FF2B5EF4-FFF2-40B4-BE49-F238E27FC236}">
                  <a16:creationId xmlns:a16="http://schemas.microsoft.com/office/drawing/2014/main" id="{2A676DD6-8274-9F75-B4C6-1A3300358CB3}"/>
                </a:ext>
              </a:extLst>
            </p:cNvPr>
            <p:cNvSpPr>
              <a:spLocks noChangeArrowheads="1"/>
            </p:cNvSpPr>
            <p:nvPr/>
          </p:nvSpPr>
          <p:spPr bwMode="auto">
            <a:xfrm>
              <a:off x="4165" y="2264"/>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9</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6" name="Rectangle 67">
              <a:extLst>
                <a:ext uri="{FF2B5EF4-FFF2-40B4-BE49-F238E27FC236}">
                  <a16:creationId xmlns:a16="http://schemas.microsoft.com/office/drawing/2014/main" id="{7817E35D-263F-D827-A97E-5D5141CD530C}"/>
                </a:ext>
              </a:extLst>
            </p:cNvPr>
            <p:cNvSpPr>
              <a:spLocks noChangeArrowheads="1"/>
            </p:cNvSpPr>
            <p:nvPr/>
          </p:nvSpPr>
          <p:spPr bwMode="auto">
            <a:xfrm>
              <a:off x="4452" y="1476"/>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0.1</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7" name="Rectangle 68">
              <a:extLst>
                <a:ext uri="{FF2B5EF4-FFF2-40B4-BE49-F238E27FC236}">
                  <a16:creationId xmlns:a16="http://schemas.microsoft.com/office/drawing/2014/main" id="{5A3989C7-4972-BBD7-801D-477E99CF3B26}"/>
                </a:ext>
              </a:extLst>
            </p:cNvPr>
            <p:cNvSpPr>
              <a:spLocks noChangeArrowheads="1"/>
            </p:cNvSpPr>
            <p:nvPr/>
          </p:nvSpPr>
          <p:spPr bwMode="auto">
            <a:xfrm>
              <a:off x="4218" y="3236"/>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8</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8" name="Rectangle 69">
              <a:extLst>
                <a:ext uri="{FF2B5EF4-FFF2-40B4-BE49-F238E27FC236}">
                  <a16:creationId xmlns:a16="http://schemas.microsoft.com/office/drawing/2014/main" id="{BB706A02-4135-2694-18D0-8B42F0E3FEC5}"/>
                </a:ext>
              </a:extLst>
            </p:cNvPr>
            <p:cNvSpPr>
              <a:spLocks noChangeArrowheads="1"/>
            </p:cNvSpPr>
            <p:nvPr/>
          </p:nvSpPr>
          <p:spPr bwMode="auto">
            <a:xfrm>
              <a:off x="4190" y="3628"/>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8</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9" name="Rectangle 70">
              <a:extLst>
                <a:ext uri="{FF2B5EF4-FFF2-40B4-BE49-F238E27FC236}">
                  <a16:creationId xmlns:a16="http://schemas.microsoft.com/office/drawing/2014/main" id="{EB64EB49-20A3-CDF9-E240-507FA94E98E1}"/>
                </a:ext>
              </a:extLst>
            </p:cNvPr>
            <p:cNvSpPr>
              <a:spLocks noChangeArrowheads="1"/>
            </p:cNvSpPr>
            <p:nvPr/>
          </p:nvSpPr>
          <p:spPr bwMode="auto">
            <a:xfrm>
              <a:off x="4179" y="2651"/>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4</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0" name="Rectangle 71">
              <a:extLst>
                <a:ext uri="{FF2B5EF4-FFF2-40B4-BE49-F238E27FC236}">
                  <a16:creationId xmlns:a16="http://schemas.microsoft.com/office/drawing/2014/main" id="{B5FE625B-AC67-8EEB-D0EA-EA65A8C57EA3}"/>
                </a:ext>
              </a:extLst>
            </p:cNvPr>
            <p:cNvSpPr>
              <a:spLocks noChangeArrowheads="1"/>
            </p:cNvSpPr>
            <p:nvPr/>
          </p:nvSpPr>
          <p:spPr bwMode="auto">
            <a:xfrm>
              <a:off x="4728" y="1868"/>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9.3</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1" name="Rectangle 72">
              <a:extLst>
                <a:ext uri="{FF2B5EF4-FFF2-40B4-BE49-F238E27FC236}">
                  <a16:creationId xmlns:a16="http://schemas.microsoft.com/office/drawing/2014/main" id="{06E9A612-7DF9-67BF-1900-9CADF9464EC5}"/>
                </a:ext>
              </a:extLst>
            </p:cNvPr>
            <p:cNvSpPr>
              <a:spLocks noChangeArrowheads="1"/>
            </p:cNvSpPr>
            <p:nvPr/>
          </p:nvSpPr>
          <p:spPr bwMode="auto">
            <a:xfrm>
              <a:off x="4520" y="2062"/>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2.4</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2" name="Rectangle 73">
              <a:extLst>
                <a:ext uri="{FF2B5EF4-FFF2-40B4-BE49-F238E27FC236}">
                  <a16:creationId xmlns:a16="http://schemas.microsoft.com/office/drawing/2014/main" id="{9E6FB422-FAD5-D4A6-9D53-618A46105946}"/>
                </a:ext>
              </a:extLst>
            </p:cNvPr>
            <p:cNvSpPr>
              <a:spLocks noChangeArrowheads="1"/>
            </p:cNvSpPr>
            <p:nvPr/>
          </p:nvSpPr>
          <p:spPr bwMode="auto">
            <a:xfrm>
              <a:off x="4179" y="3039"/>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4</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3" name="Rectangle 74">
              <a:extLst>
                <a:ext uri="{FF2B5EF4-FFF2-40B4-BE49-F238E27FC236}">
                  <a16:creationId xmlns:a16="http://schemas.microsoft.com/office/drawing/2014/main" id="{3C18CB64-0B1C-2BD2-25A4-B2DDB10AD064}"/>
                </a:ext>
              </a:extLst>
            </p:cNvPr>
            <p:cNvSpPr>
              <a:spLocks noChangeArrowheads="1"/>
            </p:cNvSpPr>
            <p:nvPr/>
          </p:nvSpPr>
          <p:spPr bwMode="auto">
            <a:xfrm>
              <a:off x="4534" y="1675"/>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2.8</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4" name="Rectangle 75">
              <a:extLst>
                <a:ext uri="{FF2B5EF4-FFF2-40B4-BE49-F238E27FC236}">
                  <a16:creationId xmlns:a16="http://schemas.microsoft.com/office/drawing/2014/main" id="{76F8100C-CA21-ABB0-1882-0F816C5DC060}"/>
                </a:ext>
              </a:extLst>
            </p:cNvPr>
            <p:cNvSpPr>
              <a:spLocks noChangeArrowheads="1"/>
            </p:cNvSpPr>
            <p:nvPr/>
          </p:nvSpPr>
          <p:spPr bwMode="auto">
            <a:xfrm>
              <a:off x="4218" y="2542"/>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8</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5" name="Rectangle 76">
              <a:extLst>
                <a:ext uri="{FF2B5EF4-FFF2-40B4-BE49-F238E27FC236}">
                  <a16:creationId xmlns:a16="http://schemas.microsoft.com/office/drawing/2014/main" id="{CE0E61AD-11AC-F4C5-8A89-EE932A6081E3}"/>
                </a:ext>
              </a:extLst>
            </p:cNvPr>
            <p:cNvSpPr>
              <a:spLocks noChangeArrowheads="1"/>
            </p:cNvSpPr>
            <p:nvPr/>
          </p:nvSpPr>
          <p:spPr bwMode="auto">
            <a:xfrm>
              <a:off x="4165" y="2358"/>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9</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6" name="Rectangle 77">
              <a:extLst>
                <a:ext uri="{FF2B5EF4-FFF2-40B4-BE49-F238E27FC236}">
                  <a16:creationId xmlns:a16="http://schemas.microsoft.com/office/drawing/2014/main" id="{A17D99D9-4F90-4F29-6464-F888E53A72C9}"/>
                </a:ext>
              </a:extLst>
            </p:cNvPr>
            <p:cNvSpPr>
              <a:spLocks noChangeArrowheads="1"/>
            </p:cNvSpPr>
            <p:nvPr/>
          </p:nvSpPr>
          <p:spPr bwMode="auto">
            <a:xfrm>
              <a:off x="4520" y="1555"/>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2.4</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7" name="Rectangle 78">
              <a:extLst>
                <a:ext uri="{FF2B5EF4-FFF2-40B4-BE49-F238E27FC236}">
                  <a16:creationId xmlns:a16="http://schemas.microsoft.com/office/drawing/2014/main" id="{C84EF239-7FF3-3277-D65B-34905BC0E482}"/>
                </a:ext>
              </a:extLst>
            </p:cNvPr>
            <p:cNvSpPr>
              <a:spLocks noChangeArrowheads="1"/>
            </p:cNvSpPr>
            <p:nvPr/>
          </p:nvSpPr>
          <p:spPr bwMode="auto">
            <a:xfrm>
              <a:off x="4165" y="3320"/>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9</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8" name="Rectangle 79">
              <a:extLst>
                <a:ext uri="{FF2B5EF4-FFF2-40B4-BE49-F238E27FC236}">
                  <a16:creationId xmlns:a16="http://schemas.microsoft.com/office/drawing/2014/main" id="{A1ED130F-89FC-E013-5119-B4F6D0D4344A}"/>
                </a:ext>
              </a:extLst>
            </p:cNvPr>
            <p:cNvSpPr>
              <a:spLocks noChangeArrowheads="1"/>
            </p:cNvSpPr>
            <p:nvPr/>
          </p:nvSpPr>
          <p:spPr bwMode="auto">
            <a:xfrm>
              <a:off x="4150" y="2919"/>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5</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9" name="Rectangle 80">
              <a:extLst>
                <a:ext uri="{FF2B5EF4-FFF2-40B4-BE49-F238E27FC236}">
                  <a16:creationId xmlns:a16="http://schemas.microsoft.com/office/drawing/2014/main" id="{5E301D07-64DF-A851-8AA6-FF049CB315B3}"/>
                </a:ext>
              </a:extLst>
            </p:cNvPr>
            <p:cNvSpPr>
              <a:spLocks noChangeArrowheads="1"/>
            </p:cNvSpPr>
            <p:nvPr/>
          </p:nvSpPr>
          <p:spPr bwMode="auto">
            <a:xfrm>
              <a:off x="4150" y="3708"/>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5</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Rectangle 81">
              <a:extLst>
                <a:ext uri="{FF2B5EF4-FFF2-40B4-BE49-F238E27FC236}">
                  <a16:creationId xmlns:a16="http://schemas.microsoft.com/office/drawing/2014/main" id="{A9F7B3B2-F563-1FBD-0B92-28665AFB0200}"/>
                </a:ext>
              </a:extLst>
            </p:cNvPr>
            <p:cNvSpPr>
              <a:spLocks noChangeArrowheads="1"/>
            </p:cNvSpPr>
            <p:nvPr/>
          </p:nvSpPr>
          <p:spPr bwMode="auto">
            <a:xfrm>
              <a:off x="4646" y="1947"/>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6.5</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Rectangle 82">
              <a:extLst>
                <a:ext uri="{FF2B5EF4-FFF2-40B4-BE49-F238E27FC236}">
                  <a16:creationId xmlns:a16="http://schemas.microsoft.com/office/drawing/2014/main" id="{6FAA37DA-B357-5D41-C59A-472BD9225CB2}"/>
                </a:ext>
              </a:extLst>
            </p:cNvPr>
            <p:cNvSpPr>
              <a:spLocks noChangeArrowheads="1"/>
            </p:cNvSpPr>
            <p:nvPr/>
          </p:nvSpPr>
          <p:spPr bwMode="auto">
            <a:xfrm>
              <a:off x="4330" y="2141"/>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6.4</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Rectangle 83">
              <a:extLst>
                <a:ext uri="{FF2B5EF4-FFF2-40B4-BE49-F238E27FC236}">
                  <a16:creationId xmlns:a16="http://schemas.microsoft.com/office/drawing/2014/main" id="{AC4B4014-94EC-BA5B-7691-13673556594E}"/>
                </a:ext>
              </a:extLst>
            </p:cNvPr>
            <p:cNvSpPr>
              <a:spLocks noChangeArrowheads="1"/>
            </p:cNvSpPr>
            <p:nvPr/>
          </p:nvSpPr>
          <p:spPr bwMode="auto">
            <a:xfrm>
              <a:off x="4480" y="1754"/>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1.0</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Rectangle 84">
              <a:extLst>
                <a:ext uri="{FF2B5EF4-FFF2-40B4-BE49-F238E27FC236}">
                  <a16:creationId xmlns:a16="http://schemas.microsoft.com/office/drawing/2014/main" id="{B840BAEB-5124-34D9-827D-EBE005F4CC53}"/>
                </a:ext>
              </a:extLst>
            </p:cNvPr>
            <p:cNvSpPr>
              <a:spLocks noChangeArrowheads="1"/>
            </p:cNvSpPr>
            <p:nvPr/>
          </p:nvSpPr>
          <p:spPr bwMode="auto">
            <a:xfrm>
              <a:off x="5654" y="1282"/>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50.0</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Rectangle 85">
              <a:extLst>
                <a:ext uri="{FF2B5EF4-FFF2-40B4-BE49-F238E27FC236}">
                  <a16:creationId xmlns:a16="http://schemas.microsoft.com/office/drawing/2014/main" id="{D41A6DC9-3B8A-0EA6-A736-6CDD8E5ED351}"/>
                </a:ext>
              </a:extLst>
            </p:cNvPr>
            <p:cNvSpPr>
              <a:spLocks noChangeArrowheads="1"/>
            </p:cNvSpPr>
            <p:nvPr/>
          </p:nvSpPr>
          <p:spPr bwMode="auto">
            <a:xfrm>
              <a:off x="5421" y="1358"/>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42.2</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Rectangle 86">
              <a:extLst>
                <a:ext uri="{FF2B5EF4-FFF2-40B4-BE49-F238E27FC236}">
                  <a16:creationId xmlns:a16="http://schemas.microsoft.com/office/drawing/2014/main" id="{A33DD344-5ADB-F030-8470-4D949B41BAF4}"/>
                </a:ext>
              </a:extLst>
            </p:cNvPr>
            <p:cNvSpPr>
              <a:spLocks noChangeArrowheads="1"/>
            </p:cNvSpPr>
            <p:nvPr/>
          </p:nvSpPr>
          <p:spPr bwMode="auto">
            <a:xfrm>
              <a:off x="4965" y="2448"/>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7.1</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Rectangle 87">
              <a:extLst>
                <a:ext uri="{FF2B5EF4-FFF2-40B4-BE49-F238E27FC236}">
                  <a16:creationId xmlns:a16="http://schemas.microsoft.com/office/drawing/2014/main" id="{4C785673-B883-B68B-C1CB-A75CAD40372D}"/>
                </a:ext>
              </a:extLst>
            </p:cNvPr>
            <p:cNvSpPr>
              <a:spLocks noChangeArrowheads="1"/>
            </p:cNvSpPr>
            <p:nvPr/>
          </p:nvSpPr>
          <p:spPr bwMode="auto">
            <a:xfrm>
              <a:off x="5087" y="2264"/>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31.2</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Rectangle 88">
              <a:extLst>
                <a:ext uri="{FF2B5EF4-FFF2-40B4-BE49-F238E27FC236}">
                  <a16:creationId xmlns:a16="http://schemas.microsoft.com/office/drawing/2014/main" id="{B4BDF7B8-4E5E-9401-FB6C-BAB2D336295E}"/>
                </a:ext>
              </a:extLst>
            </p:cNvPr>
            <p:cNvSpPr>
              <a:spLocks noChangeArrowheads="1"/>
            </p:cNvSpPr>
            <p:nvPr/>
          </p:nvSpPr>
          <p:spPr bwMode="auto">
            <a:xfrm>
              <a:off x="5629" y="1476"/>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49.1</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Rectangle 89">
              <a:extLst>
                <a:ext uri="{FF2B5EF4-FFF2-40B4-BE49-F238E27FC236}">
                  <a16:creationId xmlns:a16="http://schemas.microsoft.com/office/drawing/2014/main" id="{46BF91F4-F2B7-4575-09EC-95A8DD89B908}"/>
                </a:ext>
              </a:extLst>
            </p:cNvPr>
            <p:cNvSpPr>
              <a:spLocks noChangeArrowheads="1"/>
            </p:cNvSpPr>
            <p:nvPr/>
          </p:nvSpPr>
          <p:spPr bwMode="auto">
            <a:xfrm>
              <a:off x="4674" y="3236"/>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17.4</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Rectangle 90">
              <a:extLst>
                <a:ext uri="{FF2B5EF4-FFF2-40B4-BE49-F238E27FC236}">
                  <a16:creationId xmlns:a16="http://schemas.microsoft.com/office/drawing/2014/main" id="{68D2B16D-3653-0AEB-EF04-CB0A89911266}"/>
                </a:ext>
              </a:extLst>
            </p:cNvPr>
            <p:cNvSpPr>
              <a:spLocks noChangeArrowheads="1"/>
            </p:cNvSpPr>
            <p:nvPr/>
          </p:nvSpPr>
          <p:spPr bwMode="auto">
            <a:xfrm>
              <a:off x="4674" y="3435"/>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17.4</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Rectangle 91">
              <a:extLst>
                <a:ext uri="{FF2B5EF4-FFF2-40B4-BE49-F238E27FC236}">
                  <a16:creationId xmlns:a16="http://schemas.microsoft.com/office/drawing/2014/main" id="{B6492531-2021-CCE2-49E3-741593FBAAF5}"/>
                </a:ext>
              </a:extLst>
            </p:cNvPr>
            <p:cNvSpPr>
              <a:spLocks noChangeArrowheads="1"/>
            </p:cNvSpPr>
            <p:nvPr/>
          </p:nvSpPr>
          <p:spPr bwMode="auto">
            <a:xfrm>
              <a:off x="4893" y="2855"/>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4.8</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1" name="Rectangle 92">
              <a:extLst>
                <a:ext uri="{FF2B5EF4-FFF2-40B4-BE49-F238E27FC236}">
                  <a16:creationId xmlns:a16="http://schemas.microsoft.com/office/drawing/2014/main" id="{D817C299-043B-5E6A-CB91-52273F65F2C6}"/>
                </a:ext>
              </a:extLst>
            </p:cNvPr>
            <p:cNvSpPr>
              <a:spLocks noChangeArrowheads="1"/>
            </p:cNvSpPr>
            <p:nvPr/>
          </p:nvSpPr>
          <p:spPr bwMode="auto">
            <a:xfrm>
              <a:off x="4606" y="3628"/>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15.1</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2" name="Rectangle 93">
              <a:extLst>
                <a:ext uri="{FF2B5EF4-FFF2-40B4-BE49-F238E27FC236}">
                  <a16:creationId xmlns:a16="http://schemas.microsoft.com/office/drawing/2014/main" id="{2DC02AB1-9329-EC99-94E9-3B0BD5BBEC43}"/>
                </a:ext>
              </a:extLst>
            </p:cNvPr>
            <p:cNvSpPr>
              <a:spLocks noChangeArrowheads="1"/>
            </p:cNvSpPr>
            <p:nvPr/>
          </p:nvSpPr>
          <p:spPr bwMode="auto">
            <a:xfrm>
              <a:off x="4990" y="2651"/>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8.0</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Rectangle 94">
              <a:extLst>
                <a:ext uri="{FF2B5EF4-FFF2-40B4-BE49-F238E27FC236}">
                  <a16:creationId xmlns:a16="http://schemas.microsoft.com/office/drawing/2014/main" id="{2C9DDB6E-BAF3-3FF2-C28D-FB27AAF9809F}"/>
                </a:ext>
              </a:extLst>
            </p:cNvPr>
            <p:cNvSpPr>
              <a:spLocks noChangeArrowheads="1"/>
            </p:cNvSpPr>
            <p:nvPr/>
          </p:nvSpPr>
          <p:spPr bwMode="auto">
            <a:xfrm>
              <a:off x="5435" y="1868"/>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42.7</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Rectangle 95">
              <a:extLst>
                <a:ext uri="{FF2B5EF4-FFF2-40B4-BE49-F238E27FC236}">
                  <a16:creationId xmlns:a16="http://schemas.microsoft.com/office/drawing/2014/main" id="{E41DCDCE-6FA2-D965-DEC0-7D91B0F667B0}"/>
                </a:ext>
              </a:extLst>
            </p:cNvPr>
            <p:cNvSpPr>
              <a:spLocks noChangeArrowheads="1"/>
            </p:cNvSpPr>
            <p:nvPr/>
          </p:nvSpPr>
          <p:spPr bwMode="auto">
            <a:xfrm>
              <a:off x="5130" y="2062"/>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32.6</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Rectangle 96">
              <a:extLst>
                <a:ext uri="{FF2B5EF4-FFF2-40B4-BE49-F238E27FC236}">
                  <a16:creationId xmlns:a16="http://schemas.microsoft.com/office/drawing/2014/main" id="{9063FED5-C4C3-B113-E6B9-79BAEAE7B1A0}"/>
                </a:ext>
              </a:extLst>
            </p:cNvPr>
            <p:cNvSpPr>
              <a:spLocks noChangeArrowheads="1"/>
            </p:cNvSpPr>
            <p:nvPr/>
          </p:nvSpPr>
          <p:spPr bwMode="auto">
            <a:xfrm>
              <a:off x="4771" y="3029"/>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0.6</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Rectangle 97">
              <a:extLst>
                <a:ext uri="{FF2B5EF4-FFF2-40B4-BE49-F238E27FC236}">
                  <a16:creationId xmlns:a16="http://schemas.microsoft.com/office/drawing/2014/main" id="{93CE47EC-6D1E-01A0-3A2A-3CE3B915BB23}"/>
                </a:ext>
              </a:extLst>
            </p:cNvPr>
            <p:cNvSpPr>
              <a:spLocks noChangeArrowheads="1"/>
            </p:cNvSpPr>
            <p:nvPr/>
          </p:nvSpPr>
          <p:spPr bwMode="auto">
            <a:xfrm>
              <a:off x="5503" y="1675"/>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45.0</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Rectangle 98">
              <a:extLst>
                <a:ext uri="{FF2B5EF4-FFF2-40B4-BE49-F238E27FC236}">
                  <a16:creationId xmlns:a16="http://schemas.microsoft.com/office/drawing/2014/main" id="{702FEBE0-FD89-D141-2CE6-500F05BE20C1}"/>
                </a:ext>
              </a:extLst>
            </p:cNvPr>
            <p:cNvSpPr>
              <a:spLocks noChangeArrowheads="1"/>
            </p:cNvSpPr>
            <p:nvPr/>
          </p:nvSpPr>
          <p:spPr bwMode="auto">
            <a:xfrm>
              <a:off x="5004" y="2542"/>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8.4</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Rectangle 99">
              <a:extLst>
                <a:ext uri="{FF2B5EF4-FFF2-40B4-BE49-F238E27FC236}">
                  <a16:creationId xmlns:a16="http://schemas.microsoft.com/office/drawing/2014/main" id="{41492424-5B73-9949-FC66-EC64FA1D42A2}"/>
                </a:ext>
              </a:extLst>
            </p:cNvPr>
            <p:cNvSpPr>
              <a:spLocks noChangeArrowheads="1"/>
            </p:cNvSpPr>
            <p:nvPr/>
          </p:nvSpPr>
          <p:spPr bwMode="auto">
            <a:xfrm>
              <a:off x="4936" y="2358"/>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6.1</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Rectangle 100">
              <a:extLst>
                <a:ext uri="{FF2B5EF4-FFF2-40B4-BE49-F238E27FC236}">
                  <a16:creationId xmlns:a16="http://schemas.microsoft.com/office/drawing/2014/main" id="{D8A6D7AA-4441-DCAB-C464-37608358357B}"/>
                </a:ext>
              </a:extLst>
            </p:cNvPr>
            <p:cNvSpPr>
              <a:spLocks noChangeArrowheads="1"/>
            </p:cNvSpPr>
            <p:nvPr/>
          </p:nvSpPr>
          <p:spPr bwMode="auto">
            <a:xfrm>
              <a:off x="5848" y="1555"/>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56.4</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Rectangle 101">
              <a:extLst>
                <a:ext uri="{FF2B5EF4-FFF2-40B4-BE49-F238E27FC236}">
                  <a16:creationId xmlns:a16="http://schemas.microsoft.com/office/drawing/2014/main" id="{4515B43C-543D-11F8-1DD9-E0DFAA067DA4}"/>
                </a:ext>
              </a:extLst>
            </p:cNvPr>
            <p:cNvSpPr>
              <a:spLocks noChangeArrowheads="1"/>
            </p:cNvSpPr>
            <p:nvPr/>
          </p:nvSpPr>
          <p:spPr bwMode="auto">
            <a:xfrm>
              <a:off x="4452" y="3320"/>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10.1</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Rectangle 102">
              <a:extLst>
                <a:ext uri="{FF2B5EF4-FFF2-40B4-BE49-F238E27FC236}">
                  <a16:creationId xmlns:a16="http://schemas.microsoft.com/office/drawing/2014/main" id="{5DD1E0F2-8656-6C34-2CBB-49BFB95BB0BC}"/>
                </a:ext>
              </a:extLst>
            </p:cNvPr>
            <p:cNvSpPr>
              <a:spLocks noChangeArrowheads="1"/>
            </p:cNvSpPr>
            <p:nvPr/>
          </p:nvSpPr>
          <p:spPr bwMode="auto">
            <a:xfrm>
              <a:off x="4509" y="3514"/>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11.9</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Rectangle 103">
              <a:extLst>
                <a:ext uri="{FF2B5EF4-FFF2-40B4-BE49-F238E27FC236}">
                  <a16:creationId xmlns:a16="http://schemas.microsoft.com/office/drawing/2014/main" id="{01FE4852-7EE2-A88F-ADAA-7617222A6CE2}"/>
                </a:ext>
              </a:extLst>
            </p:cNvPr>
            <p:cNvSpPr>
              <a:spLocks noChangeArrowheads="1"/>
            </p:cNvSpPr>
            <p:nvPr/>
          </p:nvSpPr>
          <p:spPr bwMode="auto">
            <a:xfrm>
              <a:off x="4689" y="2919"/>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17.9</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Rectangle 104">
              <a:extLst>
                <a:ext uri="{FF2B5EF4-FFF2-40B4-BE49-F238E27FC236}">
                  <a16:creationId xmlns:a16="http://schemas.microsoft.com/office/drawing/2014/main" id="{5E829494-B4E8-83AB-1371-FF2E2AF52EA6}"/>
                </a:ext>
              </a:extLst>
            </p:cNvPr>
            <p:cNvSpPr>
              <a:spLocks noChangeArrowheads="1"/>
            </p:cNvSpPr>
            <p:nvPr/>
          </p:nvSpPr>
          <p:spPr bwMode="auto">
            <a:xfrm>
              <a:off x="4466" y="3708"/>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10.6</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4" name="Rectangle 105">
              <a:extLst>
                <a:ext uri="{FF2B5EF4-FFF2-40B4-BE49-F238E27FC236}">
                  <a16:creationId xmlns:a16="http://schemas.microsoft.com/office/drawing/2014/main" id="{A93B95E4-6B7C-BB95-9AD3-E6093E098A6E}"/>
                </a:ext>
              </a:extLst>
            </p:cNvPr>
            <p:cNvSpPr>
              <a:spLocks noChangeArrowheads="1"/>
            </p:cNvSpPr>
            <p:nvPr/>
          </p:nvSpPr>
          <p:spPr bwMode="auto">
            <a:xfrm>
              <a:off x="4990" y="2731"/>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8.0</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5" name="Rectangle 106">
              <a:extLst>
                <a:ext uri="{FF2B5EF4-FFF2-40B4-BE49-F238E27FC236}">
                  <a16:creationId xmlns:a16="http://schemas.microsoft.com/office/drawing/2014/main" id="{E573D2AF-CBA6-DF0F-0D46-A259AAD9BF1B}"/>
                </a:ext>
              </a:extLst>
            </p:cNvPr>
            <p:cNvSpPr>
              <a:spLocks noChangeArrowheads="1"/>
            </p:cNvSpPr>
            <p:nvPr/>
          </p:nvSpPr>
          <p:spPr bwMode="auto">
            <a:xfrm>
              <a:off x="5421" y="1947"/>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42.2</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6" name="Rectangle 107">
              <a:extLst>
                <a:ext uri="{FF2B5EF4-FFF2-40B4-BE49-F238E27FC236}">
                  <a16:creationId xmlns:a16="http://schemas.microsoft.com/office/drawing/2014/main" id="{F6F4AA70-1919-0D77-3401-E2400CA840CF}"/>
                </a:ext>
              </a:extLst>
            </p:cNvPr>
            <p:cNvSpPr>
              <a:spLocks noChangeArrowheads="1"/>
            </p:cNvSpPr>
            <p:nvPr/>
          </p:nvSpPr>
          <p:spPr bwMode="auto">
            <a:xfrm>
              <a:off x="4990" y="2141"/>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8.0</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7" name="Rectangle 108">
              <a:extLst>
                <a:ext uri="{FF2B5EF4-FFF2-40B4-BE49-F238E27FC236}">
                  <a16:creationId xmlns:a16="http://schemas.microsoft.com/office/drawing/2014/main" id="{F487CC67-B0D2-A700-6793-4003FAA16CFC}"/>
                </a:ext>
              </a:extLst>
            </p:cNvPr>
            <p:cNvSpPr>
              <a:spLocks noChangeArrowheads="1"/>
            </p:cNvSpPr>
            <p:nvPr/>
          </p:nvSpPr>
          <p:spPr bwMode="auto">
            <a:xfrm>
              <a:off x="4714" y="3128"/>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18.8</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8" name="Rectangle 109">
              <a:extLst>
                <a:ext uri="{FF2B5EF4-FFF2-40B4-BE49-F238E27FC236}">
                  <a16:creationId xmlns:a16="http://schemas.microsoft.com/office/drawing/2014/main" id="{65B9FCC0-221E-A8A1-5223-77AF6420DF33}"/>
                </a:ext>
              </a:extLst>
            </p:cNvPr>
            <p:cNvSpPr>
              <a:spLocks noChangeArrowheads="1"/>
            </p:cNvSpPr>
            <p:nvPr/>
          </p:nvSpPr>
          <p:spPr bwMode="auto">
            <a:xfrm>
              <a:off x="5475" y="1754"/>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44.0</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9" name="Rectangle 110">
              <a:extLst>
                <a:ext uri="{FF2B5EF4-FFF2-40B4-BE49-F238E27FC236}">
                  <a16:creationId xmlns:a16="http://schemas.microsoft.com/office/drawing/2014/main" id="{040F55ED-03A4-F38F-59D8-E85DD6697A28}"/>
                </a:ext>
              </a:extLst>
            </p:cNvPr>
            <p:cNvSpPr>
              <a:spLocks noChangeArrowheads="1"/>
            </p:cNvSpPr>
            <p:nvPr/>
          </p:nvSpPr>
          <p:spPr bwMode="auto">
            <a:xfrm>
              <a:off x="7011" y="1282"/>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95.0</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0" name="Rectangle 111">
              <a:extLst>
                <a:ext uri="{FF2B5EF4-FFF2-40B4-BE49-F238E27FC236}">
                  <a16:creationId xmlns:a16="http://schemas.microsoft.com/office/drawing/2014/main" id="{C6D46E56-9498-A2B0-C217-DDE04044C0F8}"/>
                </a:ext>
              </a:extLst>
            </p:cNvPr>
            <p:cNvSpPr>
              <a:spLocks noChangeArrowheads="1"/>
            </p:cNvSpPr>
            <p:nvPr/>
          </p:nvSpPr>
          <p:spPr bwMode="auto">
            <a:xfrm>
              <a:off x="6957" y="1358"/>
              <a:ext cx="1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333333"/>
                  </a:solidFill>
                  <a:effectLst/>
                  <a:uLnTx/>
                  <a:uFillTx/>
                  <a:latin typeface="Arial" panose="020B0604020202020204" pitchFamily="34" charset="0"/>
                  <a:ea typeface="+mn-ea"/>
                  <a:cs typeface="+mn-cs"/>
                </a:rPr>
                <a:t>93.1</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1" name="Rectangle 112">
              <a:extLst>
                <a:ext uri="{FF2B5EF4-FFF2-40B4-BE49-F238E27FC236}">
                  <a16:creationId xmlns:a16="http://schemas.microsoft.com/office/drawing/2014/main" id="{00C9FD86-4622-7C85-40A8-E70256E9DF96}"/>
                </a:ext>
              </a:extLst>
            </p:cNvPr>
            <p:cNvSpPr>
              <a:spLocks noChangeArrowheads="1"/>
            </p:cNvSpPr>
            <p:nvPr/>
          </p:nvSpPr>
          <p:spPr bwMode="auto">
            <a:xfrm>
              <a:off x="3511" y="3680"/>
              <a:ext cx="584"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GGT increased</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2" name="Rectangle 113">
              <a:extLst>
                <a:ext uri="{FF2B5EF4-FFF2-40B4-BE49-F238E27FC236}">
                  <a16:creationId xmlns:a16="http://schemas.microsoft.com/office/drawing/2014/main" id="{4FB6DE67-6AB8-AA69-7171-9AB22C550B0D}"/>
                </a:ext>
              </a:extLst>
            </p:cNvPr>
            <p:cNvSpPr>
              <a:spLocks noChangeArrowheads="1"/>
            </p:cNvSpPr>
            <p:nvPr/>
          </p:nvSpPr>
          <p:spPr bwMode="auto">
            <a:xfrm>
              <a:off x="3605" y="3486"/>
              <a:ext cx="502"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Constipation</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3" name="Rectangle 114">
              <a:extLst>
                <a:ext uri="{FF2B5EF4-FFF2-40B4-BE49-F238E27FC236}">
                  <a16:creationId xmlns:a16="http://schemas.microsoft.com/office/drawing/2014/main" id="{7CCC5934-F206-A45D-A58C-64C4DD7F93D9}"/>
                </a:ext>
              </a:extLst>
            </p:cNvPr>
            <p:cNvSpPr>
              <a:spLocks noChangeArrowheads="1"/>
            </p:cNvSpPr>
            <p:nvPr/>
          </p:nvSpPr>
          <p:spPr bwMode="auto">
            <a:xfrm>
              <a:off x="3737" y="3289"/>
              <a:ext cx="347"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Asthenia</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4" name="Rectangle 115">
              <a:extLst>
                <a:ext uri="{FF2B5EF4-FFF2-40B4-BE49-F238E27FC236}">
                  <a16:creationId xmlns:a16="http://schemas.microsoft.com/office/drawing/2014/main" id="{2B0036CD-FBCE-D7D3-C569-D8ED6F0712F9}"/>
                </a:ext>
              </a:extLst>
            </p:cNvPr>
            <p:cNvSpPr>
              <a:spLocks noChangeArrowheads="1"/>
            </p:cNvSpPr>
            <p:nvPr/>
          </p:nvSpPr>
          <p:spPr bwMode="auto">
            <a:xfrm>
              <a:off x="3737" y="3095"/>
              <a:ext cx="35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Vomiting</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5" name="Rectangle 116">
              <a:extLst>
                <a:ext uri="{FF2B5EF4-FFF2-40B4-BE49-F238E27FC236}">
                  <a16:creationId xmlns:a16="http://schemas.microsoft.com/office/drawing/2014/main" id="{E2CAE6AE-97C8-D8AF-F5F1-AC4197067519}"/>
                </a:ext>
              </a:extLst>
            </p:cNvPr>
            <p:cNvSpPr>
              <a:spLocks noChangeArrowheads="1"/>
            </p:cNvSpPr>
            <p:nvPr/>
          </p:nvSpPr>
          <p:spPr bwMode="auto">
            <a:xfrm>
              <a:off x="3321" y="2897"/>
              <a:ext cx="76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Decreased appetite</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6" name="Rectangle 117">
              <a:extLst>
                <a:ext uri="{FF2B5EF4-FFF2-40B4-BE49-F238E27FC236}">
                  <a16:creationId xmlns:a16="http://schemas.microsoft.com/office/drawing/2014/main" id="{90AD9360-7D18-3DEE-38D9-61B905AE89EC}"/>
                </a:ext>
              </a:extLst>
            </p:cNvPr>
            <p:cNvSpPr>
              <a:spLocks noChangeArrowheads="1"/>
            </p:cNvSpPr>
            <p:nvPr/>
          </p:nvSpPr>
          <p:spPr bwMode="auto">
            <a:xfrm>
              <a:off x="3773" y="2703"/>
              <a:ext cx="303"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Nausea</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7" name="Rectangle 118">
              <a:extLst>
                <a:ext uri="{FF2B5EF4-FFF2-40B4-BE49-F238E27FC236}">
                  <a16:creationId xmlns:a16="http://schemas.microsoft.com/office/drawing/2014/main" id="{57405FA7-8590-A1B9-64B5-0BCB6ABFF1CB}"/>
                </a:ext>
              </a:extLst>
            </p:cNvPr>
            <p:cNvSpPr>
              <a:spLocks noChangeArrowheads="1"/>
            </p:cNvSpPr>
            <p:nvPr/>
          </p:nvSpPr>
          <p:spPr bwMode="auto">
            <a:xfrm>
              <a:off x="3536" y="2509"/>
              <a:ext cx="567"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ALT increased</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8" name="Rectangle 119">
              <a:extLst>
                <a:ext uri="{FF2B5EF4-FFF2-40B4-BE49-F238E27FC236}">
                  <a16:creationId xmlns:a16="http://schemas.microsoft.com/office/drawing/2014/main" id="{7D7A6AD7-94F8-0EDB-048F-B7B2378ABC4E}"/>
                </a:ext>
              </a:extLst>
            </p:cNvPr>
            <p:cNvSpPr>
              <a:spLocks noChangeArrowheads="1"/>
            </p:cNvSpPr>
            <p:nvPr/>
          </p:nvSpPr>
          <p:spPr bwMode="auto">
            <a:xfrm>
              <a:off x="3526" y="2312"/>
              <a:ext cx="573"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AST increased</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9" name="Rectangle 120">
              <a:extLst>
                <a:ext uri="{FF2B5EF4-FFF2-40B4-BE49-F238E27FC236}">
                  <a16:creationId xmlns:a16="http://schemas.microsoft.com/office/drawing/2014/main" id="{045C89CA-DA08-F86E-C07E-A520799DF329}"/>
                </a:ext>
              </a:extLst>
            </p:cNvPr>
            <p:cNvSpPr>
              <a:spLocks noChangeArrowheads="1"/>
            </p:cNvSpPr>
            <p:nvPr/>
          </p:nvSpPr>
          <p:spPr bwMode="auto">
            <a:xfrm>
              <a:off x="3122" y="2118"/>
              <a:ext cx="98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Platelet count decreased</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0" name="Rectangle 121">
              <a:extLst>
                <a:ext uri="{FF2B5EF4-FFF2-40B4-BE49-F238E27FC236}">
                  <a16:creationId xmlns:a16="http://schemas.microsoft.com/office/drawing/2014/main" id="{597ADDDE-5EAF-EE54-301A-12FA5711092C}"/>
                </a:ext>
              </a:extLst>
            </p:cNvPr>
            <p:cNvSpPr>
              <a:spLocks noChangeArrowheads="1"/>
            </p:cNvSpPr>
            <p:nvPr/>
          </p:nvSpPr>
          <p:spPr bwMode="auto">
            <a:xfrm>
              <a:off x="3013" y="1920"/>
              <a:ext cx="109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Neutrophil count decreased</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1" name="Rectangle 122">
              <a:extLst>
                <a:ext uri="{FF2B5EF4-FFF2-40B4-BE49-F238E27FC236}">
                  <a16:creationId xmlns:a16="http://schemas.microsoft.com/office/drawing/2014/main" id="{9BC9C7C3-C157-F889-D414-27C477626791}"/>
                </a:ext>
              </a:extLst>
            </p:cNvPr>
            <p:cNvSpPr>
              <a:spLocks noChangeArrowheads="1"/>
            </p:cNvSpPr>
            <p:nvPr/>
          </p:nvSpPr>
          <p:spPr bwMode="auto">
            <a:xfrm>
              <a:off x="3209" y="1726"/>
              <a:ext cx="87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WBC count decreased</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2" name="Rectangle 123">
              <a:extLst>
                <a:ext uri="{FF2B5EF4-FFF2-40B4-BE49-F238E27FC236}">
                  <a16:creationId xmlns:a16="http://schemas.microsoft.com/office/drawing/2014/main" id="{1C38F474-A3DC-1089-1D3B-53A04209CBC8}"/>
                </a:ext>
              </a:extLst>
            </p:cNvPr>
            <p:cNvSpPr>
              <a:spLocks noChangeArrowheads="1"/>
            </p:cNvSpPr>
            <p:nvPr/>
          </p:nvSpPr>
          <p:spPr bwMode="auto">
            <a:xfrm>
              <a:off x="3777" y="1529"/>
              <a:ext cx="302"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Anemia</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3" name="Rectangle 124">
              <a:extLst>
                <a:ext uri="{FF2B5EF4-FFF2-40B4-BE49-F238E27FC236}">
                  <a16:creationId xmlns:a16="http://schemas.microsoft.com/office/drawing/2014/main" id="{29C15075-9A7B-1B64-040F-FB9C88C259F2}"/>
                </a:ext>
              </a:extLst>
            </p:cNvPr>
            <p:cNvSpPr>
              <a:spLocks noChangeArrowheads="1"/>
            </p:cNvSpPr>
            <p:nvPr/>
          </p:nvSpPr>
          <p:spPr bwMode="auto">
            <a:xfrm>
              <a:off x="3852" y="1335"/>
              <a:ext cx="207"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Total</a:t>
              </a:r>
              <a:endPar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4" name="Rectangle 125">
              <a:extLst>
                <a:ext uri="{FF2B5EF4-FFF2-40B4-BE49-F238E27FC236}">
                  <a16:creationId xmlns:a16="http://schemas.microsoft.com/office/drawing/2014/main" id="{7D00E60C-37F9-E75E-98A4-3CC5140E1194}"/>
                </a:ext>
              </a:extLst>
            </p:cNvPr>
            <p:cNvSpPr>
              <a:spLocks noChangeArrowheads="1"/>
            </p:cNvSpPr>
            <p:nvPr/>
          </p:nvSpPr>
          <p:spPr bwMode="auto">
            <a:xfrm>
              <a:off x="4062" y="3860"/>
              <a:ext cx="105"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5" name="Rectangle 126">
              <a:extLst>
                <a:ext uri="{FF2B5EF4-FFF2-40B4-BE49-F238E27FC236}">
                  <a16:creationId xmlns:a16="http://schemas.microsoft.com/office/drawing/2014/main" id="{6F76ACF8-A7AE-5117-F357-78CA009C5407}"/>
                </a:ext>
              </a:extLst>
            </p:cNvPr>
            <p:cNvSpPr>
              <a:spLocks noChangeArrowheads="1"/>
            </p:cNvSpPr>
            <p:nvPr/>
          </p:nvSpPr>
          <p:spPr bwMode="auto">
            <a:xfrm>
              <a:off x="4653" y="3860"/>
              <a:ext cx="15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2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6" name="Rectangle 127">
              <a:extLst>
                <a:ext uri="{FF2B5EF4-FFF2-40B4-BE49-F238E27FC236}">
                  <a16:creationId xmlns:a16="http://schemas.microsoft.com/office/drawing/2014/main" id="{225773F5-286F-0AF0-BB56-7D33D5FB1BE7}"/>
                </a:ext>
              </a:extLst>
            </p:cNvPr>
            <p:cNvSpPr>
              <a:spLocks noChangeArrowheads="1"/>
            </p:cNvSpPr>
            <p:nvPr/>
          </p:nvSpPr>
          <p:spPr bwMode="auto">
            <a:xfrm>
              <a:off x="5256" y="3860"/>
              <a:ext cx="15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4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7" name="Rectangle 128">
              <a:extLst>
                <a:ext uri="{FF2B5EF4-FFF2-40B4-BE49-F238E27FC236}">
                  <a16:creationId xmlns:a16="http://schemas.microsoft.com/office/drawing/2014/main" id="{D077E8EF-E853-696F-413A-98426B2F9742}"/>
                </a:ext>
              </a:extLst>
            </p:cNvPr>
            <p:cNvSpPr>
              <a:spLocks noChangeArrowheads="1"/>
            </p:cNvSpPr>
            <p:nvPr/>
          </p:nvSpPr>
          <p:spPr bwMode="auto">
            <a:xfrm>
              <a:off x="5859" y="3860"/>
              <a:ext cx="15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6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8" name="Rectangle 129">
              <a:extLst>
                <a:ext uri="{FF2B5EF4-FFF2-40B4-BE49-F238E27FC236}">
                  <a16:creationId xmlns:a16="http://schemas.microsoft.com/office/drawing/2014/main" id="{D0619C5B-DA52-CAD3-5543-9B71F0F87A94}"/>
                </a:ext>
              </a:extLst>
            </p:cNvPr>
            <p:cNvSpPr>
              <a:spLocks noChangeArrowheads="1"/>
            </p:cNvSpPr>
            <p:nvPr/>
          </p:nvSpPr>
          <p:spPr bwMode="auto">
            <a:xfrm>
              <a:off x="6462" y="3860"/>
              <a:ext cx="15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8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9" name="Rectangle 130">
              <a:extLst>
                <a:ext uri="{FF2B5EF4-FFF2-40B4-BE49-F238E27FC236}">
                  <a16:creationId xmlns:a16="http://schemas.microsoft.com/office/drawing/2014/main" id="{AEAB3C99-57E1-7173-856B-BFB022B44B4A}"/>
                </a:ext>
              </a:extLst>
            </p:cNvPr>
            <p:cNvSpPr>
              <a:spLocks noChangeArrowheads="1"/>
            </p:cNvSpPr>
            <p:nvPr/>
          </p:nvSpPr>
          <p:spPr bwMode="auto">
            <a:xfrm>
              <a:off x="7052" y="3860"/>
              <a:ext cx="196"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10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0" name="Rectangle 131">
              <a:extLst>
                <a:ext uri="{FF2B5EF4-FFF2-40B4-BE49-F238E27FC236}">
                  <a16:creationId xmlns:a16="http://schemas.microsoft.com/office/drawing/2014/main" id="{F5699F19-5D0F-2BF4-D0D9-8953F8A349F9}"/>
                </a:ext>
              </a:extLst>
            </p:cNvPr>
            <p:cNvSpPr>
              <a:spLocks noChangeArrowheads="1"/>
            </p:cNvSpPr>
            <p:nvPr/>
          </p:nvSpPr>
          <p:spPr bwMode="auto">
            <a:xfrm>
              <a:off x="5404" y="3984"/>
              <a:ext cx="923"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ercent of Subjects (%)</a:t>
              </a:r>
            </a:p>
          </p:txBody>
        </p:sp>
      </p:grpSp>
      <p:sp>
        <p:nvSpPr>
          <p:cNvPr id="2" name="Title 1">
            <a:extLst>
              <a:ext uri="{FF2B5EF4-FFF2-40B4-BE49-F238E27FC236}">
                <a16:creationId xmlns:a16="http://schemas.microsoft.com/office/drawing/2014/main" id="{BA655D47-85C2-A9AB-7AF5-837B2055FB51}"/>
              </a:ext>
            </a:extLst>
          </p:cNvPr>
          <p:cNvSpPr>
            <a:spLocks noGrp="1"/>
          </p:cNvSpPr>
          <p:nvPr>
            <p:ph type="title"/>
          </p:nvPr>
        </p:nvSpPr>
        <p:spPr>
          <a:xfrm>
            <a:off x="168301" y="640633"/>
            <a:ext cx="11080179" cy="746963"/>
          </a:xfrm>
        </p:spPr>
        <p:txBody>
          <a:bodyPr/>
          <a:lstStyle/>
          <a:p>
            <a:r>
              <a:rPr lang="en-US" sz="3600"/>
              <a:t>Treatment-Related Adverse Events (TRAEs)</a:t>
            </a:r>
            <a:br>
              <a:rPr lang="en-US" sz="3600"/>
            </a:br>
            <a:r>
              <a:rPr lang="en-US" sz="2000"/>
              <a:t>Most common were lab abnormalities, nausea, decreased appetite</a:t>
            </a:r>
            <a:endParaRPr lang="en-US" sz="4000"/>
          </a:p>
        </p:txBody>
      </p:sp>
      <p:graphicFrame>
        <p:nvGraphicFramePr>
          <p:cNvPr id="7" name="Table 6">
            <a:extLst>
              <a:ext uri="{FF2B5EF4-FFF2-40B4-BE49-F238E27FC236}">
                <a16:creationId xmlns:a16="http://schemas.microsoft.com/office/drawing/2014/main" id="{3CAB0DAC-C451-BDB6-4699-A374BC77CBEA}"/>
              </a:ext>
            </a:extLst>
          </p:cNvPr>
          <p:cNvGraphicFramePr>
            <a:graphicFrameLocks noGrp="1"/>
          </p:cNvGraphicFramePr>
          <p:nvPr/>
        </p:nvGraphicFramePr>
        <p:xfrm>
          <a:off x="296644" y="1690729"/>
          <a:ext cx="4218869" cy="4275663"/>
        </p:xfrm>
        <a:graphic>
          <a:graphicData uri="http://schemas.openxmlformats.org/drawingml/2006/table">
            <a:tbl>
              <a:tblPr>
                <a:tableStyleId>{5C22544A-7EE6-4342-B048-85BDC9FD1C3A}</a:tableStyleId>
              </a:tblPr>
              <a:tblGrid>
                <a:gridCol w="2212740">
                  <a:extLst>
                    <a:ext uri="{9D8B030D-6E8A-4147-A177-3AD203B41FA5}">
                      <a16:colId xmlns:a16="http://schemas.microsoft.com/office/drawing/2014/main" val="3571740875"/>
                    </a:ext>
                  </a:extLst>
                </a:gridCol>
                <a:gridCol w="1010732">
                  <a:extLst>
                    <a:ext uri="{9D8B030D-6E8A-4147-A177-3AD203B41FA5}">
                      <a16:colId xmlns:a16="http://schemas.microsoft.com/office/drawing/2014/main" val="3721182785"/>
                    </a:ext>
                  </a:extLst>
                </a:gridCol>
                <a:gridCol w="995397">
                  <a:extLst>
                    <a:ext uri="{9D8B030D-6E8A-4147-A177-3AD203B41FA5}">
                      <a16:colId xmlns:a16="http://schemas.microsoft.com/office/drawing/2014/main" val="1392892610"/>
                    </a:ext>
                  </a:extLst>
                </a:gridCol>
              </a:tblGrid>
              <a:tr h="768597">
                <a:tc>
                  <a:txBody>
                    <a:bodyPr/>
                    <a:lstStyle/>
                    <a:p>
                      <a:pPr marL="0" marR="0">
                        <a:lnSpc>
                          <a:spcPct val="115000"/>
                        </a:lnSpc>
                        <a:buNone/>
                      </a:pPr>
                      <a:r>
                        <a:rPr lang="en-US" sz="1500" kern="100">
                          <a:effectLst/>
                          <a:latin typeface="Roboto" panose="02000000000000000000" pitchFamily="2" charset="0"/>
                          <a:ea typeface="Roboto" panose="02000000000000000000" pitchFamily="2" charset="0"/>
                          <a:cs typeface="Roboto" panose="02000000000000000000" pitchFamily="2" charset="0"/>
                        </a:rPr>
                        <a:t>  </a:t>
                      </a:r>
                      <a:r>
                        <a:rPr lang="en-US" sz="1500" b="1" kern="100">
                          <a:solidFill>
                            <a:schemeClr val="bg1"/>
                          </a:solidFill>
                          <a:effectLst/>
                          <a:latin typeface="Roboto" panose="02000000000000000000" pitchFamily="2" charset="0"/>
                          <a:ea typeface="Roboto" panose="02000000000000000000" pitchFamily="2" charset="0"/>
                          <a:cs typeface="Roboto" panose="02000000000000000000" pitchFamily="2" charset="0"/>
                        </a:rPr>
                        <a:t>TRAE, n(%)</a:t>
                      </a:r>
                    </a:p>
                  </a:txBody>
                  <a:tcPr marL="0" marR="0" marT="0" marB="0" anchor="ctr">
                    <a:solidFill>
                      <a:schemeClr val="accent1">
                        <a:lumMod val="50000"/>
                      </a:schemeClr>
                    </a:solidFill>
                  </a:tcPr>
                </a:tc>
                <a:tc>
                  <a:txBody>
                    <a:bodyPr/>
                    <a:lstStyle/>
                    <a:p>
                      <a:pPr marL="0" marR="0" algn="ctr">
                        <a:lnSpc>
                          <a:spcPct val="115000"/>
                        </a:lnSpc>
                        <a:buNone/>
                      </a:pPr>
                      <a:r>
                        <a:rPr lang="en-US" sz="1200" b="1" kern="100">
                          <a:solidFill>
                            <a:schemeClr val="bg1"/>
                          </a:solidFill>
                          <a:effectLst/>
                          <a:latin typeface="Roboto" panose="02000000000000000000" pitchFamily="2" charset="0"/>
                          <a:ea typeface="Roboto" panose="02000000000000000000" pitchFamily="2" charset="0"/>
                          <a:cs typeface="Roboto" panose="02000000000000000000" pitchFamily="2" charset="0"/>
                        </a:rPr>
                        <a:t>Ivonescimab + chemo</a:t>
                      </a:r>
                      <a:br>
                        <a:rPr lang="en-US" sz="1200" b="1" kern="100">
                          <a:solidFill>
                            <a:schemeClr val="bg1"/>
                          </a:solidFill>
                          <a:effectLst/>
                          <a:latin typeface="Roboto" panose="02000000000000000000" pitchFamily="2" charset="0"/>
                          <a:ea typeface="Roboto" panose="02000000000000000000" pitchFamily="2" charset="0"/>
                          <a:cs typeface="Roboto" panose="02000000000000000000" pitchFamily="2" charset="0"/>
                        </a:rPr>
                      </a:br>
                      <a:r>
                        <a:rPr lang="en-US" sz="1200" b="1" kern="100">
                          <a:solidFill>
                            <a:schemeClr val="bg1"/>
                          </a:solidFill>
                          <a:effectLst/>
                          <a:latin typeface="Roboto" panose="02000000000000000000" pitchFamily="2" charset="0"/>
                          <a:ea typeface="Roboto" panose="02000000000000000000" pitchFamily="2" charset="0"/>
                          <a:cs typeface="Roboto" panose="02000000000000000000" pitchFamily="2" charset="0"/>
                        </a:rPr>
                        <a:t>(N=218)</a:t>
                      </a:r>
                    </a:p>
                  </a:txBody>
                  <a:tcPr marL="0" marR="0" marT="0" marB="0" anchor="ctr">
                    <a:solidFill>
                      <a:schemeClr val="accent1"/>
                    </a:solidFill>
                  </a:tcPr>
                </a:tc>
                <a:tc>
                  <a:txBody>
                    <a:bodyPr/>
                    <a:lstStyle/>
                    <a:p>
                      <a:pPr marL="0" marR="0" algn="ctr">
                        <a:lnSpc>
                          <a:spcPct val="115000"/>
                        </a:lnSpc>
                        <a:buNone/>
                      </a:pPr>
                      <a:r>
                        <a:rPr lang="en-US" sz="1200" b="1" kern="100">
                          <a:solidFill>
                            <a:schemeClr val="bg1"/>
                          </a:solidFill>
                          <a:effectLst/>
                          <a:latin typeface="Roboto" panose="02000000000000000000" pitchFamily="2" charset="0"/>
                          <a:ea typeface="Roboto" panose="02000000000000000000" pitchFamily="2" charset="0"/>
                          <a:cs typeface="Roboto" panose="02000000000000000000" pitchFamily="2" charset="0"/>
                        </a:rPr>
                        <a:t>Placebo + chemo</a:t>
                      </a:r>
                      <a:br>
                        <a:rPr lang="en-US" sz="1200" b="1" kern="100">
                          <a:solidFill>
                            <a:schemeClr val="bg1"/>
                          </a:solidFill>
                          <a:effectLst/>
                          <a:latin typeface="Roboto" panose="02000000000000000000" pitchFamily="2" charset="0"/>
                          <a:ea typeface="Roboto" panose="02000000000000000000" pitchFamily="2" charset="0"/>
                          <a:cs typeface="Roboto" panose="02000000000000000000" pitchFamily="2" charset="0"/>
                        </a:rPr>
                      </a:br>
                      <a:r>
                        <a:rPr lang="en-US" sz="1200" b="1" kern="100">
                          <a:solidFill>
                            <a:schemeClr val="bg1"/>
                          </a:solidFill>
                          <a:effectLst/>
                          <a:latin typeface="Roboto" panose="02000000000000000000" pitchFamily="2" charset="0"/>
                          <a:ea typeface="Roboto" panose="02000000000000000000" pitchFamily="2" charset="0"/>
                          <a:cs typeface="Roboto" panose="02000000000000000000" pitchFamily="2" charset="0"/>
                        </a:rPr>
                        <a:t>(N=218)</a:t>
                      </a:r>
                    </a:p>
                  </a:txBody>
                  <a:tcPr marL="0" marR="0" marT="0" marB="0" anchor="ctr">
                    <a:solidFill>
                      <a:srgbClr val="848484"/>
                    </a:solidFill>
                  </a:tcPr>
                </a:tc>
                <a:extLst>
                  <a:ext uri="{0D108BD9-81ED-4DB2-BD59-A6C34878D82A}">
                    <a16:rowId xmlns:a16="http://schemas.microsoft.com/office/drawing/2014/main" val="4271032744"/>
                  </a:ext>
                </a:extLst>
              </a:tr>
              <a:tr h="503084">
                <a:tc>
                  <a:txBody>
                    <a:bodyPr/>
                    <a:lstStyle/>
                    <a:p>
                      <a:pPr marL="0" marR="0">
                        <a:lnSpc>
                          <a:spcPct val="115000"/>
                        </a:lnSpc>
                        <a:buNone/>
                      </a:pPr>
                      <a:r>
                        <a:rPr lang="en-US" sz="1500" b="1" kern="100">
                          <a:effectLst/>
                          <a:latin typeface="Roboto" panose="02000000000000000000" pitchFamily="2" charset="0"/>
                          <a:ea typeface="Roboto" panose="02000000000000000000" pitchFamily="2" charset="0"/>
                          <a:cs typeface="Roboto" panose="02000000000000000000" pitchFamily="2" charset="0"/>
                        </a:rPr>
                        <a:t>   Any Grade</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207 (95.0)</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203 (93.1)</a:t>
                      </a:r>
                    </a:p>
                  </a:txBody>
                  <a:tcPr marL="0" marR="0" marT="0" marB="0" anchor="ctr">
                    <a:solidFill>
                      <a:schemeClr val="tx2">
                        <a:lumMod val="20000"/>
                        <a:lumOff val="80000"/>
                      </a:schemeClr>
                    </a:solidFill>
                  </a:tcPr>
                </a:tc>
                <a:extLst>
                  <a:ext uri="{0D108BD9-81ED-4DB2-BD59-A6C34878D82A}">
                    <a16:rowId xmlns:a16="http://schemas.microsoft.com/office/drawing/2014/main" val="1890227027"/>
                  </a:ext>
                </a:extLst>
              </a:tr>
              <a:tr h="503084">
                <a:tc>
                  <a:txBody>
                    <a:bodyPr/>
                    <a:lstStyle/>
                    <a:p>
                      <a:pPr marL="0" marR="0">
                        <a:lnSpc>
                          <a:spcPct val="115000"/>
                        </a:lnSpc>
                        <a:buNone/>
                      </a:pPr>
                      <a:r>
                        <a:rPr lang="en-US" sz="1500" b="1" kern="100">
                          <a:effectLst/>
                          <a:latin typeface="Roboto" panose="02000000000000000000" pitchFamily="2" charset="0"/>
                          <a:ea typeface="Roboto" panose="02000000000000000000" pitchFamily="2" charset="0"/>
                          <a:cs typeface="Roboto" panose="02000000000000000000" pitchFamily="2" charset="0"/>
                        </a:rPr>
                        <a:t>   Grade ≥3</a:t>
                      </a:r>
                    </a:p>
                  </a:txBody>
                  <a:tcPr marL="0" marR="0" marT="0" marB="0" anchor="ctr">
                    <a:solidFill>
                      <a:schemeClr val="tx2">
                        <a:lumMod val="20000"/>
                        <a:lumOff val="80000"/>
                      </a:schemeClr>
                    </a:solidFill>
                  </a:tcPr>
                </a:tc>
                <a:tc>
                  <a:txBody>
                    <a:bodyPr/>
                    <a:lstStyle/>
                    <a:p>
                      <a:pPr marL="0" marR="0" lvl="0" algn="ctr">
                        <a:lnSpc>
                          <a:spcPct val="114999"/>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109 (50.0)</a:t>
                      </a:r>
                      <a:endParaRPr lang="en-US" sz="120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solidFill>
                      <a:schemeClr val="tx2">
                        <a:lumMod val="20000"/>
                        <a:lumOff val="80000"/>
                      </a:schemeClr>
                    </a:solidFill>
                  </a:tcPr>
                </a:tc>
                <a:tc>
                  <a:txBody>
                    <a:bodyPr/>
                    <a:lstStyle/>
                    <a:p>
                      <a:pPr marL="0" marR="0" lvl="0" algn="ctr">
                        <a:lnSpc>
                          <a:spcPct val="114999"/>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92 (42.2)</a:t>
                      </a:r>
                      <a:endParaRPr lang="en-US" sz="120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solidFill>
                      <a:schemeClr val="tx2">
                        <a:lumMod val="20000"/>
                        <a:lumOff val="80000"/>
                      </a:schemeClr>
                    </a:solidFill>
                  </a:tcPr>
                </a:tc>
                <a:extLst>
                  <a:ext uri="{0D108BD9-81ED-4DB2-BD59-A6C34878D82A}">
                    <a16:rowId xmlns:a16="http://schemas.microsoft.com/office/drawing/2014/main" val="1186634174"/>
                  </a:ext>
                </a:extLst>
              </a:tr>
              <a:tr h="503084">
                <a:tc>
                  <a:txBody>
                    <a:bodyPr/>
                    <a:lstStyle/>
                    <a:p>
                      <a:pPr marL="0" marR="0">
                        <a:lnSpc>
                          <a:spcPct val="115000"/>
                        </a:lnSpc>
                        <a:buNone/>
                      </a:pPr>
                      <a:r>
                        <a:rPr lang="en-US" sz="1500" b="1" kern="100">
                          <a:effectLst/>
                          <a:latin typeface="Roboto" panose="02000000000000000000" pitchFamily="2" charset="0"/>
                          <a:ea typeface="Roboto" panose="02000000000000000000" pitchFamily="2" charset="0"/>
                          <a:cs typeface="Roboto" panose="02000000000000000000" pitchFamily="2" charset="0"/>
                        </a:rPr>
                        <a:t>   Serious</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61 (28.0)</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33 (15.1)</a:t>
                      </a:r>
                    </a:p>
                  </a:txBody>
                  <a:tcPr marL="0" marR="0" marT="0" marB="0" anchor="ctr">
                    <a:solidFill>
                      <a:schemeClr val="tx2">
                        <a:lumMod val="20000"/>
                        <a:lumOff val="80000"/>
                      </a:schemeClr>
                    </a:solidFill>
                  </a:tcPr>
                </a:tc>
                <a:extLst>
                  <a:ext uri="{0D108BD9-81ED-4DB2-BD59-A6C34878D82A}">
                    <a16:rowId xmlns:a16="http://schemas.microsoft.com/office/drawing/2014/main" val="3850551713"/>
                  </a:ext>
                </a:extLst>
              </a:tr>
              <a:tr h="505635">
                <a:tc>
                  <a:txBody>
                    <a:bodyPr/>
                    <a:lstStyle/>
                    <a:p>
                      <a:pPr marL="127000" marR="0">
                        <a:lnSpc>
                          <a:spcPct val="115000"/>
                        </a:lnSpc>
                        <a:buNone/>
                      </a:pPr>
                      <a:r>
                        <a:rPr lang="en-US" sz="1500" b="1" kern="100">
                          <a:effectLst/>
                          <a:latin typeface="Roboto" panose="02000000000000000000" pitchFamily="2" charset="0"/>
                          <a:ea typeface="Roboto" panose="02000000000000000000" pitchFamily="2" charset="0"/>
                          <a:cs typeface="Roboto" panose="02000000000000000000" pitchFamily="2" charset="0"/>
                        </a:rPr>
                        <a:t>Led to d/c of ivonescimab/placebo</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16 (7.3)</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11 (5.0)</a:t>
                      </a:r>
                    </a:p>
                  </a:txBody>
                  <a:tcPr marL="0" marR="0" marT="0" marB="0" anchor="ctr">
                    <a:solidFill>
                      <a:schemeClr val="tx2">
                        <a:lumMod val="20000"/>
                        <a:lumOff val="80000"/>
                      </a:schemeClr>
                    </a:solidFill>
                  </a:tcPr>
                </a:tc>
                <a:extLst>
                  <a:ext uri="{0D108BD9-81ED-4DB2-BD59-A6C34878D82A}">
                    <a16:rowId xmlns:a16="http://schemas.microsoft.com/office/drawing/2014/main" val="3062847668"/>
                  </a:ext>
                </a:extLst>
              </a:tr>
              <a:tr h="503084">
                <a:tc>
                  <a:txBody>
                    <a:bodyPr/>
                    <a:lstStyle/>
                    <a:p>
                      <a:pPr marL="0" marR="0">
                        <a:lnSpc>
                          <a:spcPct val="115000"/>
                        </a:lnSpc>
                        <a:buNone/>
                      </a:pPr>
                      <a:r>
                        <a:rPr lang="en-US" sz="1500" b="1" kern="100">
                          <a:effectLst/>
                          <a:latin typeface="Roboto" panose="02000000000000000000" pitchFamily="2" charset="0"/>
                          <a:ea typeface="Roboto" panose="02000000000000000000" pitchFamily="2" charset="0"/>
                          <a:cs typeface="Roboto" panose="02000000000000000000" pitchFamily="2" charset="0"/>
                        </a:rPr>
                        <a:t>   Led to death</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4 (1.8)</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5 (2.3)</a:t>
                      </a:r>
                    </a:p>
                  </a:txBody>
                  <a:tcPr marL="0" marR="0" marT="0" marB="0" anchor="ctr">
                    <a:solidFill>
                      <a:schemeClr val="tx2">
                        <a:lumMod val="20000"/>
                        <a:lumOff val="80000"/>
                      </a:schemeClr>
                    </a:solidFill>
                  </a:tcPr>
                </a:tc>
                <a:extLst>
                  <a:ext uri="{0D108BD9-81ED-4DB2-BD59-A6C34878D82A}">
                    <a16:rowId xmlns:a16="http://schemas.microsoft.com/office/drawing/2014/main" val="1500209566"/>
                  </a:ext>
                </a:extLst>
              </a:tr>
              <a:tr h="493841">
                <a:tc>
                  <a:txBody>
                    <a:bodyPr/>
                    <a:lstStyle/>
                    <a:p>
                      <a:pPr marL="0" marR="0">
                        <a:lnSpc>
                          <a:spcPct val="115000"/>
                        </a:lnSpc>
                        <a:buNone/>
                      </a:pPr>
                      <a:r>
                        <a:rPr lang="en-US" sz="1500" b="1" kern="100">
                          <a:effectLst/>
                          <a:latin typeface="Roboto" panose="02000000000000000000" pitchFamily="2" charset="0"/>
                          <a:ea typeface="Roboto" panose="02000000000000000000" pitchFamily="2" charset="0"/>
                          <a:cs typeface="Roboto" panose="02000000000000000000" pitchFamily="2" charset="0"/>
                        </a:rPr>
                        <a:t>   Grade ≥3 irAE</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21 (9.6)</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13 (6.0)</a:t>
                      </a:r>
                    </a:p>
                  </a:txBody>
                  <a:tcPr marL="0" marR="0" marT="0" marB="0" anchor="ctr">
                    <a:solidFill>
                      <a:schemeClr val="tx2">
                        <a:lumMod val="20000"/>
                        <a:lumOff val="80000"/>
                      </a:schemeClr>
                    </a:solidFill>
                  </a:tcPr>
                </a:tc>
                <a:extLst>
                  <a:ext uri="{0D108BD9-81ED-4DB2-BD59-A6C34878D82A}">
                    <a16:rowId xmlns:a16="http://schemas.microsoft.com/office/drawing/2014/main" val="775831487"/>
                  </a:ext>
                </a:extLst>
              </a:tr>
              <a:tr h="493841">
                <a:tc>
                  <a:txBody>
                    <a:bodyPr/>
                    <a:lstStyle/>
                    <a:p>
                      <a:pPr marL="127000" marR="0" lvl="0" indent="0" algn="l" defTabSz="914400" rtl="0" eaLnBrk="1" fontAlgn="auto" latinLnBrk="0" hangingPunct="1">
                        <a:lnSpc>
                          <a:spcPct val="115000"/>
                        </a:lnSpc>
                        <a:spcBef>
                          <a:spcPts val="0"/>
                        </a:spcBef>
                        <a:spcAft>
                          <a:spcPts val="0"/>
                        </a:spcAft>
                        <a:buClrTx/>
                        <a:buSzTx/>
                        <a:buFontTx/>
                        <a:buNone/>
                        <a:tabLst/>
                        <a:defRPr/>
                      </a:pPr>
                      <a:r>
                        <a:rPr lang="en-US" sz="1500" b="1" kern="100">
                          <a:effectLst/>
                          <a:latin typeface="Roboto" panose="02000000000000000000" pitchFamily="2" charset="0"/>
                          <a:ea typeface="Roboto" panose="02000000000000000000" pitchFamily="2" charset="0"/>
                          <a:cs typeface="Roboto" panose="02000000000000000000" pitchFamily="2" charset="0"/>
                        </a:rPr>
                        <a:t>Grade ≥3 VEGF-related</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16 (7.3)</a:t>
                      </a:r>
                    </a:p>
                  </a:txBody>
                  <a:tcPr marL="0" marR="0" marT="0" marB="0" anchor="ctr">
                    <a:solidFill>
                      <a:schemeClr val="tx2">
                        <a:lumMod val="20000"/>
                        <a:lumOff val="80000"/>
                      </a:schemeClr>
                    </a:solidFill>
                  </a:tcPr>
                </a:tc>
                <a:tc>
                  <a:txBody>
                    <a:bodyPr/>
                    <a:lstStyle/>
                    <a:p>
                      <a:pPr marL="0" marR="0" algn="ctr">
                        <a:lnSpc>
                          <a:spcPct val="115000"/>
                        </a:lnSpc>
                        <a:buNone/>
                      </a:pPr>
                      <a:r>
                        <a:rPr lang="en-US" sz="1500" kern="100">
                          <a:solidFill>
                            <a:schemeClr val="tx1"/>
                          </a:solidFill>
                          <a:effectLst/>
                          <a:latin typeface="Roboto" panose="02000000000000000000" pitchFamily="2" charset="0"/>
                          <a:ea typeface="Roboto" panose="02000000000000000000" pitchFamily="2" charset="0"/>
                          <a:cs typeface="Roboto" panose="02000000000000000000" pitchFamily="2" charset="0"/>
                        </a:rPr>
                        <a:t>7 (3.2)</a:t>
                      </a:r>
                    </a:p>
                  </a:txBody>
                  <a:tcPr marL="0" marR="0" marT="0" marB="0" anchor="ctr">
                    <a:solidFill>
                      <a:schemeClr val="tx2">
                        <a:lumMod val="20000"/>
                        <a:lumOff val="80000"/>
                      </a:schemeClr>
                    </a:solidFill>
                  </a:tcPr>
                </a:tc>
                <a:extLst>
                  <a:ext uri="{0D108BD9-81ED-4DB2-BD59-A6C34878D82A}">
                    <a16:rowId xmlns:a16="http://schemas.microsoft.com/office/drawing/2014/main" val="560727887"/>
                  </a:ext>
                </a:extLst>
              </a:tr>
            </a:tbl>
          </a:graphicData>
        </a:graphic>
      </p:graphicFrame>
      <p:grpSp>
        <p:nvGrpSpPr>
          <p:cNvPr id="8" name="Group 7">
            <a:extLst>
              <a:ext uri="{FF2B5EF4-FFF2-40B4-BE49-F238E27FC236}">
                <a16:creationId xmlns:a16="http://schemas.microsoft.com/office/drawing/2014/main" id="{56FAE42F-A68E-71D1-FEB7-E4BA8750E2A3}"/>
              </a:ext>
            </a:extLst>
          </p:cNvPr>
          <p:cNvGrpSpPr/>
          <p:nvPr/>
        </p:nvGrpSpPr>
        <p:grpSpPr>
          <a:xfrm>
            <a:off x="236642" y="709214"/>
            <a:ext cx="11955359" cy="6180591"/>
            <a:chOff x="236641" y="709213"/>
            <a:chExt cx="11955359" cy="6180591"/>
          </a:xfrm>
        </p:grpSpPr>
        <p:grpSp>
          <p:nvGrpSpPr>
            <p:cNvPr id="160" name="Group 159">
              <a:extLst>
                <a:ext uri="{FF2B5EF4-FFF2-40B4-BE49-F238E27FC236}">
                  <a16:creationId xmlns:a16="http://schemas.microsoft.com/office/drawing/2014/main" id="{6D5EE853-99B9-2662-64D5-01BEE62A57F8}"/>
                </a:ext>
              </a:extLst>
            </p:cNvPr>
            <p:cNvGrpSpPr/>
            <p:nvPr/>
          </p:nvGrpSpPr>
          <p:grpSpPr>
            <a:xfrm>
              <a:off x="9159181" y="4650090"/>
              <a:ext cx="2628434" cy="982346"/>
              <a:chOff x="9192955" y="4409283"/>
              <a:chExt cx="2996245" cy="1119811"/>
            </a:xfrm>
          </p:grpSpPr>
          <p:sp>
            <p:nvSpPr>
              <p:cNvPr id="161" name="Rectangle 160">
                <a:extLst>
                  <a:ext uri="{FF2B5EF4-FFF2-40B4-BE49-F238E27FC236}">
                    <a16:creationId xmlns:a16="http://schemas.microsoft.com/office/drawing/2014/main" id="{ED31D1A3-1173-69B2-0A7D-7E9FBB54FF51}"/>
                  </a:ext>
                </a:extLst>
              </p:cNvPr>
              <p:cNvSpPr/>
              <p:nvPr/>
            </p:nvSpPr>
            <p:spPr>
              <a:xfrm>
                <a:off x="9455047" y="4535898"/>
                <a:ext cx="2525689" cy="9931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TextBox 161">
                <a:extLst>
                  <a:ext uri="{FF2B5EF4-FFF2-40B4-BE49-F238E27FC236}">
                    <a16:creationId xmlns:a16="http://schemas.microsoft.com/office/drawing/2014/main" id="{9D2C6D94-CDE2-1FB5-2AB0-A6127CD64D4A}"/>
                  </a:ext>
                </a:extLst>
              </p:cNvPr>
              <p:cNvSpPr txBox="1"/>
              <p:nvPr/>
            </p:nvSpPr>
            <p:spPr>
              <a:xfrm>
                <a:off x="11390583" y="4409283"/>
                <a:ext cx="798617" cy="280676"/>
              </a:xfrm>
              <a:prstGeom prst="rect">
                <a:avLst/>
              </a:prstGeom>
              <a:noFill/>
              <a:ln>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Grade ≥3</a:t>
                </a:r>
              </a:p>
            </p:txBody>
          </p:sp>
          <p:pic>
            <p:nvPicPr>
              <p:cNvPr id="163" name="Picture 162">
                <a:extLst>
                  <a:ext uri="{FF2B5EF4-FFF2-40B4-BE49-F238E27FC236}">
                    <a16:creationId xmlns:a16="http://schemas.microsoft.com/office/drawing/2014/main" id="{DF0E324F-FEDF-1D89-8DAC-27A6CB926BDD}"/>
                  </a:ext>
                </a:extLst>
              </p:cNvPr>
              <p:cNvPicPr>
                <a:picLocks noChangeAspect="1"/>
              </p:cNvPicPr>
              <p:nvPr/>
            </p:nvPicPr>
            <p:blipFill>
              <a:blip r:embed="rId3"/>
              <a:stretch>
                <a:fillRect/>
              </a:stretch>
            </p:blipFill>
            <p:spPr>
              <a:xfrm>
                <a:off x="11635085" y="4741757"/>
                <a:ext cx="309606" cy="276084"/>
              </a:xfrm>
              <a:prstGeom prst="rect">
                <a:avLst/>
              </a:prstGeom>
            </p:spPr>
          </p:pic>
          <p:pic>
            <p:nvPicPr>
              <p:cNvPr id="164" name="Picture 163">
                <a:extLst>
                  <a:ext uri="{FF2B5EF4-FFF2-40B4-BE49-F238E27FC236}">
                    <a16:creationId xmlns:a16="http://schemas.microsoft.com/office/drawing/2014/main" id="{EDE6C169-E35F-1353-00C0-B0420AB00359}"/>
                  </a:ext>
                </a:extLst>
              </p:cNvPr>
              <p:cNvPicPr>
                <a:picLocks noChangeAspect="1"/>
              </p:cNvPicPr>
              <p:nvPr/>
            </p:nvPicPr>
            <p:blipFill>
              <a:blip r:embed="rId4"/>
              <a:stretch>
                <a:fillRect/>
              </a:stretch>
            </p:blipFill>
            <p:spPr>
              <a:xfrm>
                <a:off x="11635085" y="5107864"/>
                <a:ext cx="309606" cy="271321"/>
              </a:xfrm>
              <a:prstGeom prst="rect">
                <a:avLst/>
              </a:prstGeom>
            </p:spPr>
          </p:pic>
          <p:sp>
            <p:nvSpPr>
              <p:cNvPr id="165" name="TextBox 164">
                <a:extLst>
                  <a:ext uri="{FF2B5EF4-FFF2-40B4-BE49-F238E27FC236}">
                    <a16:creationId xmlns:a16="http://schemas.microsoft.com/office/drawing/2014/main" id="{56A8A985-8004-1007-E78C-4D553095E850}"/>
                  </a:ext>
                </a:extLst>
              </p:cNvPr>
              <p:cNvSpPr txBox="1"/>
              <p:nvPr/>
            </p:nvSpPr>
            <p:spPr>
              <a:xfrm>
                <a:off x="9192955" y="4764382"/>
                <a:ext cx="1641298" cy="280676"/>
              </a:xfrm>
              <a:prstGeom prst="rect">
                <a:avLst/>
              </a:prstGeom>
              <a:solidFill>
                <a:schemeClr val="bg1"/>
              </a:solidFill>
              <a:ln>
                <a:solidFill>
                  <a:schemeClr val="bg1"/>
                </a:solid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54883"/>
                    </a:solidFill>
                    <a:effectLst/>
                    <a:uLnTx/>
                    <a:uFillTx/>
                    <a:latin typeface="Roboto" panose="02000000000000000000" pitchFamily="2" charset="0"/>
                    <a:ea typeface="Roboto" panose="02000000000000000000" pitchFamily="2" charset="0"/>
                    <a:cs typeface="Roboto" panose="02000000000000000000" pitchFamily="2" charset="0"/>
                  </a:rPr>
                  <a:t>Ivonescimab + chemo</a:t>
                </a:r>
              </a:p>
            </p:txBody>
          </p:sp>
          <p:sp>
            <p:nvSpPr>
              <p:cNvPr id="166" name="TextBox 165">
                <a:extLst>
                  <a:ext uri="{FF2B5EF4-FFF2-40B4-BE49-F238E27FC236}">
                    <a16:creationId xmlns:a16="http://schemas.microsoft.com/office/drawing/2014/main" id="{AF6CD808-83B1-5981-74A3-4B10BDC59BC5}"/>
                  </a:ext>
                </a:extLst>
              </p:cNvPr>
              <p:cNvSpPr txBox="1"/>
              <p:nvPr/>
            </p:nvSpPr>
            <p:spPr>
              <a:xfrm>
                <a:off x="9515989" y="5128108"/>
                <a:ext cx="1337964" cy="280676"/>
              </a:xfrm>
              <a:prstGeom prst="rect">
                <a:avLst/>
              </a:prstGeom>
              <a:solidFill>
                <a:schemeClr val="bg1"/>
              </a:solidFill>
              <a:ln>
                <a:solidFill>
                  <a:schemeClr val="bg1"/>
                </a:solid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lacebo + chemo</a:t>
                </a:r>
              </a:p>
            </p:txBody>
          </p:sp>
        </p:grpSp>
        <p:sp>
          <p:nvSpPr>
            <p:cNvPr id="172" name="TextBox 171">
              <a:extLst>
                <a:ext uri="{FF2B5EF4-FFF2-40B4-BE49-F238E27FC236}">
                  <a16:creationId xmlns:a16="http://schemas.microsoft.com/office/drawing/2014/main" id="{9528516F-6BF9-31AB-D8A0-E82DCAC1FA35}"/>
                </a:ext>
              </a:extLst>
            </p:cNvPr>
            <p:cNvSpPr txBox="1"/>
            <p:nvPr/>
          </p:nvSpPr>
          <p:spPr>
            <a:xfrm>
              <a:off x="10460788" y="4650090"/>
              <a:ext cx="771365" cy="246221"/>
            </a:xfrm>
            <a:prstGeom prst="rect">
              <a:avLst/>
            </a:prstGeom>
            <a:noFill/>
            <a:ln>
              <a:no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Any Grade</a:t>
              </a:r>
            </a:p>
          </p:txBody>
        </p:sp>
        <p:pic>
          <p:nvPicPr>
            <p:cNvPr id="173" name="Picture 172">
              <a:extLst>
                <a:ext uri="{FF2B5EF4-FFF2-40B4-BE49-F238E27FC236}">
                  <a16:creationId xmlns:a16="http://schemas.microsoft.com/office/drawing/2014/main" id="{B751808A-A3EF-2C86-94AD-6B67289838E6}"/>
                </a:ext>
              </a:extLst>
            </p:cNvPr>
            <p:cNvPicPr>
              <a:picLocks noChangeAspect="1"/>
            </p:cNvPicPr>
            <p:nvPr/>
          </p:nvPicPr>
          <p:blipFill>
            <a:blip r:embed="rId5"/>
            <a:stretch>
              <a:fillRect/>
            </a:stretch>
          </p:blipFill>
          <p:spPr>
            <a:xfrm flipH="1">
              <a:off x="10758321" y="4954848"/>
              <a:ext cx="271600" cy="215996"/>
            </a:xfrm>
            <a:prstGeom prst="rect">
              <a:avLst/>
            </a:prstGeom>
          </p:spPr>
        </p:pic>
        <p:pic>
          <p:nvPicPr>
            <p:cNvPr id="174" name="Picture 173">
              <a:extLst>
                <a:ext uri="{FF2B5EF4-FFF2-40B4-BE49-F238E27FC236}">
                  <a16:creationId xmlns:a16="http://schemas.microsoft.com/office/drawing/2014/main" id="{24A3A224-DD5E-44CF-4859-9C8BA9272A19}"/>
                </a:ext>
              </a:extLst>
            </p:cNvPr>
            <p:cNvPicPr>
              <a:picLocks noChangeAspect="1"/>
            </p:cNvPicPr>
            <p:nvPr/>
          </p:nvPicPr>
          <p:blipFill>
            <a:blip r:embed="rId6"/>
            <a:stretch>
              <a:fillRect/>
            </a:stretch>
          </p:blipFill>
          <p:spPr>
            <a:xfrm>
              <a:off x="10758321" y="5268814"/>
              <a:ext cx="271599" cy="226216"/>
            </a:xfrm>
            <a:prstGeom prst="rect">
              <a:avLst/>
            </a:prstGeom>
          </p:spPr>
        </p:pic>
        <p:pic>
          <p:nvPicPr>
            <p:cNvPr id="175" name="Harmoni logo" descr="A black and green rectangle with a black background&#10;&#10;Description automatically generated">
              <a:extLst>
                <a:ext uri="{FF2B5EF4-FFF2-40B4-BE49-F238E27FC236}">
                  <a16:creationId xmlns:a16="http://schemas.microsoft.com/office/drawing/2014/main" id="{B2029A6F-60B0-902E-6722-2341DF56EA1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59332" y="709213"/>
              <a:ext cx="1511528" cy="347253"/>
            </a:xfrm>
            <a:prstGeom prst="rect">
              <a:avLst/>
            </a:prstGeom>
          </p:spPr>
        </p:pic>
        <p:sp>
          <p:nvSpPr>
            <p:cNvPr id="4" name="TextBox 3">
              <a:extLst>
                <a:ext uri="{FF2B5EF4-FFF2-40B4-BE49-F238E27FC236}">
                  <a16:creationId xmlns:a16="http://schemas.microsoft.com/office/drawing/2014/main" id="{719F01CA-9AE4-5384-4BA0-CDCEA2A055D0}"/>
                </a:ext>
              </a:extLst>
            </p:cNvPr>
            <p:cNvSpPr txBox="1"/>
            <p:nvPr/>
          </p:nvSpPr>
          <p:spPr>
            <a:xfrm>
              <a:off x="7960056" y="6682118"/>
              <a:ext cx="4231944" cy="207686"/>
            </a:xfrm>
            <a:prstGeom prst="rect">
              <a:avLst/>
            </a:prstGeom>
            <a:noFill/>
          </p:spPr>
          <p:txBody>
            <a:bodyPr wrap="square">
              <a:spAutoFit/>
            </a:bodyPr>
            <a:lstStyle/>
            <a:p>
              <a:pPr marL="0" marR="0" lvl="0" indent="0" algn="r" defTabSz="914377" rtl="0" eaLnBrk="1" fontAlgn="auto" latinLnBrk="0" hangingPunct="1">
                <a:lnSpc>
                  <a:spcPct val="115000"/>
                </a:lnSpc>
                <a:spcBef>
                  <a:spcPts val="0"/>
                </a:spcBef>
                <a:spcAft>
                  <a:spcPts val="800"/>
                </a:spcAft>
                <a:buClrTx/>
                <a:buSzTx/>
                <a:buFontTx/>
                <a:buNone/>
                <a:tabLst/>
                <a:defRPr/>
              </a:pPr>
              <a:r>
                <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d/c=discontinuation; </a:t>
              </a:r>
              <a:r>
                <a:rPr kumimoji="0" lang="en-US" sz="700" b="0" i="0" u="none" strike="noStrike" kern="10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irAE</a:t>
              </a:r>
              <a:r>
                <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immune-related adverse events; VEGF=</a:t>
              </a:r>
              <a:r>
                <a:rPr kumimoji="0" lang="en-US"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vascular endothelial growth factor.</a:t>
              </a:r>
              <a:endPar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3" name="TextBox 2">
              <a:extLst>
                <a:ext uri="{FF2B5EF4-FFF2-40B4-BE49-F238E27FC236}">
                  <a16:creationId xmlns:a16="http://schemas.microsoft.com/office/drawing/2014/main" id="{9A4AE38E-302C-552B-1E53-A252FC42EF56}"/>
                </a:ext>
              </a:extLst>
            </p:cNvPr>
            <p:cNvSpPr txBox="1"/>
            <p:nvPr/>
          </p:nvSpPr>
          <p:spPr>
            <a:xfrm>
              <a:off x="236641" y="5964979"/>
              <a:ext cx="4231944" cy="240643"/>
            </a:xfrm>
            <a:prstGeom prst="rect">
              <a:avLst/>
            </a:prstGeom>
            <a:noFill/>
          </p:spPr>
          <p:txBody>
            <a:bodyPr wrap="square">
              <a:spAutoFit/>
            </a:bodyPr>
            <a:lstStyle/>
            <a:p>
              <a:pPr marL="0" marR="0" lvl="0" indent="0" algn="l" defTabSz="914377" rtl="0" eaLnBrk="1" fontAlgn="auto" latinLnBrk="0" hangingPunct="1">
                <a:lnSpc>
                  <a:spcPct val="115000"/>
                </a:lnSpc>
                <a:spcBef>
                  <a:spcPts val="0"/>
                </a:spcBef>
                <a:spcAft>
                  <a:spcPts val="800"/>
                </a:spcAft>
                <a:buClrTx/>
                <a:buSzTx/>
                <a:buFontTx/>
                <a:buNone/>
                <a:tabLst/>
                <a:defRPr/>
              </a:pPr>
              <a:r>
                <a:rPr kumimoji="0" lang="en-US" sz="900" b="0" i="0" u="none" strike="noStrike" kern="1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One patient in each treatment arm did not receive study drug</a:t>
              </a:r>
            </a:p>
          </p:txBody>
        </p:sp>
      </p:grpSp>
      <p:sp>
        <p:nvSpPr>
          <p:cNvPr id="5" name="TextBox 4">
            <a:extLst>
              <a:ext uri="{FF2B5EF4-FFF2-40B4-BE49-F238E27FC236}">
                <a16:creationId xmlns:a16="http://schemas.microsoft.com/office/drawing/2014/main" id="{05F6DA3D-9BB5-8A3B-D41E-9A95E3B44618}"/>
              </a:ext>
            </a:extLst>
          </p:cNvPr>
          <p:cNvSpPr txBox="1"/>
          <p:nvPr/>
        </p:nvSpPr>
        <p:spPr>
          <a:xfrm>
            <a:off x="4363285" y="6406165"/>
            <a:ext cx="3091220" cy="25654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lumMod val="85000"/>
                  </a:srgbClr>
                </a:solidFill>
                <a:effectLst/>
                <a:uLnTx/>
                <a:uFillTx/>
                <a:latin typeface="Calibri"/>
                <a:ea typeface="+mn-ea"/>
                <a:cs typeface="+mn-cs"/>
              </a:rPr>
              <a:t>Goldman, et al. World Conf on Lung Cancer, 2025.</a:t>
            </a:r>
          </a:p>
        </p:txBody>
      </p:sp>
    </p:spTree>
    <p:extLst>
      <p:ext uri="{BB962C8B-B14F-4D97-AF65-F5344CB8AC3E}">
        <p14:creationId xmlns:p14="http://schemas.microsoft.com/office/powerpoint/2010/main" val="2175757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418C6-A98A-3B25-E4B9-13444E54AD75}"/>
            </a:ext>
          </a:extLst>
        </p:cNvPr>
        <p:cNvGrpSpPr/>
        <p:nvPr/>
      </p:nvGrpSpPr>
      <p:grpSpPr>
        <a:xfrm>
          <a:off x="0" y="0"/>
          <a:ext cx="0" cy="0"/>
          <a:chOff x="0" y="0"/>
          <a:chExt cx="0" cy="0"/>
        </a:xfrm>
      </p:grpSpPr>
      <p:grpSp>
        <p:nvGrpSpPr>
          <p:cNvPr id="109" name="Group 88">
            <a:extLst>
              <a:ext uri="{FF2B5EF4-FFF2-40B4-BE49-F238E27FC236}">
                <a16:creationId xmlns:a16="http://schemas.microsoft.com/office/drawing/2014/main" id="{CC465321-FD2E-9100-8C0D-FB85EF12AD33}"/>
              </a:ext>
            </a:extLst>
          </p:cNvPr>
          <p:cNvGrpSpPr>
            <a:grpSpLocks noChangeAspect="1"/>
          </p:cNvGrpSpPr>
          <p:nvPr/>
        </p:nvGrpSpPr>
        <p:grpSpPr bwMode="auto">
          <a:xfrm>
            <a:off x="490921" y="1672217"/>
            <a:ext cx="5505240" cy="4349809"/>
            <a:chOff x="522" y="1663"/>
            <a:chExt cx="3337" cy="2660"/>
          </a:xfrm>
        </p:grpSpPr>
        <p:sp>
          <p:nvSpPr>
            <p:cNvPr id="110" name="AutoShape 87">
              <a:extLst>
                <a:ext uri="{FF2B5EF4-FFF2-40B4-BE49-F238E27FC236}">
                  <a16:creationId xmlns:a16="http://schemas.microsoft.com/office/drawing/2014/main" id="{0D6F8FA9-B2D9-A687-C93D-EF9968B61B4A}"/>
                </a:ext>
              </a:extLst>
            </p:cNvPr>
            <p:cNvSpPr>
              <a:spLocks noChangeAspect="1" noChangeArrowheads="1" noTextEdit="1"/>
            </p:cNvSpPr>
            <p:nvPr/>
          </p:nvSpPr>
          <p:spPr bwMode="auto">
            <a:xfrm>
              <a:off x="527" y="1663"/>
              <a:ext cx="3327" cy="2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11" name="Rectangle 89">
              <a:extLst>
                <a:ext uri="{FF2B5EF4-FFF2-40B4-BE49-F238E27FC236}">
                  <a16:creationId xmlns:a16="http://schemas.microsoft.com/office/drawing/2014/main" id="{4083022A-F4B3-3C74-C25D-3723B833AAB6}"/>
                </a:ext>
              </a:extLst>
            </p:cNvPr>
            <p:cNvSpPr>
              <a:spLocks noChangeArrowheads="1"/>
            </p:cNvSpPr>
            <p:nvPr/>
          </p:nvSpPr>
          <p:spPr bwMode="auto">
            <a:xfrm>
              <a:off x="527" y="1663"/>
              <a:ext cx="3332"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12" name="Rectangle 90">
              <a:extLst>
                <a:ext uri="{FF2B5EF4-FFF2-40B4-BE49-F238E27FC236}">
                  <a16:creationId xmlns:a16="http://schemas.microsoft.com/office/drawing/2014/main" id="{9BF8752C-067B-4404-373B-05C5B0D4C2D9}"/>
                </a:ext>
              </a:extLst>
            </p:cNvPr>
            <p:cNvSpPr>
              <a:spLocks noChangeArrowheads="1"/>
            </p:cNvSpPr>
            <p:nvPr/>
          </p:nvSpPr>
          <p:spPr bwMode="auto">
            <a:xfrm>
              <a:off x="527" y="1663"/>
              <a:ext cx="3332" cy="2660"/>
            </a:xfrm>
            <a:prstGeom prst="rect">
              <a:avLst/>
            </a:pr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13" name="Rectangle 91">
              <a:extLst>
                <a:ext uri="{FF2B5EF4-FFF2-40B4-BE49-F238E27FC236}">
                  <a16:creationId xmlns:a16="http://schemas.microsoft.com/office/drawing/2014/main" id="{B4CF1D63-B52B-76DF-E0FC-7F0D5FAF8E04}"/>
                </a:ext>
              </a:extLst>
            </p:cNvPr>
            <p:cNvSpPr>
              <a:spLocks noChangeArrowheads="1"/>
            </p:cNvSpPr>
            <p:nvPr/>
          </p:nvSpPr>
          <p:spPr bwMode="auto">
            <a:xfrm>
              <a:off x="1103" y="2656"/>
              <a:ext cx="189" cy="86"/>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14" name="Rectangle 92">
              <a:extLst>
                <a:ext uri="{FF2B5EF4-FFF2-40B4-BE49-F238E27FC236}">
                  <a16:creationId xmlns:a16="http://schemas.microsoft.com/office/drawing/2014/main" id="{C4295446-26C0-E5F3-A06A-4B61FC04B3A2}"/>
                </a:ext>
              </a:extLst>
            </p:cNvPr>
            <p:cNvSpPr>
              <a:spLocks noChangeArrowheads="1"/>
            </p:cNvSpPr>
            <p:nvPr/>
          </p:nvSpPr>
          <p:spPr bwMode="auto">
            <a:xfrm>
              <a:off x="1103" y="2752"/>
              <a:ext cx="218" cy="86"/>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15" name="Rectangle 93">
              <a:extLst>
                <a:ext uri="{FF2B5EF4-FFF2-40B4-BE49-F238E27FC236}">
                  <a16:creationId xmlns:a16="http://schemas.microsoft.com/office/drawing/2014/main" id="{EC5249E2-70D4-214A-4D82-8560D7E3513F}"/>
                </a:ext>
              </a:extLst>
            </p:cNvPr>
            <p:cNvSpPr>
              <a:spLocks noChangeArrowheads="1"/>
            </p:cNvSpPr>
            <p:nvPr/>
          </p:nvSpPr>
          <p:spPr bwMode="auto">
            <a:xfrm>
              <a:off x="1103" y="3376"/>
              <a:ext cx="93" cy="86"/>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16" name="Rectangle 94">
              <a:extLst>
                <a:ext uri="{FF2B5EF4-FFF2-40B4-BE49-F238E27FC236}">
                  <a16:creationId xmlns:a16="http://schemas.microsoft.com/office/drawing/2014/main" id="{8060247A-940B-6753-6F1F-24A84FB0708C}"/>
                </a:ext>
              </a:extLst>
            </p:cNvPr>
            <p:cNvSpPr>
              <a:spLocks noChangeArrowheads="1"/>
            </p:cNvSpPr>
            <p:nvPr/>
          </p:nvSpPr>
          <p:spPr bwMode="auto">
            <a:xfrm>
              <a:off x="1103" y="3474"/>
              <a:ext cx="189" cy="83"/>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17" name="Rectangle 95">
              <a:extLst>
                <a:ext uri="{FF2B5EF4-FFF2-40B4-BE49-F238E27FC236}">
                  <a16:creationId xmlns:a16="http://schemas.microsoft.com/office/drawing/2014/main" id="{3E954FB5-F0F6-4226-D5F0-FC164F244F8F}"/>
                </a:ext>
              </a:extLst>
            </p:cNvPr>
            <p:cNvSpPr>
              <a:spLocks noChangeArrowheads="1"/>
            </p:cNvSpPr>
            <p:nvPr/>
          </p:nvSpPr>
          <p:spPr bwMode="auto">
            <a:xfrm>
              <a:off x="1103" y="2896"/>
              <a:ext cx="218" cy="86"/>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18" name="Rectangle 96">
              <a:extLst>
                <a:ext uri="{FF2B5EF4-FFF2-40B4-BE49-F238E27FC236}">
                  <a16:creationId xmlns:a16="http://schemas.microsoft.com/office/drawing/2014/main" id="{3E4BBA9F-1F74-E1EC-2B24-EBE0F721054E}"/>
                </a:ext>
              </a:extLst>
            </p:cNvPr>
            <p:cNvSpPr>
              <a:spLocks noChangeArrowheads="1"/>
            </p:cNvSpPr>
            <p:nvPr/>
          </p:nvSpPr>
          <p:spPr bwMode="auto">
            <a:xfrm>
              <a:off x="1103" y="2995"/>
              <a:ext cx="189" cy="83"/>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19" name="Rectangle 97">
              <a:extLst>
                <a:ext uri="{FF2B5EF4-FFF2-40B4-BE49-F238E27FC236}">
                  <a16:creationId xmlns:a16="http://schemas.microsoft.com/office/drawing/2014/main" id="{74642D57-3DD8-002E-43D1-117A2E46C61F}"/>
                </a:ext>
              </a:extLst>
            </p:cNvPr>
            <p:cNvSpPr>
              <a:spLocks noChangeArrowheads="1"/>
            </p:cNvSpPr>
            <p:nvPr/>
          </p:nvSpPr>
          <p:spPr bwMode="auto">
            <a:xfrm>
              <a:off x="1103" y="3859"/>
              <a:ext cx="157" cy="83"/>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20" name="Rectangle 98">
              <a:extLst>
                <a:ext uri="{FF2B5EF4-FFF2-40B4-BE49-F238E27FC236}">
                  <a16:creationId xmlns:a16="http://schemas.microsoft.com/office/drawing/2014/main" id="{2D88C696-E7FF-DA82-3EE4-BBFDDB7B19B1}"/>
                </a:ext>
              </a:extLst>
            </p:cNvPr>
            <p:cNvSpPr>
              <a:spLocks noChangeArrowheads="1"/>
            </p:cNvSpPr>
            <p:nvPr/>
          </p:nvSpPr>
          <p:spPr bwMode="auto">
            <a:xfrm>
              <a:off x="1103" y="3954"/>
              <a:ext cx="64" cy="83"/>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21" name="Rectangle 99">
              <a:extLst>
                <a:ext uri="{FF2B5EF4-FFF2-40B4-BE49-F238E27FC236}">
                  <a16:creationId xmlns:a16="http://schemas.microsoft.com/office/drawing/2014/main" id="{E76275CD-A88F-BCE2-D577-6767C820CF5F}"/>
                </a:ext>
              </a:extLst>
            </p:cNvPr>
            <p:cNvSpPr>
              <a:spLocks noChangeArrowheads="1"/>
            </p:cNvSpPr>
            <p:nvPr/>
          </p:nvSpPr>
          <p:spPr bwMode="auto">
            <a:xfrm>
              <a:off x="1103" y="2416"/>
              <a:ext cx="282" cy="83"/>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22" name="Rectangle 100">
              <a:extLst>
                <a:ext uri="{FF2B5EF4-FFF2-40B4-BE49-F238E27FC236}">
                  <a16:creationId xmlns:a16="http://schemas.microsoft.com/office/drawing/2014/main" id="{27DD33D4-A11C-0489-04D3-0E8FC10A7CF1}"/>
                </a:ext>
              </a:extLst>
            </p:cNvPr>
            <p:cNvSpPr>
              <a:spLocks noChangeArrowheads="1"/>
            </p:cNvSpPr>
            <p:nvPr/>
          </p:nvSpPr>
          <p:spPr bwMode="auto">
            <a:xfrm>
              <a:off x="1103" y="2512"/>
              <a:ext cx="1" cy="86"/>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23" name="Rectangle 101">
              <a:extLst>
                <a:ext uri="{FF2B5EF4-FFF2-40B4-BE49-F238E27FC236}">
                  <a16:creationId xmlns:a16="http://schemas.microsoft.com/office/drawing/2014/main" id="{AF470A25-9FCC-256D-77EB-FBF4E8F9F74B}"/>
                </a:ext>
              </a:extLst>
            </p:cNvPr>
            <p:cNvSpPr>
              <a:spLocks noChangeArrowheads="1"/>
            </p:cNvSpPr>
            <p:nvPr/>
          </p:nvSpPr>
          <p:spPr bwMode="auto">
            <a:xfrm>
              <a:off x="1103" y="2177"/>
              <a:ext cx="565" cy="83"/>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4" name="Rectangle 102">
              <a:extLst>
                <a:ext uri="{FF2B5EF4-FFF2-40B4-BE49-F238E27FC236}">
                  <a16:creationId xmlns:a16="http://schemas.microsoft.com/office/drawing/2014/main" id="{6A5E162C-E4EC-D963-9084-67BF7E1FA62E}"/>
                </a:ext>
              </a:extLst>
            </p:cNvPr>
            <p:cNvSpPr>
              <a:spLocks noChangeArrowheads="1"/>
            </p:cNvSpPr>
            <p:nvPr/>
          </p:nvSpPr>
          <p:spPr bwMode="auto">
            <a:xfrm>
              <a:off x="1103" y="2272"/>
              <a:ext cx="1" cy="86"/>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25" name="Rectangle 103">
              <a:extLst>
                <a:ext uri="{FF2B5EF4-FFF2-40B4-BE49-F238E27FC236}">
                  <a16:creationId xmlns:a16="http://schemas.microsoft.com/office/drawing/2014/main" id="{D429C6B8-B6D2-8A5B-81E8-29188F355930}"/>
                </a:ext>
              </a:extLst>
            </p:cNvPr>
            <p:cNvSpPr>
              <a:spLocks noChangeArrowheads="1"/>
            </p:cNvSpPr>
            <p:nvPr/>
          </p:nvSpPr>
          <p:spPr bwMode="auto">
            <a:xfrm>
              <a:off x="1103" y="3136"/>
              <a:ext cx="189" cy="86"/>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26" name="Rectangle 104">
              <a:extLst>
                <a:ext uri="{FF2B5EF4-FFF2-40B4-BE49-F238E27FC236}">
                  <a16:creationId xmlns:a16="http://schemas.microsoft.com/office/drawing/2014/main" id="{636E7F35-3ECE-6B4B-7F0B-67FF7D698991}"/>
                </a:ext>
              </a:extLst>
            </p:cNvPr>
            <p:cNvSpPr>
              <a:spLocks noChangeArrowheads="1"/>
            </p:cNvSpPr>
            <p:nvPr/>
          </p:nvSpPr>
          <p:spPr bwMode="auto">
            <a:xfrm>
              <a:off x="1103" y="3234"/>
              <a:ext cx="218" cy="84"/>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27" name="Rectangle 105">
              <a:extLst>
                <a:ext uri="{FF2B5EF4-FFF2-40B4-BE49-F238E27FC236}">
                  <a16:creationId xmlns:a16="http://schemas.microsoft.com/office/drawing/2014/main" id="{05346EAF-57FC-95AF-95FF-BDF93F4379A1}"/>
                </a:ext>
              </a:extLst>
            </p:cNvPr>
            <p:cNvSpPr>
              <a:spLocks noChangeArrowheads="1"/>
            </p:cNvSpPr>
            <p:nvPr/>
          </p:nvSpPr>
          <p:spPr bwMode="auto">
            <a:xfrm>
              <a:off x="1103" y="3619"/>
              <a:ext cx="189" cy="83"/>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28" name="Rectangle 106">
              <a:extLst>
                <a:ext uri="{FF2B5EF4-FFF2-40B4-BE49-F238E27FC236}">
                  <a16:creationId xmlns:a16="http://schemas.microsoft.com/office/drawing/2014/main" id="{25174FD6-E256-67C3-9C68-EC905F8A0D90}"/>
                </a:ext>
              </a:extLst>
            </p:cNvPr>
            <p:cNvSpPr>
              <a:spLocks noChangeArrowheads="1"/>
            </p:cNvSpPr>
            <p:nvPr/>
          </p:nvSpPr>
          <p:spPr bwMode="auto">
            <a:xfrm>
              <a:off x="1103" y="3714"/>
              <a:ext cx="32" cy="83"/>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29" name="Rectangle 107">
              <a:extLst>
                <a:ext uri="{FF2B5EF4-FFF2-40B4-BE49-F238E27FC236}">
                  <a16:creationId xmlns:a16="http://schemas.microsoft.com/office/drawing/2014/main" id="{72858461-45E5-EB37-DF26-B544A3FEAC4B}"/>
                </a:ext>
              </a:extLst>
            </p:cNvPr>
            <p:cNvSpPr>
              <a:spLocks noChangeArrowheads="1"/>
            </p:cNvSpPr>
            <p:nvPr/>
          </p:nvSpPr>
          <p:spPr bwMode="auto">
            <a:xfrm>
              <a:off x="1103" y="1937"/>
              <a:ext cx="2263" cy="83"/>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30" name="Rectangle 108">
              <a:extLst>
                <a:ext uri="{FF2B5EF4-FFF2-40B4-BE49-F238E27FC236}">
                  <a16:creationId xmlns:a16="http://schemas.microsoft.com/office/drawing/2014/main" id="{61397161-334C-00E1-16B2-8BEF8B2DB0E3}"/>
                </a:ext>
              </a:extLst>
            </p:cNvPr>
            <p:cNvSpPr>
              <a:spLocks noChangeArrowheads="1"/>
            </p:cNvSpPr>
            <p:nvPr/>
          </p:nvSpPr>
          <p:spPr bwMode="auto">
            <a:xfrm>
              <a:off x="1103" y="2032"/>
              <a:ext cx="1226" cy="83"/>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31" name="Rectangle 109">
              <a:extLst>
                <a:ext uri="{FF2B5EF4-FFF2-40B4-BE49-F238E27FC236}">
                  <a16:creationId xmlns:a16="http://schemas.microsoft.com/office/drawing/2014/main" id="{C23BEA8F-24B1-5AED-31AA-696D0F97142B}"/>
                </a:ext>
              </a:extLst>
            </p:cNvPr>
            <p:cNvSpPr>
              <a:spLocks noChangeArrowheads="1"/>
            </p:cNvSpPr>
            <p:nvPr/>
          </p:nvSpPr>
          <p:spPr bwMode="auto">
            <a:xfrm>
              <a:off x="1103" y="2656"/>
              <a:ext cx="64" cy="86"/>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32" name="Rectangle 110">
              <a:extLst>
                <a:ext uri="{FF2B5EF4-FFF2-40B4-BE49-F238E27FC236}">
                  <a16:creationId xmlns:a16="http://schemas.microsoft.com/office/drawing/2014/main" id="{54166628-F694-5D39-20C8-2EDDCD582235}"/>
                </a:ext>
              </a:extLst>
            </p:cNvPr>
            <p:cNvSpPr>
              <a:spLocks noChangeArrowheads="1"/>
            </p:cNvSpPr>
            <p:nvPr/>
          </p:nvSpPr>
          <p:spPr bwMode="auto">
            <a:xfrm>
              <a:off x="1103" y="2752"/>
              <a:ext cx="64" cy="86"/>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33" name="Rectangle 111">
              <a:extLst>
                <a:ext uri="{FF2B5EF4-FFF2-40B4-BE49-F238E27FC236}">
                  <a16:creationId xmlns:a16="http://schemas.microsoft.com/office/drawing/2014/main" id="{BD308B34-5F89-3E6B-39C1-1150F41739DB}"/>
                </a:ext>
              </a:extLst>
            </p:cNvPr>
            <p:cNvSpPr>
              <a:spLocks noChangeArrowheads="1"/>
            </p:cNvSpPr>
            <p:nvPr/>
          </p:nvSpPr>
          <p:spPr bwMode="auto">
            <a:xfrm>
              <a:off x="1103" y="3376"/>
              <a:ext cx="32" cy="86"/>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34" name="Rectangle 112">
              <a:extLst>
                <a:ext uri="{FF2B5EF4-FFF2-40B4-BE49-F238E27FC236}">
                  <a16:creationId xmlns:a16="http://schemas.microsoft.com/office/drawing/2014/main" id="{B8BFFCE0-6DD3-91AD-51BE-B5FD9EC109A3}"/>
                </a:ext>
              </a:extLst>
            </p:cNvPr>
            <p:cNvSpPr>
              <a:spLocks noChangeArrowheads="1"/>
            </p:cNvSpPr>
            <p:nvPr/>
          </p:nvSpPr>
          <p:spPr bwMode="auto">
            <a:xfrm>
              <a:off x="1103" y="3474"/>
              <a:ext cx="32" cy="83"/>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35" name="Rectangle 113">
              <a:extLst>
                <a:ext uri="{FF2B5EF4-FFF2-40B4-BE49-F238E27FC236}">
                  <a16:creationId xmlns:a16="http://schemas.microsoft.com/office/drawing/2014/main" id="{B26B1A55-D6D5-CA01-6A0C-2436C271EA5F}"/>
                </a:ext>
              </a:extLst>
            </p:cNvPr>
            <p:cNvSpPr>
              <a:spLocks noChangeArrowheads="1"/>
            </p:cNvSpPr>
            <p:nvPr/>
          </p:nvSpPr>
          <p:spPr bwMode="auto">
            <a:xfrm>
              <a:off x="1103" y="2896"/>
              <a:ext cx="1" cy="86"/>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36" name="Rectangle 114">
              <a:extLst>
                <a:ext uri="{FF2B5EF4-FFF2-40B4-BE49-F238E27FC236}">
                  <a16:creationId xmlns:a16="http://schemas.microsoft.com/office/drawing/2014/main" id="{680CB1B7-5B2D-E7DF-E21F-A5C71B851196}"/>
                </a:ext>
              </a:extLst>
            </p:cNvPr>
            <p:cNvSpPr>
              <a:spLocks noChangeArrowheads="1"/>
            </p:cNvSpPr>
            <p:nvPr/>
          </p:nvSpPr>
          <p:spPr bwMode="auto">
            <a:xfrm>
              <a:off x="1103" y="2995"/>
              <a:ext cx="1" cy="83"/>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37" name="Rectangle 115">
              <a:extLst>
                <a:ext uri="{FF2B5EF4-FFF2-40B4-BE49-F238E27FC236}">
                  <a16:creationId xmlns:a16="http://schemas.microsoft.com/office/drawing/2014/main" id="{0C0E9C09-1B39-8675-EDC0-DCEFFCDAE55C}"/>
                </a:ext>
              </a:extLst>
            </p:cNvPr>
            <p:cNvSpPr>
              <a:spLocks noChangeArrowheads="1"/>
            </p:cNvSpPr>
            <p:nvPr/>
          </p:nvSpPr>
          <p:spPr bwMode="auto">
            <a:xfrm>
              <a:off x="1103" y="3859"/>
              <a:ext cx="1" cy="83"/>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38" name="Rectangle 116">
              <a:extLst>
                <a:ext uri="{FF2B5EF4-FFF2-40B4-BE49-F238E27FC236}">
                  <a16:creationId xmlns:a16="http://schemas.microsoft.com/office/drawing/2014/main" id="{B505A07A-6BDD-BAA6-2CEC-83F987AD1635}"/>
                </a:ext>
              </a:extLst>
            </p:cNvPr>
            <p:cNvSpPr>
              <a:spLocks noChangeArrowheads="1"/>
            </p:cNvSpPr>
            <p:nvPr/>
          </p:nvSpPr>
          <p:spPr bwMode="auto">
            <a:xfrm>
              <a:off x="1103" y="3954"/>
              <a:ext cx="1" cy="83"/>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39" name="Rectangle 117">
              <a:extLst>
                <a:ext uri="{FF2B5EF4-FFF2-40B4-BE49-F238E27FC236}">
                  <a16:creationId xmlns:a16="http://schemas.microsoft.com/office/drawing/2014/main" id="{A2B9E348-4E67-FD64-F3EF-8665F9318B55}"/>
                </a:ext>
              </a:extLst>
            </p:cNvPr>
            <p:cNvSpPr>
              <a:spLocks noChangeArrowheads="1"/>
            </p:cNvSpPr>
            <p:nvPr/>
          </p:nvSpPr>
          <p:spPr bwMode="auto">
            <a:xfrm>
              <a:off x="1103" y="2416"/>
              <a:ext cx="1" cy="83"/>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40" name="Rectangle 118">
              <a:extLst>
                <a:ext uri="{FF2B5EF4-FFF2-40B4-BE49-F238E27FC236}">
                  <a16:creationId xmlns:a16="http://schemas.microsoft.com/office/drawing/2014/main" id="{40321EC6-BC3E-570F-EBCD-A1688E280C2B}"/>
                </a:ext>
              </a:extLst>
            </p:cNvPr>
            <p:cNvSpPr>
              <a:spLocks noChangeArrowheads="1"/>
            </p:cNvSpPr>
            <p:nvPr/>
          </p:nvSpPr>
          <p:spPr bwMode="auto">
            <a:xfrm>
              <a:off x="1103" y="2512"/>
              <a:ext cx="1" cy="86"/>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41" name="Rectangle 119">
              <a:extLst>
                <a:ext uri="{FF2B5EF4-FFF2-40B4-BE49-F238E27FC236}">
                  <a16:creationId xmlns:a16="http://schemas.microsoft.com/office/drawing/2014/main" id="{688E788C-78C1-923A-E358-3EBC95600F76}"/>
                </a:ext>
              </a:extLst>
            </p:cNvPr>
            <p:cNvSpPr>
              <a:spLocks noChangeArrowheads="1"/>
            </p:cNvSpPr>
            <p:nvPr/>
          </p:nvSpPr>
          <p:spPr bwMode="auto">
            <a:xfrm>
              <a:off x="1103" y="2177"/>
              <a:ext cx="32" cy="83"/>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42" name="Rectangle 120">
              <a:extLst>
                <a:ext uri="{FF2B5EF4-FFF2-40B4-BE49-F238E27FC236}">
                  <a16:creationId xmlns:a16="http://schemas.microsoft.com/office/drawing/2014/main" id="{CDE30D5C-0A49-1A03-086D-9C187B800919}"/>
                </a:ext>
              </a:extLst>
            </p:cNvPr>
            <p:cNvSpPr>
              <a:spLocks noChangeArrowheads="1"/>
            </p:cNvSpPr>
            <p:nvPr/>
          </p:nvSpPr>
          <p:spPr bwMode="auto">
            <a:xfrm>
              <a:off x="1103" y="2272"/>
              <a:ext cx="1" cy="86"/>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43" name="Rectangle 121">
              <a:extLst>
                <a:ext uri="{FF2B5EF4-FFF2-40B4-BE49-F238E27FC236}">
                  <a16:creationId xmlns:a16="http://schemas.microsoft.com/office/drawing/2014/main" id="{4D179B5A-2E5C-2E87-1C59-07511A58DF7B}"/>
                </a:ext>
              </a:extLst>
            </p:cNvPr>
            <p:cNvSpPr>
              <a:spLocks noChangeArrowheads="1"/>
            </p:cNvSpPr>
            <p:nvPr/>
          </p:nvSpPr>
          <p:spPr bwMode="auto">
            <a:xfrm>
              <a:off x="1103" y="3136"/>
              <a:ext cx="32" cy="86"/>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44" name="Rectangle 122">
              <a:extLst>
                <a:ext uri="{FF2B5EF4-FFF2-40B4-BE49-F238E27FC236}">
                  <a16:creationId xmlns:a16="http://schemas.microsoft.com/office/drawing/2014/main" id="{C6F8BC68-7A9F-B21F-8667-9908CFC9F046}"/>
                </a:ext>
              </a:extLst>
            </p:cNvPr>
            <p:cNvSpPr>
              <a:spLocks noChangeArrowheads="1"/>
            </p:cNvSpPr>
            <p:nvPr/>
          </p:nvSpPr>
          <p:spPr bwMode="auto">
            <a:xfrm>
              <a:off x="1103" y="3234"/>
              <a:ext cx="32" cy="84"/>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45" name="Rectangle 123">
              <a:extLst>
                <a:ext uri="{FF2B5EF4-FFF2-40B4-BE49-F238E27FC236}">
                  <a16:creationId xmlns:a16="http://schemas.microsoft.com/office/drawing/2014/main" id="{D04F7E73-DC0C-C102-A88C-225647654FAF}"/>
                </a:ext>
              </a:extLst>
            </p:cNvPr>
            <p:cNvSpPr>
              <a:spLocks noChangeArrowheads="1"/>
            </p:cNvSpPr>
            <p:nvPr/>
          </p:nvSpPr>
          <p:spPr bwMode="auto">
            <a:xfrm>
              <a:off x="1103" y="3619"/>
              <a:ext cx="32" cy="83"/>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46" name="Rectangle 124">
              <a:extLst>
                <a:ext uri="{FF2B5EF4-FFF2-40B4-BE49-F238E27FC236}">
                  <a16:creationId xmlns:a16="http://schemas.microsoft.com/office/drawing/2014/main" id="{2DCCB417-4E7D-C2A7-1873-9265F8D95CC6}"/>
                </a:ext>
              </a:extLst>
            </p:cNvPr>
            <p:cNvSpPr>
              <a:spLocks noChangeArrowheads="1"/>
            </p:cNvSpPr>
            <p:nvPr/>
          </p:nvSpPr>
          <p:spPr bwMode="auto">
            <a:xfrm>
              <a:off x="1103" y="3714"/>
              <a:ext cx="1" cy="83"/>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47" name="Rectangle 125">
              <a:extLst>
                <a:ext uri="{FF2B5EF4-FFF2-40B4-BE49-F238E27FC236}">
                  <a16:creationId xmlns:a16="http://schemas.microsoft.com/office/drawing/2014/main" id="{AA423DAA-E17B-EC6C-DBF9-E23247B20709}"/>
                </a:ext>
              </a:extLst>
            </p:cNvPr>
            <p:cNvSpPr>
              <a:spLocks noChangeArrowheads="1"/>
            </p:cNvSpPr>
            <p:nvPr/>
          </p:nvSpPr>
          <p:spPr bwMode="auto">
            <a:xfrm>
              <a:off x="1103" y="1937"/>
              <a:ext cx="658" cy="83"/>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48" name="Rectangle 126">
              <a:extLst>
                <a:ext uri="{FF2B5EF4-FFF2-40B4-BE49-F238E27FC236}">
                  <a16:creationId xmlns:a16="http://schemas.microsoft.com/office/drawing/2014/main" id="{B69C9678-3F5E-FFA6-40E0-91CF249128E7}"/>
                </a:ext>
              </a:extLst>
            </p:cNvPr>
            <p:cNvSpPr>
              <a:spLocks noChangeArrowheads="1"/>
            </p:cNvSpPr>
            <p:nvPr/>
          </p:nvSpPr>
          <p:spPr bwMode="auto">
            <a:xfrm>
              <a:off x="1103" y="2032"/>
              <a:ext cx="408" cy="83"/>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sp>
          <p:nvSpPr>
            <p:cNvPr id="149" name="Rectangle 127">
              <a:extLst>
                <a:ext uri="{FF2B5EF4-FFF2-40B4-BE49-F238E27FC236}">
                  <a16:creationId xmlns:a16="http://schemas.microsoft.com/office/drawing/2014/main" id="{2CA6F1B8-1E19-1690-229B-5ABEE1F850E7}"/>
                </a:ext>
              </a:extLst>
            </p:cNvPr>
            <p:cNvSpPr>
              <a:spLocks noChangeArrowheads="1"/>
            </p:cNvSpPr>
            <p:nvPr/>
          </p:nvSpPr>
          <p:spPr bwMode="auto">
            <a:xfrm>
              <a:off x="1188" y="2656"/>
              <a:ext cx="108"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0.9</a:t>
              </a:r>
            </a:p>
          </p:txBody>
        </p:sp>
        <p:sp>
          <p:nvSpPr>
            <p:cNvPr id="150" name="Rectangle 128">
              <a:extLst>
                <a:ext uri="{FF2B5EF4-FFF2-40B4-BE49-F238E27FC236}">
                  <a16:creationId xmlns:a16="http://schemas.microsoft.com/office/drawing/2014/main" id="{4695214C-F214-5906-0547-09E126124724}"/>
                </a:ext>
              </a:extLst>
            </p:cNvPr>
            <p:cNvSpPr>
              <a:spLocks noChangeArrowheads="1"/>
            </p:cNvSpPr>
            <p:nvPr/>
          </p:nvSpPr>
          <p:spPr bwMode="auto">
            <a:xfrm>
              <a:off x="1188" y="2754"/>
              <a:ext cx="108"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0.9</a:t>
              </a:r>
            </a:p>
          </p:txBody>
        </p:sp>
        <p:sp>
          <p:nvSpPr>
            <p:cNvPr id="151" name="Rectangle 129">
              <a:extLst>
                <a:ext uri="{FF2B5EF4-FFF2-40B4-BE49-F238E27FC236}">
                  <a16:creationId xmlns:a16="http://schemas.microsoft.com/office/drawing/2014/main" id="{C92FB0F4-F490-5563-2111-251A9520DB75}"/>
                </a:ext>
              </a:extLst>
            </p:cNvPr>
            <p:cNvSpPr>
              <a:spLocks noChangeArrowheads="1"/>
            </p:cNvSpPr>
            <p:nvPr/>
          </p:nvSpPr>
          <p:spPr bwMode="auto">
            <a:xfrm>
              <a:off x="1148" y="3379"/>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5</a:t>
              </a:r>
            </a:p>
          </p:txBody>
        </p:sp>
        <p:sp>
          <p:nvSpPr>
            <p:cNvPr id="152" name="Rectangle 130">
              <a:extLst>
                <a:ext uri="{FF2B5EF4-FFF2-40B4-BE49-F238E27FC236}">
                  <a16:creationId xmlns:a16="http://schemas.microsoft.com/office/drawing/2014/main" id="{131D7837-17EE-91BB-291D-B1D5E5FB188B}"/>
                </a:ext>
              </a:extLst>
            </p:cNvPr>
            <p:cNvSpPr>
              <a:spLocks noChangeArrowheads="1"/>
            </p:cNvSpPr>
            <p:nvPr/>
          </p:nvSpPr>
          <p:spPr bwMode="auto">
            <a:xfrm>
              <a:off x="1156" y="3478"/>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5</a:t>
              </a:r>
            </a:p>
          </p:txBody>
        </p:sp>
        <p:sp>
          <p:nvSpPr>
            <p:cNvPr id="153" name="Rectangle 131">
              <a:extLst>
                <a:ext uri="{FF2B5EF4-FFF2-40B4-BE49-F238E27FC236}">
                  <a16:creationId xmlns:a16="http://schemas.microsoft.com/office/drawing/2014/main" id="{CC0244D2-6B9F-F8DD-1ED6-7766B13BA562}"/>
                </a:ext>
              </a:extLst>
            </p:cNvPr>
            <p:cNvSpPr>
              <a:spLocks noChangeArrowheads="1"/>
            </p:cNvSpPr>
            <p:nvPr/>
          </p:nvSpPr>
          <p:spPr bwMode="auto">
            <a:xfrm>
              <a:off x="1143" y="2183"/>
              <a:ext cx="108"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0.5</a:t>
              </a:r>
            </a:p>
          </p:txBody>
        </p:sp>
        <p:sp>
          <p:nvSpPr>
            <p:cNvPr id="154" name="Rectangle 132">
              <a:extLst>
                <a:ext uri="{FF2B5EF4-FFF2-40B4-BE49-F238E27FC236}">
                  <a16:creationId xmlns:a16="http://schemas.microsoft.com/office/drawing/2014/main" id="{B60C8A27-5877-4B57-B296-6AABA8338A50}"/>
                </a:ext>
              </a:extLst>
            </p:cNvPr>
            <p:cNvSpPr>
              <a:spLocks noChangeArrowheads="1"/>
            </p:cNvSpPr>
            <p:nvPr/>
          </p:nvSpPr>
          <p:spPr bwMode="auto">
            <a:xfrm>
              <a:off x="1156" y="3139"/>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5</a:t>
              </a:r>
            </a:p>
          </p:txBody>
        </p:sp>
        <p:sp>
          <p:nvSpPr>
            <p:cNvPr id="155" name="Rectangle 133">
              <a:extLst>
                <a:ext uri="{FF2B5EF4-FFF2-40B4-BE49-F238E27FC236}">
                  <a16:creationId xmlns:a16="http://schemas.microsoft.com/office/drawing/2014/main" id="{31233E9D-215C-056E-9EEC-9AB06797DD71}"/>
                </a:ext>
              </a:extLst>
            </p:cNvPr>
            <p:cNvSpPr>
              <a:spLocks noChangeArrowheads="1"/>
            </p:cNvSpPr>
            <p:nvPr/>
          </p:nvSpPr>
          <p:spPr bwMode="auto">
            <a:xfrm>
              <a:off x="1156" y="3234"/>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5</a:t>
              </a:r>
            </a:p>
          </p:txBody>
        </p:sp>
        <p:sp>
          <p:nvSpPr>
            <p:cNvPr id="156" name="Rectangle 134">
              <a:extLst>
                <a:ext uri="{FF2B5EF4-FFF2-40B4-BE49-F238E27FC236}">
                  <a16:creationId xmlns:a16="http://schemas.microsoft.com/office/drawing/2014/main" id="{0F8518A1-B59C-50E0-C2B1-0E1DD5F2CFA4}"/>
                </a:ext>
              </a:extLst>
            </p:cNvPr>
            <p:cNvSpPr>
              <a:spLocks noChangeArrowheads="1"/>
            </p:cNvSpPr>
            <p:nvPr/>
          </p:nvSpPr>
          <p:spPr bwMode="auto">
            <a:xfrm>
              <a:off x="1156" y="3619"/>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5</a:t>
              </a:r>
            </a:p>
          </p:txBody>
        </p:sp>
        <p:sp>
          <p:nvSpPr>
            <p:cNvPr id="157" name="Rectangle 135">
              <a:extLst>
                <a:ext uri="{FF2B5EF4-FFF2-40B4-BE49-F238E27FC236}">
                  <a16:creationId xmlns:a16="http://schemas.microsoft.com/office/drawing/2014/main" id="{EDCF14E4-E7D0-00DC-DC4C-1EBB272A9DB1}"/>
                </a:ext>
              </a:extLst>
            </p:cNvPr>
            <p:cNvSpPr>
              <a:spLocks noChangeArrowheads="1"/>
            </p:cNvSpPr>
            <p:nvPr/>
          </p:nvSpPr>
          <p:spPr bwMode="auto">
            <a:xfrm>
              <a:off x="1785" y="1944"/>
              <a:ext cx="108"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9.6</a:t>
              </a:r>
            </a:p>
          </p:txBody>
        </p:sp>
        <p:sp>
          <p:nvSpPr>
            <p:cNvPr id="158" name="Rectangle 136">
              <a:extLst>
                <a:ext uri="{FF2B5EF4-FFF2-40B4-BE49-F238E27FC236}">
                  <a16:creationId xmlns:a16="http://schemas.microsoft.com/office/drawing/2014/main" id="{18C69E62-AEB6-CDCA-A5EA-69F508286D70}"/>
                </a:ext>
              </a:extLst>
            </p:cNvPr>
            <p:cNvSpPr>
              <a:spLocks noChangeArrowheads="1"/>
            </p:cNvSpPr>
            <p:nvPr/>
          </p:nvSpPr>
          <p:spPr bwMode="auto">
            <a:xfrm>
              <a:off x="1532" y="2036"/>
              <a:ext cx="108"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6.0</a:t>
              </a:r>
            </a:p>
          </p:txBody>
        </p:sp>
        <p:sp>
          <p:nvSpPr>
            <p:cNvPr id="159" name="Rectangle 137">
              <a:extLst>
                <a:ext uri="{FF2B5EF4-FFF2-40B4-BE49-F238E27FC236}">
                  <a16:creationId xmlns:a16="http://schemas.microsoft.com/office/drawing/2014/main" id="{1048F715-7E1D-7818-BF74-D732CDC19FEC}"/>
                </a:ext>
              </a:extLst>
            </p:cNvPr>
            <p:cNvSpPr>
              <a:spLocks noChangeArrowheads="1"/>
            </p:cNvSpPr>
            <p:nvPr/>
          </p:nvSpPr>
          <p:spPr bwMode="auto">
            <a:xfrm>
              <a:off x="1313" y="2652"/>
              <a:ext cx="108"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2.8</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0" name="Rectangle 138">
              <a:extLst>
                <a:ext uri="{FF2B5EF4-FFF2-40B4-BE49-F238E27FC236}">
                  <a16:creationId xmlns:a16="http://schemas.microsoft.com/office/drawing/2014/main" id="{798B5A09-EFDC-D34D-8AD8-1BA151C1A061}"/>
                </a:ext>
              </a:extLst>
            </p:cNvPr>
            <p:cNvSpPr>
              <a:spLocks noChangeArrowheads="1"/>
            </p:cNvSpPr>
            <p:nvPr/>
          </p:nvSpPr>
          <p:spPr bwMode="auto">
            <a:xfrm>
              <a:off x="1345" y="2754"/>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Arial" panose="020B0604020202020204" pitchFamily="34" charset="0"/>
                  <a:ea typeface="+mn-ea"/>
                  <a:cs typeface="+mn-cs"/>
                </a:rPr>
                <a:t>3.2</a:t>
              </a:r>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1" name="Rectangle 139">
              <a:extLst>
                <a:ext uri="{FF2B5EF4-FFF2-40B4-BE49-F238E27FC236}">
                  <a16:creationId xmlns:a16="http://schemas.microsoft.com/office/drawing/2014/main" id="{9E1C4651-E9CF-726A-CF55-3C80D8F490F5}"/>
                </a:ext>
              </a:extLst>
            </p:cNvPr>
            <p:cNvSpPr>
              <a:spLocks noChangeArrowheads="1"/>
            </p:cNvSpPr>
            <p:nvPr/>
          </p:nvSpPr>
          <p:spPr bwMode="auto">
            <a:xfrm>
              <a:off x="1271" y="3375"/>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Arial" panose="020B0604020202020204" pitchFamily="34" charset="0"/>
                  <a:ea typeface="+mn-ea"/>
                  <a:cs typeface="+mn-cs"/>
                </a:rPr>
                <a:t>1.4</a:t>
              </a:r>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2" name="Rectangle 140">
              <a:extLst>
                <a:ext uri="{FF2B5EF4-FFF2-40B4-BE49-F238E27FC236}">
                  <a16:creationId xmlns:a16="http://schemas.microsoft.com/office/drawing/2014/main" id="{09A87E65-93F4-DC6C-6AC0-8D5F86044FB0}"/>
                </a:ext>
              </a:extLst>
            </p:cNvPr>
            <p:cNvSpPr>
              <a:spLocks noChangeArrowheads="1"/>
            </p:cNvSpPr>
            <p:nvPr/>
          </p:nvSpPr>
          <p:spPr bwMode="auto">
            <a:xfrm>
              <a:off x="1313" y="3470"/>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8</a:t>
              </a:r>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3" name="Rectangle 141">
              <a:extLst>
                <a:ext uri="{FF2B5EF4-FFF2-40B4-BE49-F238E27FC236}">
                  <a16:creationId xmlns:a16="http://schemas.microsoft.com/office/drawing/2014/main" id="{2F56291A-E83D-828A-F8B2-B1CA37F701A4}"/>
                </a:ext>
              </a:extLst>
            </p:cNvPr>
            <p:cNvSpPr>
              <a:spLocks noChangeArrowheads="1"/>
            </p:cNvSpPr>
            <p:nvPr/>
          </p:nvSpPr>
          <p:spPr bwMode="auto">
            <a:xfrm>
              <a:off x="1345" y="2896"/>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Arial" panose="020B0604020202020204" pitchFamily="34" charset="0"/>
                  <a:ea typeface="+mn-ea"/>
                  <a:cs typeface="+mn-cs"/>
                </a:rPr>
                <a:t>3.2</a:t>
              </a:r>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4" name="Rectangle 142">
              <a:extLst>
                <a:ext uri="{FF2B5EF4-FFF2-40B4-BE49-F238E27FC236}">
                  <a16:creationId xmlns:a16="http://schemas.microsoft.com/office/drawing/2014/main" id="{B7F76808-49CE-9FAB-3D59-952FB7020741}"/>
                </a:ext>
              </a:extLst>
            </p:cNvPr>
            <p:cNvSpPr>
              <a:spLocks noChangeArrowheads="1"/>
            </p:cNvSpPr>
            <p:nvPr/>
          </p:nvSpPr>
          <p:spPr bwMode="auto">
            <a:xfrm>
              <a:off x="1313" y="2994"/>
              <a:ext cx="108"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2.8</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5" name="Rectangle 143">
              <a:extLst>
                <a:ext uri="{FF2B5EF4-FFF2-40B4-BE49-F238E27FC236}">
                  <a16:creationId xmlns:a16="http://schemas.microsoft.com/office/drawing/2014/main" id="{6A07AFEB-E2E4-5045-F722-EEF0D2B8E15B}"/>
                </a:ext>
              </a:extLst>
            </p:cNvPr>
            <p:cNvSpPr>
              <a:spLocks noChangeArrowheads="1"/>
            </p:cNvSpPr>
            <p:nvPr/>
          </p:nvSpPr>
          <p:spPr bwMode="auto">
            <a:xfrm>
              <a:off x="1281" y="3858"/>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3</a:t>
              </a:r>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6" name="Rectangle 144">
              <a:extLst>
                <a:ext uri="{FF2B5EF4-FFF2-40B4-BE49-F238E27FC236}">
                  <a16:creationId xmlns:a16="http://schemas.microsoft.com/office/drawing/2014/main" id="{EF6787D5-F9EE-68A2-02DC-E0FF32268DA2}"/>
                </a:ext>
              </a:extLst>
            </p:cNvPr>
            <p:cNvSpPr>
              <a:spLocks noChangeArrowheads="1"/>
            </p:cNvSpPr>
            <p:nvPr/>
          </p:nvSpPr>
          <p:spPr bwMode="auto">
            <a:xfrm>
              <a:off x="1188" y="3954"/>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Arial" panose="020B0604020202020204" pitchFamily="34" charset="0"/>
                  <a:ea typeface="+mn-ea"/>
                  <a:cs typeface="+mn-cs"/>
                </a:rPr>
                <a:t>0.9</a:t>
              </a:r>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7" name="Rectangle 145">
              <a:extLst>
                <a:ext uri="{FF2B5EF4-FFF2-40B4-BE49-F238E27FC236}">
                  <a16:creationId xmlns:a16="http://schemas.microsoft.com/office/drawing/2014/main" id="{3A5FA35B-0E3E-1360-5E7E-EEFFDAA7F556}"/>
                </a:ext>
              </a:extLst>
            </p:cNvPr>
            <p:cNvSpPr>
              <a:spLocks noChangeArrowheads="1"/>
            </p:cNvSpPr>
            <p:nvPr/>
          </p:nvSpPr>
          <p:spPr bwMode="auto">
            <a:xfrm>
              <a:off x="1407" y="2416"/>
              <a:ext cx="108"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4.1</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8" name="Rectangle 146">
              <a:extLst>
                <a:ext uri="{FF2B5EF4-FFF2-40B4-BE49-F238E27FC236}">
                  <a16:creationId xmlns:a16="http://schemas.microsoft.com/office/drawing/2014/main" id="{D3EA1080-11CE-8A21-B645-5E4D6AA4A5EF}"/>
                </a:ext>
              </a:extLst>
            </p:cNvPr>
            <p:cNvSpPr>
              <a:spLocks noChangeArrowheads="1"/>
            </p:cNvSpPr>
            <p:nvPr/>
          </p:nvSpPr>
          <p:spPr bwMode="auto">
            <a:xfrm>
              <a:off x="1689" y="2176"/>
              <a:ext cx="108"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8.3</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9" name="Rectangle 147">
              <a:extLst>
                <a:ext uri="{FF2B5EF4-FFF2-40B4-BE49-F238E27FC236}">
                  <a16:creationId xmlns:a16="http://schemas.microsoft.com/office/drawing/2014/main" id="{12BF371F-F29D-F78F-1B4F-4E8F21512CBB}"/>
                </a:ext>
              </a:extLst>
            </p:cNvPr>
            <p:cNvSpPr>
              <a:spLocks noChangeArrowheads="1"/>
            </p:cNvSpPr>
            <p:nvPr/>
          </p:nvSpPr>
          <p:spPr bwMode="auto">
            <a:xfrm>
              <a:off x="1313" y="3139"/>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8</a:t>
              </a:r>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0" name="Rectangle 148">
              <a:extLst>
                <a:ext uri="{FF2B5EF4-FFF2-40B4-BE49-F238E27FC236}">
                  <a16:creationId xmlns:a16="http://schemas.microsoft.com/office/drawing/2014/main" id="{B3329C9D-5857-56AB-1A3B-AAA67414B8C1}"/>
                </a:ext>
              </a:extLst>
            </p:cNvPr>
            <p:cNvSpPr>
              <a:spLocks noChangeArrowheads="1"/>
            </p:cNvSpPr>
            <p:nvPr/>
          </p:nvSpPr>
          <p:spPr bwMode="auto">
            <a:xfrm>
              <a:off x="1345" y="3234"/>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Arial" panose="020B0604020202020204" pitchFamily="34" charset="0"/>
                  <a:ea typeface="+mn-ea"/>
                  <a:cs typeface="+mn-cs"/>
                </a:rPr>
                <a:t>3.2</a:t>
              </a:r>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1" name="Rectangle 149">
              <a:extLst>
                <a:ext uri="{FF2B5EF4-FFF2-40B4-BE49-F238E27FC236}">
                  <a16:creationId xmlns:a16="http://schemas.microsoft.com/office/drawing/2014/main" id="{382040DE-7E8B-B940-A289-2915886CDE39}"/>
                </a:ext>
              </a:extLst>
            </p:cNvPr>
            <p:cNvSpPr>
              <a:spLocks noChangeArrowheads="1"/>
            </p:cNvSpPr>
            <p:nvPr/>
          </p:nvSpPr>
          <p:spPr bwMode="auto">
            <a:xfrm>
              <a:off x="1313" y="3619"/>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Arial" panose="020B0604020202020204" pitchFamily="34" charset="0"/>
                  <a:ea typeface="+mn-ea"/>
                  <a:cs typeface="+mn-cs"/>
                </a:rPr>
                <a:t>2.8</a:t>
              </a:r>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2" name="Rectangle 150">
              <a:extLst>
                <a:ext uri="{FF2B5EF4-FFF2-40B4-BE49-F238E27FC236}">
                  <a16:creationId xmlns:a16="http://schemas.microsoft.com/office/drawing/2014/main" id="{588A4171-2F2C-D81B-BAE4-EB5A1DC84FCF}"/>
                </a:ext>
              </a:extLst>
            </p:cNvPr>
            <p:cNvSpPr>
              <a:spLocks noChangeArrowheads="1"/>
            </p:cNvSpPr>
            <p:nvPr/>
          </p:nvSpPr>
          <p:spPr bwMode="auto">
            <a:xfrm>
              <a:off x="1156" y="3714"/>
              <a:ext cx="10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Arial" panose="020B0604020202020204" pitchFamily="34" charset="0"/>
                  <a:ea typeface="+mn-ea"/>
                  <a:cs typeface="+mn-cs"/>
                </a:rPr>
                <a:t>0.5</a:t>
              </a:r>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3" name="Rectangle 151">
              <a:extLst>
                <a:ext uri="{FF2B5EF4-FFF2-40B4-BE49-F238E27FC236}">
                  <a16:creationId xmlns:a16="http://schemas.microsoft.com/office/drawing/2014/main" id="{977C006F-6352-1F0B-4D5C-0B7826741379}"/>
                </a:ext>
              </a:extLst>
            </p:cNvPr>
            <p:cNvSpPr>
              <a:spLocks noChangeArrowheads="1"/>
            </p:cNvSpPr>
            <p:nvPr/>
          </p:nvSpPr>
          <p:spPr bwMode="auto">
            <a:xfrm>
              <a:off x="3396" y="1952"/>
              <a:ext cx="152"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33.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74" name="Rectangle 152">
              <a:extLst>
                <a:ext uri="{FF2B5EF4-FFF2-40B4-BE49-F238E27FC236}">
                  <a16:creationId xmlns:a16="http://schemas.microsoft.com/office/drawing/2014/main" id="{C46ABBFE-A6AA-CCE3-908C-E5E3A0C48DED}"/>
                </a:ext>
              </a:extLst>
            </p:cNvPr>
            <p:cNvSpPr>
              <a:spLocks noChangeArrowheads="1"/>
            </p:cNvSpPr>
            <p:nvPr/>
          </p:nvSpPr>
          <p:spPr bwMode="auto">
            <a:xfrm>
              <a:off x="2358" y="2040"/>
              <a:ext cx="152"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17.9</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75" name="Rectangle 153">
              <a:extLst>
                <a:ext uri="{FF2B5EF4-FFF2-40B4-BE49-F238E27FC236}">
                  <a16:creationId xmlns:a16="http://schemas.microsoft.com/office/drawing/2014/main" id="{8987F09C-9FE1-0568-794E-A2F492634146}"/>
                </a:ext>
              </a:extLst>
            </p:cNvPr>
            <p:cNvSpPr>
              <a:spLocks noChangeArrowheads="1"/>
            </p:cNvSpPr>
            <p:nvPr/>
          </p:nvSpPr>
          <p:spPr bwMode="auto">
            <a:xfrm>
              <a:off x="1116" y="2531"/>
              <a:ext cx="225"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76" name="Rectangle 154">
              <a:extLst>
                <a:ext uri="{FF2B5EF4-FFF2-40B4-BE49-F238E27FC236}">
                  <a16:creationId xmlns:a16="http://schemas.microsoft.com/office/drawing/2014/main" id="{EA732F4D-E5EC-DABF-124C-72C9D467183A}"/>
                </a:ext>
              </a:extLst>
            </p:cNvPr>
            <p:cNvSpPr>
              <a:spLocks noChangeArrowheads="1"/>
            </p:cNvSpPr>
            <p:nvPr/>
          </p:nvSpPr>
          <p:spPr bwMode="auto">
            <a:xfrm>
              <a:off x="1116" y="2288"/>
              <a:ext cx="319"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77" name="Line 155">
              <a:extLst>
                <a:ext uri="{FF2B5EF4-FFF2-40B4-BE49-F238E27FC236}">
                  <a16:creationId xmlns:a16="http://schemas.microsoft.com/office/drawing/2014/main" id="{E37E7D87-F2B1-328F-3FE3-54C442985C3D}"/>
                </a:ext>
              </a:extLst>
            </p:cNvPr>
            <p:cNvSpPr>
              <a:spLocks noChangeShapeType="1"/>
            </p:cNvSpPr>
            <p:nvPr/>
          </p:nvSpPr>
          <p:spPr bwMode="auto">
            <a:xfrm flipV="1">
              <a:off x="1103" y="1881"/>
              <a:ext cx="0" cy="2211"/>
            </a:xfrm>
            <a:prstGeom prst="line">
              <a:avLst/>
            </a:prstGeom>
            <a:noFill/>
            <a:ln w="4763" cap="flat">
              <a:solidFill>
                <a:srgbClr val="E5E5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78" name="Rectangle 156">
              <a:extLst>
                <a:ext uri="{FF2B5EF4-FFF2-40B4-BE49-F238E27FC236}">
                  <a16:creationId xmlns:a16="http://schemas.microsoft.com/office/drawing/2014/main" id="{F6E09181-13E6-737C-A10B-0E0834E94112}"/>
                </a:ext>
              </a:extLst>
            </p:cNvPr>
            <p:cNvSpPr>
              <a:spLocks noChangeArrowheads="1"/>
            </p:cNvSpPr>
            <p:nvPr/>
          </p:nvSpPr>
          <p:spPr bwMode="auto">
            <a:xfrm>
              <a:off x="700" y="3890"/>
              <a:ext cx="368"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Creatinine </a:t>
              </a:r>
            </a:p>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increased</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79" name="Rectangle 157">
              <a:extLst>
                <a:ext uri="{FF2B5EF4-FFF2-40B4-BE49-F238E27FC236}">
                  <a16:creationId xmlns:a16="http://schemas.microsoft.com/office/drawing/2014/main" id="{F1407DA2-CAED-DDF6-020A-7723433C6EC0}"/>
                </a:ext>
              </a:extLst>
            </p:cNvPr>
            <p:cNvSpPr>
              <a:spLocks noChangeArrowheads="1"/>
            </p:cNvSpPr>
            <p:nvPr/>
          </p:nvSpPr>
          <p:spPr bwMode="auto">
            <a:xfrm>
              <a:off x="713" y="3678"/>
              <a:ext cx="355"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Stomatitis</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0" name="Rectangle 158">
              <a:extLst>
                <a:ext uri="{FF2B5EF4-FFF2-40B4-BE49-F238E27FC236}">
                  <a16:creationId xmlns:a16="http://schemas.microsoft.com/office/drawing/2014/main" id="{75AA2682-7C43-85C9-CDD4-DA92D79B7BCC}"/>
                </a:ext>
              </a:extLst>
            </p:cNvPr>
            <p:cNvSpPr>
              <a:spLocks noChangeArrowheads="1"/>
            </p:cNvSpPr>
            <p:nvPr/>
          </p:nvSpPr>
          <p:spPr bwMode="auto">
            <a:xfrm>
              <a:off x="732" y="3389"/>
              <a:ext cx="336"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Amylase</a:t>
              </a:r>
            </a:p>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increased</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1" name="Rectangle 159">
              <a:extLst>
                <a:ext uri="{FF2B5EF4-FFF2-40B4-BE49-F238E27FC236}">
                  <a16:creationId xmlns:a16="http://schemas.microsoft.com/office/drawing/2014/main" id="{BBC5B38C-9455-45F4-62F3-098E0C5D444B}"/>
                </a:ext>
              </a:extLst>
            </p:cNvPr>
            <p:cNvSpPr>
              <a:spLocks noChangeArrowheads="1"/>
            </p:cNvSpPr>
            <p:nvPr/>
          </p:nvSpPr>
          <p:spPr bwMode="auto">
            <a:xfrm>
              <a:off x="913" y="3198"/>
              <a:ext cx="173"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Rash</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2" name="Rectangle 160">
              <a:extLst>
                <a:ext uri="{FF2B5EF4-FFF2-40B4-BE49-F238E27FC236}">
                  <a16:creationId xmlns:a16="http://schemas.microsoft.com/office/drawing/2014/main" id="{1182274D-EC48-DF06-59B7-F986C3DE6FC5}"/>
                </a:ext>
              </a:extLst>
            </p:cNvPr>
            <p:cNvSpPr>
              <a:spLocks noChangeArrowheads="1"/>
            </p:cNvSpPr>
            <p:nvPr/>
          </p:nvSpPr>
          <p:spPr bwMode="auto">
            <a:xfrm>
              <a:off x="594" y="2945"/>
              <a:ext cx="499"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AST increased</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3" name="Rectangle 161">
              <a:extLst>
                <a:ext uri="{FF2B5EF4-FFF2-40B4-BE49-F238E27FC236}">
                  <a16:creationId xmlns:a16="http://schemas.microsoft.com/office/drawing/2014/main" id="{6910E706-3425-0CE8-6AB3-28B287FBB2BC}"/>
                </a:ext>
              </a:extLst>
            </p:cNvPr>
            <p:cNvSpPr>
              <a:spLocks noChangeArrowheads="1"/>
            </p:cNvSpPr>
            <p:nvPr/>
          </p:nvSpPr>
          <p:spPr bwMode="auto">
            <a:xfrm>
              <a:off x="598" y="2695"/>
              <a:ext cx="495"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ALT increased</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4" name="Rectangle 162">
              <a:extLst>
                <a:ext uri="{FF2B5EF4-FFF2-40B4-BE49-F238E27FC236}">
                  <a16:creationId xmlns:a16="http://schemas.microsoft.com/office/drawing/2014/main" id="{050480E2-CE8C-E285-BF3F-29B3DE085B47}"/>
                </a:ext>
              </a:extLst>
            </p:cNvPr>
            <p:cNvSpPr>
              <a:spLocks noChangeArrowheads="1"/>
            </p:cNvSpPr>
            <p:nvPr/>
          </p:nvSpPr>
          <p:spPr bwMode="auto">
            <a:xfrm>
              <a:off x="522" y="2411"/>
              <a:ext cx="567"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Hyperthyroidism</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5" name="Rectangle 163">
              <a:extLst>
                <a:ext uri="{FF2B5EF4-FFF2-40B4-BE49-F238E27FC236}">
                  <a16:creationId xmlns:a16="http://schemas.microsoft.com/office/drawing/2014/main" id="{C2ED1C48-07F9-597A-32B9-4B330006C719}"/>
                </a:ext>
              </a:extLst>
            </p:cNvPr>
            <p:cNvSpPr>
              <a:spLocks noChangeArrowheads="1"/>
            </p:cNvSpPr>
            <p:nvPr/>
          </p:nvSpPr>
          <p:spPr bwMode="auto">
            <a:xfrm>
              <a:off x="538" y="2204"/>
              <a:ext cx="545"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Hypothyroidism</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6" name="Rectangle 164">
              <a:extLst>
                <a:ext uri="{FF2B5EF4-FFF2-40B4-BE49-F238E27FC236}">
                  <a16:creationId xmlns:a16="http://schemas.microsoft.com/office/drawing/2014/main" id="{AF760BCD-5F62-5E9C-318C-8D04F4FB202F}"/>
                </a:ext>
              </a:extLst>
            </p:cNvPr>
            <p:cNvSpPr>
              <a:spLocks noChangeArrowheads="1"/>
            </p:cNvSpPr>
            <p:nvPr/>
          </p:nvSpPr>
          <p:spPr bwMode="auto">
            <a:xfrm>
              <a:off x="905" y="1992"/>
              <a:ext cx="181"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Total</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7" name="Line 165">
              <a:extLst>
                <a:ext uri="{FF2B5EF4-FFF2-40B4-BE49-F238E27FC236}">
                  <a16:creationId xmlns:a16="http://schemas.microsoft.com/office/drawing/2014/main" id="{E1FB6146-3233-3325-8F86-A6F05A5509CA}"/>
                </a:ext>
              </a:extLst>
            </p:cNvPr>
            <p:cNvSpPr>
              <a:spLocks noChangeShapeType="1"/>
            </p:cNvSpPr>
            <p:nvPr/>
          </p:nvSpPr>
          <p:spPr bwMode="auto">
            <a:xfrm>
              <a:off x="1103" y="4092"/>
              <a:ext cx="2714" cy="0"/>
            </a:xfrm>
            <a:prstGeom prst="line">
              <a:avLst/>
            </a:prstGeom>
            <a:noFill/>
            <a:ln w="4763" cap="flat">
              <a:solidFill>
                <a:srgbClr val="E5E5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4">
            <a:extLst>
              <a:ext uri="{FF2B5EF4-FFF2-40B4-BE49-F238E27FC236}">
                <a16:creationId xmlns:a16="http://schemas.microsoft.com/office/drawing/2014/main" id="{2C8E7330-85BF-13FC-683C-FB36A5BF824B}"/>
              </a:ext>
            </a:extLst>
          </p:cNvPr>
          <p:cNvGrpSpPr>
            <a:grpSpLocks noChangeAspect="1"/>
          </p:cNvGrpSpPr>
          <p:nvPr/>
        </p:nvGrpSpPr>
        <p:grpSpPr bwMode="auto">
          <a:xfrm>
            <a:off x="6202020" y="1696819"/>
            <a:ext cx="5757266" cy="4438810"/>
            <a:chOff x="721" y="707"/>
            <a:chExt cx="5295" cy="3633"/>
          </a:xfrm>
        </p:grpSpPr>
        <p:sp>
          <p:nvSpPr>
            <p:cNvPr id="6" name="AutoShape 3">
              <a:extLst>
                <a:ext uri="{FF2B5EF4-FFF2-40B4-BE49-F238E27FC236}">
                  <a16:creationId xmlns:a16="http://schemas.microsoft.com/office/drawing/2014/main" id="{77A8616E-74CF-6CAF-3F05-E120065212C0}"/>
                </a:ext>
              </a:extLst>
            </p:cNvPr>
            <p:cNvSpPr>
              <a:spLocks noChangeAspect="1" noChangeArrowheads="1" noTextEdit="1"/>
            </p:cNvSpPr>
            <p:nvPr/>
          </p:nvSpPr>
          <p:spPr bwMode="auto">
            <a:xfrm>
              <a:off x="721" y="707"/>
              <a:ext cx="5217" cy="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 name="Rectangle 5">
              <a:extLst>
                <a:ext uri="{FF2B5EF4-FFF2-40B4-BE49-F238E27FC236}">
                  <a16:creationId xmlns:a16="http://schemas.microsoft.com/office/drawing/2014/main" id="{A37A5739-75F8-57FF-87E9-7A22DB88ADA9}"/>
                </a:ext>
              </a:extLst>
            </p:cNvPr>
            <p:cNvSpPr>
              <a:spLocks noChangeArrowheads="1"/>
            </p:cNvSpPr>
            <p:nvPr/>
          </p:nvSpPr>
          <p:spPr bwMode="auto">
            <a:xfrm>
              <a:off x="721" y="707"/>
              <a:ext cx="5225" cy="36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 name="Rectangle 6">
              <a:extLst>
                <a:ext uri="{FF2B5EF4-FFF2-40B4-BE49-F238E27FC236}">
                  <a16:creationId xmlns:a16="http://schemas.microsoft.com/office/drawing/2014/main" id="{37D2713F-78B8-7FD2-033D-0493458BBD2C}"/>
                </a:ext>
              </a:extLst>
            </p:cNvPr>
            <p:cNvSpPr>
              <a:spLocks noChangeArrowheads="1"/>
            </p:cNvSpPr>
            <p:nvPr/>
          </p:nvSpPr>
          <p:spPr bwMode="auto">
            <a:xfrm>
              <a:off x="721" y="707"/>
              <a:ext cx="5225" cy="3617"/>
            </a:xfrm>
            <a:prstGeom prst="rect">
              <a:avLst/>
            </a:prstGeom>
            <a:noFill/>
            <a:ln w="63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2" name="Rectangle 7">
              <a:extLst>
                <a:ext uri="{FF2B5EF4-FFF2-40B4-BE49-F238E27FC236}">
                  <a16:creationId xmlns:a16="http://schemas.microsoft.com/office/drawing/2014/main" id="{62682273-8CA7-21FB-5736-A495B1B3C319}"/>
                </a:ext>
              </a:extLst>
            </p:cNvPr>
            <p:cNvSpPr>
              <a:spLocks noChangeArrowheads="1"/>
            </p:cNvSpPr>
            <p:nvPr/>
          </p:nvSpPr>
          <p:spPr bwMode="auto">
            <a:xfrm>
              <a:off x="2385" y="2919"/>
              <a:ext cx="37" cy="130"/>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6" name="Rectangle 8">
              <a:extLst>
                <a:ext uri="{FF2B5EF4-FFF2-40B4-BE49-F238E27FC236}">
                  <a16:creationId xmlns:a16="http://schemas.microsoft.com/office/drawing/2014/main" id="{3E78B1C1-5162-6C25-4ADA-ECF629AE61D0}"/>
                </a:ext>
              </a:extLst>
            </p:cNvPr>
            <p:cNvSpPr>
              <a:spLocks noChangeArrowheads="1"/>
            </p:cNvSpPr>
            <p:nvPr/>
          </p:nvSpPr>
          <p:spPr bwMode="auto">
            <a:xfrm>
              <a:off x="2385" y="3066"/>
              <a:ext cx="121" cy="129"/>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8" name="Rectangle 9">
              <a:extLst>
                <a:ext uri="{FF2B5EF4-FFF2-40B4-BE49-F238E27FC236}">
                  <a16:creationId xmlns:a16="http://schemas.microsoft.com/office/drawing/2014/main" id="{8DED448C-1032-E14B-CF80-7205B8EB7068}"/>
                </a:ext>
              </a:extLst>
            </p:cNvPr>
            <p:cNvSpPr>
              <a:spLocks noChangeArrowheads="1"/>
            </p:cNvSpPr>
            <p:nvPr/>
          </p:nvSpPr>
          <p:spPr bwMode="auto">
            <a:xfrm>
              <a:off x="2385" y="3287"/>
              <a:ext cx="79" cy="126"/>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9" name="Rectangle 10">
              <a:extLst>
                <a:ext uri="{FF2B5EF4-FFF2-40B4-BE49-F238E27FC236}">
                  <a16:creationId xmlns:a16="http://schemas.microsoft.com/office/drawing/2014/main" id="{A5A35AE4-EBF8-44FB-5333-DDC43C887B0C}"/>
                </a:ext>
              </a:extLst>
            </p:cNvPr>
            <p:cNvSpPr>
              <a:spLocks noChangeArrowheads="1"/>
            </p:cNvSpPr>
            <p:nvPr/>
          </p:nvSpPr>
          <p:spPr bwMode="auto">
            <a:xfrm>
              <a:off x="2385" y="3434"/>
              <a:ext cx="1" cy="125"/>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23" name="Rectangle 11">
              <a:extLst>
                <a:ext uri="{FF2B5EF4-FFF2-40B4-BE49-F238E27FC236}">
                  <a16:creationId xmlns:a16="http://schemas.microsoft.com/office/drawing/2014/main" id="{FD2B6AB1-8996-257A-D17B-B6C533687ABC}"/>
                </a:ext>
              </a:extLst>
            </p:cNvPr>
            <p:cNvSpPr>
              <a:spLocks noChangeArrowheads="1"/>
            </p:cNvSpPr>
            <p:nvPr/>
          </p:nvSpPr>
          <p:spPr bwMode="auto">
            <a:xfrm>
              <a:off x="2385" y="3651"/>
              <a:ext cx="37" cy="130"/>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24" name="Rectangle 12">
              <a:extLst>
                <a:ext uri="{FF2B5EF4-FFF2-40B4-BE49-F238E27FC236}">
                  <a16:creationId xmlns:a16="http://schemas.microsoft.com/office/drawing/2014/main" id="{5FD66C89-8DEC-89AB-8167-D4EAF683360D}"/>
                </a:ext>
              </a:extLst>
            </p:cNvPr>
            <p:cNvSpPr>
              <a:spLocks noChangeArrowheads="1"/>
            </p:cNvSpPr>
            <p:nvPr/>
          </p:nvSpPr>
          <p:spPr bwMode="auto">
            <a:xfrm>
              <a:off x="2385" y="3797"/>
              <a:ext cx="1" cy="13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25" name="Rectangle 13">
              <a:extLst>
                <a:ext uri="{FF2B5EF4-FFF2-40B4-BE49-F238E27FC236}">
                  <a16:creationId xmlns:a16="http://schemas.microsoft.com/office/drawing/2014/main" id="{BC77CF43-05C1-425E-CD0F-0E033568B77C}"/>
                </a:ext>
              </a:extLst>
            </p:cNvPr>
            <p:cNvSpPr>
              <a:spLocks noChangeArrowheads="1"/>
            </p:cNvSpPr>
            <p:nvPr/>
          </p:nvSpPr>
          <p:spPr bwMode="auto">
            <a:xfrm>
              <a:off x="2385" y="2187"/>
              <a:ext cx="919" cy="130"/>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26" name="Rectangle 14">
              <a:extLst>
                <a:ext uri="{FF2B5EF4-FFF2-40B4-BE49-F238E27FC236}">
                  <a16:creationId xmlns:a16="http://schemas.microsoft.com/office/drawing/2014/main" id="{BCD8F98E-FB62-3CE6-609E-78E8C3333AC9}"/>
                </a:ext>
              </a:extLst>
            </p:cNvPr>
            <p:cNvSpPr>
              <a:spLocks noChangeArrowheads="1"/>
            </p:cNvSpPr>
            <p:nvPr/>
          </p:nvSpPr>
          <p:spPr bwMode="auto">
            <a:xfrm>
              <a:off x="2385" y="2334"/>
              <a:ext cx="159" cy="129"/>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28" name="Rectangle 15">
              <a:extLst>
                <a:ext uri="{FF2B5EF4-FFF2-40B4-BE49-F238E27FC236}">
                  <a16:creationId xmlns:a16="http://schemas.microsoft.com/office/drawing/2014/main" id="{707C2193-07C7-F806-A52B-F3DCFFFAF0A4}"/>
                </a:ext>
              </a:extLst>
            </p:cNvPr>
            <p:cNvSpPr>
              <a:spLocks noChangeArrowheads="1"/>
            </p:cNvSpPr>
            <p:nvPr/>
          </p:nvSpPr>
          <p:spPr bwMode="auto">
            <a:xfrm>
              <a:off x="2385" y="1819"/>
              <a:ext cx="1158" cy="130"/>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34" name="Rectangle 16">
              <a:extLst>
                <a:ext uri="{FF2B5EF4-FFF2-40B4-BE49-F238E27FC236}">
                  <a16:creationId xmlns:a16="http://schemas.microsoft.com/office/drawing/2014/main" id="{AB24F6F4-B3C2-137A-C3F8-FDFABAFF433B}"/>
                </a:ext>
              </a:extLst>
            </p:cNvPr>
            <p:cNvSpPr>
              <a:spLocks noChangeArrowheads="1"/>
            </p:cNvSpPr>
            <p:nvPr/>
          </p:nvSpPr>
          <p:spPr bwMode="auto">
            <a:xfrm>
              <a:off x="2385" y="1966"/>
              <a:ext cx="317" cy="129"/>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38" name="Rectangle 17">
              <a:extLst>
                <a:ext uri="{FF2B5EF4-FFF2-40B4-BE49-F238E27FC236}">
                  <a16:creationId xmlns:a16="http://schemas.microsoft.com/office/drawing/2014/main" id="{93872F70-6F66-BA0F-334A-B480BC0AC277}"/>
                </a:ext>
              </a:extLst>
            </p:cNvPr>
            <p:cNvSpPr>
              <a:spLocks noChangeArrowheads="1"/>
            </p:cNvSpPr>
            <p:nvPr/>
          </p:nvSpPr>
          <p:spPr bwMode="auto">
            <a:xfrm>
              <a:off x="2385" y="1456"/>
              <a:ext cx="1195" cy="125"/>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39" name="Rectangle 18">
              <a:extLst>
                <a:ext uri="{FF2B5EF4-FFF2-40B4-BE49-F238E27FC236}">
                  <a16:creationId xmlns:a16="http://schemas.microsoft.com/office/drawing/2014/main" id="{503C4EB7-B9FC-BE78-CBFE-E7D963AA1944}"/>
                </a:ext>
              </a:extLst>
            </p:cNvPr>
            <p:cNvSpPr>
              <a:spLocks noChangeArrowheads="1"/>
            </p:cNvSpPr>
            <p:nvPr/>
          </p:nvSpPr>
          <p:spPr bwMode="auto">
            <a:xfrm>
              <a:off x="2385" y="1602"/>
              <a:ext cx="639" cy="125"/>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0" name="Rectangle 19">
              <a:extLst>
                <a:ext uri="{FF2B5EF4-FFF2-40B4-BE49-F238E27FC236}">
                  <a16:creationId xmlns:a16="http://schemas.microsoft.com/office/drawing/2014/main" id="{730A2027-3AC6-5A3F-1A5B-2464061C3763}"/>
                </a:ext>
              </a:extLst>
            </p:cNvPr>
            <p:cNvSpPr>
              <a:spLocks noChangeArrowheads="1"/>
            </p:cNvSpPr>
            <p:nvPr/>
          </p:nvSpPr>
          <p:spPr bwMode="auto">
            <a:xfrm>
              <a:off x="2385" y="2555"/>
              <a:ext cx="238" cy="126"/>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1" name="Rectangle 20">
              <a:extLst>
                <a:ext uri="{FF2B5EF4-FFF2-40B4-BE49-F238E27FC236}">
                  <a16:creationId xmlns:a16="http://schemas.microsoft.com/office/drawing/2014/main" id="{64F52A21-BBD7-8E92-AB1E-C2D0972511A6}"/>
                </a:ext>
              </a:extLst>
            </p:cNvPr>
            <p:cNvSpPr>
              <a:spLocks noChangeArrowheads="1"/>
            </p:cNvSpPr>
            <p:nvPr/>
          </p:nvSpPr>
          <p:spPr bwMode="auto">
            <a:xfrm>
              <a:off x="2385" y="2702"/>
              <a:ext cx="238" cy="125"/>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2" name="Rectangle 21">
              <a:extLst>
                <a:ext uri="{FF2B5EF4-FFF2-40B4-BE49-F238E27FC236}">
                  <a16:creationId xmlns:a16="http://schemas.microsoft.com/office/drawing/2014/main" id="{B6A697A4-3B78-80A8-2374-D56BBE772C60}"/>
                </a:ext>
              </a:extLst>
            </p:cNvPr>
            <p:cNvSpPr>
              <a:spLocks noChangeArrowheads="1"/>
            </p:cNvSpPr>
            <p:nvPr/>
          </p:nvSpPr>
          <p:spPr bwMode="auto">
            <a:xfrm>
              <a:off x="2385" y="1088"/>
              <a:ext cx="2913" cy="129"/>
            </a:xfrm>
            <a:prstGeom prst="rect">
              <a:avLst/>
            </a:prstGeom>
            <a:solidFill>
              <a:srgbClr val="A8D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3" name="Rectangle 22">
              <a:extLst>
                <a:ext uri="{FF2B5EF4-FFF2-40B4-BE49-F238E27FC236}">
                  <a16:creationId xmlns:a16="http://schemas.microsoft.com/office/drawing/2014/main" id="{2B1C6138-41C8-6D8D-2954-A4E8574E4D68}"/>
                </a:ext>
              </a:extLst>
            </p:cNvPr>
            <p:cNvSpPr>
              <a:spLocks noChangeArrowheads="1"/>
            </p:cNvSpPr>
            <p:nvPr/>
          </p:nvSpPr>
          <p:spPr bwMode="auto">
            <a:xfrm>
              <a:off x="2385" y="1234"/>
              <a:ext cx="1317" cy="13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4" name="Rectangle 23">
              <a:extLst>
                <a:ext uri="{FF2B5EF4-FFF2-40B4-BE49-F238E27FC236}">
                  <a16:creationId xmlns:a16="http://schemas.microsoft.com/office/drawing/2014/main" id="{BF6AA211-ED47-43A9-98D6-18ECC8FF1695}"/>
                </a:ext>
              </a:extLst>
            </p:cNvPr>
            <p:cNvSpPr>
              <a:spLocks noChangeArrowheads="1"/>
            </p:cNvSpPr>
            <p:nvPr/>
          </p:nvSpPr>
          <p:spPr bwMode="auto">
            <a:xfrm>
              <a:off x="2385" y="2919"/>
              <a:ext cx="1" cy="130"/>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5" name="Rectangle 24">
              <a:extLst>
                <a:ext uri="{FF2B5EF4-FFF2-40B4-BE49-F238E27FC236}">
                  <a16:creationId xmlns:a16="http://schemas.microsoft.com/office/drawing/2014/main" id="{7B48D9A0-A761-2010-5486-BF75F46FD65A}"/>
                </a:ext>
              </a:extLst>
            </p:cNvPr>
            <p:cNvSpPr>
              <a:spLocks noChangeArrowheads="1"/>
            </p:cNvSpPr>
            <p:nvPr/>
          </p:nvSpPr>
          <p:spPr bwMode="auto">
            <a:xfrm>
              <a:off x="2385" y="3066"/>
              <a:ext cx="79" cy="129"/>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6" name="Rectangle 25">
              <a:extLst>
                <a:ext uri="{FF2B5EF4-FFF2-40B4-BE49-F238E27FC236}">
                  <a16:creationId xmlns:a16="http://schemas.microsoft.com/office/drawing/2014/main" id="{271D24BB-BDF5-8B3D-52E1-2B7F406FF24A}"/>
                </a:ext>
              </a:extLst>
            </p:cNvPr>
            <p:cNvSpPr>
              <a:spLocks noChangeArrowheads="1"/>
            </p:cNvSpPr>
            <p:nvPr/>
          </p:nvSpPr>
          <p:spPr bwMode="auto">
            <a:xfrm>
              <a:off x="2385" y="3287"/>
              <a:ext cx="79" cy="126"/>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7" name="Rectangle 26">
              <a:extLst>
                <a:ext uri="{FF2B5EF4-FFF2-40B4-BE49-F238E27FC236}">
                  <a16:creationId xmlns:a16="http://schemas.microsoft.com/office/drawing/2014/main" id="{C5D7FD02-14B1-24F8-E964-BEB09D197AD0}"/>
                </a:ext>
              </a:extLst>
            </p:cNvPr>
            <p:cNvSpPr>
              <a:spLocks noChangeArrowheads="1"/>
            </p:cNvSpPr>
            <p:nvPr/>
          </p:nvSpPr>
          <p:spPr bwMode="auto">
            <a:xfrm>
              <a:off x="2385" y="3434"/>
              <a:ext cx="1" cy="125"/>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8" name="Rectangle 27">
              <a:extLst>
                <a:ext uri="{FF2B5EF4-FFF2-40B4-BE49-F238E27FC236}">
                  <a16:creationId xmlns:a16="http://schemas.microsoft.com/office/drawing/2014/main" id="{F3CEF540-04FD-E7F0-6DD6-0ACA85D98302}"/>
                </a:ext>
              </a:extLst>
            </p:cNvPr>
            <p:cNvSpPr>
              <a:spLocks noChangeArrowheads="1"/>
            </p:cNvSpPr>
            <p:nvPr/>
          </p:nvSpPr>
          <p:spPr bwMode="auto">
            <a:xfrm>
              <a:off x="2385" y="3651"/>
              <a:ext cx="37" cy="130"/>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9" name="Rectangle 28">
              <a:extLst>
                <a:ext uri="{FF2B5EF4-FFF2-40B4-BE49-F238E27FC236}">
                  <a16:creationId xmlns:a16="http://schemas.microsoft.com/office/drawing/2014/main" id="{CFA607EF-B85F-73EC-F3DA-4645E2ED3862}"/>
                </a:ext>
              </a:extLst>
            </p:cNvPr>
            <p:cNvSpPr>
              <a:spLocks noChangeArrowheads="1"/>
            </p:cNvSpPr>
            <p:nvPr/>
          </p:nvSpPr>
          <p:spPr bwMode="auto">
            <a:xfrm>
              <a:off x="2385" y="3797"/>
              <a:ext cx="1" cy="130"/>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0" name="Rectangle 29">
              <a:extLst>
                <a:ext uri="{FF2B5EF4-FFF2-40B4-BE49-F238E27FC236}">
                  <a16:creationId xmlns:a16="http://schemas.microsoft.com/office/drawing/2014/main" id="{EC51504C-868C-7DA0-050F-7CA9E497C591}"/>
                </a:ext>
              </a:extLst>
            </p:cNvPr>
            <p:cNvSpPr>
              <a:spLocks noChangeArrowheads="1"/>
            </p:cNvSpPr>
            <p:nvPr/>
          </p:nvSpPr>
          <p:spPr bwMode="auto">
            <a:xfrm>
              <a:off x="2385" y="2187"/>
              <a:ext cx="79" cy="130"/>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1" name="Rectangle 30">
              <a:extLst>
                <a:ext uri="{FF2B5EF4-FFF2-40B4-BE49-F238E27FC236}">
                  <a16:creationId xmlns:a16="http://schemas.microsoft.com/office/drawing/2014/main" id="{49B1AA46-A08F-55CA-E40F-E464DBF6350F}"/>
                </a:ext>
              </a:extLst>
            </p:cNvPr>
            <p:cNvSpPr>
              <a:spLocks noChangeArrowheads="1"/>
            </p:cNvSpPr>
            <p:nvPr/>
          </p:nvSpPr>
          <p:spPr bwMode="auto">
            <a:xfrm>
              <a:off x="2385" y="2334"/>
              <a:ext cx="1" cy="129"/>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2" name="Rectangle 31">
              <a:extLst>
                <a:ext uri="{FF2B5EF4-FFF2-40B4-BE49-F238E27FC236}">
                  <a16:creationId xmlns:a16="http://schemas.microsoft.com/office/drawing/2014/main" id="{5E20622A-FD87-E2AA-45C0-414AA1AA287A}"/>
                </a:ext>
              </a:extLst>
            </p:cNvPr>
            <p:cNvSpPr>
              <a:spLocks noChangeArrowheads="1"/>
            </p:cNvSpPr>
            <p:nvPr/>
          </p:nvSpPr>
          <p:spPr bwMode="auto">
            <a:xfrm>
              <a:off x="2385" y="1819"/>
              <a:ext cx="317" cy="130"/>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3" name="Rectangle 32">
              <a:extLst>
                <a:ext uri="{FF2B5EF4-FFF2-40B4-BE49-F238E27FC236}">
                  <a16:creationId xmlns:a16="http://schemas.microsoft.com/office/drawing/2014/main" id="{BFAD3381-89D3-987E-E5FA-ABA6082E60E2}"/>
                </a:ext>
              </a:extLst>
            </p:cNvPr>
            <p:cNvSpPr>
              <a:spLocks noChangeArrowheads="1"/>
            </p:cNvSpPr>
            <p:nvPr/>
          </p:nvSpPr>
          <p:spPr bwMode="auto">
            <a:xfrm>
              <a:off x="2385" y="1966"/>
              <a:ext cx="79" cy="129"/>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4" name="Rectangle 33">
              <a:extLst>
                <a:ext uri="{FF2B5EF4-FFF2-40B4-BE49-F238E27FC236}">
                  <a16:creationId xmlns:a16="http://schemas.microsoft.com/office/drawing/2014/main" id="{DD9C7A2C-626F-C699-3160-2793291F9229}"/>
                </a:ext>
              </a:extLst>
            </p:cNvPr>
            <p:cNvSpPr>
              <a:spLocks noChangeArrowheads="1"/>
            </p:cNvSpPr>
            <p:nvPr/>
          </p:nvSpPr>
          <p:spPr bwMode="auto">
            <a:xfrm>
              <a:off x="2385" y="1456"/>
              <a:ext cx="79" cy="125"/>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5" name="Rectangle 34">
              <a:extLst>
                <a:ext uri="{FF2B5EF4-FFF2-40B4-BE49-F238E27FC236}">
                  <a16:creationId xmlns:a16="http://schemas.microsoft.com/office/drawing/2014/main" id="{23ADF8C5-F184-BAB7-CD7A-BFCB40D44296}"/>
                </a:ext>
              </a:extLst>
            </p:cNvPr>
            <p:cNvSpPr>
              <a:spLocks noChangeArrowheads="1"/>
            </p:cNvSpPr>
            <p:nvPr/>
          </p:nvSpPr>
          <p:spPr bwMode="auto">
            <a:xfrm>
              <a:off x="2385" y="1602"/>
              <a:ext cx="1" cy="125"/>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6" name="Rectangle 35">
              <a:extLst>
                <a:ext uri="{FF2B5EF4-FFF2-40B4-BE49-F238E27FC236}">
                  <a16:creationId xmlns:a16="http://schemas.microsoft.com/office/drawing/2014/main" id="{D0BA2551-FB6A-40FF-9543-2A6177B9C35D}"/>
                </a:ext>
              </a:extLst>
            </p:cNvPr>
            <p:cNvSpPr>
              <a:spLocks noChangeArrowheads="1"/>
            </p:cNvSpPr>
            <p:nvPr/>
          </p:nvSpPr>
          <p:spPr bwMode="auto">
            <a:xfrm>
              <a:off x="2385" y="2555"/>
              <a:ext cx="159" cy="126"/>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7" name="Rectangle 36">
              <a:extLst>
                <a:ext uri="{FF2B5EF4-FFF2-40B4-BE49-F238E27FC236}">
                  <a16:creationId xmlns:a16="http://schemas.microsoft.com/office/drawing/2014/main" id="{49326CF7-1876-267C-0723-08CEE5C9A497}"/>
                </a:ext>
              </a:extLst>
            </p:cNvPr>
            <p:cNvSpPr>
              <a:spLocks noChangeArrowheads="1"/>
            </p:cNvSpPr>
            <p:nvPr/>
          </p:nvSpPr>
          <p:spPr bwMode="auto">
            <a:xfrm>
              <a:off x="2385" y="2702"/>
              <a:ext cx="121" cy="125"/>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8" name="Rectangle 37">
              <a:extLst>
                <a:ext uri="{FF2B5EF4-FFF2-40B4-BE49-F238E27FC236}">
                  <a16:creationId xmlns:a16="http://schemas.microsoft.com/office/drawing/2014/main" id="{06162DAA-3E30-B28B-44C5-ADCC5CBE7E2E}"/>
                </a:ext>
              </a:extLst>
            </p:cNvPr>
            <p:cNvSpPr>
              <a:spLocks noChangeArrowheads="1"/>
            </p:cNvSpPr>
            <p:nvPr/>
          </p:nvSpPr>
          <p:spPr bwMode="auto">
            <a:xfrm>
              <a:off x="2385" y="1088"/>
              <a:ext cx="639" cy="129"/>
            </a:xfrm>
            <a:prstGeom prst="rect">
              <a:avLst/>
            </a:prstGeom>
            <a:solidFill>
              <a:srgbClr val="005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9" name="Rectangle 38">
              <a:extLst>
                <a:ext uri="{FF2B5EF4-FFF2-40B4-BE49-F238E27FC236}">
                  <a16:creationId xmlns:a16="http://schemas.microsoft.com/office/drawing/2014/main" id="{01484E47-D09F-8974-8D6B-B548371AC228}"/>
                </a:ext>
              </a:extLst>
            </p:cNvPr>
            <p:cNvSpPr>
              <a:spLocks noChangeArrowheads="1"/>
            </p:cNvSpPr>
            <p:nvPr/>
          </p:nvSpPr>
          <p:spPr bwMode="auto">
            <a:xfrm>
              <a:off x="2385" y="1234"/>
              <a:ext cx="280" cy="130"/>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60" name="Rectangle 39">
              <a:extLst>
                <a:ext uri="{FF2B5EF4-FFF2-40B4-BE49-F238E27FC236}">
                  <a16:creationId xmlns:a16="http://schemas.microsoft.com/office/drawing/2014/main" id="{1750B53E-F65D-4274-3A40-F923F5B1E916}"/>
                </a:ext>
              </a:extLst>
            </p:cNvPr>
            <p:cNvSpPr>
              <a:spLocks noChangeArrowheads="1"/>
            </p:cNvSpPr>
            <p:nvPr/>
          </p:nvSpPr>
          <p:spPr bwMode="auto">
            <a:xfrm>
              <a:off x="2460" y="2925"/>
              <a:ext cx="16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0.5</a:t>
              </a:r>
            </a:p>
          </p:txBody>
        </p:sp>
        <p:sp>
          <p:nvSpPr>
            <p:cNvPr id="61" name="Rectangle 40">
              <a:extLst>
                <a:ext uri="{FF2B5EF4-FFF2-40B4-BE49-F238E27FC236}">
                  <a16:creationId xmlns:a16="http://schemas.microsoft.com/office/drawing/2014/main" id="{0742896E-B1D9-F868-B324-D5E310EEBEA2}"/>
                </a:ext>
              </a:extLst>
            </p:cNvPr>
            <p:cNvSpPr>
              <a:spLocks noChangeArrowheads="1"/>
            </p:cNvSpPr>
            <p:nvPr/>
          </p:nvSpPr>
          <p:spPr bwMode="auto">
            <a:xfrm>
              <a:off x="2577" y="3071"/>
              <a:ext cx="37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0.9/1.4</a:t>
              </a:r>
            </a:p>
          </p:txBody>
        </p:sp>
        <p:sp>
          <p:nvSpPr>
            <p:cNvPr id="62" name="Rectangle 41">
              <a:extLst>
                <a:ext uri="{FF2B5EF4-FFF2-40B4-BE49-F238E27FC236}">
                  <a16:creationId xmlns:a16="http://schemas.microsoft.com/office/drawing/2014/main" id="{59040314-73BF-7B1C-E641-842F8FC2F2F0}"/>
                </a:ext>
              </a:extLst>
            </p:cNvPr>
            <p:cNvSpPr>
              <a:spLocks noChangeArrowheads="1"/>
            </p:cNvSpPr>
            <p:nvPr/>
          </p:nvSpPr>
          <p:spPr bwMode="auto">
            <a:xfrm>
              <a:off x="2539" y="3287"/>
              <a:ext cx="37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0.9/0.9</a:t>
              </a:r>
            </a:p>
          </p:txBody>
        </p:sp>
        <p:sp>
          <p:nvSpPr>
            <p:cNvPr id="63" name="Rectangle 42">
              <a:extLst>
                <a:ext uri="{FF2B5EF4-FFF2-40B4-BE49-F238E27FC236}">
                  <a16:creationId xmlns:a16="http://schemas.microsoft.com/office/drawing/2014/main" id="{47CA052F-6E44-3BAC-7C83-FA5DD037F367}"/>
                </a:ext>
              </a:extLst>
            </p:cNvPr>
            <p:cNvSpPr>
              <a:spLocks noChangeArrowheads="1"/>
            </p:cNvSpPr>
            <p:nvPr/>
          </p:nvSpPr>
          <p:spPr bwMode="auto">
            <a:xfrm>
              <a:off x="2498" y="3656"/>
              <a:ext cx="37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0.5/0.5</a:t>
              </a:r>
            </a:p>
          </p:txBody>
        </p:sp>
        <p:sp>
          <p:nvSpPr>
            <p:cNvPr id="64" name="Rectangle 43">
              <a:extLst>
                <a:ext uri="{FF2B5EF4-FFF2-40B4-BE49-F238E27FC236}">
                  <a16:creationId xmlns:a16="http://schemas.microsoft.com/office/drawing/2014/main" id="{E5E5D421-8AE5-63B5-47C0-7F47A8755E96}"/>
                </a:ext>
              </a:extLst>
            </p:cNvPr>
            <p:cNvSpPr>
              <a:spLocks noChangeArrowheads="1"/>
            </p:cNvSpPr>
            <p:nvPr/>
          </p:nvSpPr>
          <p:spPr bwMode="auto">
            <a:xfrm>
              <a:off x="2698" y="2551"/>
              <a:ext cx="37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1.8/2.8</a:t>
              </a:r>
            </a:p>
          </p:txBody>
        </p:sp>
        <p:sp>
          <p:nvSpPr>
            <p:cNvPr id="65" name="Rectangle 44">
              <a:extLst>
                <a:ext uri="{FF2B5EF4-FFF2-40B4-BE49-F238E27FC236}">
                  <a16:creationId xmlns:a16="http://schemas.microsoft.com/office/drawing/2014/main" id="{14654F80-CCCF-A123-F42A-4F5564BF29E9}"/>
                </a:ext>
              </a:extLst>
            </p:cNvPr>
            <p:cNvSpPr>
              <a:spLocks noChangeArrowheads="1"/>
            </p:cNvSpPr>
            <p:nvPr/>
          </p:nvSpPr>
          <p:spPr bwMode="auto">
            <a:xfrm>
              <a:off x="2698" y="2697"/>
              <a:ext cx="37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1.4/2.8</a:t>
              </a:r>
            </a:p>
          </p:txBody>
        </p:sp>
        <p:sp>
          <p:nvSpPr>
            <p:cNvPr id="66" name="Rectangle 45">
              <a:extLst>
                <a:ext uri="{FF2B5EF4-FFF2-40B4-BE49-F238E27FC236}">
                  <a16:creationId xmlns:a16="http://schemas.microsoft.com/office/drawing/2014/main" id="{9EF293E7-2250-213C-F790-959B688E53EA}"/>
                </a:ext>
              </a:extLst>
            </p:cNvPr>
            <p:cNvSpPr>
              <a:spLocks noChangeArrowheads="1"/>
            </p:cNvSpPr>
            <p:nvPr/>
          </p:nvSpPr>
          <p:spPr bwMode="auto">
            <a:xfrm>
              <a:off x="2498" y="2187"/>
              <a:ext cx="16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0.9</a:t>
              </a:r>
            </a:p>
          </p:txBody>
        </p:sp>
        <p:sp>
          <p:nvSpPr>
            <p:cNvPr id="67" name="Rectangle 46">
              <a:extLst>
                <a:ext uri="{FF2B5EF4-FFF2-40B4-BE49-F238E27FC236}">
                  <a16:creationId xmlns:a16="http://schemas.microsoft.com/office/drawing/2014/main" id="{3C671B8A-F51F-0697-0BA0-4A8563F0E944}"/>
                </a:ext>
              </a:extLst>
            </p:cNvPr>
            <p:cNvSpPr>
              <a:spLocks noChangeArrowheads="1"/>
            </p:cNvSpPr>
            <p:nvPr/>
          </p:nvSpPr>
          <p:spPr bwMode="auto">
            <a:xfrm>
              <a:off x="2736" y="1819"/>
              <a:ext cx="16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3.7</a:t>
              </a:r>
            </a:p>
          </p:txBody>
        </p:sp>
        <p:sp>
          <p:nvSpPr>
            <p:cNvPr id="68" name="Rectangle 47">
              <a:extLst>
                <a:ext uri="{FF2B5EF4-FFF2-40B4-BE49-F238E27FC236}">
                  <a16:creationId xmlns:a16="http://schemas.microsoft.com/office/drawing/2014/main" id="{66F7AEDA-28F4-608A-00A3-D1A0656C059F}"/>
                </a:ext>
              </a:extLst>
            </p:cNvPr>
            <p:cNvSpPr>
              <a:spLocks noChangeArrowheads="1"/>
            </p:cNvSpPr>
            <p:nvPr/>
          </p:nvSpPr>
          <p:spPr bwMode="auto">
            <a:xfrm>
              <a:off x="2498" y="1995"/>
              <a:ext cx="16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0.9</a:t>
              </a:r>
            </a:p>
          </p:txBody>
        </p:sp>
        <p:sp>
          <p:nvSpPr>
            <p:cNvPr id="69" name="Rectangle 48">
              <a:extLst>
                <a:ext uri="{FF2B5EF4-FFF2-40B4-BE49-F238E27FC236}">
                  <a16:creationId xmlns:a16="http://schemas.microsoft.com/office/drawing/2014/main" id="{567092CE-7583-0EB7-FBF5-3120C4BCCE37}"/>
                </a:ext>
              </a:extLst>
            </p:cNvPr>
            <p:cNvSpPr>
              <a:spLocks noChangeArrowheads="1"/>
            </p:cNvSpPr>
            <p:nvPr/>
          </p:nvSpPr>
          <p:spPr bwMode="auto">
            <a:xfrm>
              <a:off x="2498" y="1455"/>
              <a:ext cx="16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0.9</a:t>
              </a:r>
            </a:p>
          </p:txBody>
        </p:sp>
        <p:sp>
          <p:nvSpPr>
            <p:cNvPr id="70" name="Rectangle 49">
              <a:extLst>
                <a:ext uri="{FF2B5EF4-FFF2-40B4-BE49-F238E27FC236}">
                  <a16:creationId xmlns:a16="http://schemas.microsoft.com/office/drawing/2014/main" id="{B99B0C45-7F68-4542-5DD0-1131BF54F109}"/>
                </a:ext>
              </a:extLst>
            </p:cNvPr>
            <p:cNvSpPr>
              <a:spLocks noChangeArrowheads="1"/>
            </p:cNvSpPr>
            <p:nvPr/>
          </p:nvSpPr>
          <p:spPr bwMode="auto">
            <a:xfrm>
              <a:off x="3058" y="1087"/>
              <a:ext cx="14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7.3</a:t>
              </a:r>
              <a:endParaRPr kumimoji="0" lang="en-US" altLang="en-US"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1" name="Rectangle 50">
              <a:extLst>
                <a:ext uri="{FF2B5EF4-FFF2-40B4-BE49-F238E27FC236}">
                  <a16:creationId xmlns:a16="http://schemas.microsoft.com/office/drawing/2014/main" id="{5B216C74-F1AD-9A8B-02E6-2D5D04695553}"/>
                </a:ext>
              </a:extLst>
            </p:cNvPr>
            <p:cNvSpPr>
              <a:spLocks noChangeArrowheads="1"/>
            </p:cNvSpPr>
            <p:nvPr/>
          </p:nvSpPr>
          <p:spPr bwMode="auto">
            <a:xfrm>
              <a:off x="2698" y="1233"/>
              <a:ext cx="14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3.2</a:t>
              </a:r>
              <a:endParaRPr kumimoji="0" lang="en-US" altLang="en-US"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2" name="Rectangle 51">
              <a:extLst>
                <a:ext uri="{FF2B5EF4-FFF2-40B4-BE49-F238E27FC236}">
                  <a16:creationId xmlns:a16="http://schemas.microsoft.com/office/drawing/2014/main" id="{232040EC-6967-D3DD-9394-6E6E7663EDEB}"/>
                </a:ext>
              </a:extLst>
            </p:cNvPr>
            <p:cNvSpPr>
              <a:spLocks noChangeArrowheads="1"/>
            </p:cNvSpPr>
            <p:nvPr/>
          </p:nvSpPr>
          <p:spPr bwMode="auto">
            <a:xfrm>
              <a:off x="3350" y="2187"/>
              <a:ext cx="23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10.6</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3" name="Rectangle 52">
              <a:extLst>
                <a:ext uri="{FF2B5EF4-FFF2-40B4-BE49-F238E27FC236}">
                  <a16:creationId xmlns:a16="http://schemas.microsoft.com/office/drawing/2014/main" id="{351CF751-CBAA-6676-3B22-14318897F42C}"/>
                </a:ext>
              </a:extLst>
            </p:cNvPr>
            <p:cNvSpPr>
              <a:spLocks noChangeArrowheads="1"/>
            </p:cNvSpPr>
            <p:nvPr/>
          </p:nvSpPr>
          <p:spPr bwMode="auto">
            <a:xfrm>
              <a:off x="2577" y="2351"/>
              <a:ext cx="16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1.8</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4" name="Rectangle 53">
              <a:extLst>
                <a:ext uri="{FF2B5EF4-FFF2-40B4-BE49-F238E27FC236}">
                  <a16:creationId xmlns:a16="http://schemas.microsoft.com/office/drawing/2014/main" id="{1E07B1CE-4628-EFCB-BB39-11E195323CB8}"/>
                </a:ext>
              </a:extLst>
            </p:cNvPr>
            <p:cNvSpPr>
              <a:spLocks noChangeArrowheads="1"/>
            </p:cNvSpPr>
            <p:nvPr/>
          </p:nvSpPr>
          <p:spPr bwMode="auto">
            <a:xfrm>
              <a:off x="3589" y="1813"/>
              <a:ext cx="23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13.3</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5" name="Rectangle 54">
              <a:extLst>
                <a:ext uri="{FF2B5EF4-FFF2-40B4-BE49-F238E27FC236}">
                  <a16:creationId xmlns:a16="http://schemas.microsoft.com/office/drawing/2014/main" id="{033DCD37-B19F-42E5-0985-C6AC7231DE11}"/>
                </a:ext>
              </a:extLst>
            </p:cNvPr>
            <p:cNvSpPr>
              <a:spLocks noChangeArrowheads="1"/>
            </p:cNvSpPr>
            <p:nvPr/>
          </p:nvSpPr>
          <p:spPr bwMode="auto">
            <a:xfrm>
              <a:off x="2736" y="1995"/>
              <a:ext cx="16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3.7</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6" name="Rectangle 55">
              <a:extLst>
                <a:ext uri="{FF2B5EF4-FFF2-40B4-BE49-F238E27FC236}">
                  <a16:creationId xmlns:a16="http://schemas.microsoft.com/office/drawing/2014/main" id="{0B82E810-06BD-E8DD-B1EF-166C69FF2499}"/>
                </a:ext>
              </a:extLst>
            </p:cNvPr>
            <p:cNvSpPr>
              <a:spLocks noChangeArrowheads="1"/>
            </p:cNvSpPr>
            <p:nvPr/>
          </p:nvSpPr>
          <p:spPr bwMode="auto">
            <a:xfrm>
              <a:off x="3631" y="1455"/>
              <a:ext cx="23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13.8</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7" name="Rectangle 56">
              <a:extLst>
                <a:ext uri="{FF2B5EF4-FFF2-40B4-BE49-F238E27FC236}">
                  <a16:creationId xmlns:a16="http://schemas.microsoft.com/office/drawing/2014/main" id="{AC00787B-CBF1-D3D0-6164-CEAB667719A3}"/>
                </a:ext>
              </a:extLst>
            </p:cNvPr>
            <p:cNvSpPr>
              <a:spLocks noChangeArrowheads="1"/>
            </p:cNvSpPr>
            <p:nvPr/>
          </p:nvSpPr>
          <p:spPr bwMode="auto">
            <a:xfrm>
              <a:off x="3058" y="1583"/>
              <a:ext cx="16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7.3</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8" name="Rectangle 57">
              <a:extLst>
                <a:ext uri="{FF2B5EF4-FFF2-40B4-BE49-F238E27FC236}">
                  <a16:creationId xmlns:a16="http://schemas.microsoft.com/office/drawing/2014/main" id="{94F681BE-78C9-97D8-C440-08AD43452FEF}"/>
                </a:ext>
              </a:extLst>
            </p:cNvPr>
            <p:cNvSpPr>
              <a:spLocks noChangeArrowheads="1"/>
            </p:cNvSpPr>
            <p:nvPr/>
          </p:nvSpPr>
          <p:spPr bwMode="auto">
            <a:xfrm>
              <a:off x="5344" y="1087"/>
              <a:ext cx="23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33.5</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9" name="Rectangle 58">
              <a:extLst>
                <a:ext uri="{FF2B5EF4-FFF2-40B4-BE49-F238E27FC236}">
                  <a16:creationId xmlns:a16="http://schemas.microsoft.com/office/drawing/2014/main" id="{CA0C0F50-8436-F638-69CF-7E392B1DE101}"/>
                </a:ext>
              </a:extLst>
            </p:cNvPr>
            <p:cNvSpPr>
              <a:spLocks noChangeArrowheads="1"/>
            </p:cNvSpPr>
            <p:nvPr/>
          </p:nvSpPr>
          <p:spPr bwMode="auto">
            <a:xfrm>
              <a:off x="3748" y="1227"/>
              <a:ext cx="23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15.1</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0" name="Rectangle 59">
              <a:extLst>
                <a:ext uri="{FF2B5EF4-FFF2-40B4-BE49-F238E27FC236}">
                  <a16:creationId xmlns:a16="http://schemas.microsoft.com/office/drawing/2014/main" id="{62BDED3B-6643-F851-7B41-61154345D1DE}"/>
                </a:ext>
              </a:extLst>
            </p:cNvPr>
            <p:cNvSpPr>
              <a:spLocks noChangeArrowheads="1"/>
            </p:cNvSpPr>
            <p:nvPr/>
          </p:nvSpPr>
          <p:spPr bwMode="auto">
            <a:xfrm>
              <a:off x="2406" y="3433"/>
              <a:ext cx="6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1" name="Rectangle 60">
              <a:extLst>
                <a:ext uri="{FF2B5EF4-FFF2-40B4-BE49-F238E27FC236}">
                  <a16:creationId xmlns:a16="http://schemas.microsoft.com/office/drawing/2014/main" id="{ABEE38A4-8B60-B067-C9E8-89DA66017AE3}"/>
                </a:ext>
              </a:extLst>
            </p:cNvPr>
            <p:cNvSpPr>
              <a:spLocks noChangeArrowheads="1"/>
            </p:cNvSpPr>
            <p:nvPr/>
          </p:nvSpPr>
          <p:spPr bwMode="auto">
            <a:xfrm>
              <a:off x="2406" y="3803"/>
              <a:ext cx="6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333333"/>
                  </a:solidFill>
                  <a:effectLst/>
                  <a:uLnTx/>
                  <a:uFillTx/>
                  <a:latin typeface="Roboto" panose="02000000000000000000" pitchFamily="2" charset="0"/>
                  <a:ea typeface="Roboto" panose="02000000000000000000" pitchFamily="2" charset="0"/>
                  <a:cs typeface="Roboto" panose="02000000000000000000" pitchFamily="2" charset="0"/>
                </a:rPr>
                <a:t>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2" name="Line 61">
              <a:extLst>
                <a:ext uri="{FF2B5EF4-FFF2-40B4-BE49-F238E27FC236}">
                  <a16:creationId xmlns:a16="http://schemas.microsoft.com/office/drawing/2014/main" id="{31BE8ED8-990E-0052-ADEA-357928AC8735}"/>
                </a:ext>
              </a:extLst>
            </p:cNvPr>
            <p:cNvSpPr>
              <a:spLocks noChangeShapeType="1"/>
            </p:cNvSpPr>
            <p:nvPr/>
          </p:nvSpPr>
          <p:spPr bwMode="auto">
            <a:xfrm flipV="1">
              <a:off x="2385" y="1004"/>
              <a:ext cx="0" cy="3007"/>
            </a:xfrm>
            <a:prstGeom prst="line">
              <a:avLst/>
            </a:prstGeom>
            <a:noFill/>
            <a:ln w="6350" cap="flat">
              <a:solidFill>
                <a:srgbClr val="E5E5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83" name="Rectangle 62">
              <a:extLst>
                <a:ext uri="{FF2B5EF4-FFF2-40B4-BE49-F238E27FC236}">
                  <a16:creationId xmlns:a16="http://schemas.microsoft.com/office/drawing/2014/main" id="{2A2842AC-4E0D-98C9-9DE8-A8B8BF0DD6F2}"/>
                </a:ext>
              </a:extLst>
            </p:cNvPr>
            <p:cNvSpPr>
              <a:spLocks noChangeArrowheads="1"/>
            </p:cNvSpPr>
            <p:nvPr/>
          </p:nvSpPr>
          <p:spPr bwMode="auto">
            <a:xfrm>
              <a:off x="1073" y="3696"/>
              <a:ext cx="1253"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Gastrointestinal</a:t>
              </a:r>
            </a:p>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Perforations and Fistula</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4" name="Rectangle 63">
              <a:extLst>
                <a:ext uri="{FF2B5EF4-FFF2-40B4-BE49-F238E27FC236}">
                  <a16:creationId xmlns:a16="http://schemas.microsoft.com/office/drawing/2014/main" id="{D74CC772-2A71-CEA3-B301-44F8D6F8B898}"/>
                </a:ext>
              </a:extLst>
            </p:cNvPr>
            <p:cNvSpPr>
              <a:spLocks noChangeArrowheads="1"/>
            </p:cNvSpPr>
            <p:nvPr/>
          </p:nvSpPr>
          <p:spPr bwMode="auto">
            <a:xfrm>
              <a:off x="1655" y="3319"/>
              <a:ext cx="671"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Congestive</a:t>
              </a:r>
            </a:p>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Heart Failure</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5" name="Rectangle 64">
              <a:extLst>
                <a:ext uri="{FF2B5EF4-FFF2-40B4-BE49-F238E27FC236}">
                  <a16:creationId xmlns:a16="http://schemas.microsoft.com/office/drawing/2014/main" id="{6B48E705-FEAF-E47F-7B48-F252955B1FBB}"/>
                </a:ext>
              </a:extLst>
            </p:cNvPr>
            <p:cNvSpPr>
              <a:spLocks noChangeArrowheads="1"/>
            </p:cNvSpPr>
            <p:nvPr/>
          </p:nvSpPr>
          <p:spPr bwMode="auto">
            <a:xfrm>
              <a:off x="920" y="3003"/>
              <a:ext cx="1406"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Arterial Thromboembolism</a:t>
              </a:r>
            </a:p>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Events (ATE)</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6" name="Rectangle 65">
              <a:extLst>
                <a:ext uri="{FF2B5EF4-FFF2-40B4-BE49-F238E27FC236}">
                  <a16:creationId xmlns:a16="http://schemas.microsoft.com/office/drawing/2014/main" id="{EFD51348-8433-912A-A687-B1891572B036}"/>
                </a:ext>
              </a:extLst>
            </p:cNvPr>
            <p:cNvSpPr>
              <a:spLocks noChangeArrowheads="1"/>
            </p:cNvSpPr>
            <p:nvPr/>
          </p:nvSpPr>
          <p:spPr bwMode="auto">
            <a:xfrm>
              <a:off x="1004" y="2579"/>
              <a:ext cx="132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Venous Thromboembolic</a:t>
              </a:r>
            </a:p>
            <a:p>
              <a:pPr marL="0" marR="0" lvl="0" indent="0" algn="r"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Events (VTE)</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7" name="Rectangle 66">
              <a:extLst>
                <a:ext uri="{FF2B5EF4-FFF2-40B4-BE49-F238E27FC236}">
                  <a16:creationId xmlns:a16="http://schemas.microsoft.com/office/drawing/2014/main" id="{99B4EB63-360F-2E18-F88B-0F84AEF792AA}"/>
                </a:ext>
              </a:extLst>
            </p:cNvPr>
            <p:cNvSpPr>
              <a:spLocks noChangeArrowheads="1"/>
            </p:cNvSpPr>
            <p:nvPr/>
          </p:nvSpPr>
          <p:spPr bwMode="auto">
            <a:xfrm>
              <a:off x="1674" y="2284"/>
              <a:ext cx="655"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Hemorrhage</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8" name="Rectangle 67">
              <a:extLst>
                <a:ext uri="{FF2B5EF4-FFF2-40B4-BE49-F238E27FC236}">
                  <a16:creationId xmlns:a16="http://schemas.microsoft.com/office/drawing/2014/main" id="{7D72A5E4-5953-84A5-B0F0-7993DE60DA4B}"/>
                </a:ext>
              </a:extLst>
            </p:cNvPr>
            <p:cNvSpPr>
              <a:spLocks noChangeArrowheads="1"/>
            </p:cNvSpPr>
            <p:nvPr/>
          </p:nvSpPr>
          <p:spPr bwMode="auto">
            <a:xfrm>
              <a:off x="1621" y="1916"/>
              <a:ext cx="69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Hypertension</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9" name="Rectangle 68">
              <a:extLst>
                <a:ext uri="{FF2B5EF4-FFF2-40B4-BE49-F238E27FC236}">
                  <a16:creationId xmlns:a16="http://schemas.microsoft.com/office/drawing/2014/main" id="{9DF12463-999C-314F-C469-581D440BBC5E}"/>
                </a:ext>
              </a:extLst>
            </p:cNvPr>
            <p:cNvSpPr>
              <a:spLocks noChangeArrowheads="1"/>
            </p:cNvSpPr>
            <p:nvPr/>
          </p:nvSpPr>
          <p:spPr bwMode="auto">
            <a:xfrm>
              <a:off x="1729" y="1552"/>
              <a:ext cx="57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Proteinuria</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0" name="Rectangle 69">
              <a:extLst>
                <a:ext uri="{FF2B5EF4-FFF2-40B4-BE49-F238E27FC236}">
                  <a16:creationId xmlns:a16="http://schemas.microsoft.com/office/drawing/2014/main" id="{0EA4FACA-2BCF-970F-8E70-5892D7348064}"/>
                </a:ext>
              </a:extLst>
            </p:cNvPr>
            <p:cNvSpPr>
              <a:spLocks noChangeArrowheads="1"/>
            </p:cNvSpPr>
            <p:nvPr/>
          </p:nvSpPr>
          <p:spPr bwMode="auto">
            <a:xfrm>
              <a:off x="2046" y="1179"/>
              <a:ext cx="27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Total</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1" name="Line 70">
              <a:extLst>
                <a:ext uri="{FF2B5EF4-FFF2-40B4-BE49-F238E27FC236}">
                  <a16:creationId xmlns:a16="http://schemas.microsoft.com/office/drawing/2014/main" id="{0E8B2422-DFB0-B730-3241-BF2477B7DA9F}"/>
                </a:ext>
              </a:extLst>
            </p:cNvPr>
            <p:cNvSpPr>
              <a:spLocks noChangeShapeType="1"/>
            </p:cNvSpPr>
            <p:nvPr/>
          </p:nvSpPr>
          <p:spPr bwMode="auto">
            <a:xfrm>
              <a:off x="2385" y="4011"/>
              <a:ext cx="3495" cy="0"/>
            </a:xfrm>
            <a:prstGeom prst="line">
              <a:avLst/>
            </a:prstGeom>
            <a:noFill/>
            <a:ln w="6350" cap="flat">
              <a:solidFill>
                <a:srgbClr val="E5E5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92" name="Rectangle 71">
              <a:extLst>
                <a:ext uri="{FF2B5EF4-FFF2-40B4-BE49-F238E27FC236}">
                  <a16:creationId xmlns:a16="http://schemas.microsoft.com/office/drawing/2014/main" id="{01D2B113-B810-3345-139B-AF370EC9EBBC}"/>
                </a:ext>
              </a:extLst>
            </p:cNvPr>
            <p:cNvSpPr>
              <a:spLocks noChangeArrowheads="1"/>
            </p:cNvSpPr>
            <p:nvPr/>
          </p:nvSpPr>
          <p:spPr bwMode="auto">
            <a:xfrm>
              <a:off x="2333" y="4040"/>
              <a:ext cx="153"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3" name="Rectangle 72">
              <a:extLst>
                <a:ext uri="{FF2B5EF4-FFF2-40B4-BE49-F238E27FC236}">
                  <a16:creationId xmlns:a16="http://schemas.microsoft.com/office/drawing/2014/main" id="{A70411FB-5E71-1BC1-21A8-004EE52D37FD}"/>
                </a:ext>
              </a:extLst>
            </p:cNvPr>
            <p:cNvSpPr>
              <a:spLocks noChangeArrowheads="1"/>
            </p:cNvSpPr>
            <p:nvPr/>
          </p:nvSpPr>
          <p:spPr bwMode="auto">
            <a:xfrm>
              <a:off x="4057" y="4040"/>
              <a:ext cx="22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2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4" name="Rectangle 73">
              <a:extLst>
                <a:ext uri="{FF2B5EF4-FFF2-40B4-BE49-F238E27FC236}">
                  <a16:creationId xmlns:a16="http://schemas.microsoft.com/office/drawing/2014/main" id="{BD2A5DE1-0802-15A4-4D48-FDDAC3E720DD}"/>
                </a:ext>
              </a:extLst>
            </p:cNvPr>
            <p:cNvSpPr>
              <a:spLocks noChangeArrowheads="1"/>
            </p:cNvSpPr>
            <p:nvPr/>
          </p:nvSpPr>
          <p:spPr bwMode="auto">
            <a:xfrm>
              <a:off x="5796" y="4040"/>
              <a:ext cx="22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4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5" name="Rectangle 74">
              <a:extLst>
                <a:ext uri="{FF2B5EF4-FFF2-40B4-BE49-F238E27FC236}">
                  <a16:creationId xmlns:a16="http://schemas.microsoft.com/office/drawing/2014/main" id="{9EFD054A-2DDB-DCE7-711B-E7593A8BFF09}"/>
                </a:ext>
              </a:extLst>
            </p:cNvPr>
            <p:cNvSpPr>
              <a:spLocks noChangeArrowheads="1"/>
            </p:cNvSpPr>
            <p:nvPr/>
          </p:nvSpPr>
          <p:spPr bwMode="auto">
            <a:xfrm>
              <a:off x="3575" y="4201"/>
              <a:ext cx="1348"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ercent of Subjects (%)</a:t>
              </a:r>
            </a:p>
          </p:txBody>
        </p:sp>
      </p:grpSp>
      <p:sp>
        <p:nvSpPr>
          <p:cNvPr id="5" name="Title 4">
            <a:extLst>
              <a:ext uri="{FF2B5EF4-FFF2-40B4-BE49-F238E27FC236}">
                <a16:creationId xmlns:a16="http://schemas.microsoft.com/office/drawing/2014/main" id="{BAE8D3DF-8FEB-81D5-889B-12CBBFE477B5}"/>
              </a:ext>
            </a:extLst>
          </p:cNvPr>
          <p:cNvSpPr>
            <a:spLocks noGrp="1"/>
          </p:cNvSpPr>
          <p:nvPr>
            <p:ph type="title" idx="4294967295"/>
          </p:nvPr>
        </p:nvSpPr>
        <p:spPr>
          <a:xfrm>
            <a:off x="146634" y="563040"/>
            <a:ext cx="10439087" cy="475572"/>
          </a:xfrm>
          <a:prstGeom prst="rect">
            <a:avLst/>
          </a:prstGeom>
        </p:spPr>
        <p:txBody>
          <a:bodyPr lIns="91440" tIns="45720" rIns="91440" bIns="45720" anchor="t"/>
          <a:lstStyle/>
          <a:p>
            <a:pPr>
              <a:lnSpc>
                <a:spcPct val="100000"/>
              </a:lnSpc>
            </a:pPr>
            <a:r>
              <a:rPr lang="en-US" sz="3600" b="1" dirty="0">
                <a:latin typeface="Roboto"/>
                <a:ea typeface="Roboto"/>
                <a:cs typeface="Roboto"/>
              </a:rPr>
              <a:t>Immune-related and VEGF-related TRAEs</a:t>
            </a:r>
            <a:br>
              <a:rPr lang="en-US" sz="3600" b="1" dirty="0">
                <a:latin typeface="Roboto" panose="02000000000000000000" pitchFamily="2" charset="0"/>
                <a:ea typeface="Roboto" panose="02000000000000000000" pitchFamily="2" charset="0"/>
                <a:cs typeface="Roboto" panose="02000000000000000000" pitchFamily="2" charset="0"/>
              </a:rPr>
            </a:br>
            <a:r>
              <a:rPr lang="en-US" sz="1800" b="1" dirty="0">
                <a:latin typeface="Roboto"/>
                <a:ea typeface="Roboto"/>
                <a:cs typeface="Roboto"/>
              </a:rPr>
              <a:t>Most common </a:t>
            </a:r>
            <a:r>
              <a:rPr lang="en-US" sz="1800" b="1" dirty="0" err="1">
                <a:latin typeface="Roboto"/>
                <a:ea typeface="Roboto"/>
                <a:cs typeface="Roboto"/>
              </a:rPr>
              <a:t>irAEs</a:t>
            </a:r>
            <a:r>
              <a:rPr lang="en-US" sz="1800" b="1" dirty="0">
                <a:latin typeface="Roboto"/>
                <a:ea typeface="Roboto"/>
                <a:cs typeface="Roboto"/>
              </a:rPr>
              <a:t>: hypo/hyperthyroidism, transaminase elevation, rash; mostly low grade</a:t>
            </a:r>
            <a:br>
              <a:rPr lang="en-US" sz="1800" b="1" dirty="0">
                <a:latin typeface="Roboto" panose="02000000000000000000" pitchFamily="2" charset="0"/>
                <a:ea typeface="Roboto" panose="02000000000000000000" pitchFamily="2" charset="0"/>
                <a:cs typeface="Roboto" panose="02000000000000000000" pitchFamily="2" charset="0"/>
              </a:rPr>
            </a:br>
            <a:r>
              <a:rPr lang="en-US" sz="1800" b="1" dirty="0">
                <a:latin typeface="Roboto"/>
                <a:ea typeface="Roboto"/>
                <a:cs typeface="Roboto"/>
              </a:rPr>
              <a:t>Most common VEGF-related TRAEs: proteinuria, hypertension, hemorrhage; mostly low grade</a:t>
            </a:r>
            <a:endParaRPr lang="en-US" sz="3600" dirty="0">
              <a:latin typeface="Roboto"/>
              <a:ea typeface="Roboto"/>
              <a:cs typeface="Roboto"/>
            </a:endParaRPr>
          </a:p>
        </p:txBody>
      </p:sp>
      <p:sp>
        <p:nvSpPr>
          <p:cNvPr id="13" name="TextBox 12">
            <a:extLst>
              <a:ext uri="{FF2B5EF4-FFF2-40B4-BE49-F238E27FC236}">
                <a16:creationId xmlns:a16="http://schemas.microsoft.com/office/drawing/2014/main" id="{E8503CAD-5B5F-9FC6-F3DE-33E8D874C343}"/>
              </a:ext>
            </a:extLst>
          </p:cNvPr>
          <p:cNvSpPr txBox="1"/>
          <p:nvPr/>
        </p:nvSpPr>
        <p:spPr>
          <a:xfrm>
            <a:off x="8046447" y="1696819"/>
            <a:ext cx="1784463" cy="4001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VEGF-related </a:t>
            </a:r>
          </a:p>
        </p:txBody>
      </p:sp>
      <p:sp>
        <p:nvSpPr>
          <p:cNvPr id="11" name="TextBox 10">
            <a:extLst>
              <a:ext uri="{FF2B5EF4-FFF2-40B4-BE49-F238E27FC236}">
                <a16:creationId xmlns:a16="http://schemas.microsoft.com/office/drawing/2014/main" id="{414676EF-E0C3-DF34-E57F-2B0FD5ABAD8E}"/>
              </a:ext>
            </a:extLst>
          </p:cNvPr>
          <p:cNvSpPr txBox="1"/>
          <p:nvPr/>
        </p:nvSpPr>
        <p:spPr>
          <a:xfrm>
            <a:off x="1455692" y="1696819"/>
            <a:ext cx="663964" cy="400110"/>
          </a:xfrm>
          <a:prstGeom prst="rect">
            <a:avLst/>
          </a:prstGeom>
          <a:noFill/>
        </p:spPr>
        <p:txBody>
          <a:bodyPr wrap="none" lIns="91440" tIns="45720" rIns="91440" bIns="45720" rtlCol="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irAE</a:t>
            </a:r>
            <a:endParaRPr kumimoji="0" lang="en-US" sz="1400" b="1" i="0" u="none" strike="noStrike" kern="1200" cap="none" spc="0" normalizeH="0" baseline="0" noProof="0">
              <a:ln>
                <a:noFill/>
              </a:ln>
              <a:solidFill>
                <a:srgbClr val="000000"/>
              </a:solidFill>
              <a:effectLst/>
              <a:highlight>
                <a:srgbClr val="FFFF00"/>
              </a:highlight>
              <a:uLnTx/>
              <a:uFillTx/>
              <a:latin typeface="Roboto" panose="02000000000000000000" pitchFamily="2" charset="0"/>
              <a:ea typeface="Roboto" panose="02000000000000000000" pitchFamily="2" charset="0"/>
              <a:cs typeface="Roboto" panose="02000000000000000000" pitchFamily="2" charset="0"/>
            </a:endParaRPr>
          </a:p>
        </p:txBody>
      </p:sp>
      <p:cxnSp>
        <p:nvCxnSpPr>
          <p:cNvPr id="9" name="Straight Connector 8">
            <a:extLst>
              <a:ext uri="{FF2B5EF4-FFF2-40B4-BE49-F238E27FC236}">
                <a16:creationId xmlns:a16="http://schemas.microsoft.com/office/drawing/2014/main" id="{4E72C7D3-E8D8-3DE4-E635-6A8DED362952}"/>
              </a:ext>
            </a:extLst>
          </p:cNvPr>
          <p:cNvCxnSpPr>
            <a:cxnSpLocks/>
          </p:cNvCxnSpPr>
          <p:nvPr/>
        </p:nvCxnSpPr>
        <p:spPr>
          <a:xfrm>
            <a:off x="6095563" y="1861585"/>
            <a:ext cx="0" cy="43419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7DF4EDCD-8204-F7EC-2ECE-71BF282797DD}"/>
              </a:ext>
            </a:extLst>
          </p:cNvPr>
          <p:cNvGrpSpPr/>
          <p:nvPr/>
        </p:nvGrpSpPr>
        <p:grpSpPr>
          <a:xfrm>
            <a:off x="35431" y="709214"/>
            <a:ext cx="12105180" cy="6179805"/>
            <a:chOff x="35431" y="709213"/>
            <a:chExt cx="12105180" cy="6179804"/>
          </a:xfrm>
        </p:grpSpPr>
        <p:sp>
          <p:nvSpPr>
            <p:cNvPr id="17" name="TextBox 16">
              <a:extLst>
                <a:ext uri="{FF2B5EF4-FFF2-40B4-BE49-F238E27FC236}">
                  <a16:creationId xmlns:a16="http://schemas.microsoft.com/office/drawing/2014/main" id="{9043657C-351F-4140-CEB2-59D157E5C0BB}"/>
                </a:ext>
              </a:extLst>
            </p:cNvPr>
            <p:cNvSpPr txBox="1"/>
            <p:nvPr/>
          </p:nvSpPr>
          <p:spPr>
            <a:xfrm>
              <a:off x="35431" y="5732443"/>
              <a:ext cx="3331361" cy="623376"/>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br>
                <a:rPr kumimoji="0" lang="en-US" sz="1051" b="0" i="0" u="none" strike="sng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br>
              <a:r>
                <a:rPr kumimoji="0" lang="en-US" sz="12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neumonitis/ILD, Ivo arm vs </a:t>
              </a:r>
              <a:r>
                <a:rPr kumimoji="0" lang="en-US" sz="1200" b="0"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bo</a:t>
              </a:r>
              <a:r>
                <a:rPr kumimoji="0" lang="en-US" sz="12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arm:</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2.8%</a:t>
              </a:r>
              <a:r>
                <a:rPr kumimoji="0" lang="en-US" sz="12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1.4% Grade ≥3) vs </a:t>
              </a:r>
              <a:r>
                <a:rPr kumimoji="0" lang="en-US" sz="12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1.8%</a:t>
              </a:r>
              <a:r>
                <a:rPr kumimoji="0" lang="en-US" sz="12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1.4% Grade ≥3)</a:t>
              </a:r>
            </a:p>
          </p:txBody>
        </p:sp>
        <p:grpSp>
          <p:nvGrpSpPr>
            <p:cNvPr id="2" name="Group 1">
              <a:extLst>
                <a:ext uri="{FF2B5EF4-FFF2-40B4-BE49-F238E27FC236}">
                  <a16:creationId xmlns:a16="http://schemas.microsoft.com/office/drawing/2014/main" id="{4B76A1CC-1636-B7D0-F46A-9E38243B8EC5}"/>
                </a:ext>
              </a:extLst>
            </p:cNvPr>
            <p:cNvGrpSpPr/>
            <p:nvPr/>
          </p:nvGrpSpPr>
          <p:grpSpPr>
            <a:xfrm>
              <a:off x="2874415" y="4631297"/>
              <a:ext cx="2462873" cy="982346"/>
              <a:chOff x="9196911" y="4409283"/>
              <a:chExt cx="2807514" cy="1119811"/>
            </a:xfrm>
          </p:grpSpPr>
          <p:sp>
            <p:nvSpPr>
              <p:cNvPr id="3" name="Rectangle 2">
                <a:extLst>
                  <a:ext uri="{FF2B5EF4-FFF2-40B4-BE49-F238E27FC236}">
                    <a16:creationId xmlns:a16="http://schemas.microsoft.com/office/drawing/2014/main" id="{CA91192C-4A05-FF69-8FE2-E245794D580A}"/>
                  </a:ext>
                </a:extLst>
              </p:cNvPr>
              <p:cNvSpPr/>
              <p:nvPr/>
            </p:nvSpPr>
            <p:spPr>
              <a:xfrm>
                <a:off x="9455047" y="4535898"/>
                <a:ext cx="2525689" cy="9931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8E07892F-06F4-68A3-F6CE-7A3A8AC9FFD0}"/>
                  </a:ext>
                </a:extLst>
              </p:cNvPr>
              <p:cNvSpPr txBox="1"/>
              <p:nvPr/>
            </p:nvSpPr>
            <p:spPr>
              <a:xfrm>
                <a:off x="11205807" y="4409283"/>
                <a:ext cx="798618" cy="280676"/>
              </a:xfrm>
              <a:prstGeom prst="rect">
                <a:avLst/>
              </a:prstGeom>
              <a:noFill/>
              <a:ln>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Grade ≥3</a:t>
                </a:r>
              </a:p>
            </p:txBody>
          </p:sp>
          <p:pic>
            <p:nvPicPr>
              <p:cNvPr id="15" name="Picture 14">
                <a:extLst>
                  <a:ext uri="{FF2B5EF4-FFF2-40B4-BE49-F238E27FC236}">
                    <a16:creationId xmlns:a16="http://schemas.microsoft.com/office/drawing/2014/main" id="{65E7275C-63BA-828B-41CD-2EACAA880014}"/>
                  </a:ext>
                </a:extLst>
              </p:cNvPr>
              <p:cNvPicPr>
                <a:picLocks noChangeAspect="1"/>
              </p:cNvPicPr>
              <p:nvPr/>
            </p:nvPicPr>
            <p:blipFill>
              <a:blip r:embed="rId3"/>
              <a:stretch>
                <a:fillRect/>
              </a:stretch>
            </p:blipFill>
            <p:spPr>
              <a:xfrm>
                <a:off x="11426625" y="4741756"/>
                <a:ext cx="309606" cy="276084"/>
              </a:xfrm>
              <a:prstGeom prst="rect">
                <a:avLst/>
              </a:prstGeom>
            </p:spPr>
          </p:pic>
          <p:pic>
            <p:nvPicPr>
              <p:cNvPr id="21" name="Picture 20">
                <a:extLst>
                  <a:ext uri="{FF2B5EF4-FFF2-40B4-BE49-F238E27FC236}">
                    <a16:creationId xmlns:a16="http://schemas.microsoft.com/office/drawing/2014/main" id="{DE470670-B751-20D1-D604-1F1D65915EF7}"/>
                  </a:ext>
                </a:extLst>
              </p:cNvPr>
              <p:cNvPicPr>
                <a:picLocks noChangeAspect="1"/>
              </p:cNvPicPr>
              <p:nvPr/>
            </p:nvPicPr>
            <p:blipFill>
              <a:blip r:embed="rId4"/>
              <a:stretch>
                <a:fillRect/>
              </a:stretch>
            </p:blipFill>
            <p:spPr>
              <a:xfrm>
                <a:off x="11426625" y="5107864"/>
                <a:ext cx="309607" cy="271321"/>
              </a:xfrm>
              <a:prstGeom prst="rect">
                <a:avLst/>
              </a:prstGeom>
            </p:spPr>
          </p:pic>
          <p:sp>
            <p:nvSpPr>
              <p:cNvPr id="22" name="TextBox 21">
                <a:extLst>
                  <a:ext uri="{FF2B5EF4-FFF2-40B4-BE49-F238E27FC236}">
                    <a16:creationId xmlns:a16="http://schemas.microsoft.com/office/drawing/2014/main" id="{E6BB66FE-5C01-FF5B-EAD8-451ECC6AC787}"/>
                  </a:ext>
                </a:extLst>
              </p:cNvPr>
              <p:cNvSpPr txBox="1"/>
              <p:nvPr/>
            </p:nvSpPr>
            <p:spPr>
              <a:xfrm>
                <a:off x="9196911" y="4764382"/>
                <a:ext cx="1641297" cy="280676"/>
              </a:xfrm>
              <a:prstGeom prst="rect">
                <a:avLst/>
              </a:prstGeom>
              <a:solidFill>
                <a:schemeClr val="bg1"/>
              </a:solidFill>
              <a:ln>
                <a:solidFill>
                  <a:schemeClr val="bg1"/>
                </a:solid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54883"/>
                    </a:solidFill>
                    <a:effectLst/>
                    <a:uLnTx/>
                    <a:uFillTx/>
                    <a:latin typeface="Roboto" panose="02000000000000000000" pitchFamily="2" charset="0"/>
                    <a:ea typeface="Roboto" panose="02000000000000000000" pitchFamily="2" charset="0"/>
                    <a:cs typeface="Roboto" panose="02000000000000000000" pitchFamily="2" charset="0"/>
                  </a:rPr>
                  <a:t>Ivonescimab + chemo</a:t>
                </a:r>
              </a:p>
            </p:txBody>
          </p:sp>
          <p:sp>
            <p:nvSpPr>
              <p:cNvPr id="27" name="TextBox 26">
                <a:extLst>
                  <a:ext uri="{FF2B5EF4-FFF2-40B4-BE49-F238E27FC236}">
                    <a16:creationId xmlns:a16="http://schemas.microsoft.com/office/drawing/2014/main" id="{7D20D534-C8A1-F3D6-02B9-DF828DDB4CC5}"/>
                  </a:ext>
                </a:extLst>
              </p:cNvPr>
              <p:cNvSpPr txBox="1"/>
              <p:nvPr/>
            </p:nvSpPr>
            <p:spPr>
              <a:xfrm>
                <a:off x="9529931" y="5128108"/>
                <a:ext cx="1337963" cy="280676"/>
              </a:xfrm>
              <a:prstGeom prst="rect">
                <a:avLst/>
              </a:prstGeom>
              <a:solidFill>
                <a:schemeClr val="bg1"/>
              </a:solidFill>
              <a:ln>
                <a:solidFill>
                  <a:schemeClr val="bg1"/>
                </a:solid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lacebo + chemo</a:t>
                </a:r>
              </a:p>
            </p:txBody>
          </p:sp>
          <p:sp>
            <p:nvSpPr>
              <p:cNvPr id="29" name="TextBox 28">
                <a:extLst>
                  <a:ext uri="{FF2B5EF4-FFF2-40B4-BE49-F238E27FC236}">
                    <a16:creationId xmlns:a16="http://schemas.microsoft.com/office/drawing/2014/main" id="{01FE3B8E-1AF6-C6DD-1974-1D43640DEF2D}"/>
                  </a:ext>
                </a:extLst>
              </p:cNvPr>
              <p:cNvSpPr txBox="1"/>
              <p:nvPr/>
            </p:nvSpPr>
            <p:spPr>
              <a:xfrm>
                <a:off x="10498367" y="4409283"/>
                <a:ext cx="879306" cy="280676"/>
              </a:xfrm>
              <a:prstGeom prst="rect">
                <a:avLst/>
              </a:prstGeom>
              <a:noFill/>
              <a:ln>
                <a:no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Any Grade</a:t>
                </a:r>
              </a:p>
            </p:txBody>
          </p:sp>
          <p:pic>
            <p:nvPicPr>
              <p:cNvPr id="30" name="Picture 29">
                <a:extLst>
                  <a:ext uri="{FF2B5EF4-FFF2-40B4-BE49-F238E27FC236}">
                    <a16:creationId xmlns:a16="http://schemas.microsoft.com/office/drawing/2014/main" id="{A5F8C38D-47C2-C9A7-CEE7-036245E42E31}"/>
                  </a:ext>
                </a:extLst>
              </p:cNvPr>
              <p:cNvPicPr>
                <a:picLocks noChangeAspect="1"/>
              </p:cNvPicPr>
              <p:nvPr/>
            </p:nvPicPr>
            <p:blipFill>
              <a:blip r:embed="rId5"/>
              <a:stretch>
                <a:fillRect/>
              </a:stretch>
            </p:blipFill>
            <p:spPr>
              <a:xfrm flipH="1">
                <a:off x="10844535" y="4756687"/>
                <a:ext cx="309607" cy="246221"/>
              </a:xfrm>
              <a:prstGeom prst="rect">
                <a:avLst/>
              </a:prstGeom>
            </p:spPr>
          </p:pic>
          <p:pic>
            <p:nvPicPr>
              <p:cNvPr id="31" name="Picture 30">
                <a:extLst>
                  <a:ext uri="{FF2B5EF4-FFF2-40B4-BE49-F238E27FC236}">
                    <a16:creationId xmlns:a16="http://schemas.microsoft.com/office/drawing/2014/main" id="{73CBD611-B38E-EE2F-6E1D-B7F16F3F8A42}"/>
                  </a:ext>
                </a:extLst>
              </p:cNvPr>
              <p:cNvPicPr>
                <a:picLocks noChangeAspect="1"/>
              </p:cNvPicPr>
              <p:nvPr/>
            </p:nvPicPr>
            <p:blipFill>
              <a:blip r:embed="rId6"/>
              <a:stretch>
                <a:fillRect/>
              </a:stretch>
            </p:blipFill>
            <p:spPr>
              <a:xfrm>
                <a:off x="10844535" y="5114588"/>
                <a:ext cx="309606" cy="257872"/>
              </a:xfrm>
              <a:prstGeom prst="rect">
                <a:avLst/>
              </a:prstGeom>
            </p:spPr>
          </p:pic>
        </p:grpSp>
        <p:sp>
          <p:nvSpPr>
            <p:cNvPr id="200" name="Rectangle 166">
              <a:extLst>
                <a:ext uri="{FF2B5EF4-FFF2-40B4-BE49-F238E27FC236}">
                  <a16:creationId xmlns:a16="http://schemas.microsoft.com/office/drawing/2014/main" id="{8AD573A1-0E84-8F98-57A8-044510CB13A1}"/>
                </a:ext>
              </a:extLst>
            </p:cNvPr>
            <p:cNvSpPr>
              <a:spLocks noChangeArrowheads="1"/>
            </p:cNvSpPr>
            <p:nvPr/>
          </p:nvSpPr>
          <p:spPr bwMode="auto">
            <a:xfrm>
              <a:off x="1436552" y="5704855"/>
              <a:ext cx="16671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1" name="Rectangle 167">
              <a:extLst>
                <a:ext uri="{FF2B5EF4-FFF2-40B4-BE49-F238E27FC236}">
                  <a16:creationId xmlns:a16="http://schemas.microsoft.com/office/drawing/2014/main" id="{85D80CC2-CA5B-18B0-D3D8-9D37BF934863}"/>
                </a:ext>
              </a:extLst>
            </p:cNvPr>
            <p:cNvSpPr>
              <a:spLocks noChangeArrowheads="1"/>
            </p:cNvSpPr>
            <p:nvPr/>
          </p:nvSpPr>
          <p:spPr bwMode="auto">
            <a:xfrm>
              <a:off x="3681872" y="5704855"/>
              <a:ext cx="2388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4D4D4D"/>
                  </a:solidFill>
                  <a:effectLst/>
                  <a:uLnTx/>
                  <a:uFillTx/>
                  <a:latin typeface="Roboto" panose="02000000000000000000" pitchFamily="2" charset="0"/>
                  <a:ea typeface="Roboto" panose="02000000000000000000" pitchFamily="2" charset="0"/>
                  <a:cs typeface="Roboto" panose="02000000000000000000" pitchFamily="2" charset="0"/>
                </a:rPr>
                <a:t>20%</a:t>
              </a:r>
              <a:endParaRPr kumimoji="0" lang="en-US" alt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2" name="Rectangle 168">
              <a:extLst>
                <a:ext uri="{FF2B5EF4-FFF2-40B4-BE49-F238E27FC236}">
                  <a16:creationId xmlns:a16="http://schemas.microsoft.com/office/drawing/2014/main" id="{C9DA69F4-B91C-78EE-6213-665779DAB486}"/>
                </a:ext>
              </a:extLst>
            </p:cNvPr>
            <p:cNvSpPr>
              <a:spLocks noChangeArrowheads="1"/>
            </p:cNvSpPr>
            <p:nvPr/>
          </p:nvSpPr>
          <p:spPr bwMode="auto">
            <a:xfrm>
              <a:off x="3328640" y="5891503"/>
              <a:ext cx="14651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ercent of Subjects (%)</a:t>
              </a:r>
            </a:p>
          </p:txBody>
        </p:sp>
        <p:grpSp>
          <p:nvGrpSpPr>
            <p:cNvPr id="204" name="Group 203">
              <a:extLst>
                <a:ext uri="{FF2B5EF4-FFF2-40B4-BE49-F238E27FC236}">
                  <a16:creationId xmlns:a16="http://schemas.microsoft.com/office/drawing/2014/main" id="{9CE4C1F6-E05D-E977-A821-0B91A7692049}"/>
                </a:ext>
              </a:extLst>
            </p:cNvPr>
            <p:cNvGrpSpPr/>
            <p:nvPr/>
          </p:nvGrpSpPr>
          <p:grpSpPr>
            <a:xfrm>
              <a:off x="9446497" y="4601370"/>
              <a:ext cx="2501794" cy="982346"/>
              <a:chOff x="9197847" y="4409283"/>
              <a:chExt cx="2851875" cy="1119811"/>
            </a:xfrm>
          </p:grpSpPr>
          <p:sp>
            <p:nvSpPr>
              <p:cNvPr id="205" name="Rectangle 204">
                <a:extLst>
                  <a:ext uri="{FF2B5EF4-FFF2-40B4-BE49-F238E27FC236}">
                    <a16:creationId xmlns:a16="http://schemas.microsoft.com/office/drawing/2014/main" id="{7B016970-F093-A3B4-C763-43FA7729E8E7}"/>
                  </a:ext>
                </a:extLst>
              </p:cNvPr>
              <p:cNvSpPr/>
              <p:nvPr/>
            </p:nvSpPr>
            <p:spPr>
              <a:xfrm>
                <a:off x="9455047" y="4535898"/>
                <a:ext cx="2525689" cy="9931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TextBox 205">
                <a:extLst>
                  <a:ext uri="{FF2B5EF4-FFF2-40B4-BE49-F238E27FC236}">
                    <a16:creationId xmlns:a16="http://schemas.microsoft.com/office/drawing/2014/main" id="{AFD4EF5D-9D7E-39FA-94E8-9F2BE26BECA8}"/>
                  </a:ext>
                </a:extLst>
              </p:cNvPr>
              <p:cNvSpPr txBox="1"/>
              <p:nvPr/>
            </p:nvSpPr>
            <p:spPr>
              <a:xfrm>
                <a:off x="11251105" y="4409283"/>
                <a:ext cx="798617" cy="280676"/>
              </a:xfrm>
              <a:prstGeom prst="rect">
                <a:avLst/>
              </a:prstGeom>
              <a:noFill/>
              <a:ln>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Grade ≥3</a:t>
                </a:r>
              </a:p>
            </p:txBody>
          </p:sp>
          <p:pic>
            <p:nvPicPr>
              <p:cNvPr id="207" name="Picture 206">
                <a:extLst>
                  <a:ext uri="{FF2B5EF4-FFF2-40B4-BE49-F238E27FC236}">
                    <a16:creationId xmlns:a16="http://schemas.microsoft.com/office/drawing/2014/main" id="{E78D6536-7D8B-21DE-1AB4-0B4F61AC1F12}"/>
                  </a:ext>
                </a:extLst>
              </p:cNvPr>
              <p:cNvPicPr>
                <a:picLocks noChangeAspect="1"/>
              </p:cNvPicPr>
              <p:nvPr/>
            </p:nvPicPr>
            <p:blipFill>
              <a:blip r:embed="rId3"/>
              <a:stretch>
                <a:fillRect/>
              </a:stretch>
            </p:blipFill>
            <p:spPr>
              <a:xfrm>
                <a:off x="11426625" y="4741756"/>
                <a:ext cx="309606" cy="276084"/>
              </a:xfrm>
              <a:prstGeom prst="rect">
                <a:avLst/>
              </a:prstGeom>
            </p:spPr>
          </p:pic>
          <p:pic>
            <p:nvPicPr>
              <p:cNvPr id="208" name="Picture 207">
                <a:extLst>
                  <a:ext uri="{FF2B5EF4-FFF2-40B4-BE49-F238E27FC236}">
                    <a16:creationId xmlns:a16="http://schemas.microsoft.com/office/drawing/2014/main" id="{634FF736-7B24-6947-3323-8CE1B6011F60}"/>
                  </a:ext>
                </a:extLst>
              </p:cNvPr>
              <p:cNvPicPr>
                <a:picLocks noChangeAspect="1"/>
              </p:cNvPicPr>
              <p:nvPr/>
            </p:nvPicPr>
            <p:blipFill>
              <a:blip r:embed="rId4"/>
              <a:stretch>
                <a:fillRect/>
              </a:stretch>
            </p:blipFill>
            <p:spPr>
              <a:xfrm>
                <a:off x="11426625" y="5107864"/>
                <a:ext cx="309607" cy="271321"/>
              </a:xfrm>
              <a:prstGeom prst="rect">
                <a:avLst/>
              </a:prstGeom>
            </p:spPr>
          </p:pic>
          <p:sp>
            <p:nvSpPr>
              <p:cNvPr id="209" name="TextBox 208">
                <a:extLst>
                  <a:ext uri="{FF2B5EF4-FFF2-40B4-BE49-F238E27FC236}">
                    <a16:creationId xmlns:a16="http://schemas.microsoft.com/office/drawing/2014/main" id="{1F6E63AE-7BF2-AE22-BE6A-A2B2A5F6D822}"/>
                  </a:ext>
                </a:extLst>
              </p:cNvPr>
              <p:cNvSpPr txBox="1"/>
              <p:nvPr/>
            </p:nvSpPr>
            <p:spPr>
              <a:xfrm>
                <a:off x="9197847" y="4764382"/>
                <a:ext cx="1641294" cy="280676"/>
              </a:xfrm>
              <a:prstGeom prst="rect">
                <a:avLst/>
              </a:prstGeom>
              <a:solidFill>
                <a:schemeClr val="bg1"/>
              </a:solidFill>
              <a:ln>
                <a:solidFill>
                  <a:schemeClr val="bg1"/>
                </a:solid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54883"/>
                    </a:solidFill>
                    <a:effectLst/>
                    <a:uLnTx/>
                    <a:uFillTx/>
                    <a:latin typeface="Roboto" panose="02000000000000000000" pitchFamily="2" charset="0"/>
                    <a:ea typeface="Roboto" panose="02000000000000000000" pitchFamily="2" charset="0"/>
                    <a:cs typeface="Roboto" panose="02000000000000000000" pitchFamily="2" charset="0"/>
                  </a:rPr>
                  <a:t>Ivonescimab + chemo</a:t>
                </a:r>
              </a:p>
            </p:txBody>
          </p:sp>
          <p:sp>
            <p:nvSpPr>
              <p:cNvPr id="210" name="TextBox 209">
                <a:extLst>
                  <a:ext uri="{FF2B5EF4-FFF2-40B4-BE49-F238E27FC236}">
                    <a16:creationId xmlns:a16="http://schemas.microsoft.com/office/drawing/2014/main" id="{00DF919B-5B24-21D7-0D69-B40E01E640D2}"/>
                  </a:ext>
                </a:extLst>
              </p:cNvPr>
              <p:cNvSpPr txBox="1"/>
              <p:nvPr/>
            </p:nvSpPr>
            <p:spPr>
              <a:xfrm>
                <a:off x="9502057" y="5128108"/>
                <a:ext cx="1337960" cy="280676"/>
              </a:xfrm>
              <a:prstGeom prst="rect">
                <a:avLst/>
              </a:prstGeom>
              <a:solidFill>
                <a:schemeClr val="bg1"/>
              </a:solidFill>
              <a:ln>
                <a:solidFill>
                  <a:schemeClr val="bg1"/>
                </a:solid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Placebo + chemo</a:t>
                </a:r>
              </a:p>
            </p:txBody>
          </p:sp>
          <p:sp>
            <p:nvSpPr>
              <p:cNvPr id="211" name="TextBox 210">
                <a:extLst>
                  <a:ext uri="{FF2B5EF4-FFF2-40B4-BE49-F238E27FC236}">
                    <a16:creationId xmlns:a16="http://schemas.microsoft.com/office/drawing/2014/main" id="{DF13D5D3-CF9C-B3A3-CAD0-824C8206E360}"/>
                  </a:ext>
                </a:extLst>
              </p:cNvPr>
              <p:cNvSpPr txBox="1"/>
              <p:nvPr/>
            </p:nvSpPr>
            <p:spPr>
              <a:xfrm>
                <a:off x="10532771" y="4409283"/>
                <a:ext cx="879304" cy="280676"/>
              </a:xfrm>
              <a:prstGeom prst="rect">
                <a:avLst/>
              </a:prstGeom>
              <a:noFill/>
              <a:ln>
                <a:no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Any Grade</a:t>
                </a:r>
              </a:p>
            </p:txBody>
          </p:sp>
          <p:pic>
            <p:nvPicPr>
              <p:cNvPr id="212" name="Picture 211">
                <a:extLst>
                  <a:ext uri="{FF2B5EF4-FFF2-40B4-BE49-F238E27FC236}">
                    <a16:creationId xmlns:a16="http://schemas.microsoft.com/office/drawing/2014/main" id="{9DA1C127-0C1F-AE81-F7A3-C44745EFD8DA}"/>
                  </a:ext>
                </a:extLst>
              </p:cNvPr>
              <p:cNvPicPr>
                <a:picLocks noChangeAspect="1"/>
              </p:cNvPicPr>
              <p:nvPr/>
            </p:nvPicPr>
            <p:blipFill>
              <a:blip r:embed="rId5"/>
              <a:stretch>
                <a:fillRect/>
              </a:stretch>
            </p:blipFill>
            <p:spPr>
              <a:xfrm flipH="1">
                <a:off x="10880789" y="4756687"/>
                <a:ext cx="309607" cy="246221"/>
              </a:xfrm>
              <a:prstGeom prst="rect">
                <a:avLst/>
              </a:prstGeom>
            </p:spPr>
          </p:pic>
          <p:pic>
            <p:nvPicPr>
              <p:cNvPr id="213" name="Picture 212">
                <a:extLst>
                  <a:ext uri="{FF2B5EF4-FFF2-40B4-BE49-F238E27FC236}">
                    <a16:creationId xmlns:a16="http://schemas.microsoft.com/office/drawing/2014/main" id="{EAA4AC28-FB33-4B32-7831-2C1481E7789C}"/>
                  </a:ext>
                </a:extLst>
              </p:cNvPr>
              <p:cNvPicPr>
                <a:picLocks noChangeAspect="1"/>
              </p:cNvPicPr>
              <p:nvPr/>
            </p:nvPicPr>
            <p:blipFill>
              <a:blip r:embed="rId6"/>
              <a:stretch>
                <a:fillRect/>
              </a:stretch>
            </p:blipFill>
            <p:spPr>
              <a:xfrm>
                <a:off x="10880789" y="5114588"/>
                <a:ext cx="309606" cy="257872"/>
              </a:xfrm>
              <a:prstGeom prst="rect">
                <a:avLst/>
              </a:prstGeom>
            </p:spPr>
          </p:pic>
        </p:grpSp>
        <p:pic>
          <p:nvPicPr>
            <p:cNvPr id="214" name="Harmoni logo" descr="A black and green rectangle with a black background&#10;&#10;Description automatically generated">
              <a:extLst>
                <a:ext uri="{FF2B5EF4-FFF2-40B4-BE49-F238E27FC236}">
                  <a16:creationId xmlns:a16="http://schemas.microsoft.com/office/drawing/2014/main" id="{3CAD067B-203E-4169-8C71-1A4BB1013F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59332" y="709213"/>
              <a:ext cx="1511528" cy="347253"/>
            </a:xfrm>
            <a:prstGeom prst="rect">
              <a:avLst/>
            </a:prstGeom>
          </p:spPr>
        </p:pic>
        <p:sp>
          <p:nvSpPr>
            <p:cNvPr id="20" name="TextBox 19">
              <a:extLst>
                <a:ext uri="{FF2B5EF4-FFF2-40B4-BE49-F238E27FC236}">
                  <a16:creationId xmlns:a16="http://schemas.microsoft.com/office/drawing/2014/main" id="{210CCCBB-1E54-0142-5098-AD78900BDE36}"/>
                </a:ext>
              </a:extLst>
            </p:cNvPr>
            <p:cNvSpPr txBox="1"/>
            <p:nvPr/>
          </p:nvSpPr>
          <p:spPr>
            <a:xfrm>
              <a:off x="3260275" y="6681331"/>
              <a:ext cx="8880336" cy="207686"/>
            </a:xfrm>
            <a:prstGeom prst="rect">
              <a:avLst/>
            </a:prstGeom>
            <a:noFill/>
          </p:spPr>
          <p:txBody>
            <a:bodyPr wrap="square">
              <a:spAutoFit/>
            </a:bodyPr>
            <a:lstStyle/>
            <a:p>
              <a:pPr marL="0" marR="0" lvl="0" indent="0" algn="r" defTabSz="914377" rtl="0" eaLnBrk="1" fontAlgn="auto" latinLnBrk="0" hangingPunct="1">
                <a:lnSpc>
                  <a:spcPct val="115000"/>
                </a:lnSpc>
                <a:spcBef>
                  <a:spcPts val="0"/>
                </a:spcBef>
                <a:spcAft>
                  <a:spcPts val="800"/>
                </a:spcAft>
                <a:buClrTx/>
                <a:buSzTx/>
                <a:buFontTx/>
                <a:buNone/>
                <a:tabLst/>
                <a:defRPr/>
              </a:pPr>
              <a:r>
                <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d/c=discontinuation; ILD=interstitial lung disease; </a:t>
              </a:r>
              <a:r>
                <a:rPr kumimoji="0" lang="en-US" sz="700" b="0" i="0" u="none" strike="noStrike" kern="10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irAE</a:t>
              </a:r>
              <a:r>
                <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immune-related adverse events; </a:t>
              </a:r>
              <a:r>
                <a:rPr kumimoji="0" lang="en-US" sz="700" b="0" i="0" u="none" strike="noStrike" kern="10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ivo</a:t>
              </a:r>
              <a:r>
                <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ivonescimab; </a:t>
              </a:r>
              <a:r>
                <a:rPr kumimoji="0" lang="en-US" sz="700" b="0" i="0" u="none" strike="noStrike" kern="100" cap="none" spc="0" normalizeH="0" baseline="0" noProof="0" err="1">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pbo</a:t>
              </a:r>
              <a:r>
                <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pembrolizumab; TRAE=treatment-related adverse events; VEGF=</a:t>
              </a:r>
              <a:r>
                <a:rPr kumimoji="0" lang="en-US" sz="700" b="0" i="0" u="none" strike="noStrike" kern="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rPr>
                <a:t> vascular endothelial growth factor.</a:t>
              </a:r>
              <a:endParaRPr kumimoji="0" lang="en-US" sz="700" b="0" i="0" u="none" strike="noStrike" kern="100" cap="none" spc="0" normalizeH="0" baseline="0" noProof="0">
                <a:ln>
                  <a:noFill/>
                </a:ln>
                <a:solidFill>
                  <a:srgbClr val="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grpSp>
      <p:sp>
        <p:nvSpPr>
          <p:cNvPr id="10" name="TextBox 9">
            <a:extLst>
              <a:ext uri="{FF2B5EF4-FFF2-40B4-BE49-F238E27FC236}">
                <a16:creationId xmlns:a16="http://schemas.microsoft.com/office/drawing/2014/main" id="{F07EAF70-8E52-57B5-23C4-12D8BCFA693A}"/>
              </a:ext>
            </a:extLst>
          </p:cNvPr>
          <p:cNvSpPr txBox="1"/>
          <p:nvPr/>
        </p:nvSpPr>
        <p:spPr>
          <a:xfrm>
            <a:off x="4363285" y="6406165"/>
            <a:ext cx="3091220" cy="25654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lumMod val="85000"/>
                  </a:srgbClr>
                </a:solidFill>
                <a:effectLst/>
                <a:uLnTx/>
                <a:uFillTx/>
                <a:latin typeface="Calibri"/>
                <a:ea typeface="+mn-ea"/>
                <a:cs typeface="+mn-cs"/>
              </a:rPr>
              <a:t>Goldman, et al. World Conf on Lung Cancer, 2025.</a:t>
            </a:r>
          </a:p>
        </p:txBody>
      </p:sp>
    </p:spTree>
    <p:extLst>
      <p:ext uri="{BB962C8B-B14F-4D97-AF65-F5344CB8AC3E}">
        <p14:creationId xmlns:p14="http://schemas.microsoft.com/office/powerpoint/2010/main" val="29849677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EE00C0-45DA-03A7-C401-402ABEBA309F}"/>
              </a:ext>
            </a:extLst>
          </p:cNvPr>
          <p:cNvSpPr>
            <a:spLocks noGrp="1"/>
          </p:cNvSpPr>
          <p:nvPr>
            <p:ph type="body" sz="quarter" idx="20"/>
          </p:nvPr>
        </p:nvSpPr>
        <p:spPr>
          <a:xfrm>
            <a:off x="6096000" y="2438401"/>
            <a:ext cx="5120637" cy="3555460"/>
          </a:xfrm>
        </p:spPr>
        <p:txBody>
          <a:bodyPr/>
          <a:lstStyle/>
          <a:p>
            <a:r>
              <a:rPr lang="en-US" dirty="0"/>
              <a:t>Novel ADCs targeting two antigens</a:t>
            </a:r>
          </a:p>
          <a:p>
            <a:pPr marL="380990" indent="-380990">
              <a:spcBef>
                <a:spcPts val="400"/>
              </a:spcBef>
              <a:buFont typeface="Arial" panose="020B0604020202020204" pitchFamily="34" charset="0"/>
              <a:buChar char="•"/>
            </a:pPr>
            <a:r>
              <a:rPr lang="en-US" dirty="0"/>
              <a:t>Improved anticancer activity due to cross-linking and improved internalization</a:t>
            </a:r>
          </a:p>
          <a:p>
            <a:pPr marL="380990" indent="-380990">
              <a:spcBef>
                <a:spcPts val="400"/>
              </a:spcBef>
              <a:buFont typeface="Arial" panose="020B0604020202020204" pitchFamily="34" charset="0"/>
              <a:buChar char="•"/>
            </a:pPr>
            <a:r>
              <a:rPr lang="en-US" dirty="0"/>
              <a:t>Decreased toxicity by decreasing off-tumor binding</a:t>
            </a:r>
          </a:p>
          <a:p>
            <a:r>
              <a:rPr lang="en-US" dirty="0"/>
              <a:t>Tumor types of interest include</a:t>
            </a:r>
          </a:p>
          <a:p>
            <a:pPr marL="380990" indent="-380990">
              <a:spcBef>
                <a:spcPts val="400"/>
              </a:spcBef>
              <a:buFont typeface="Arial" panose="020B0604020202020204" pitchFamily="34" charset="0"/>
              <a:buChar char="•"/>
            </a:pPr>
            <a:r>
              <a:rPr lang="en-US" dirty="0"/>
              <a:t>Nasopharyngeal carcinoma </a:t>
            </a:r>
            <a:r>
              <a:rPr lang="en-US" sz="1600" dirty="0"/>
              <a:t>(ORR 54.6% vs 27.9% inv choice)</a:t>
            </a:r>
          </a:p>
          <a:p>
            <a:pPr marL="380990" indent="-380990">
              <a:spcBef>
                <a:spcPts val="400"/>
              </a:spcBef>
              <a:buFont typeface="Arial" panose="020B0604020202020204" pitchFamily="34" charset="0"/>
              <a:buChar char="•"/>
            </a:pPr>
            <a:r>
              <a:rPr lang="en-US" dirty="0"/>
              <a:t>Castration-resistant prostate cancer</a:t>
            </a:r>
          </a:p>
          <a:p>
            <a:pPr marL="380990" indent="-380990">
              <a:spcBef>
                <a:spcPts val="400"/>
              </a:spcBef>
              <a:buFont typeface="Arial" panose="020B0604020202020204" pitchFamily="34" charset="0"/>
              <a:buChar char="•"/>
            </a:pPr>
            <a:r>
              <a:rPr lang="en-US" dirty="0"/>
              <a:t>Triple negative breast cancer</a:t>
            </a:r>
          </a:p>
          <a:p>
            <a:pPr marL="380990" indent="-380990">
              <a:spcBef>
                <a:spcPts val="400"/>
              </a:spcBef>
              <a:buFont typeface="Arial" panose="020B0604020202020204" pitchFamily="34" charset="0"/>
              <a:buChar char="•"/>
            </a:pPr>
            <a:r>
              <a:rPr lang="en-US" dirty="0"/>
              <a:t>NSCLC with EGFR and other mutations</a:t>
            </a:r>
          </a:p>
        </p:txBody>
      </p:sp>
      <p:sp>
        <p:nvSpPr>
          <p:cNvPr id="4" name="Text Placeholder 3">
            <a:extLst>
              <a:ext uri="{FF2B5EF4-FFF2-40B4-BE49-F238E27FC236}">
                <a16:creationId xmlns:a16="http://schemas.microsoft.com/office/drawing/2014/main" id="{D541DD33-CD9C-9403-987E-F1BB4E83D37A}"/>
              </a:ext>
            </a:extLst>
          </p:cNvPr>
          <p:cNvSpPr>
            <a:spLocks noGrp="1"/>
          </p:cNvSpPr>
          <p:nvPr>
            <p:ph type="body" sz="quarter" idx="21"/>
          </p:nvPr>
        </p:nvSpPr>
        <p:spPr/>
        <p:txBody>
          <a:bodyPr/>
          <a:lstStyle/>
          <a:p>
            <a:r>
              <a:rPr lang="en-US" dirty="0"/>
              <a:t>New generation of ADC</a:t>
            </a:r>
          </a:p>
        </p:txBody>
      </p:sp>
      <p:sp>
        <p:nvSpPr>
          <p:cNvPr id="6" name="Title 5">
            <a:extLst>
              <a:ext uri="{FF2B5EF4-FFF2-40B4-BE49-F238E27FC236}">
                <a16:creationId xmlns:a16="http://schemas.microsoft.com/office/drawing/2014/main" id="{ADFAF016-EACD-444E-AB09-57B6B42182F1}"/>
              </a:ext>
            </a:extLst>
          </p:cNvPr>
          <p:cNvSpPr>
            <a:spLocks noGrp="1"/>
          </p:cNvSpPr>
          <p:nvPr>
            <p:ph type="title"/>
          </p:nvPr>
        </p:nvSpPr>
        <p:spPr>
          <a:xfrm>
            <a:off x="671330" y="1015902"/>
            <a:ext cx="10849337" cy="519972"/>
          </a:xfrm>
        </p:spPr>
        <p:txBody>
          <a:bodyPr/>
          <a:lstStyle/>
          <a:p>
            <a:pPr algn="ctr"/>
            <a:r>
              <a:rPr lang="en-US" dirty="0" err="1">
                <a:solidFill>
                  <a:schemeClr val="tx1"/>
                </a:solidFill>
              </a:rPr>
              <a:t>Izalontamab</a:t>
            </a:r>
            <a:r>
              <a:rPr lang="en-US" dirty="0">
                <a:solidFill>
                  <a:schemeClr val="tx1"/>
                </a:solidFill>
              </a:rPr>
              <a:t> </a:t>
            </a:r>
            <a:r>
              <a:rPr lang="en-US" dirty="0" err="1">
                <a:solidFill>
                  <a:schemeClr val="tx1"/>
                </a:solidFill>
              </a:rPr>
              <a:t>brengitecan</a:t>
            </a:r>
            <a:r>
              <a:rPr lang="en-US" dirty="0">
                <a:solidFill>
                  <a:schemeClr val="tx1"/>
                </a:solidFill>
              </a:rPr>
              <a:t> (Iza-</a:t>
            </a:r>
            <a:r>
              <a:rPr lang="en-US" dirty="0" err="1">
                <a:solidFill>
                  <a:schemeClr val="tx1"/>
                </a:solidFill>
              </a:rPr>
              <a:t>bren</a:t>
            </a:r>
            <a:r>
              <a:rPr lang="en-US" dirty="0">
                <a:solidFill>
                  <a:schemeClr val="tx1"/>
                </a:solidFill>
              </a:rPr>
              <a:t>)</a:t>
            </a:r>
          </a:p>
        </p:txBody>
      </p:sp>
      <p:pic>
        <p:nvPicPr>
          <p:cNvPr id="7" name="Picture 2">
            <a:extLst>
              <a:ext uri="{FF2B5EF4-FFF2-40B4-BE49-F238E27FC236}">
                <a16:creationId xmlns:a16="http://schemas.microsoft.com/office/drawing/2014/main" id="{89F1597B-622A-B3C8-B1AE-E5C8515C9831}"/>
              </a:ext>
            </a:extLst>
          </p:cNvPr>
          <p:cNvPicPr>
            <a:picLocks noGrp="1" noChangeAspect="1" noChangeArrowheads="1"/>
          </p:cNvPicPr>
          <p:nvPr>
            <p:ph type="pic" sz="quarter" idx="22"/>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4100" t="7059" r="59612" b="47096"/>
          <a:stretch>
            <a:fillRect/>
          </a:stretch>
        </p:blipFill>
        <p:spPr bwMode="auto">
          <a:xfrm>
            <a:off x="371334" y="1979475"/>
            <a:ext cx="5844398" cy="404314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AF795AAB-DA3C-5E49-733B-E089F111A6F7}"/>
              </a:ext>
            </a:extLst>
          </p:cNvPr>
          <p:cNvSpPr txBox="1"/>
          <p:nvPr/>
        </p:nvSpPr>
        <p:spPr>
          <a:xfrm>
            <a:off x="4427178" y="6484100"/>
            <a:ext cx="3337639"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S.-D. Hong, et al. Annals of Oncology, 2026.</a:t>
            </a:r>
          </a:p>
        </p:txBody>
      </p:sp>
      <p:sp>
        <p:nvSpPr>
          <p:cNvPr id="11" name="TextBox 10">
            <a:extLst>
              <a:ext uri="{FF2B5EF4-FFF2-40B4-BE49-F238E27FC236}">
                <a16:creationId xmlns:a16="http://schemas.microsoft.com/office/drawing/2014/main" id="{D81318A1-1D78-C420-2FEF-59A10B3DDD57}"/>
              </a:ext>
            </a:extLst>
          </p:cNvPr>
          <p:cNvSpPr txBox="1"/>
          <p:nvPr/>
        </p:nvSpPr>
        <p:spPr>
          <a:xfrm>
            <a:off x="1955800" y="1617702"/>
            <a:ext cx="2675467" cy="379656"/>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57585B"/>
                </a:solidFill>
                <a:effectLst/>
                <a:uLnTx/>
                <a:uFillTx/>
                <a:latin typeface="Helvetica"/>
                <a:ea typeface="+mn-ea"/>
                <a:cs typeface="+mn-cs"/>
              </a:rPr>
              <a:t>EGFR and HER3 ADC</a:t>
            </a:r>
          </a:p>
        </p:txBody>
      </p:sp>
    </p:spTree>
    <p:extLst>
      <p:ext uri="{BB962C8B-B14F-4D97-AF65-F5344CB8AC3E}">
        <p14:creationId xmlns:p14="http://schemas.microsoft.com/office/powerpoint/2010/main" val="24534996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dissolve">
                                      <p:cBhvr>
                                        <p:cTn id="7" dur="500"/>
                                        <p:tgtEl>
                                          <p:spTgt spid="3">
                                            <p:txEl>
                                              <p:pRg st="3" end="3"/>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4" end="4"/>
                                            </p:txEl>
                                          </p:spTgt>
                                        </p:tgtEl>
                                        <p:attrNameLst>
                                          <p:attrName>style.visibility</p:attrName>
                                        </p:attrNameLst>
                                      </p:cBhvr>
                                      <p:to>
                                        <p:strVal val="visible"/>
                                      </p:to>
                                    </p:set>
                                    <p:animEffect transition="in" filter="dissolve">
                                      <p:cBhvr>
                                        <p:cTn id="10" dur="500"/>
                                        <p:tgtEl>
                                          <p:spTgt spid="3">
                                            <p:txEl>
                                              <p:pRg st="4" end="4"/>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animEffect transition="in" filter="dissolve">
                                      <p:cBhvr>
                                        <p:cTn id="13" dur="500"/>
                                        <p:tgtEl>
                                          <p:spTgt spid="3">
                                            <p:txEl>
                                              <p:pRg st="5" end="5"/>
                                            </p:txEl>
                                          </p:spTgt>
                                        </p:tgtEl>
                                      </p:cBhvr>
                                    </p:animEffect>
                                  </p:childTnLst>
                                </p:cTn>
                              </p:par>
                              <p:par>
                                <p:cTn id="14" presetID="9" presetClass="entr" presetSubtype="0"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dissolve">
                                      <p:cBhvr>
                                        <p:cTn id="16" dur="500"/>
                                        <p:tgtEl>
                                          <p:spTgt spid="3">
                                            <p:txEl>
                                              <p:pRg st="6" end="6"/>
                                            </p:txEl>
                                          </p:spTgt>
                                        </p:tgtEl>
                                      </p:cBhvr>
                                    </p:animEffect>
                                  </p:childTnLst>
                                </p:cTn>
                              </p:par>
                              <p:par>
                                <p:cTn id="17" presetID="9"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animEffect transition="in" filter="dissolve">
                                      <p:cBhvr>
                                        <p:cTn id="1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0EA2126-F2BC-A645-538C-637CC64501B7}"/>
              </a:ext>
            </a:extLst>
          </p:cNvPr>
          <p:cNvSpPr>
            <a:spLocks noGrp="1"/>
          </p:cNvSpPr>
          <p:nvPr>
            <p:ph type="title"/>
          </p:nvPr>
        </p:nvSpPr>
        <p:spPr/>
        <p:txBody>
          <a:bodyPr/>
          <a:lstStyle/>
          <a:p>
            <a:r>
              <a:rPr lang="en-US" dirty="0"/>
              <a:t>Pooled analysis of Phase I and II trials</a:t>
            </a:r>
          </a:p>
        </p:txBody>
      </p:sp>
      <p:pic>
        <p:nvPicPr>
          <p:cNvPr id="5" name="Picture 2">
            <a:extLst>
              <a:ext uri="{FF2B5EF4-FFF2-40B4-BE49-F238E27FC236}">
                <a16:creationId xmlns:a16="http://schemas.microsoft.com/office/drawing/2014/main" id="{C4102E6F-92F3-8353-9B14-3221793F8BBE}"/>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l="56444" t="7083" r="6171" b="46814"/>
          <a:stretch>
            <a:fillRect/>
          </a:stretch>
        </p:blipFill>
        <p:spPr bwMode="auto">
          <a:xfrm>
            <a:off x="2544233" y="1659465"/>
            <a:ext cx="7103535" cy="479525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C30AC59-F866-D945-9CB2-CCB885B317EF}"/>
              </a:ext>
            </a:extLst>
          </p:cNvPr>
          <p:cNvSpPr txBox="1"/>
          <p:nvPr/>
        </p:nvSpPr>
        <p:spPr>
          <a:xfrm>
            <a:off x="4427178" y="6484100"/>
            <a:ext cx="3337639"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S.-D. Hong, et al. Annals of Oncology, 2026.</a:t>
            </a:r>
          </a:p>
        </p:txBody>
      </p:sp>
    </p:spTree>
    <p:extLst>
      <p:ext uri="{BB962C8B-B14F-4D97-AF65-F5344CB8AC3E}">
        <p14:creationId xmlns:p14="http://schemas.microsoft.com/office/powerpoint/2010/main" val="5678342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C9B1CA-DA95-D56C-1591-40D07236B9FD}"/>
              </a:ext>
            </a:extLst>
          </p:cNvPr>
          <p:cNvSpPr>
            <a:spLocks noGrp="1"/>
          </p:cNvSpPr>
          <p:nvPr>
            <p:ph type="title"/>
          </p:nvPr>
        </p:nvSpPr>
        <p:spPr/>
        <p:txBody>
          <a:bodyPr/>
          <a:lstStyle/>
          <a:p>
            <a:r>
              <a:rPr lang="en-US" dirty="0"/>
              <a:t>Activity and Tolerability of Iza-</a:t>
            </a:r>
            <a:r>
              <a:rPr lang="en-US" dirty="0" err="1"/>
              <a:t>bren</a:t>
            </a:r>
            <a:endParaRPr lang="en-US" dirty="0"/>
          </a:p>
        </p:txBody>
      </p:sp>
      <p:pic>
        <p:nvPicPr>
          <p:cNvPr id="8194" name="Picture 2">
            <a:extLst>
              <a:ext uri="{FF2B5EF4-FFF2-40B4-BE49-F238E27FC236}">
                <a16:creationId xmlns:a16="http://schemas.microsoft.com/office/drawing/2014/main" id="{8B82DA89-0180-6426-CB18-4EA476BDFA5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08" t="54904" r="31739"/>
          <a:stretch>
            <a:fillRect/>
          </a:stretch>
        </p:blipFill>
        <p:spPr bwMode="auto">
          <a:xfrm>
            <a:off x="853439" y="1651001"/>
            <a:ext cx="5792895" cy="2342252"/>
          </a:xfrm>
          <a:prstGeom prst="rect">
            <a:avLst/>
          </a:prstGeom>
          <a:noFill/>
          <a:ln>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66D18B6F-3E79-53E1-2BD8-C71E2ECC94E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70864"/>
          <a:stretch>
            <a:fillRect/>
          </a:stretch>
        </p:blipFill>
        <p:spPr bwMode="auto">
          <a:xfrm>
            <a:off x="841351" y="4133779"/>
            <a:ext cx="6323731" cy="2206061"/>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pic>
      <p:pic>
        <p:nvPicPr>
          <p:cNvPr id="8198" name="Picture 6">
            <a:extLst>
              <a:ext uri="{FF2B5EF4-FFF2-40B4-BE49-F238E27FC236}">
                <a16:creationId xmlns:a16="http://schemas.microsoft.com/office/drawing/2014/main" id="{A95F0B6F-63F3-D64B-7792-7201C92D58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7847" t="55217"/>
          <a:stretch>
            <a:fillRect/>
          </a:stretch>
        </p:blipFill>
        <p:spPr bwMode="auto">
          <a:xfrm>
            <a:off x="7308765" y="1651000"/>
            <a:ext cx="3920067" cy="2988733"/>
          </a:xfrm>
          <a:prstGeom prst="rect">
            <a:avLst/>
          </a:prstGeom>
          <a:noFill/>
          <a:ln>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E77EDF5-2B5A-31C3-ACC3-A128971FFE00}"/>
              </a:ext>
            </a:extLst>
          </p:cNvPr>
          <p:cNvSpPr txBox="1"/>
          <p:nvPr/>
        </p:nvSpPr>
        <p:spPr>
          <a:xfrm>
            <a:off x="4427178" y="6484100"/>
            <a:ext cx="3337639"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85B"/>
                </a:solidFill>
                <a:effectLst/>
                <a:uLnTx/>
                <a:uFillTx/>
                <a:latin typeface="Helvetica"/>
                <a:ea typeface="+mn-ea"/>
                <a:cs typeface="+mn-cs"/>
              </a:rPr>
              <a:t>S.-D. Hong, et al. Annals of Oncology, 2026.</a:t>
            </a:r>
          </a:p>
        </p:txBody>
      </p:sp>
    </p:spTree>
    <p:extLst>
      <p:ext uri="{BB962C8B-B14F-4D97-AF65-F5344CB8AC3E}">
        <p14:creationId xmlns:p14="http://schemas.microsoft.com/office/powerpoint/2010/main" val="37358151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196"/>
                                        </p:tgtEl>
                                        <p:attrNameLst>
                                          <p:attrName>style.visibility</p:attrName>
                                        </p:attrNameLst>
                                      </p:cBhvr>
                                      <p:to>
                                        <p:strVal val="visible"/>
                                      </p:to>
                                    </p:set>
                                    <p:animEffect transition="in" filter="dissolve">
                                      <p:cBhvr>
                                        <p:cTn id="7" dur="500"/>
                                        <p:tgtEl>
                                          <p:spTgt spid="819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8198"/>
                                        </p:tgtEl>
                                        <p:attrNameLst>
                                          <p:attrName>style.visibility</p:attrName>
                                        </p:attrNameLst>
                                      </p:cBhvr>
                                      <p:to>
                                        <p:strVal val="visible"/>
                                      </p:to>
                                    </p:set>
                                    <p:animEffect transition="in" filter="dissolve">
                                      <p:cBhvr>
                                        <p:cTn id="12" dur="500"/>
                                        <p:tgtEl>
                                          <p:spTgt spid="81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A9FE6C3-8C38-0CF7-5E88-234C7E9FD928}"/>
              </a:ext>
            </a:extLst>
          </p:cNvPr>
          <p:cNvSpPr>
            <a:spLocks noGrp="1"/>
          </p:cNvSpPr>
          <p:nvPr>
            <p:ph type="body" sz="quarter" idx="23"/>
          </p:nvPr>
        </p:nvSpPr>
        <p:spPr>
          <a:xfrm>
            <a:off x="1828800" y="773080"/>
            <a:ext cx="8534400" cy="1609608"/>
          </a:xfrm>
        </p:spPr>
        <p:txBody>
          <a:bodyPr anchor="t"/>
          <a:lstStyle/>
          <a:p>
            <a:r>
              <a:rPr lang="en-US" dirty="0">
                <a:solidFill>
                  <a:schemeClr val="bg1">
                    <a:lumMod val="95000"/>
                  </a:schemeClr>
                </a:solidFill>
              </a:rPr>
              <a:t>Conclusions</a:t>
            </a:r>
          </a:p>
          <a:p>
            <a:pPr algn="l"/>
            <a:endParaRPr lang="en-US" dirty="0"/>
          </a:p>
        </p:txBody>
      </p:sp>
      <p:sp>
        <p:nvSpPr>
          <p:cNvPr id="5" name="Content Placeholder 2">
            <a:extLst>
              <a:ext uri="{FF2B5EF4-FFF2-40B4-BE49-F238E27FC236}">
                <a16:creationId xmlns:a16="http://schemas.microsoft.com/office/drawing/2014/main" id="{2C382206-3E67-9F09-04A3-036ADA646130}"/>
              </a:ext>
            </a:extLst>
          </p:cNvPr>
          <p:cNvSpPr txBox="1">
            <a:spLocks/>
          </p:cNvSpPr>
          <p:nvPr/>
        </p:nvSpPr>
        <p:spPr>
          <a:xfrm>
            <a:off x="1463040" y="1950720"/>
            <a:ext cx="9882293" cy="2680136"/>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1400" b="0" kern="1200">
                <a:solidFill>
                  <a:schemeClr val="bg1"/>
                </a:solidFill>
                <a:latin typeface="Helvetica" pitchFamily="2" charset="0"/>
                <a:ea typeface="+mn-ea"/>
                <a:cs typeface="+mn-cs"/>
              </a:defRPr>
            </a:lvl1pPr>
            <a:lvl2pPr marL="448056" indent="-173736" algn="l" defTabSz="685800" rtl="0" eaLnBrk="1" latinLnBrk="0" hangingPunct="1">
              <a:lnSpc>
                <a:spcPct val="90000"/>
              </a:lnSpc>
              <a:spcBef>
                <a:spcPts val="375"/>
              </a:spcBef>
              <a:buFont typeface="Arial" panose="020B0604020202020204" pitchFamily="34" charset="0"/>
              <a:buChar char="•"/>
              <a:defRPr sz="1400" b="0" kern="1200">
                <a:solidFill>
                  <a:schemeClr val="bg1"/>
                </a:solidFill>
                <a:latin typeface="Helvetica" pitchFamily="2" charset="0"/>
                <a:ea typeface="+mn-ea"/>
                <a:cs typeface="+mn-cs"/>
              </a:defRPr>
            </a:lvl2pPr>
            <a:lvl3pPr marL="722376" indent="-171450" algn="l" defTabSz="685800" rtl="0" eaLnBrk="1" latinLnBrk="0" hangingPunct="1">
              <a:lnSpc>
                <a:spcPct val="90000"/>
              </a:lnSpc>
              <a:spcBef>
                <a:spcPts val="375"/>
              </a:spcBef>
              <a:buFont typeface="Arial" panose="020B0604020202020204" pitchFamily="34" charset="0"/>
              <a:buChar char="•"/>
              <a:defRPr sz="1400" b="0" kern="1200">
                <a:solidFill>
                  <a:schemeClr val="bg1"/>
                </a:solidFill>
                <a:latin typeface="Helvetica" pitchFamily="2" charset="0"/>
                <a:ea typeface="+mn-ea"/>
                <a:cs typeface="+mn-cs"/>
              </a:defRPr>
            </a:lvl3pPr>
            <a:lvl4pPr marL="996696" indent="-171450" algn="l" defTabSz="685800" rtl="0" eaLnBrk="1" latinLnBrk="0" hangingPunct="1">
              <a:lnSpc>
                <a:spcPct val="90000"/>
              </a:lnSpc>
              <a:spcBef>
                <a:spcPts val="375"/>
              </a:spcBef>
              <a:buFont typeface="Arial" panose="020B0604020202020204" pitchFamily="34" charset="0"/>
              <a:buChar char="•"/>
              <a:defRPr sz="1400" b="0" i="0" kern="1200">
                <a:solidFill>
                  <a:schemeClr val="bg1"/>
                </a:solidFill>
                <a:latin typeface="Helvetica" pitchFamily="2" charset="0"/>
                <a:ea typeface="+mn-ea"/>
                <a:cs typeface="+mn-cs"/>
              </a:defRPr>
            </a:lvl4pPr>
            <a:lvl5pPr marL="1271016" indent="-171450" algn="l" defTabSz="685800" rtl="0" eaLnBrk="1" latinLnBrk="0" hangingPunct="1">
              <a:lnSpc>
                <a:spcPct val="90000"/>
              </a:lnSpc>
              <a:spcBef>
                <a:spcPts val="375"/>
              </a:spcBef>
              <a:buFont typeface="Arial" panose="020B0604020202020204" pitchFamily="34" charset="0"/>
              <a:buChar char="•"/>
              <a:defRPr sz="1400" b="0" kern="1200">
                <a:solidFill>
                  <a:schemeClr val="bg1"/>
                </a:solidFill>
                <a:latin typeface="Helvetica"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189" marR="0" lvl="0" indent="-457189" algn="l" defTabSz="685800" rtl="0" eaLnBrk="1" fontAlgn="auto" latinLnBrk="0" hangingPunct="1">
              <a:lnSpc>
                <a:spcPct val="90000"/>
              </a:lnSpc>
              <a:spcBef>
                <a:spcPts val="750"/>
              </a:spcBef>
              <a:spcAft>
                <a:spcPts val="1600"/>
              </a:spcAft>
              <a:buClrTx/>
              <a:buSzTx/>
              <a:buFont typeface="+mj-lt"/>
              <a:buAutoNum type="arabicPeriod"/>
              <a:tabLst/>
              <a:defRPr/>
            </a:pPr>
            <a:r>
              <a:rPr kumimoji="0" lang="en-US" sz="2400" b="0" i="0" u="none" strike="noStrike" kern="1200" cap="none" spc="0" normalizeH="0" baseline="0" noProof="0" dirty="0">
                <a:ln>
                  <a:noFill/>
                </a:ln>
                <a:solidFill>
                  <a:srgbClr val="FFFFFF">
                    <a:lumMod val="95000"/>
                  </a:srgbClr>
                </a:solidFill>
                <a:effectLst/>
                <a:uLnTx/>
                <a:uFillTx/>
                <a:latin typeface="Helvetica" pitchFamily="2" charset="0"/>
                <a:ea typeface="+mn-ea"/>
                <a:cs typeface="+mn-cs"/>
              </a:rPr>
              <a:t>EGFRm NSCLC has an immunosuppressive phenotype</a:t>
            </a:r>
          </a:p>
          <a:p>
            <a:pPr marL="457189" marR="0" lvl="0" indent="-457189" algn="l" defTabSz="685800" rtl="0" eaLnBrk="1" fontAlgn="auto" latinLnBrk="0" hangingPunct="1">
              <a:lnSpc>
                <a:spcPct val="90000"/>
              </a:lnSpc>
              <a:spcBef>
                <a:spcPts val="750"/>
              </a:spcBef>
              <a:spcAft>
                <a:spcPts val="1600"/>
              </a:spcAft>
              <a:buClrTx/>
              <a:buSzTx/>
              <a:buFont typeface="+mj-lt"/>
              <a:buAutoNum type="arabicPeriod"/>
              <a:tabLst/>
              <a:defRPr/>
            </a:pPr>
            <a:r>
              <a:rPr kumimoji="0" lang="en-US" sz="2400" b="0" i="0" u="none" strike="noStrike" kern="1200" cap="none" spc="0" normalizeH="0" baseline="0" noProof="0" dirty="0">
                <a:ln>
                  <a:noFill/>
                </a:ln>
                <a:solidFill>
                  <a:srgbClr val="FFFFFF">
                    <a:lumMod val="95000"/>
                  </a:srgbClr>
                </a:solidFill>
                <a:effectLst/>
                <a:uLnTx/>
                <a:uFillTx/>
                <a:latin typeface="Helvetica" pitchFamily="2" charset="0"/>
                <a:ea typeface="+mn-ea"/>
                <a:cs typeface="+mn-cs"/>
              </a:rPr>
              <a:t>Combination chemotherapy and VEGF and CPI may overcome this</a:t>
            </a:r>
          </a:p>
          <a:p>
            <a:pPr marL="825987" marR="0" lvl="1" indent="-457189" algn="l" defTabSz="685800" rtl="0" eaLnBrk="1" fontAlgn="auto" latinLnBrk="0" hangingPunct="1">
              <a:lnSpc>
                <a:spcPct val="90000"/>
              </a:lnSpc>
              <a:spcBef>
                <a:spcPts val="0"/>
              </a:spcBef>
              <a:spcAft>
                <a:spcPts val="1600"/>
              </a:spcAft>
              <a:buClrTx/>
              <a:buSzTx/>
              <a:buFont typeface="Wingdings" pitchFamily="2" charset="2"/>
              <a:buChar char="Ø"/>
              <a:tabLst/>
              <a:defRPr/>
            </a:pPr>
            <a:r>
              <a:rPr kumimoji="0" lang="en-US" sz="2400" b="0" i="0" u="none" strike="noStrike" kern="1200" cap="none" spc="0" normalizeH="0" baseline="0" noProof="0" dirty="0">
                <a:ln>
                  <a:noFill/>
                </a:ln>
                <a:solidFill>
                  <a:srgbClr val="FFFFFF">
                    <a:lumMod val="95000"/>
                  </a:srgbClr>
                </a:solidFill>
                <a:effectLst/>
                <a:uLnTx/>
                <a:uFillTx/>
                <a:latin typeface="Helvetica" pitchFamily="2" charset="0"/>
                <a:ea typeface="+mn-ea"/>
                <a:cs typeface="+mn-cs"/>
              </a:rPr>
              <a:t>Bispecific Antibody Ivonescimab with chemotherapy </a:t>
            </a:r>
          </a:p>
          <a:p>
            <a:pPr marL="457189" marR="0" lvl="0" indent="-457189" algn="l" defTabSz="685800" rtl="0" eaLnBrk="1" fontAlgn="auto" latinLnBrk="0" hangingPunct="1">
              <a:lnSpc>
                <a:spcPct val="90000"/>
              </a:lnSpc>
              <a:spcBef>
                <a:spcPts val="750"/>
              </a:spcBef>
              <a:spcAft>
                <a:spcPts val="1200"/>
              </a:spcAft>
              <a:buClrTx/>
              <a:buSzTx/>
              <a:buFont typeface="+mj-lt"/>
              <a:buAutoNum type="arabicPeriod"/>
              <a:tabLst/>
              <a:defRPr/>
            </a:pPr>
            <a:r>
              <a:rPr kumimoji="0" lang="en-US" sz="2400" b="0" i="0" u="none" strike="noStrike" kern="1200" cap="none" spc="0" normalizeH="0" baseline="0" noProof="0" dirty="0">
                <a:ln>
                  <a:noFill/>
                </a:ln>
                <a:solidFill>
                  <a:srgbClr val="FFFFFF">
                    <a:lumMod val="95000"/>
                  </a:srgbClr>
                </a:solidFill>
                <a:effectLst/>
                <a:uLnTx/>
                <a:uFillTx/>
                <a:latin typeface="Helvetica" pitchFamily="2" charset="0"/>
                <a:ea typeface="+mn-ea"/>
                <a:cs typeface="+mn-cs"/>
              </a:rPr>
              <a:t>Bispecific ADCs may improve efficacy and tolerability</a:t>
            </a:r>
          </a:p>
          <a:p>
            <a:pPr marL="825987" marR="0" lvl="1" indent="-457189" algn="l" defTabSz="685800" rtl="0" eaLnBrk="1" fontAlgn="auto" latinLnBrk="0" hangingPunct="1">
              <a:lnSpc>
                <a:spcPct val="90000"/>
              </a:lnSpc>
              <a:spcBef>
                <a:spcPts val="375"/>
              </a:spcBef>
              <a:spcAft>
                <a:spcPts val="1600"/>
              </a:spcAft>
              <a:buClrTx/>
              <a:buSzTx/>
              <a:buFont typeface="Wingdings" pitchFamily="2" charset="2"/>
              <a:buChar char="Ø"/>
              <a:tabLst/>
              <a:defRPr/>
            </a:pPr>
            <a:r>
              <a:rPr kumimoji="0" lang="en-US" sz="2400" b="0" i="0" u="none" strike="noStrike" kern="1200" cap="none" spc="0" normalizeH="0" baseline="0" noProof="0" dirty="0" err="1">
                <a:ln>
                  <a:noFill/>
                </a:ln>
                <a:solidFill>
                  <a:srgbClr val="FFFFFF">
                    <a:lumMod val="95000"/>
                  </a:srgbClr>
                </a:solidFill>
                <a:effectLst/>
                <a:uLnTx/>
                <a:uFillTx/>
                <a:latin typeface="Helvetica" pitchFamily="2" charset="0"/>
                <a:ea typeface="+mn-ea"/>
                <a:cs typeface="+mn-cs"/>
              </a:rPr>
              <a:t>Izalontamab</a:t>
            </a:r>
            <a:r>
              <a:rPr kumimoji="0" lang="en-US" sz="2400" b="0" i="0" u="none" strike="noStrike" kern="1200" cap="none" spc="0" normalizeH="0" baseline="0" noProof="0" dirty="0">
                <a:ln>
                  <a:noFill/>
                </a:ln>
                <a:solidFill>
                  <a:srgbClr val="FFFFFF">
                    <a:lumMod val="95000"/>
                  </a:srgbClr>
                </a:solidFill>
                <a:effectLst/>
                <a:uLnTx/>
                <a:uFillTx/>
                <a:latin typeface="Helvetica" pitchFamily="2" charset="0"/>
                <a:ea typeface="+mn-ea"/>
                <a:cs typeface="+mn-cs"/>
              </a:rPr>
              <a:t> </a:t>
            </a:r>
            <a:r>
              <a:rPr kumimoji="0" lang="en-US" sz="2400" b="0" i="0" u="none" strike="noStrike" kern="1200" cap="none" spc="0" normalizeH="0" baseline="0" noProof="0" dirty="0" err="1">
                <a:ln>
                  <a:noFill/>
                </a:ln>
                <a:solidFill>
                  <a:srgbClr val="FFFFFF">
                    <a:lumMod val="95000"/>
                  </a:srgbClr>
                </a:solidFill>
                <a:effectLst/>
                <a:uLnTx/>
                <a:uFillTx/>
                <a:latin typeface="Helvetica" pitchFamily="2" charset="0"/>
                <a:ea typeface="+mn-ea"/>
                <a:cs typeface="+mn-cs"/>
              </a:rPr>
              <a:t>brengitecan</a:t>
            </a:r>
            <a:r>
              <a:rPr kumimoji="0" lang="en-US" sz="2400" b="0" i="0" u="none" strike="noStrike" kern="1200" cap="none" spc="0" normalizeH="0" baseline="0" noProof="0" dirty="0">
                <a:ln>
                  <a:noFill/>
                </a:ln>
                <a:solidFill>
                  <a:srgbClr val="FFFFFF">
                    <a:lumMod val="95000"/>
                  </a:srgbClr>
                </a:solidFill>
                <a:effectLst/>
                <a:uLnTx/>
                <a:uFillTx/>
                <a:latin typeface="Helvetica" pitchFamily="2" charset="0"/>
                <a:ea typeface="+mn-ea"/>
                <a:cs typeface="+mn-cs"/>
              </a:rPr>
              <a:t> (Iza-</a:t>
            </a:r>
            <a:r>
              <a:rPr kumimoji="0" lang="en-US" sz="2400" b="0" i="0" u="none" strike="noStrike" kern="1200" cap="none" spc="0" normalizeH="0" baseline="0" noProof="0" dirty="0" err="1">
                <a:ln>
                  <a:noFill/>
                </a:ln>
                <a:solidFill>
                  <a:srgbClr val="FFFFFF">
                    <a:lumMod val="95000"/>
                  </a:srgbClr>
                </a:solidFill>
                <a:effectLst/>
                <a:uLnTx/>
                <a:uFillTx/>
                <a:latin typeface="Helvetica" pitchFamily="2" charset="0"/>
                <a:ea typeface="+mn-ea"/>
                <a:cs typeface="+mn-cs"/>
              </a:rPr>
              <a:t>bren</a:t>
            </a:r>
            <a:r>
              <a:rPr kumimoji="0" lang="en-US" sz="2400" b="0" i="0" u="none" strike="noStrike" kern="1200" cap="none" spc="0" normalizeH="0" baseline="0" noProof="0" dirty="0">
                <a:ln>
                  <a:noFill/>
                </a:ln>
                <a:solidFill>
                  <a:srgbClr val="FFFFFF">
                    <a:lumMod val="95000"/>
                  </a:srgbClr>
                </a:solidFill>
                <a:effectLst/>
                <a:uLnTx/>
                <a:uFillTx/>
                <a:latin typeface="Helvetica" pitchFamily="2" charset="0"/>
                <a:ea typeface="+mn-ea"/>
                <a:cs typeface="+mn-cs"/>
              </a:rPr>
              <a:t>)</a:t>
            </a:r>
          </a:p>
        </p:txBody>
      </p:sp>
    </p:spTree>
    <p:extLst>
      <p:ext uri="{BB962C8B-B14F-4D97-AF65-F5344CB8AC3E}">
        <p14:creationId xmlns:p14="http://schemas.microsoft.com/office/powerpoint/2010/main" val="7476429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A3B1C-8592-A604-2DF6-D20FD6965717}"/>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F63DD003-232B-4CF6-48E5-926DBAF192D5}"/>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10B4251B-22AA-266E-109F-2CF07E51B3CF}"/>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9" name="Title 1">
            <a:extLst>
              <a:ext uri="{FF2B5EF4-FFF2-40B4-BE49-F238E27FC236}">
                <a16:creationId xmlns:a16="http://schemas.microsoft.com/office/drawing/2014/main" id="{42DA6316-CA4D-AE77-9947-BDF664692FF1}"/>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81FC71D8-A996-99D4-B046-6E3291C757BF}"/>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A88828C0-5B52-FA4F-D57D-A8338019F04D}"/>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tephen “Fred” Divers, MD  </a:t>
            </a:r>
          </a:p>
        </p:txBody>
      </p:sp>
      <p:pic>
        <p:nvPicPr>
          <p:cNvPr id="4" name="Picture 3" descr="A person wearing headphones and smiling&#10;&#10;AI-generated content may be incorrect.">
            <a:extLst>
              <a:ext uri="{FF2B5EF4-FFF2-40B4-BE49-F238E27FC236}">
                <a16:creationId xmlns:a16="http://schemas.microsoft.com/office/drawing/2014/main" id="{B0D43038-ADB9-AC03-9B95-2E423E05FD63}"/>
              </a:ext>
            </a:extLst>
          </p:cNvPr>
          <p:cNvPicPr>
            <a:picLocks/>
          </p:cNvPicPr>
          <p:nvPr/>
        </p:nvPicPr>
        <p:blipFill>
          <a:blip r:embed="rId3"/>
          <a:srcRect l="22910" r="21569"/>
          <a:stretch>
            <a:fillRect/>
          </a:stretch>
        </p:blipFill>
        <p:spPr>
          <a:xfrm>
            <a:off x="2281845" y="2570971"/>
            <a:ext cx="2651760"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403524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FA4BA-51A6-830C-9B3E-438C6D867D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E8E3E5-8854-CEFF-BC7E-B5FB57861F56}"/>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1BF0E3CF-2178-83A6-C597-883AD8F16769}"/>
              </a:ext>
            </a:extLst>
          </p:cNvPr>
          <p:cNvSpPr>
            <a:spLocks noGrp="1"/>
          </p:cNvSpPr>
          <p:nvPr>
            <p:ph idx="1"/>
          </p:nvPr>
        </p:nvSpPr>
        <p:spPr>
          <a:xfrm>
            <a:off x="912286" y="1416053"/>
            <a:ext cx="9972379" cy="4799013"/>
          </a:xfrm>
        </p:spPr>
        <p:txBody>
          <a:bodyPr/>
          <a:lstStyle/>
          <a:p>
            <a:pPr marL="98425" indent="0">
              <a:lnSpc>
                <a:spcPct val="100000"/>
              </a:lnSpc>
              <a:buNone/>
            </a:pPr>
            <a:r>
              <a:rPr lang="en-US" sz="2600" dirty="0"/>
              <a:t>With the use of contemporary therapies, what do you expect in terms of overall survival and duration of disease control for patients with EGFR-mutated metastatic NSCLC? If a patient with newly diagnosed disease were to ask you how long they would be alive with a reasonably good quality of life, how would you respond? </a:t>
            </a:r>
          </a:p>
          <a:p>
            <a:pPr marL="98425" indent="0">
              <a:lnSpc>
                <a:spcPct val="100000"/>
              </a:lnSpc>
              <a:buNone/>
            </a:pPr>
            <a:r>
              <a:rPr lang="en-US" sz="2600" dirty="0"/>
              <a:t>Would you offer this patient adjuvant chemotherapy for her colon cancer? </a:t>
            </a:r>
          </a:p>
          <a:p>
            <a:pPr marL="98425" indent="0">
              <a:lnSpc>
                <a:spcPct val="100000"/>
              </a:lnSpc>
              <a:buNone/>
            </a:pPr>
            <a:r>
              <a:rPr lang="en-US" sz="2600" dirty="0"/>
              <a:t>What other novel agents or strategies currently under investigation for EGFR-mutated metastatic NSCLC are you particularly excited about?</a:t>
            </a:r>
          </a:p>
        </p:txBody>
      </p:sp>
    </p:spTree>
    <p:extLst>
      <p:ext uri="{BB962C8B-B14F-4D97-AF65-F5344CB8AC3E}">
        <p14:creationId xmlns:p14="http://schemas.microsoft.com/office/powerpoint/2010/main" val="25026695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51C67-4D0A-C491-7448-4E283AD8597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9C04A72-6D82-1DFD-5E31-37E6441375ED}"/>
              </a:ext>
            </a:extLst>
          </p:cNvPr>
          <p:cNvSpPr/>
          <p:nvPr/>
        </p:nvSpPr>
        <p:spPr bwMode="auto">
          <a:xfrm>
            <a:off x="740128" y="4979541"/>
            <a:ext cx="10900488" cy="96973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7076228-E74E-857B-2947-290C2237D186}"/>
              </a:ext>
            </a:extLst>
          </p:cNvPr>
          <p:cNvSpPr>
            <a:spLocks noGrp="1"/>
          </p:cNvSpPr>
          <p:nvPr>
            <p:ph type="title"/>
          </p:nvPr>
        </p:nvSpPr>
        <p:spPr>
          <a:xfrm>
            <a:off x="912286" y="227013"/>
            <a:ext cx="10358967" cy="969739"/>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67928AEA-6B8B-5B14-B57F-3BCE19CB3ED2}"/>
              </a:ext>
            </a:extLst>
          </p:cNvPr>
          <p:cNvSpPr>
            <a:spLocks noGrp="1"/>
          </p:cNvSpPr>
          <p:nvPr>
            <p:ph idx="1"/>
          </p:nvPr>
        </p:nvSpPr>
        <p:spPr>
          <a:xfrm>
            <a:off x="767408" y="1196752"/>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Evolving First-Line Treatment for Metastatic EGFR-Mutated </a:t>
            </a:r>
            <a:br>
              <a:rPr lang="en-US" sz="2500" dirty="0">
                <a:solidFill>
                  <a:schemeClr val="tx1"/>
                </a:solidFill>
              </a:rPr>
            </a:br>
            <a:r>
              <a:rPr lang="en-US" sz="2500" dirty="0">
                <a:solidFill>
                  <a:schemeClr val="tx1"/>
                </a:solidFill>
              </a:rPr>
              <a:t>Non-Small Cell Lung Cancer (NSCLC) — Prof Passaro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EGFR-Targeted Therapeutic Strategies for Relapsed EGFR-Mutant NSCLC — Dr Nea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Utility of TROP2-Targeted Antibody-Drug Conjugates in the Management of EGFR-Mutant NSCLC — Dr Sands</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Emerging Role of Bispecific Antibody-Based Approaches for </a:t>
            </a:r>
            <a:br>
              <a:rPr lang="en-US" sz="2500" dirty="0">
                <a:solidFill>
                  <a:schemeClr val="tx1"/>
                </a:solidFill>
              </a:rPr>
            </a:br>
            <a:r>
              <a:rPr lang="en-US" sz="2500" dirty="0">
                <a:solidFill>
                  <a:schemeClr val="tx1"/>
                </a:solidFill>
              </a:rPr>
              <a:t>EGFR-Mutated NSCLC — Dr Goldman</a:t>
            </a:r>
          </a:p>
          <a:p>
            <a:pPr marL="98425" indent="0">
              <a:lnSpc>
                <a:spcPct val="100000"/>
              </a:lnSpc>
              <a:spcBef>
                <a:spcPts val="1600"/>
              </a:spcBef>
              <a:spcAft>
                <a:spcPts val="0"/>
              </a:spcAft>
              <a:buNone/>
            </a:pPr>
            <a:r>
              <a:rPr lang="en-US" sz="2500" dirty="0">
                <a:solidFill>
                  <a:schemeClr val="bg1"/>
                </a:solidFill>
              </a:rPr>
              <a:t>Module 5: Tolerability Considerations with the Use of Available and Emerging Therapies for EGFR-Mutated NSCLC — Dr Goldberg</a:t>
            </a:r>
          </a:p>
        </p:txBody>
      </p:sp>
    </p:spTree>
    <p:extLst>
      <p:ext uri="{BB962C8B-B14F-4D97-AF65-F5344CB8AC3E}">
        <p14:creationId xmlns:p14="http://schemas.microsoft.com/office/powerpoint/2010/main" val="30930827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2" cstate="print">
            <a:lum bright="70000" contrast="-70000"/>
            <a:alphaModFix/>
            <a:extLst>
              <a:ext uri="{28A0092B-C50C-407E-A947-70E740481C1C}">
                <a14:useLocalDpi xmlns:a14="http://schemas.microsoft.com/office/drawing/2010/main"/>
              </a:ext>
            </a:extLst>
          </a:blip>
          <a:srcRect/>
          <a:stretch/>
        </p:blipFill>
        <p:spPr>
          <a:xfrm>
            <a:off x="0" y="0"/>
            <a:ext cx="12192000" cy="4777409"/>
          </a:xfrm>
        </p:spPr>
      </p:pic>
      <p:sp>
        <p:nvSpPr>
          <p:cNvPr id="9" name="Title 8"/>
          <p:cNvSpPr>
            <a:spLocks noGrp="1"/>
          </p:cNvSpPr>
          <p:nvPr>
            <p:ph type="ctrTitle"/>
          </p:nvPr>
        </p:nvSpPr>
        <p:spPr>
          <a:xfrm>
            <a:off x="590550" y="1390651"/>
            <a:ext cx="11210924" cy="2748868"/>
          </a:xfrm>
          <a:solidFill>
            <a:schemeClr val="bg1">
              <a:alpha val="68000"/>
            </a:schemeClr>
          </a:solidFill>
        </p:spPr>
        <p:txBody>
          <a:bodyPr>
            <a:noAutofit/>
          </a:bodyPr>
          <a:lstStyle/>
          <a:p>
            <a:pPr algn="ctr"/>
            <a:r>
              <a:rPr lang="en-US" sz="4400" dirty="0">
                <a:solidFill>
                  <a:srgbClr val="233558"/>
                </a:solidFill>
              </a:rPr>
              <a:t>Tolerability considerations with the use of available and emerging therapies for EGFR mutation-positive NSCLC</a:t>
            </a:r>
            <a:br>
              <a:rPr lang="en-US" sz="4400" dirty="0">
                <a:solidFill>
                  <a:srgbClr val="233558"/>
                </a:solidFill>
              </a:rPr>
            </a:br>
            <a:endParaRPr lang="en-US" sz="4400" dirty="0">
              <a:solidFill>
                <a:srgbClr val="233558"/>
              </a:solidFill>
            </a:endParaRPr>
          </a:p>
        </p:txBody>
      </p:sp>
      <p:sp>
        <p:nvSpPr>
          <p:cNvPr id="2" name="TextBox 1">
            <a:extLst>
              <a:ext uri="{FF2B5EF4-FFF2-40B4-BE49-F238E27FC236}">
                <a16:creationId xmlns:a16="http://schemas.microsoft.com/office/drawing/2014/main" id="{93614E9B-E860-4EC8-9C31-C5AC1A280B02}"/>
              </a:ext>
            </a:extLst>
          </p:cNvPr>
          <p:cNvSpPr txBox="1"/>
          <p:nvPr/>
        </p:nvSpPr>
        <p:spPr>
          <a:xfrm>
            <a:off x="2891270" y="3216189"/>
            <a:ext cx="6409459"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546A"/>
                </a:solidFill>
                <a:effectLst/>
                <a:uLnTx/>
                <a:uFillTx/>
                <a:latin typeface="Arial" panose="020B0604020202020204"/>
                <a:ea typeface="+mn-ea"/>
                <a:cs typeface="+mn-cs"/>
              </a:rPr>
              <a:t>Research To Practice Symposi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546A"/>
                </a:solidFill>
                <a:effectLst/>
                <a:uLnTx/>
                <a:uFillTx/>
                <a:latin typeface="Arial" panose="020B0604020202020204"/>
                <a:ea typeface="+mn-ea"/>
                <a:cs typeface="+mn-cs"/>
              </a:rPr>
              <a:t>May 29, 2026</a:t>
            </a:r>
          </a:p>
        </p:txBody>
      </p:sp>
      <p:sp>
        <p:nvSpPr>
          <p:cNvPr id="3" name="Text Placeholder 2">
            <a:extLst>
              <a:ext uri="{FF2B5EF4-FFF2-40B4-BE49-F238E27FC236}">
                <a16:creationId xmlns:a16="http://schemas.microsoft.com/office/drawing/2014/main" id="{139E9429-DC19-EC00-5FE8-32956F5E6776}"/>
              </a:ext>
            </a:extLst>
          </p:cNvPr>
          <p:cNvSpPr txBox="1">
            <a:spLocks/>
          </p:cNvSpPr>
          <p:nvPr/>
        </p:nvSpPr>
        <p:spPr>
          <a:xfrm>
            <a:off x="269726" y="5120742"/>
            <a:ext cx="9801916" cy="905870"/>
          </a:xfrm>
          <a:prstGeom prst="rect">
            <a:avLst/>
          </a:prstGeom>
          <a:noFill/>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33558"/>
                </a:solidFill>
                <a:effectLst/>
                <a:uLnTx/>
                <a:uFillTx/>
                <a:latin typeface="Arial" panose="020B0604020202020204"/>
                <a:ea typeface="+mn-ea"/>
                <a:cs typeface="+mn-cs"/>
              </a:rPr>
              <a:t>Sarah Goldberg, MD, MPH</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33558"/>
                </a:solidFill>
                <a:effectLst/>
                <a:uLnTx/>
                <a:uFillTx/>
                <a:latin typeface="Arial" panose="020B0604020202020204"/>
                <a:ea typeface="+mn-ea"/>
                <a:cs typeface="+mn-cs"/>
              </a:rPr>
              <a:t>Professor of Medicine (Medical Oncolog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33558"/>
                </a:solidFill>
                <a:effectLst/>
                <a:uLnTx/>
                <a:uFillTx/>
                <a:latin typeface="Arial" panose="020B0604020202020204"/>
                <a:ea typeface="+mn-ea"/>
                <a:cs typeface="+mn-cs"/>
              </a:rPr>
              <a:t>Division Chief, Thoracic Oncolog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33558"/>
                </a:solidFill>
                <a:effectLst/>
                <a:uLnTx/>
                <a:uFillTx/>
                <a:latin typeface="Arial" panose="020B0604020202020204"/>
                <a:ea typeface="+mn-ea"/>
                <a:cs typeface="+mn-cs"/>
              </a:rPr>
              <a:t>Co-Director, Center for Thoracic Canc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33558"/>
                </a:solidFill>
                <a:effectLst/>
                <a:uLnTx/>
                <a:uFillTx/>
                <a:latin typeface="Arial" panose="020B0604020202020204"/>
                <a:ea typeface="+mn-ea"/>
                <a:cs typeface="+mn-cs"/>
              </a:rPr>
              <a:t>Yale School of Medicine and Yale Cancer Cent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233558"/>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142104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2B0CA-5818-3B90-6494-87F648C678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2C08E0-93BC-8BB6-253E-0C939DA4F7A7}"/>
              </a:ext>
            </a:extLst>
          </p:cNvPr>
          <p:cNvSpPr>
            <a:spLocks noGrp="1"/>
          </p:cNvSpPr>
          <p:nvPr>
            <p:ph type="title"/>
          </p:nvPr>
        </p:nvSpPr>
        <p:spPr>
          <a:xfrm>
            <a:off x="838200" y="365125"/>
            <a:ext cx="10515600" cy="838033"/>
          </a:xfrm>
        </p:spPr>
        <p:txBody>
          <a:bodyPr/>
          <a:lstStyle/>
          <a:p>
            <a:r>
              <a:rPr lang="en-US" dirty="0"/>
              <a:t>Outline</a:t>
            </a:r>
          </a:p>
        </p:txBody>
      </p:sp>
      <p:sp>
        <p:nvSpPr>
          <p:cNvPr id="3" name="Content Placeholder 2">
            <a:extLst>
              <a:ext uri="{FF2B5EF4-FFF2-40B4-BE49-F238E27FC236}">
                <a16:creationId xmlns:a16="http://schemas.microsoft.com/office/drawing/2014/main" id="{F96DE52F-E818-3B3D-8203-B0CD1DE0516F}"/>
              </a:ext>
            </a:extLst>
          </p:cNvPr>
          <p:cNvSpPr>
            <a:spLocks noGrp="1"/>
          </p:cNvSpPr>
          <p:nvPr>
            <p:ph idx="1"/>
          </p:nvPr>
        </p:nvSpPr>
        <p:spPr>
          <a:xfrm>
            <a:off x="605188" y="1394894"/>
            <a:ext cx="10981623" cy="5217662"/>
          </a:xfrm>
        </p:spPr>
        <p:txBody>
          <a:bodyPr>
            <a:normAutofit/>
          </a:bodyPr>
          <a:lstStyle/>
          <a:p>
            <a:r>
              <a:rPr lang="en-US" dirty="0"/>
              <a:t>Compare tolerability profiles of </a:t>
            </a:r>
            <a:r>
              <a:rPr lang="en-US" dirty="0" err="1"/>
              <a:t>osimertinib</a:t>
            </a:r>
            <a:r>
              <a:rPr lang="en-US" dirty="0"/>
              <a:t>/chemotherapy and </a:t>
            </a:r>
            <a:r>
              <a:rPr lang="en-US" dirty="0" err="1"/>
              <a:t>amivantamab</a:t>
            </a:r>
            <a:r>
              <a:rPr lang="en-US" dirty="0"/>
              <a:t>/</a:t>
            </a:r>
            <a:r>
              <a:rPr lang="en-US" dirty="0" err="1"/>
              <a:t>lazertinib</a:t>
            </a:r>
            <a:endParaRPr lang="en-US" dirty="0"/>
          </a:p>
          <a:p>
            <a:r>
              <a:rPr lang="en-US" dirty="0"/>
              <a:t>Reducing toxicity from </a:t>
            </a:r>
            <a:r>
              <a:rPr lang="en-US" dirty="0" err="1"/>
              <a:t>amivantamab</a:t>
            </a:r>
            <a:endParaRPr lang="en-US" dirty="0"/>
          </a:p>
          <a:p>
            <a:r>
              <a:rPr lang="en-US" dirty="0"/>
              <a:t>Monitoring for, mitigating and managing AEs from </a:t>
            </a:r>
            <a:r>
              <a:rPr lang="en-US" dirty="0" err="1"/>
              <a:t>dato-DXd</a:t>
            </a:r>
            <a:endParaRPr lang="en-US" dirty="0"/>
          </a:p>
          <a:p>
            <a:r>
              <a:rPr lang="en-US" dirty="0"/>
              <a:t>Toxicities associated with </a:t>
            </a:r>
            <a:r>
              <a:rPr lang="en-US" dirty="0" err="1"/>
              <a:t>ivonescimab</a:t>
            </a:r>
            <a:endParaRPr lang="en-US" dirty="0"/>
          </a:p>
          <a:p>
            <a:endParaRPr lang="en-US" dirty="0"/>
          </a:p>
        </p:txBody>
      </p:sp>
    </p:spTree>
    <p:extLst>
      <p:ext uri="{BB962C8B-B14F-4D97-AF65-F5344CB8AC3E}">
        <p14:creationId xmlns:p14="http://schemas.microsoft.com/office/powerpoint/2010/main" val="35224626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12836D-F527-1C88-3189-9861D8C3DE78}"/>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7E6E6795-ED92-9AD6-CCB6-99A8F50E791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339365" y="1204658"/>
            <a:ext cx="5678762" cy="2536301"/>
          </a:xfrm>
          <a:prstGeom prst="rect">
            <a:avLst/>
          </a:prstGeom>
        </p:spPr>
      </p:pic>
      <p:sp>
        <p:nvSpPr>
          <p:cNvPr id="2" name="Title 4">
            <a:extLst>
              <a:ext uri="{FF2B5EF4-FFF2-40B4-BE49-F238E27FC236}">
                <a16:creationId xmlns:a16="http://schemas.microsoft.com/office/drawing/2014/main" id="{32C4FF3A-EAFB-0FAD-E900-7259607399A8}"/>
              </a:ext>
            </a:extLst>
          </p:cNvPr>
          <p:cNvSpPr txBox="1">
            <a:spLocks/>
          </p:cNvSpPr>
          <p:nvPr/>
        </p:nvSpPr>
        <p:spPr>
          <a:xfrm>
            <a:off x="432955" y="199653"/>
            <a:ext cx="11326091" cy="715529"/>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4400" b="1" kern="1200" baseline="0">
                <a:solidFill>
                  <a:srgbClr val="2E398E"/>
                </a:solidFill>
                <a:latin typeface="Arial" panose="020B0604020202020204" pitchFamily="34" charset="0"/>
                <a:ea typeface="+mj-ea"/>
                <a:cs typeface="Arial" panose="020B0604020202020204" pitchFamily="34" charset="0"/>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2E398E"/>
                </a:solidFill>
                <a:effectLst/>
                <a:uLnTx/>
                <a:uFillTx/>
                <a:latin typeface="Arial" panose="020B0604020202020204" pitchFamily="34" charset="0"/>
                <a:ea typeface="+mj-ea"/>
                <a:cs typeface="Arial" panose="020B0604020202020204" pitchFamily="34" charset="0"/>
              </a:rPr>
              <a:t>Toxicity of first-line options for EGFR-mutant NSCLC</a:t>
            </a:r>
          </a:p>
        </p:txBody>
      </p:sp>
      <p:sp>
        <p:nvSpPr>
          <p:cNvPr id="4" name="Slide Number Placeholder 3">
            <a:extLst>
              <a:ext uri="{FF2B5EF4-FFF2-40B4-BE49-F238E27FC236}">
                <a16:creationId xmlns:a16="http://schemas.microsoft.com/office/drawing/2014/main" id="{A6627ACC-A8F3-7D14-DC3A-1E9E99774531}"/>
              </a:ext>
            </a:extLst>
          </p:cNvPr>
          <p:cNvSpPr>
            <a:spLocks noGrp="1"/>
          </p:cNvSpPr>
          <p:nvPr>
            <p:ph type="sldNum" sz="quarter" idx="12"/>
          </p:nvPr>
        </p:nvSpPr>
        <p:spPr>
          <a:xfrm>
            <a:off x="11539991" y="8581748"/>
            <a:ext cx="4404311" cy="34162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D052E9F0-9C60-46BC-A8ED-76F9B9E5287E}" type="slidenum">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123</a:t>
            </a:fld>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39C757B7-5B46-3174-55FB-680D2AA860F2}"/>
              </a:ext>
            </a:extLst>
          </p:cNvPr>
          <p:cNvSpPr txBox="1"/>
          <p:nvPr/>
        </p:nvSpPr>
        <p:spPr>
          <a:xfrm>
            <a:off x="9896402" y="6248303"/>
            <a:ext cx="212172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Janne PA, et al. NEJM 20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Cho BC, et al. NEJM 2024</a:t>
            </a:r>
          </a:p>
        </p:txBody>
      </p:sp>
      <p:sp>
        <p:nvSpPr>
          <p:cNvPr id="5" name="TextBox 4">
            <a:extLst>
              <a:ext uri="{FF2B5EF4-FFF2-40B4-BE49-F238E27FC236}">
                <a16:creationId xmlns:a16="http://schemas.microsoft.com/office/drawing/2014/main" id="{36150645-065E-8928-D321-858A3002E0B9}"/>
              </a:ext>
            </a:extLst>
          </p:cNvPr>
          <p:cNvSpPr txBox="1"/>
          <p:nvPr/>
        </p:nvSpPr>
        <p:spPr>
          <a:xfrm>
            <a:off x="638175" y="1485900"/>
            <a:ext cx="174639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FLAURA2</a:t>
            </a:r>
          </a:p>
        </p:txBody>
      </p:sp>
      <p:sp>
        <p:nvSpPr>
          <p:cNvPr id="6" name="TextBox 5">
            <a:extLst>
              <a:ext uri="{FF2B5EF4-FFF2-40B4-BE49-F238E27FC236}">
                <a16:creationId xmlns:a16="http://schemas.microsoft.com/office/drawing/2014/main" id="{1A467052-2FE5-5B14-C334-5FDD38302608}"/>
              </a:ext>
            </a:extLst>
          </p:cNvPr>
          <p:cNvSpPr txBox="1"/>
          <p:nvPr/>
        </p:nvSpPr>
        <p:spPr>
          <a:xfrm>
            <a:off x="638175" y="4787326"/>
            <a:ext cx="212172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MARIPOSA</a:t>
            </a:r>
          </a:p>
        </p:txBody>
      </p:sp>
      <p:pic>
        <p:nvPicPr>
          <p:cNvPr id="12" name="Picture 11">
            <a:extLst>
              <a:ext uri="{FF2B5EF4-FFF2-40B4-BE49-F238E27FC236}">
                <a16:creationId xmlns:a16="http://schemas.microsoft.com/office/drawing/2014/main" id="{662DA194-9348-B8C2-BD39-19FB121AF17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t="2068"/>
          <a:stretch>
            <a:fillRect/>
          </a:stretch>
        </p:blipFill>
        <p:spPr>
          <a:xfrm>
            <a:off x="3019647" y="3740960"/>
            <a:ext cx="6358270" cy="3030563"/>
          </a:xfrm>
          <a:prstGeom prst="rect">
            <a:avLst/>
          </a:prstGeom>
        </p:spPr>
      </p:pic>
      <p:pic>
        <p:nvPicPr>
          <p:cNvPr id="17" name="Picture 16">
            <a:extLst>
              <a:ext uri="{FF2B5EF4-FFF2-40B4-BE49-F238E27FC236}">
                <a16:creationId xmlns:a16="http://schemas.microsoft.com/office/drawing/2014/main" id="{22989D5F-8742-8AB8-7BD6-881B99BA4FFD}"/>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2384564" y="1204659"/>
            <a:ext cx="3900705" cy="2224342"/>
          </a:xfrm>
          <a:prstGeom prst="rect">
            <a:avLst/>
          </a:prstGeom>
        </p:spPr>
      </p:pic>
    </p:spTree>
    <p:extLst>
      <p:ext uri="{BB962C8B-B14F-4D97-AF65-F5344CB8AC3E}">
        <p14:creationId xmlns:p14="http://schemas.microsoft.com/office/powerpoint/2010/main" val="30272992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3D2FB-8EE6-C97D-2EE2-BBC1F63A7F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13EBAB-F87B-E4FC-6CA4-4CC580D23F33}"/>
              </a:ext>
            </a:extLst>
          </p:cNvPr>
          <p:cNvSpPr>
            <a:spLocks noGrp="1"/>
          </p:cNvSpPr>
          <p:nvPr>
            <p:ph type="title"/>
          </p:nvPr>
        </p:nvSpPr>
        <p:spPr>
          <a:xfrm>
            <a:off x="905430" y="48031"/>
            <a:ext cx="10407649" cy="1141412"/>
          </a:xfrm>
        </p:spPr>
        <p:txBody>
          <a:bodyPr/>
          <a:lstStyle/>
          <a:p>
            <a:pPr>
              <a:lnSpc>
                <a:spcPct val="100000"/>
              </a:lnSpc>
            </a:pPr>
            <a:r>
              <a:rPr lang="en-US" sz="3600" b="1" dirty="0" err="1">
                <a:latin typeface="Calibri" panose="020F0502020204030204" pitchFamily="34" charset="0"/>
                <a:cs typeface="Calibri" panose="020F0502020204030204" pitchFamily="34" charset="0"/>
              </a:rPr>
              <a:t>SKIPPirr</a:t>
            </a:r>
            <a:r>
              <a:rPr lang="en-US" sz="3600" b="1" dirty="0">
                <a:latin typeface="Calibri" panose="020F0502020204030204" pitchFamily="34" charset="0"/>
                <a:cs typeface="Calibri" panose="020F0502020204030204" pitchFamily="34" charset="0"/>
              </a:rPr>
              <a:t>: Preventing infusion-related </a:t>
            </a:r>
            <a:br>
              <a:rPr lang="en-US" sz="3600" b="1" dirty="0">
                <a:latin typeface="Calibri" panose="020F0502020204030204" pitchFamily="34" charset="0"/>
                <a:cs typeface="Calibri" panose="020F0502020204030204" pitchFamily="34" charset="0"/>
              </a:rPr>
            </a:br>
            <a:r>
              <a:rPr lang="en-US" sz="3600" b="1" dirty="0">
                <a:latin typeface="Calibri" panose="020F0502020204030204" pitchFamily="34" charset="0"/>
                <a:cs typeface="Calibri" panose="020F0502020204030204" pitchFamily="34" charset="0"/>
              </a:rPr>
              <a:t>reactions with intravenous </a:t>
            </a:r>
            <a:r>
              <a:rPr lang="en-US" sz="3600" b="1" dirty="0" err="1">
                <a:latin typeface="Calibri" panose="020F0502020204030204" pitchFamily="34" charset="0"/>
                <a:cs typeface="Calibri" panose="020F0502020204030204" pitchFamily="34" charset="0"/>
              </a:rPr>
              <a:t>amivantamab</a:t>
            </a:r>
            <a:endParaRPr lang="en-US" sz="3600" b="1"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77C8CDD0-DEF2-0D70-7B57-29D1470D06B6}"/>
              </a:ext>
            </a:extLst>
          </p:cNvPr>
          <p:cNvSpPr txBox="1"/>
          <p:nvPr/>
        </p:nvSpPr>
        <p:spPr>
          <a:xfrm>
            <a:off x="9038384" y="6543995"/>
            <a:ext cx="2895600" cy="246221"/>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Arial"/>
              </a:rPr>
              <a:t>Spira AI et al. JTO 2025.</a:t>
            </a:r>
            <a:endParaRPr kumimoji="0" lang="en-US" sz="1000" b="0" i="0" u="none" strike="noStrike" kern="1200" cap="none" spc="0" normalizeH="0" baseline="0" noProof="0" dirty="0">
              <a:ln>
                <a:noFill/>
              </a:ln>
              <a:solidFill>
                <a:srgbClr val="000000"/>
              </a:solidFill>
              <a:effectLst/>
              <a:uLnTx/>
              <a:uFillTx/>
              <a:latin typeface="Arial"/>
              <a:ea typeface="ＭＳ Ｐゴシック"/>
              <a:cs typeface="Lucida Sans Unicode"/>
            </a:endParaRPr>
          </a:p>
        </p:txBody>
      </p:sp>
      <p:pic>
        <p:nvPicPr>
          <p:cNvPr id="11" name="Picture 10" descr="A graph of a patient's level&#10;&#10;AI-generated content may be incorrect.">
            <a:extLst>
              <a:ext uri="{FF2B5EF4-FFF2-40B4-BE49-F238E27FC236}">
                <a16:creationId xmlns:a16="http://schemas.microsoft.com/office/drawing/2014/main" id="{73393915-EE41-4730-B3D5-32ADA5E2DBE5}"/>
              </a:ext>
            </a:extLst>
          </p:cNvPr>
          <p:cNvPicPr>
            <a:picLocks noChangeAspect="1"/>
          </p:cNvPicPr>
          <p:nvPr/>
        </p:nvPicPr>
        <p:blipFill>
          <a:blip r:embed="rId2"/>
          <a:stretch>
            <a:fillRect/>
          </a:stretch>
        </p:blipFill>
        <p:spPr>
          <a:xfrm>
            <a:off x="128271" y="3644900"/>
            <a:ext cx="5781039" cy="2343431"/>
          </a:xfrm>
          <a:prstGeom prst="rect">
            <a:avLst/>
          </a:prstGeom>
        </p:spPr>
      </p:pic>
      <p:pic>
        <p:nvPicPr>
          <p:cNvPr id="13" name="Picture 12" descr="A graph of a number of patients with different levels of pain&#10;&#10;AI-generated content may be incorrect.">
            <a:extLst>
              <a:ext uri="{FF2B5EF4-FFF2-40B4-BE49-F238E27FC236}">
                <a16:creationId xmlns:a16="http://schemas.microsoft.com/office/drawing/2014/main" id="{93E2E9F4-FFBD-F05B-9E1C-CCC0D059B46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663656" y="1908810"/>
            <a:ext cx="6400073" cy="4578365"/>
          </a:xfrm>
          <a:prstGeom prst="rect">
            <a:avLst/>
          </a:prstGeom>
        </p:spPr>
      </p:pic>
      <p:sp>
        <p:nvSpPr>
          <p:cNvPr id="14" name="Rectangle 13">
            <a:extLst>
              <a:ext uri="{FF2B5EF4-FFF2-40B4-BE49-F238E27FC236}">
                <a16:creationId xmlns:a16="http://schemas.microsoft.com/office/drawing/2014/main" id="{0364F3A6-53ED-3287-A633-F3A35ABBCBB3}"/>
              </a:ext>
            </a:extLst>
          </p:cNvPr>
          <p:cNvSpPr/>
          <p:nvPr/>
        </p:nvSpPr>
        <p:spPr bwMode="auto">
          <a:xfrm>
            <a:off x="5663656" y="1908810"/>
            <a:ext cx="245654" cy="1714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sp>
        <p:nvSpPr>
          <p:cNvPr id="15" name="Rectangle 14">
            <a:extLst>
              <a:ext uri="{FF2B5EF4-FFF2-40B4-BE49-F238E27FC236}">
                <a16:creationId xmlns:a16="http://schemas.microsoft.com/office/drawing/2014/main" id="{E54A8FA0-CE50-279E-E5FF-E5A35B45D970}"/>
              </a:ext>
            </a:extLst>
          </p:cNvPr>
          <p:cNvSpPr/>
          <p:nvPr/>
        </p:nvSpPr>
        <p:spPr bwMode="auto">
          <a:xfrm>
            <a:off x="314960" y="2376170"/>
            <a:ext cx="245654" cy="1714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sp>
        <p:nvSpPr>
          <p:cNvPr id="16" name="TextBox 15">
            <a:extLst>
              <a:ext uri="{FF2B5EF4-FFF2-40B4-BE49-F238E27FC236}">
                <a16:creationId xmlns:a16="http://schemas.microsoft.com/office/drawing/2014/main" id="{280E116B-E5C0-F480-DBE7-2FD19F67ECE3}"/>
              </a:ext>
            </a:extLst>
          </p:cNvPr>
          <p:cNvSpPr txBox="1"/>
          <p:nvPr/>
        </p:nvSpPr>
        <p:spPr>
          <a:xfrm>
            <a:off x="291051" y="1336576"/>
            <a:ext cx="5321583"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cs typeface="Lucida Sans Unicode"/>
              </a:rPr>
              <a:t>4 independent prophylactic approaches were evaluated using Simon’s two-stage design with an expansion stage if a cohort passed both st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 New Roman"/>
              <a:cs typeface="Lucida Sans Unicode"/>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cs typeface="Lucida Sans Unicode"/>
              </a:rPr>
              <a:t>Oral dexamethasone 8 mg cohort passed both sta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cs typeface="Lucida Sans Unicode"/>
              </a:rPr>
              <a:t>(8 mg twice daily given on C1D-2, C1D-1,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cs typeface="Lucida Sans Unicode"/>
              </a:rPr>
              <a:t>the morning of C1D1 [5 do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 New Roman"/>
              <a:cs typeface="Lucida Sans Unicode"/>
            </a:endParaRPr>
          </a:p>
        </p:txBody>
      </p:sp>
      <p:sp>
        <p:nvSpPr>
          <p:cNvPr id="17" name="Rectangle 16">
            <a:extLst>
              <a:ext uri="{FF2B5EF4-FFF2-40B4-BE49-F238E27FC236}">
                <a16:creationId xmlns:a16="http://schemas.microsoft.com/office/drawing/2014/main" id="{3D488980-6BE3-A91A-4B6C-2202A7F21962}"/>
              </a:ext>
            </a:extLst>
          </p:cNvPr>
          <p:cNvSpPr/>
          <p:nvPr/>
        </p:nvSpPr>
        <p:spPr bwMode="auto">
          <a:xfrm>
            <a:off x="56827" y="3644900"/>
            <a:ext cx="245654" cy="1714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spTree>
    <p:extLst>
      <p:ext uri="{BB962C8B-B14F-4D97-AF65-F5344CB8AC3E}">
        <p14:creationId xmlns:p14="http://schemas.microsoft.com/office/powerpoint/2010/main" val="1868586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6580" t="17633" r="5677" b="25125"/>
          <a:stretch/>
        </p:blipFill>
        <p:spPr bwMode="auto">
          <a:xfrm>
            <a:off x="411833" y="1348763"/>
            <a:ext cx="6278066" cy="2303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1">
            <a:extLst>
              <a:ext uri="{FF2B5EF4-FFF2-40B4-BE49-F238E27FC236}">
                <a16:creationId xmlns:a16="http://schemas.microsoft.com/office/drawing/2014/main" id="{22BE2D29-2CA6-9B9B-8531-9EB0C9DD68B0}"/>
              </a:ext>
            </a:extLst>
          </p:cNvPr>
          <p:cNvSpPr txBox="1">
            <a:spLocks/>
          </p:cNvSpPr>
          <p:nvPr/>
        </p:nvSpPr>
        <p:spPr bwMode="auto">
          <a:xfrm>
            <a:off x="161307" y="409067"/>
            <a:ext cx="11702142" cy="7365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28638" rtl="0" eaLnBrk="1" fontAlgn="base" latinLnBrk="0" hangingPunct="0">
              <a:lnSpc>
                <a:spcPct val="100000"/>
              </a:lnSpc>
              <a:spcBef>
                <a:spcPct val="0"/>
              </a:spcBef>
              <a:spcAft>
                <a:spcPct val="0"/>
              </a:spcAft>
              <a:buClr>
                <a:srgbClr val="000000"/>
              </a:buClr>
              <a:buSzPct val="45000"/>
              <a:buFont typeface="StarSymbol" charset="0"/>
              <a:buNone/>
              <a:tabLst/>
              <a:defRPr/>
            </a:pPr>
            <a:r>
              <a:rPr kumimoji="0" lang="en-US" sz="36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ALOMA-3: Subcutaneous vs intravenous </a:t>
            </a:r>
            <a:br>
              <a:rPr kumimoji="0" lang="en-US" sz="36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3600" b="1" i="0" u="none" strike="noStrike" kern="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amivantamab</a:t>
            </a:r>
            <a:r>
              <a:rPr kumimoji="0" lang="en-US" sz="36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plus </a:t>
            </a:r>
            <a:r>
              <a:rPr kumimoji="0" lang="en-US" sz="3600" b="1" i="0" u="none" strike="noStrike" kern="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lazertinib</a:t>
            </a:r>
            <a:endParaRPr kumimoji="0" lang="en-US" sz="36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pic>
        <p:nvPicPr>
          <p:cNvPr id="9" name="Picture 2">
            <a:extLst>
              <a:ext uri="{FF2B5EF4-FFF2-40B4-BE49-F238E27FC236}">
                <a16:creationId xmlns:a16="http://schemas.microsoft.com/office/drawing/2014/main" id="{8EB60E46-6684-B765-A5BC-44B2D7FB98D1}"/>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4366" t="16820" r="4456" b="16715"/>
          <a:stretch/>
        </p:blipFill>
        <p:spPr bwMode="auto">
          <a:xfrm>
            <a:off x="161307" y="3855719"/>
            <a:ext cx="6224021" cy="2552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a:extLst>
              <a:ext uri="{FF2B5EF4-FFF2-40B4-BE49-F238E27FC236}">
                <a16:creationId xmlns:a16="http://schemas.microsoft.com/office/drawing/2014/main" id="{02EEB64E-0979-23F3-8766-A0517A8C0413}"/>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l="6967" t="16277" r="32223" b="14817"/>
          <a:stretch/>
        </p:blipFill>
        <p:spPr bwMode="auto">
          <a:xfrm>
            <a:off x="6689899" y="1943632"/>
            <a:ext cx="5362204" cy="3417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a:extLst>
              <a:ext uri="{FF2B5EF4-FFF2-40B4-BE49-F238E27FC236}">
                <a16:creationId xmlns:a16="http://schemas.microsoft.com/office/drawing/2014/main" id="{47BCB0CD-604D-936E-3C76-AA8E334FC6DC}"/>
              </a:ext>
            </a:extLst>
          </p:cNvPr>
          <p:cNvSpPr txBox="1"/>
          <p:nvPr/>
        </p:nvSpPr>
        <p:spPr>
          <a:xfrm>
            <a:off x="8663940" y="6407828"/>
            <a:ext cx="338816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Lucida Sans Unicode"/>
              </a:rPr>
              <a:t>Leighl NB, ASCO 2024; J Clin Oncol 2024</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761DDFE-071F-4200-B0AA-394476C2D2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93752089-F5FD-C939-C4D1-CABBE4A9D34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0" y="2105784"/>
            <a:ext cx="5666763" cy="3088385"/>
          </a:xfrm>
          <a:prstGeom prst="rect">
            <a:avLst/>
          </a:prstGeom>
        </p:spPr>
      </p:pic>
      <p:sp>
        <p:nvSpPr>
          <p:cNvPr id="8" name="TextBox 7">
            <a:extLst>
              <a:ext uri="{FF2B5EF4-FFF2-40B4-BE49-F238E27FC236}">
                <a16:creationId xmlns:a16="http://schemas.microsoft.com/office/drawing/2014/main" id="{6BF73F56-D00B-E83B-FD09-AA011A9F664A}"/>
              </a:ext>
            </a:extLst>
          </p:cNvPr>
          <p:cNvSpPr txBox="1"/>
          <p:nvPr/>
        </p:nvSpPr>
        <p:spPr>
          <a:xfrm>
            <a:off x="6789420" y="6334780"/>
            <a:ext cx="507402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Borgeaud M, et al. </a:t>
            </a:r>
            <a:r>
              <a:rPr kumimoji="0" lang="en-US" sz="1400" b="0" i="0" u="none" strike="noStrike" kern="1200" cap="none" spc="0" normalizeH="0" baseline="0" noProof="0" dirty="0" err="1">
                <a:ln>
                  <a:noFill/>
                </a:ln>
                <a:solidFill>
                  <a:prstClr val="black"/>
                </a:solidFill>
                <a:effectLst/>
                <a:uLnTx/>
                <a:uFillTx/>
                <a:latin typeface="Calibri"/>
                <a:ea typeface="+mn-ea"/>
                <a:cs typeface="+mn-cs"/>
              </a:rPr>
              <a:t>healthbook</a:t>
            </a:r>
            <a:r>
              <a:rPr kumimoji="0" lang="en-US" sz="1400" b="0" i="0" u="none" strike="noStrike" kern="1200" cap="none" spc="0" normalizeH="0" baseline="0" noProof="0" dirty="0">
                <a:ln>
                  <a:noFill/>
                </a:ln>
                <a:solidFill>
                  <a:prstClr val="black"/>
                </a:solidFill>
                <a:effectLst/>
                <a:uLnTx/>
                <a:uFillTx/>
                <a:latin typeface="Calibri"/>
                <a:ea typeface="+mn-ea"/>
                <a:cs typeface="+mn-cs"/>
              </a:rPr>
              <a:t> TIMES </a:t>
            </a:r>
            <a:r>
              <a:rPr kumimoji="0" lang="en-US" sz="1400" b="0" i="0" u="none" strike="noStrike" kern="1200" cap="none" spc="0" normalizeH="0" baseline="0" noProof="0" dirty="0" err="1">
                <a:ln>
                  <a:noFill/>
                </a:ln>
                <a:solidFill>
                  <a:prstClr val="black"/>
                </a:solidFill>
                <a:effectLst/>
                <a:uLnTx/>
                <a:uFillTx/>
                <a:latin typeface="Calibri"/>
                <a:ea typeface="+mn-ea"/>
                <a:cs typeface="+mn-cs"/>
              </a:rPr>
              <a:t>Onco</a:t>
            </a:r>
            <a:r>
              <a:rPr kumimoji="0" lang="en-US" sz="1400" b="0" i="0" u="none" strike="noStrike" kern="1200" cap="none" spc="0" normalizeH="0" baseline="0" noProof="0" dirty="0">
                <a:ln>
                  <a:noFill/>
                </a:ln>
                <a:solidFill>
                  <a:prstClr val="black"/>
                </a:solidFill>
                <a:effectLst/>
                <a:uLnTx/>
                <a:uFillTx/>
                <a:latin typeface="Calibri"/>
                <a:ea typeface="+mn-ea"/>
                <a:cs typeface="+mn-cs"/>
              </a:rPr>
              <a:t> Hema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Cho BC, et al. JTO 2025.</a:t>
            </a:r>
          </a:p>
        </p:txBody>
      </p:sp>
      <p:sp>
        <p:nvSpPr>
          <p:cNvPr id="10" name="Title 1">
            <a:extLst>
              <a:ext uri="{FF2B5EF4-FFF2-40B4-BE49-F238E27FC236}">
                <a16:creationId xmlns:a16="http://schemas.microsoft.com/office/drawing/2014/main" id="{F1CE9E97-1D4C-98E2-CC24-101CEF0F1C32}"/>
              </a:ext>
            </a:extLst>
          </p:cNvPr>
          <p:cNvSpPr txBox="1">
            <a:spLocks/>
          </p:cNvSpPr>
          <p:nvPr/>
        </p:nvSpPr>
        <p:spPr bwMode="auto">
          <a:xfrm>
            <a:off x="161307" y="316375"/>
            <a:ext cx="11702142" cy="7365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28638"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3600" b="1" i="0" u="none" strike="noStrike" kern="0" cap="none" spc="0" normalizeH="0" baseline="0" noProof="0" dirty="0">
                <a:ln>
                  <a:noFill/>
                </a:ln>
                <a:solidFill>
                  <a:srgbClr val="000000"/>
                </a:solidFill>
                <a:effectLst/>
                <a:uLnTx/>
                <a:uFillTx/>
                <a:latin typeface="Calibri"/>
                <a:ea typeface="+mj-ea"/>
                <a:cs typeface="+mj-cs"/>
              </a:rPr>
              <a:t>COCOON: </a:t>
            </a:r>
            <a:r>
              <a:rPr kumimoji="0" lang="en-US" sz="3600" b="1" i="0" u="none" strike="noStrike" kern="0" cap="none" spc="0" normalizeH="0" baseline="0" noProof="0" dirty="0" err="1">
                <a:ln>
                  <a:noFill/>
                </a:ln>
                <a:solidFill>
                  <a:srgbClr val="000000"/>
                </a:solidFill>
                <a:effectLst/>
                <a:uLnTx/>
                <a:uFillTx/>
                <a:latin typeface="Calibri"/>
                <a:ea typeface="+mj-ea"/>
                <a:cs typeface="+mj-cs"/>
              </a:rPr>
              <a:t>Amivantamab</a:t>
            </a:r>
            <a:r>
              <a:rPr kumimoji="0" lang="en-US" sz="3600" b="1" i="0" u="none" strike="noStrike" kern="0" cap="none" spc="0" normalizeH="0" baseline="0" noProof="0" dirty="0">
                <a:ln>
                  <a:noFill/>
                </a:ln>
                <a:solidFill>
                  <a:srgbClr val="000000"/>
                </a:solidFill>
                <a:effectLst/>
                <a:uLnTx/>
                <a:uFillTx/>
                <a:latin typeface="Calibri"/>
                <a:ea typeface="+mj-ea"/>
                <a:cs typeface="+mj-cs"/>
              </a:rPr>
              <a:t>/</a:t>
            </a:r>
            <a:r>
              <a:rPr kumimoji="0" lang="en-US" sz="3600" b="1" i="0" u="none" strike="noStrike" kern="0" cap="none" spc="0" normalizeH="0" baseline="0" noProof="0" dirty="0" err="1">
                <a:ln>
                  <a:noFill/>
                </a:ln>
                <a:solidFill>
                  <a:srgbClr val="000000"/>
                </a:solidFill>
                <a:effectLst/>
                <a:uLnTx/>
                <a:uFillTx/>
                <a:latin typeface="Calibri"/>
                <a:ea typeface="+mj-ea"/>
                <a:cs typeface="+mj-cs"/>
              </a:rPr>
              <a:t>lazertinib</a:t>
            </a:r>
            <a:r>
              <a:rPr kumimoji="0" lang="en-US" sz="3600" b="1" i="0" u="none" strike="noStrike" kern="0" cap="none" spc="0" normalizeH="0" baseline="0" noProof="0" dirty="0">
                <a:ln>
                  <a:noFill/>
                </a:ln>
                <a:solidFill>
                  <a:srgbClr val="000000"/>
                </a:solidFill>
                <a:effectLst/>
                <a:uLnTx/>
                <a:uFillTx/>
                <a:latin typeface="Calibri"/>
                <a:ea typeface="+mj-ea"/>
                <a:cs typeface="+mj-cs"/>
              </a:rPr>
              <a:t> with </a:t>
            </a:r>
            <a:br>
              <a:rPr kumimoji="0" lang="en-US" sz="3600" b="1" i="0" u="none" strike="noStrike" kern="0" cap="none" spc="0" normalizeH="0" baseline="0" noProof="0" dirty="0">
                <a:ln>
                  <a:noFill/>
                </a:ln>
                <a:solidFill>
                  <a:srgbClr val="000000"/>
                </a:solidFill>
                <a:effectLst/>
                <a:uLnTx/>
                <a:uFillTx/>
                <a:latin typeface="Calibri"/>
                <a:ea typeface="+mj-ea"/>
                <a:cs typeface="+mj-cs"/>
              </a:rPr>
            </a:br>
            <a:r>
              <a:rPr kumimoji="0" lang="en-US" sz="3600" b="1" i="0" u="none" strike="noStrike" kern="0" cap="none" spc="0" normalizeH="0" baseline="0" noProof="0" dirty="0">
                <a:ln>
                  <a:noFill/>
                </a:ln>
                <a:solidFill>
                  <a:srgbClr val="000000"/>
                </a:solidFill>
                <a:effectLst/>
                <a:uLnTx/>
                <a:uFillTx/>
                <a:latin typeface="Calibri"/>
                <a:ea typeface="+mj-ea"/>
                <a:cs typeface="+mj-cs"/>
              </a:rPr>
              <a:t>enhanced dermatologic prophylaxis</a:t>
            </a:r>
          </a:p>
        </p:txBody>
      </p:sp>
      <p:grpSp>
        <p:nvGrpSpPr>
          <p:cNvPr id="16" name="Group 15">
            <a:extLst>
              <a:ext uri="{FF2B5EF4-FFF2-40B4-BE49-F238E27FC236}">
                <a16:creationId xmlns:a16="http://schemas.microsoft.com/office/drawing/2014/main" id="{0FB93D4C-EF7C-E65E-EE06-E0BB581B4E95}"/>
              </a:ext>
            </a:extLst>
          </p:cNvPr>
          <p:cNvGrpSpPr/>
          <p:nvPr/>
        </p:nvGrpSpPr>
        <p:grpSpPr>
          <a:xfrm>
            <a:off x="6096000" y="1517715"/>
            <a:ext cx="5767449" cy="4817065"/>
            <a:chOff x="6096000" y="1517715"/>
            <a:chExt cx="5767449" cy="4817065"/>
          </a:xfrm>
        </p:grpSpPr>
        <p:pic>
          <p:nvPicPr>
            <p:cNvPr id="13" name="Picture 12">
              <a:extLst>
                <a:ext uri="{FF2B5EF4-FFF2-40B4-BE49-F238E27FC236}">
                  <a16:creationId xmlns:a16="http://schemas.microsoft.com/office/drawing/2014/main" id="{508CEE3E-36AF-2382-9596-587ABBF04738}"/>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l="1364" t="1576" r="-1858"/>
            <a:stretch>
              <a:fillRect/>
            </a:stretch>
          </p:blipFill>
          <p:spPr>
            <a:xfrm>
              <a:off x="6308095" y="1602246"/>
              <a:ext cx="5555354" cy="4732534"/>
            </a:xfrm>
            <a:prstGeom prst="rect">
              <a:avLst/>
            </a:prstGeom>
          </p:spPr>
        </p:pic>
        <p:sp>
          <p:nvSpPr>
            <p:cNvPr id="14" name="TextBox 13">
              <a:extLst>
                <a:ext uri="{FF2B5EF4-FFF2-40B4-BE49-F238E27FC236}">
                  <a16:creationId xmlns:a16="http://schemas.microsoft.com/office/drawing/2014/main" id="{C6C2371B-621F-6CBC-0859-941A1AD60167}"/>
                </a:ext>
              </a:extLst>
            </p:cNvPr>
            <p:cNvSpPr txBox="1"/>
            <p:nvPr/>
          </p:nvSpPr>
          <p:spPr>
            <a:xfrm>
              <a:off x="6096000" y="1517715"/>
              <a:ext cx="361361"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FF6CABBD-E3C6-842F-0956-83F644F43F0A}"/>
                </a:ext>
              </a:extLst>
            </p:cNvPr>
            <p:cNvSpPr txBox="1"/>
            <p:nvPr/>
          </p:nvSpPr>
          <p:spPr>
            <a:xfrm>
              <a:off x="6135275" y="3907409"/>
              <a:ext cx="361361"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34167543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1F1A0-3A14-ED42-D2E0-A25B448479F8}"/>
              </a:ext>
            </a:extLst>
          </p:cNvPr>
          <p:cNvSpPr>
            <a:spLocks noGrp="1"/>
          </p:cNvSpPr>
          <p:nvPr>
            <p:ph type="title"/>
          </p:nvPr>
        </p:nvSpPr>
        <p:spPr>
          <a:xfrm>
            <a:off x="892175" y="256787"/>
            <a:ext cx="10407649" cy="1141412"/>
          </a:xfrm>
        </p:spPr>
        <p:txBody>
          <a:bodyPr/>
          <a:lstStyle/>
          <a:p>
            <a:pPr>
              <a:lnSpc>
                <a:spcPct val="100000"/>
              </a:lnSpc>
            </a:pPr>
            <a:r>
              <a:rPr lang="en-US" b="1" dirty="0">
                <a:latin typeface="Calibri" panose="020F0502020204030204" pitchFamily="34" charset="0"/>
                <a:cs typeface="Calibri" panose="020F0502020204030204" pitchFamily="34" charset="0"/>
              </a:rPr>
              <a:t>COPERNICUS Study Design</a:t>
            </a:r>
          </a:p>
        </p:txBody>
      </p:sp>
      <p:sp>
        <p:nvSpPr>
          <p:cNvPr id="6" name="TextBox 5">
            <a:extLst>
              <a:ext uri="{FF2B5EF4-FFF2-40B4-BE49-F238E27FC236}">
                <a16:creationId xmlns:a16="http://schemas.microsoft.com/office/drawing/2014/main" id="{CD6C1640-0B1C-D540-8695-4987D4C29669}"/>
              </a:ext>
            </a:extLst>
          </p:cNvPr>
          <p:cNvSpPr txBox="1"/>
          <p:nvPr/>
        </p:nvSpPr>
        <p:spPr>
          <a:xfrm>
            <a:off x="8409271" y="6447324"/>
            <a:ext cx="35485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Lucida Sans Unicode"/>
              </a:rPr>
              <a:t>Goldberg</a:t>
            </a:r>
            <a:r>
              <a:rPr kumimoji="0" lang="en-US" sz="1400" b="0" i="0" u="none" strike="noStrike" kern="1200" cap="none" spc="0" normalizeH="0" baseline="0" noProof="0" dirty="0">
                <a:ln>
                  <a:noFill/>
                </a:ln>
                <a:solidFill>
                  <a:prstClr val="black"/>
                </a:solidFill>
                <a:effectLst/>
                <a:uLnTx/>
                <a:uFillTx/>
                <a:latin typeface="Calibri"/>
                <a:cs typeface="Lucida Sans Unicode"/>
              </a:rPr>
              <a:t> SB, et al. ASCO 2026; Abstract 8613.</a:t>
            </a:r>
            <a:endParaRPr kumimoji="0" lang="en-US" sz="1400" b="0" i="0" u="none" strike="noStrike" kern="1200" cap="none" spc="0" normalizeH="0" baseline="0" noProof="0" dirty="0">
              <a:ln>
                <a:noFill/>
              </a:ln>
              <a:solidFill>
                <a:prstClr val="black"/>
              </a:solidFill>
              <a:effectLst/>
              <a:uLnTx/>
              <a:uFillTx/>
              <a:latin typeface="Calibri"/>
              <a:ea typeface="+mn-ea"/>
              <a:cs typeface="Lucida Sans Unicode"/>
            </a:endParaRPr>
          </a:p>
        </p:txBody>
      </p:sp>
      <p:pic>
        <p:nvPicPr>
          <p:cNvPr id="7" name="Picture 6">
            <a:extLst>
              <a:ext uri="{FF2B5EF4-FFF2-40B4-BE49-F238E27FC236}">
                <a16:creationId xmlns:a16="http://schemas.microsoft.com/office/drawing/2014/main" id="{76673CFC-2D49-63F3-3685-A6C66689C76A}"/>
              </a:ext>
            </a:extLst>
          </p:cNvPr>
          <p:cNvPicPr>
            <a:picLocks noChangeAspect="1"/>
          </p:cNvPicPr>
          <p:nvPr/>
        </p:nvPicPr>
        <p:blipFill>
          <a:blip r:embed="rId2"/>
          <a:stretch>
            <a:fillRect/>
          </a:stretch>
        </p:blipFill>
        <p:spPr>
          <a:xfrm>
            <a:off x="2209799" y="1635710"/>
            <a:ext cx="7772400" cy="4574102"/>
          </a:xfrm>
          <a:prstGeom prst="rect">
            <a:avLst/>
          </a:prstGeom>
        </p:spPr>
      </p:pic>
    </p:spTree>
    <p:extLst>
      <p:ext uri="{BB962C8B-B14F-4D97-AF65-F5344CB8AC3E}">
        <p14:creationId xmlns:p14="http://schemas.microsoft.com/office/powerpoint/2010/main" val="36167259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85613-3A09-0BE5-4000-B286B2FDC3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A8CAB2-ECFE-0C9A-2350-B16BBAA5B017}"/>
              </a:ext>
            </a:extLst>
          </p:cNvPr>
          <p:cNvSpPr>
            <a:spLocks noGrp="1"/>
          </p:cNvSpPr>
          <p:nvPr>
            <p:ph type="title"/>
          </p:nvPr>
        </p:nvSpPr>
        <p:spPr>
          <a:xfrm>
            <a:off x="892175" y="256787"/>
            <a:ext cx="10407649" cy="1141412"/>
          </a:xfrm>
        </p:spPr>
        <p:txBody>
          <a:bodyPr/>
          <a:lstStyle/>
          <a:p>
            <a:pPr>
              <a:lnSpc>
                <a:spcPct val="100000"/>
              </a:lnSpc>
            </a:pPr>
            <a:r>
              <a:rPr lang="en-US" sz="3600" b="1" dirty="0">
                <a:latin typeface="Calibri" panose="020F0502020204030204" pitchFamily="34" charset="0"/>
                <a:cs typeface="Calibri" panose="020F0502020204030204" pitchFamily="34" charset="0"/>
              </a:rPr>
              <a:t>COPERNICUS: SC amivantamab plus lazertinib with dermatologic and VTE prophylaxis (Cohort 1)</a:t>
            </a:r>
          </a:p>
        </p:txBody>
      </p:sp>
      <p:sp>
        <p:nvSpPr>
          <p:cNvPr id="3" name="Content Placeholder 2">
            <a:extLst>
              <a:ext uri="{FF2B5EF4-FFF2-40B4-BE49-F238E27FC236}">
                <a16:creationId xmlns:a16="http://schemas.microsoft.com/office/drawing/2014/main" id="{B4176A1F-1A56-27E1-664C-89002AC9D58C}"/>
              </a:ext>
            </a:extLst>
          </p:cNvPr>
          <p:cNvSpPr>
            <a:spLocks noGrp="1"/>
          </p:cNvSpPr>
          <p:nvPr>
            <p:ph idx="1"/>
          </p:nvPr>
        </p:nvSpPr>
        <p:spPr>
          <a:xfrm>
            <a:off x="892174" y="1602303"/>
            <a:ext cx="10407649" cy="1878545"/>
          </a:xfrm>
        </p:spPr>
        <p:txBody>
          <a:bodyPr/>
          <a:lstStyle/>
          <a:p>
            <a:r>
              <a:rPr lang="en-US" sz="2400" dirty="0"/>
              <a:t>First-line SC </a:t>
            </a:r>
            <a:r>
              <a:rPr lang="en-US" sz="2400" dirty="0" err="1"/>
              <a:t>amivantamab</a:t>
            </a:r>
            <a:r>
              <a:rPr lang="en-US" sz="2400" dirty="0"/>
              <a:t> q4w plus </a:t>
            </a:r>
            <a:r>
              <a:rPr lang="en-US" sz="2400" dirty="0" err="1"/>
              <a:t>lazertinib</a:t>
            </a:r>
            <a:endParaRPr lang="en-US" sz="2400" dirty="0"/>
          </a:p>
          <a:p>
            <a:r>
              <a:rPr lang="en-US" sz="2400" dirty="0"/>
              <a:t>Includes dermatologic prophylaxis with the COCOON regimen and VTE prophylaxis</a:t>
            </a:r>
          </a:p>
          <a:p>
            <a:r>
              <a:rPr lang="en-US" sz="2400" dirty="0"/>
              <a:t>190 patients enrolled in the US</a:t>
            </a:r>
          </a:p>
        </p:txBody>
      </p:sp>
      <p:pic>
        <p:nvPicPr>
          <p:cNvPr id="5" name="Picture 4">
            <a:extLst>
              <a:ext uri="{FF2B5EF4-FFF2-40B4-BE49-F238E27FC236}">
                <a16:creationId xmlns:a16="http://schemas.microsoft.com/office/drawing/2014/main" id="{EC86CFCD-F10C-76CD-8E49-0641BC73672E}"/>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547048" y="3619472"/>
            <a:ext cx="6954220" cy="2981741"/>
          </a:xfrm>
          <a:prstGeom prst="rect">
            <a:avLst/>
          </a:prstGeom>
        </p:spPr>
      </p:pic>
      <p:sp>
        <p:nvSpPr>
          <p:cNvPr id="4" name="TextBox 3">
            <a:extLst>
              <a:ext uri="{FF2B5EF4-FFF2-40B4-BE49-F238E27FC236}">
                <a16:creationId xmlns:a16="http://schemas.microsoft.com/office/drawing/2014/main" id="{14E200A6-CDD5-67B0-3347-C0D91EF67217}"/>
              </a:ext>
            </a:extLst>
          </p:cNvPr>
          <p:cNvSpPr txBox="1"/>
          <p:nvPr/>
        </p:nvSpPr>
        <p:spPr>
          <a:xfrm>
            <a:off x="8409271" y="6447324"/>
            <a:ext cx="35485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Lucida Sans Unicode"/>
              </a:rPr>
              <a:t>Goldberg</a:t>
            </a:r>
            <a:r>
              <a:rPr kumimoji="0" lang="en-US" sz="1400" b="0" i="0" u="none" strike="noStrike" kern="1200" cap="none" spc="0" normalizeH="0" baseline="0" noProof="0" dirty="0">
                <a:ln>
                  <a:noFill/>
                </a:ln>
                <a:solidFill>
                  <a:prstClr val="black"/>
                </a:solidFill>
                <a:effectLst/>
                <a:uLnTx/>
                <a:uFillTx/>
                <a:latin typeface="Calibri"/>
                <a:cs typeface="Lucida Sans Unicode"/>
              </a:rPr>
              <a:t> SB, et al. ASCO 2026; Abstract 8613.</a:t>
            </a:r>
            <a:endParaRPr kumimoji="0" lang="en-US" sz="1400" b="0" i="0" u="none" strike="noStrike" kern="1200" cap="none" spc="0" normalizeH="0" baseline="0" noProof="0" dirty="0">
              <a:ln>
                <a:noFill/>
              </a:ln>
              <a:solidFill>
                <a:prstClr val="black"/>
              </a:solidFill>
              <a:effectLst/>
              <a:uLnTx/>
              <a:uFillTx/>
              <a:latin typeface="Calibri"/>
              <a:ea typeface="+mn-ea"/>
              <a:cs typeface="Lucida Sans Unicode"/>
            </a:endParaRPr>
          </a:p>
        </p:txBody>
      </p:sp>
    </p:spTree>
    <p:extLst>
      <p:ext uri="{BB962C8B-B14F-4D97-AF65-F5344CB8AC3E}">
        <p14:creationId xmlns:p14="http://schemas.microsoft.com/office/powerpoint/2010/main" val="38015903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94626-477F-08F3-3475-8225968E68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09A226-F5FD-55B6-344E-84EA5E7462A9}"/>
              </a:ext>
            </a:extLst>
          </p:cNvPr>
          <p:cNvSpPr>
            <a:spLocks noGrp="1"/>
          </p:cNvSpPr>
          <p:nvPr>
            <p:ph type="title"/>
          </p:nvPr>
        </p:nvSpPr>
        <p:spPr>
          <a:xfrm>
            <a:off x="892175" y="256787"/>
            <a:ext cx="10407649" cy="1141412"/>
          </a:xfrm>
        </p:spPr>
        <p:txBody>
          <a:bodyPr/>
          <a:lstStyle/>
          <a:p>
            <a:pPr>
              <a:lnSpc>
                <a:spcPct val="100000"/>
              </a:lnSpc>
            </a:pPr>
            <a:r>
              <a:rPr lang="en-US" sz="3600" b="1" dirty="0">
                <a:latin typeface="Calibri" panose="020F0502020204030204" pitchFamily="34" charset="0"/>
                <a:cs typeface="Calibri" panose="020F0502020204030204" pitchFamily="34" charset="0"/>
              </a:rPr>
              <a:t>COPERNICUS: SC amivantamab plus chemotherapy with dermatologic prophylaxis (Cohort 2)</a:t>
            </a:r>
          </a:p>
        </p:txBody>
      </p:sp>
      <p:sp>
        <p:nvSpPr>
          <p:cNvPr id="6" name="TextBox 5">
            <a:extLst>
              <a:ext uri="{FF2B5EF4-FFF2-40B4-BE49-F238E27FC236}">
                <a16:creationId xmlns:a16="http://schemas.microsoft.com/office/drawing/2014/main" id="{76CCFC09-7697-4B6D-DE71-DDD87D9946DE}"/>
              </a:ext>
            </a:extLst>
          </p:cNvPr>
          <p:cNvSpPr txBox="1"/>
          <p:nvPr/>
        </p:nvSpPr>
        <p:spPr>
          <a:xfrm>
            <a:off x="8409271" y="6447324"/>
            <a:ext cx="35485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Lucida Sans Unicode"/>
              </a:rPr>
              <a:t>Leal T</a:t>
            </a:r>
            <a:r>
              <a:rPr kumimoji="0" lang="en-US" sz="1400" b="0" i="0" u="none" strike="noStrike" kern="1200" cap="none" spc="0" normalizeH="0" baseline="0" noProof="0" dirty="0">
                <a:ln>
                  <a:noFill/>
                </a:ln>
                <a:solidFill>
                  <a:prstClr val="black"/>
                </a:solidFill>
                <a:effectLst/>
                <a:uLnTx/>
                <a:uFillTx/>
                <a:latin typeface="Calibri"/>
                <a:cs typeface="Lucida Sans Unicode"/>
              </a:rPr>
              <a:t>, et al. ASCO 2026; Abstract 8614.</a:t>
            </a:r>
            <a:endParaRPr kumimoji="0" lang="en-US" sz="1400" b="0" i="0" u="none" strike="noStrike" kern="1200" cap="none" spc="0" normalizeH="0" baseline="0" noProof="0" dirty="0">
              <a:ln>
                <a:noFill/>
              </a:ln>
              <a:solidFill>
                <a:prstClr val="black"/>
              </a:solidFill>
              <a:effectLst/>
              <a:uLnTx/>
              <a:uFillTx/>
              <a:latin typeface="Calibri"/>
              <a:ea typeface="+mn-ea"/>
              <a:cs typeface="Lucida Sans Unicode"/>
            </a:endParaRPr>
          </a:p>
        </p:txBody>
      </p:sp>
      <p:pic>
        <p:nvPicPr>
          <p:cNvPr id="3" name="Picture 2">
            <a:extLst>
              <a:ext uri="{FF2B5EF4-FFF2-40B4-BE49-F238E27FC236}">
                <a16:creationId xmlns:a16="http://schemas.microsoft.com/office/drawing/2014/main" id="{CC6835B0-6B38-EE3D-2F06-563B936DDA82}"/>
              </a:ext>
            </a:extLst>
          </p:cNvPr>
          <p:cNvPicPr>
            <a:picLocks noChangeAspect="1"/>
          </p:cNvPicPr>
          <p:nvPr/>
        </p:nvPicPr>
        <p:blipFill>
          <a:blip r:embed="rId2"/>
          <a:stretch>
            <a:fillRect/>
          </a:stretch>
        </p:blipFill>
        <p:spPr>
          <a:xfrm>
            <a:off x="1319864" y="1562188"/>
            <a:ext cx="9552272" cy="2294310"/>
          </a:xfrm>
          <a:prstGeom prst="rect">
            <a:avLst/>
          </a:prstGeom>
        </p:spPr>
      </p:pic>
      <p:pic>
        <p:nvPicPr>
          <p:cNvPr id="4" name="Picture 3">
            <a:extLst>
              <a:ext uri="{FF2B5EF4-FFF2-40B4-BE49-F238E27FC236}">
                <a16:creationId xmlns:a16="http://schemas.microsoft.com/office/drawing/2014/main" id="{9C2238D9-0AEA-B26E-4E2B-1B94DD0A30BD}"/>
              </a:ext>
            </a:extLst>
          </p:cNvPr>
          <p:cNvPicPr>
            <a:picLocks noChangeAspect="1"/>
          </p:cNvPicPr>
          <p:nvPr/>
        </p:nvPicPr>
        <p:blipFill>
          <a:blip r:embed="rId3"/>
          <a:stretch>
            <a:fillRect/>
          </a:stretch>
        </p:blipFill>
        <p:spPr>
          <a:xfrm>
            <a:off x="2399899" y="3880425"/>
            <a:ext cx="7392202" cy="2154249"/>
          </a:xfrm>
          <a:prstGeom prst="rect">
            <a:avLst/>
          </a:prstGeom>
        </p:spPr>
      </p:pic>
    </p:spTree>
    <p:extLst>
      <p:ext uri="{BB962C8B-B14F-4D97-AF65-F5344CB8AC3E}">
        <p14:creationId xmlns:p14="http://schemas.microsoft.com/office/powerpoint/2010/main" val="1762874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DB0842FB-B899-BC74-EC69-3C731EC2FBA3}"/>
              </a:ext>
            </a:extLst>
          </p:cNvPr>
          <p:cNvPicPr>
            <a:picLocks noChangeAspect="1"/>
          </p:cNvPicPr>
          <p:nvPr/>
        </p:nvPicPr>
        <p:blipFill>
          <a:blip r:embed="rId3">
            <a:extLst>
              <a:ext uri="{28A0092B-C50C-407E-A947-70E740481C1C}">
                <a14:useLocalDpi xmlns:a14="http://schemas.microsoft.com/office/drawing/2010/main" val="0"/>
              </a:ext>
            </a:extLst>
          </a:blip>
          <a:srcRect l="2519" t="12860" r="25506" b="15344"/>
          <a:stretch>
            <a:fillRect/>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4DBC6-95BE-6BC1-1160-BBA6CB2754CB}"/>
              </a:ext>
            </a:extLst>
          </p:cNvPr>
          <p:cNvSpPr>
            <a:spLocks noGrp="1"/>
          </p:cNvSpPr>
          <p:nvPr>
            <p:ph type="title"/>
          </p:nvPr>
        </p:nvSpPr>
        <p:spPr>
          <a:xfrm>
            <a:off x="892175" y="272412"/>
            <a:ext cx="10407649" cy="1141412"/>
          </a:xfrm>
        </p:spPr>
        <p:txBody>
          <a:bodyPr/>
          <a:lstStyle/>
          <a:p>
            <a:r>
              <a:rPr lang="en-US" dirty="0"/>
              <a:t>Dato-</a:t>
            </a:r>
            <a:r>
              <a:rPr lang="en-US" dirty="0" err="1"/>
              <a:t>DXd</a:t>
            </a:r>
            <a:r>
              <a:rPr lang="en-US" dirty="0"/>
              <a:t> (TROPION-Lung01)</a:t>
            </a:r>
          </a:p>
        </p:txBody>
      </p:sp>
      <p:sp>
        <p:nvSpPr>
          <p:cNvPr id="4" name="Title 1">
            <a:extLst>
              <a:ext uri="{FF2B5EF4-FFF2-40B4-BE49-F238E27FC236}">
                <a16:creationId xmlns:a16="http://schemas.microsoft.com/office/drawing/2014/main" id="{537285AD-B895-D9AA-8411-50C9D3D543F4}"/>
              </a:ext>
            </a:extLst>
          </p:cNvPr>
          <p:cNvSpPr txBox="1">
            <a:spLocks/>
          </p:cNvSpPr>
          <p:nvPr/>
        </p:nvSpPr>
        <p:spPr bwMode="auto">
          <a:xfrm>
            <a:off x="1280160" y="1413825"/>
            <a:ext cx="4605127" cy="220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a:lstStyle>
          <a:p>
            <a:pPr marL="0" marR="0" lvl="0" indent="0" algn="l" defTabSz="428638" rtl="0" eaLnBrk="1" fontAlgn="base" latinLnBrk="0" hangingPunct="0">
              <a:lnSpc>
                <a:spcPct val="112000"/>
              </a:lnSpc>
              <a:spcBef>
                <a:spcPct val="0"/>
              </a:spcBef>
              <a:spcAft>
                <a:spcPct val="0"/>
              </a:spcAft>
              <a:buClr>
                <a:srgbClr val="000000"/>
              </a:buClr>
              <a:buSzPct val="45000"/>
              <a:buFont typeface="StarSymbol" charset="0"/>
              <a:buNone/>
              <a:tabLst/>
              <a:defRPr/>
            </a:pPr>
            <a:endParaRPr kumimoji="0" lang="en-US" sz="1600" b="1" i="0" u="none" strike="noStrike" kern="0" cap="none" spc="0" normalizeH="0" baseline="0" noProof="0" dirty="0">
              <a:ln>
                <a:noFill/>
              </a:ln>
              <a:solidFill>
                <a:srgbClr val="000000"/>
              </a:solidFill>
              <a:effectLst/>
              <a:uLnTx/>
              <a:uFillTx/>
              <a:latin typeface="Times New Roman"/>
              <a:cs typeface="Lucida Sans Unicode"/>
            </a:endParaRPr>
          </a:p>
          <a:p>
            <a:pPr marL="0" marR="0" lvl="0" indent="0" algn="l" defTabSz="428638"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600" b="1" i="0" u="none" strike="noStrike" kern="0" cap="none" spc="0" normalizeH="0" baseline="0" noProof="0" dirty="0">
                <a:ln>
                  <a:noFill/>
                </a:ln>
                <a:solidFill>
                  <a:srgbClr val="000000"/>
                </a:solidFill>
                <a:effectLst/>
                <a:uLnTx/>
                <a:uFillTx/>
                <a:latin typeface="Times New Roman"/>
                <a:cs typeface="Lucida Sans Unicode"/>
              </a:rPr>
              <a:t>TRAEs ≥15% and Adjudicated Drug-Related ILD</a:t>
            </a:r>
          </a:p>
        </p:txBody>
      </p:sp>
      <p:sp>
        <p:nvSpPr>
          <p:cNvPr id="5" name="Content Placeholder 2">
            <a:extLst>
              <a:ext uri="{FF2B5EF4-FFF2-40B4-BE49-F238E27FC236}">
                <a16:creationId xmlns:a16="http://schemas.microsoft.com/office/drawing/2014/main" id="{47AEE9C8-982C-8691-D491-57C3244C4043}"/>
              </a:ext>
            </a:extLst>
          </p:cNvPr>
          <p:cNvSpPr txBox="1">
            <a:spLocks/>
          </p:cNvSpPr>
          <p:nvPr/>
        </p:nvSpPr>
        <p:spPr bwMode="auto">
          <a:xfrm>
            <a:off x="7376083" y="2394665"/>
            <a:ext cx="4237740" cy="28803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a:lstStyle>
          <a:p>
            <a:pPr marL="403337" marR="0" lvl="0" indent="-303619" algn="l" defTabSz="428638" rtl="0" eaLnBrk="1" fontAlgn="base" latinLnBrk="0" hangingPunct="0">
              <a:lnSpc>
                <a:spcPct val="112000"/>
              </a:lnSpc>
              <a:spcBef>
                <a:spcPct val="0"/>
              </a:spcBef>
              <a:spcAft>
                <a:spcPts val="1336"/>
              </a:spcAft>
              <a:buClr>
                <a:srgbClr val="000000"/>
              </a:buClr>
              <a:buSzPct val="45000"/>
              <a:buFont typeface="StarSymbol" charset="0"/>
              <a:buChar char="●"/>
              <a:tabLst/>
              <a:defRPr/>
            </a:pPr>
            <a:r>
              <a:rPr kumimoji="0" lang="en-US" sz="2400" b="0" i="0" u="none" strike="noStrike" kern="0" cap="none" spc="0" normalizeH="0" baseline="0" noProof="0" dirty="0">
                <a:ln>
                  <a:noFill/>
                </a:ln>
                <a:solidFill>
                  <a:srgbClr val="000000"/>
                </a:solidFill>
                <a:effectLst/>
                <a:uLnTx/>
                <a:uFillTx/>
                <a:latin typeface="Times New Roman"/>
                <a:cs typeface="Lucida Sans Unicode"/>
              </a:rPr>
              <a:t>Stomatitis and nausea were the most frequent TRAEs seen with Dato-</a:t>
            </a:r>
            <a:r>
              <a:rPr kumimoji="0" lang="en-US" sz="2400" b="0" i="0" u="none" strike="noStrike" kern="0" cap="none" spc="0" normalizeH="0" baseline="0" noProof="0" dirty="0" err="1">
                <a:ln>
                  <a:noFill/>
                </a:ln>
                <a:solidFill>
                  <a:srgbClr val="000000"/>
                </a:solidFill>
                <a:effectLst/>
                <a:uLnTx/>
                <a:uFillTx/>
                <a:latin typeface="Times New Roman"/>
                <a:cs typeface="Lucida Sans Unicode"/>
              </a:rPr>
              <a:t>DXd</a:t>
            </a:r>
            <a:r>
              <a:rPr kumimoji="0" lang="en-US" sz="2400" b="0" i="0" u="none" strike="noStrike" kern="0" cap="none" spc="0" normalizeH="0" baseline="0" noProof="0" dirty="0">
                <a:ln>
                  <a:noFill/>
                </a:ln>
                <a:solidFill>
                  <a:srgbClr val="000000"/>
                </a:solidFill>
                <a:effectLst/>
                <a:uLnTx/>
                <a:uFillTx/>
                <a:latin typeface="Times New Roman"/>
                <a:cs typeface="Lucida Sans Unicode"/>
              </a:rPr>
              <a:t> and were predominantly grade 1 or 2</a:t>
            </a:r>
          </a:p>
          <a:p>
            <a:pPr marL="403337" marR="0" lvl="0" indent="-303619" algn="l" defTabSz="428638" rtl="0" eaLnBrk="1" fontAlgn="base" latinLnBrk="0" hangingPunct="0">
              <a:lnSpc>
                <a:spcPct val="112000"/>
              </a:lnSpc>
              <a:spcBef>
                <a:spcPct val="0"/>
              </a:spcBef>
              <a:spcAft>
                <a:spcPts val="1336"/>
              </a:spcAft>
              <a:buClr>
                <a:srgbClr val="000000"/>
              </a:buClr>
              <a:buSzPct val="45000"/>
              <a:buFont typeface="StarSymbol" charset="0"/>
              <a:buChar char="●"/>
              <a:tabLst/>
              <a:defRPr/>
            </a:pPr>
            <a:r>
              <a:rPr kumimoji="0" lang="en-US" sz="2400" b="0" i="0" u="none" strike="noStrike" kern="0" cap="none" spc="0" normalizeH="0" baseline="0" noProof="0" dirty="0">
                <a:ln>
                  <a:noFill/>
                </a:ln>
                <a:solidFill>
                  <a:srgbClr val="000000"/>
                </a:solidFill>
                <a:effectLst/>
                <a:uLnTx/>
                <a:uFillTx/>
                <a:latin typeface="Times New Roman"/>
                <a:cs typeface="Lucida Sans Unicode"/>
              </a:rPr>
              <a:t>20% of patients on Dato-</a:t>
            </a:r>
            <a:r>
              <a:rPr kumimoji="0" lang="en-US" sz="2400" b="0" i="0" u="none" strike="noStrike" kern="0" cap="none" spc="0" normalizeH="0" baseline="0" noProof="0" dirty="0" err="1">
                <a:ln>
                  <a:noFill/>
                </a:ln>
                <a:solidFill>
                  <a:srgbClr val="000000"/>
                </a:solidFill>
                <a:effectLst/>
                <a:uLnTx/>
                <a:uFillTx/>
                <a:latin typeface="Times New Roman"/>
                <a:cs typeface="Lucida Sans Unicode"/>
              </a:rPr>
              <a:t>DXd</a:t>
            </a:r>
            <a:r>
              <a:rPr kumimoji="0" lang="en-US" sz="2400" b="0" i="0" u="none" strike="noStrike" kern="0" cap="none" spc="0" normalizeH="0" baseline="0" noProof="0" dirty="0">
                <a:ln>
                  <a:noFill/>
                </a:ln>
                <a:solidFill>
                  <a:srgbClr val="000000"/>
                </a:solidFill>
                <a:effectLst/>
                <a:uLnTx/>
                <a:uFillTx/>
                <a:latin typeface="Times New Roman"/>
                <a:cs typeface="Lucida Sans Unicode"/>
              </a:rPr>
              <a:t> required a dose reduction</a:t>
            </a:r>
          </a:p>
          <a:p>
            <a:pPr marL="403337" marR="0" lvl="0" indent="-303619" algn="l" defTabSz="428638" rtl="0" eaLnBrk="1" fontAlgn="base" latinLnBrk="0" hangingPunct="0">
              <a:lnSpc>
                <a:spcPct val="112000"/>
              </a:lnSpc>
              <a:spcBef>
                <a:spcPct val="0"/>
              </a:spcBef>
              <a:spcAft>
                <a:spcPts val="1336"/>
              </a:spcAft>
              <a:buClr>
                <a:srgbClr val="000000"/>
              </a:buClr>
              <a:buSzPct val="45000"/>
              <a:buFont typeface="StarSymbol" charset="0"/>
              <a:buChar char="●"/>
              <a:tabLst/>
              <a:defRPr/>
            </a:pPr>
            <a:r>
              <a:rPr kumimoji="0" lang="en-US" sz="2400" b="0" i="0" u="none" strike="noStrike" kern="0" cap="none" spc="0" normalizeH="0" baseline="0" noProof="0" dirty="0">
                <a:ln>
                  <a:noFill/>
                </a:ln>
                <a:solidFill>
                  <a:srgbClr val="000000"/>
                </a:solidFill>
                <a:effectLst/>
                <a:uLnTx/>
                <a:uFillTx/>
                <a:latin typeface="Times New Roman"/>
                <a:cs typeface="Lucida Sans Unicode"/>
              </a:rPr>
              <a:t>8% discontinued treatment due to toxicity</a:t>
            </a:r>
          </a:p>
        </p:txBody>
      </p:sp>
      <p:sp>
        <p:nvSpPr>
          <p:cNvPr id="6" name="TextBox 5">
            <a:extLst>
              <a:ext uri="{FF2B5EF4-FFF2-40B4-BE49-F238E27FC236}">
                <a16:creationId xmlns:a16="http://schemas.microsoft.com/office/drawing/2014/main" id="{C0523F91-227A-51FB-7169-ECAAC12A82BC}"/>
              </a:ext>
            </a:extLst>
          </p:cNvPr>
          <p:cNvSpPr txBox="1"/>
          <p:nvPr/>
        </p:nvSpPr>
        <p:spPr>
          <a:xfrm>
            <a:off x="9041130" y="6585588"/>
            <a:ext cx="3124633" cy="246221"/>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Arial"/>
              </a:rPr>
              <a:t>Sands J et al. WCLC 2024. Abstract OA08.03.</a:t>
            </a:r>
            <a:endParaRPr kumimoji="0" lang="en-US" sz="1000" b="0" i="0" u="none" strike="noStrike" kern="1200" cap="none" spc="0" normalizeH="0" baseline="0" noProof="0" dirty="0">
              <a:ln>
                <a:noFill/>
              </a:ln>
              <a:solidFill>
                <a:srgbClr val="000000"/>
              </a:solidFill>
              <a:effectLst/>
              <a:uLnTx/>
              <a:uFillTx/>
              <a:latin typeface="Arial"/>
              <a:ea typeface="ＭＳ Ｐゴシック"/>
              <a:cs typeface="Lucida Sans Unicode"/>
            </a:endParaRPr>
          </a:p>
        </p:txBody>
      </p:sp>
      <p:pic>
        <p:nvPicPr>
          <p:cNvPr id="8" name="Picture 7" descr="A table with numbers and a number&#10;&#10;AI-generated content may be incorrect.">
            <a:extLst>
              <a:ext uri="{FF2B5EF4-FFF2-40B4-BE49-F238E27FC236}">
                <a16:creationId xmlns:a16="http://schemas.microsoft.com/office/drawing/2014/main" id="{4151F08D-4973-54F2-4311-982C65AFFB1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320004" y="2004060"/>
            <a:ext cx="6991309" cy="3619500"/>
          </a:xfrm>
          <a:prstGeom prst="rect">
            <a:avLst/>
          </a:prstGeom>
        </p:spPr>
      </p:pic>
    </p:spTree>
    <p:extLst>
      <p:ext uri="{BB962C8B-B14F-4D97-AF65-F5344CB8AC3E}">
        <p14:creationId xmlns:p14="http://schemas.microsoft.com/office/powerpoint/2010/main" val="30668070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A423D-099C-91B3-B3DE-EFEDC47A5F69}"/>
              </a:ext>
            </a:extLst>
          </p:cNvPr>
          <p:cNvSpPr>
            <a:spLocks noGrp="1"/>
          </p:cNvSpPr>
          <p:nvPr>
            <p:ph type="title"/>
          </p:nvPr>
        </p:nvSpPr>
        <p:spPr>
          <a:xfrm>
            <a:off x="670777" y="205130"/>
            <a:ext cx="10850446" cy="1141412"/>
          </a:xfrm>
        </p:spPr>
        <p:txBody>
          <a:bodyPr/>
          <a:lstStyle/>
          <a:p>
            <a:r>
              <a:rPr lang="en-US" dirty="0"/>
              <a:t>Dato-</a:t>
            </a:r>
            <a:r>
              <a:rPr lang="en-US" dirty="0" err="1"/>
              <a:t>DXd</a:t>
            </a:r>
            <a:r>
              <a:rPr lang="en-US" dirty="0"/>
              <a:t> in patients with EGFR-mutant NSCLC</a:t>
            </a:r>
          </a:p>
        </p:txBody>
      </p:sp>
      <p:sp>
        <p:nvSpPr>
          <p:cNvPr id="4" name="Content Placeholder 2">
            <a:extLst>
              <a:ext uri="{FF2B5EF4-FFF2-40B4-BE49-F238E27FC236}">
                <a16:creationId xmlns:a16="http://schemas.microsoft.com/office/drawing/2014/main" id="{DC27CDCE-9405-05BA-5172-E22A0F114FD1}"/>
              </a:ext>
            </a:extLst>
          </p:cNvPr>
          <p:cNvSpPr txBox="1">
            <a:spLocks/>
          </p:cNvSpPr>
          <p:nvPr/>
        </p:nvSpPr>
        <p:spPr bwMode="auto">
          <a:xfrm>
            <a:off x="6096000" y="1959308"/>
            <a:ext cx="6324600" cy="457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a:lstStyle>
          <a:p>
            <a:pPr marL="0" marR="0" lvl="0" indent="0" algn="l" defTabSz="428638" rtl="0" eaLnBrk="1" fontAlgn="base" latinLnBrk="0" hangingPunct="0">
              <a:lnSpc>
                <a:spcPct val="112000"/>
              </a:lnSpc>
              <a:spcBef>
                <a:spcPct val="0"/>
              </a:spcBef>
              <a:spcAft>
                <a:spcPts val="1336"/>
              </a:spcAft>
              <a:buClr>
                <a:srgbClr val="000000"/>
              </a:buClr>
              <a:buSzPct val="45000"/>
              <a:buFont typeface="StarSymbol" charset="0"/>
              <a:buNone/>
              <a:tabLst/>
              <a:defRPr/>
            </a:pPr>
            <a:r>
              <a:rPr kumimoji="0" lang="en-US" sz="2800" b="0" i="0" u="none" strike="noStrike" kern="0" cap="none" spc="0" normalizeH="0" baseline="0" noProof="0" dirty="0">
                <a:ln>
                  <a:noFill/>
                </a:ln>
                <a:solidFill>
                  <a:srgbClr val="000000"/>
                </a:solidFill>
                <a:effectLst/>
                <a:uLnTx/>
                <a:uFillTx/>
                <a:latin typeface="Times New Roman"/>
                <a:cs typeface="Lucida Sans Unicode"/>
              </a:rPr>
              <a:t>Dato-</a:t>
            </a:r>
            <a:r>
              <a:rPr kumimoji="0" lang="en-US" sz="2800" b="0" i="0" u="none" strike="noStrike" kern="0" cap="none" spc="0" normalizeH="0" baseline="0" noProof="0" dirty="0" err="1">
                <a:ln>
                  <a:noFill/>
                </a:ln>
                <a:solidFill>
                  <a:srgbClr val="000000"/>
                </a:solidFill>
                <a:effectLst/>
                <a:uLnTx/>
                <a:uFillTx/>
                <a:latin typeface="Times New Roman"/>
                <a:cs typeface="Lucida Sans Unicode"/>
              </a:rPr>
              <a:t>DXd</a:t>
            </a:r>
            <a:r>
              <a:rPr kumimoji="0" lang="en-US" sz="2800" b="0" i="0" u="none" strike="noStrike" kern="0" cap="none" spc="0" normalizeH="0" baseline="0" noProof="0" dirty="0">
                <a:ln>
                  <a:noFill/>
                </a:ln>
                <a:solidFill>
                  <a:srgbClr val="000000"/>
                </a:solidFill>
                <a:effectLst/>
                <a:uLnTx/>
                <a:uFillTx/>
                <a:latin typeface="Times New Roman"/>
                <a:cs typeface="Lucida Sans Unicode"/>
              </a:rPr>
              <a:t> plus </a:t>
            </a:r>
            <a:r>
              <a:rPr kumimoji="0" lang="en-US" sz="2800" b="0" i="0" u="none" strike="noStrike" kern="0" cap="none" spc="0" normalizeH="0" baseline="0" noProof="0" dirty="0" err="1">
                <a:ln>
                  <a:noFill/>
                </a:ln>
                <a:solidFill>
                  <a:srgbClr val="000000"/>
                </a:solidFill>
                <a:effectLst/>
                <a:uLnTx/>
                <a:uFillTx/>
                <a:latin typeface="Times New Roman"/>
                <a:cs typeface="Lucida Sans Unicode"/>
              </a:rPr>
              <a:t>osimertinib</a:t>
            </a:r>
            <a:r>
              <a:rPr kumimoji="0" lang="en-US" sz="2800" b="0" i="0" u="none" strike="noStrike" kern="0" cap="none" spc="0" normalizeH="0" baseline="0" noProof="0" dirty="0">
                <a:ln>
                  <a:noFill/>
                </a:ln>
                <a:solidFill>
                  <a:srgbClr val="000000"/>
                </a:solidFill>
                <a:effectLst/>
                <a:uLnTx/>
                <a:uFillTx/>
                <a:latin typeface="Times New Roman"/>
                <a:cs typeface="Lucida Sans Unicode"/>
              </a:rPr>
              <a:t> (ORCHARD)</a:t>
            </a:r>
          </a:p>
        </p:txBody>
      </p:sp>
      <p:sp>
        <p:nvSpPr>
          <p:cNvPr id="6" name="TextBox 5">
            <a:extLst>
              <a:ext uri="{FF2B5EF4-FFF2-40B4-BE49-F238E27FC236}">
                <a16:creationId xmlns:a16="http://schemas.microsoft.com/office/drawing/2014/main" id="{FBE4F645-767D-AD68-B6EF-56EE285A1F03}"/>
              </a:ext>
            </a:extLst>
          </p:cNvPr>
          <p:cNvSpPr txBox="1"/>
          <p:nvPr/>
        </p:nvSpPr>
        <p:spPr>
          <a:xfrm>
            <a:off x="9258300" y="6453504"/>
            <a:ext cx="2743200" cy="400110"/>
          </a:xfrm>
          <a:prstGeom prst="rect">
            <a:avLst/>
          </a:prstGeom>
          <a:noFill/>
        </p:spPr>
        <p:txBody>
          <a:bodyPr wrap="square" rtlCol="0">
            <a:spAutoFit/>
          </a:body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Times New Roman"/>
                <a:cs typeface="Lucida Sans Unicode"/>
              </a:rPr>
              <a:t>Ahn MJ, et al. JTO 2025</a:t>
            </a:r>
          </a:p>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Times New Roman"/>
                <a:cs typeface="Lucida Sans Unicode"/>
              </a:rPr>
              <a:t>Riess JW, et al. Ann Oncol 2026</a:t>
            </a:r>
            <a:endParaRPr kumimoji="0" lang="en-US" sz="1000" b="0" i="0" u="none" strike="noStrike" kern="1200" cap="none" spc="0" normalizeH="0" baseline="0" noProof="0" dirty="0">
              <a:ln>
                <a:noFill/>
              </a:ln>
              <a:solidFill>
                <a:srgbClr val="000000"/>
              </a:solidFill>
              <a:effectLst/>
              <a:uLnTx/>
              <a:uFillTx/>
              <a:latin typeface="Arial" charset="0"/>
              <a:ea typeface="ＭＳ Ｐゴシック" charset="0"/>
              <a:cs typeface="Lucida Sans Unicode"/>
            </a:endParaRPr>
          </a:p>
        </p:txBody>
      </p:sp>
      <p:grpSp>
        <p:nvGrpSpPr>
          <p:cNvPr id="11" name="Group 10">
            <a:extLst>
              <a:ext uri="{FF2B5EF4-FFF2-40B4-BE49-F238E27FC236}">
                <a16:creationId xmlns:a16="http://schemas.microsoft.com/office/drawing/2014/main" id="{21A33A25-AB13-81C9-9A0E-B7AE36BABAD3}"/>
              </a:ext>
            </a:extLst>
          </p:cNvPr>
          <p:cNvGrpSpPr/>
          <p:nvPr/>
        </p:nvGrpSpPr>
        <p:grpSpPr>
          <a:xfrm>
            <a:off x="6226404" y="2848947"/>
            <a:ext cx="5221644" cy="3185091"/>
            <a:chOff x="6382752" y="3342088"/>
            <a:chExt cx="4620627" cy="2708751"/>
          </a:xfrm>
        </p:grpSpPr>
        <p:pic>
          <p:nvPicPr>
            <p:cNvPr id="5" name="Picture 4">
              <a:extLst>
                <a:ext uri="{FF2B5EF4-FFF2-40B4-BE49-F238E27FC236}">
                  <a16:creationId xmlns:a16="http://schemas.microsoft.com/office/drawing/2014/main" id="{4DB05339-75B9-627C-580A-A45262491AB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41667" t="30741" r="28704" b="55753"/>
            <a:stretch>
              <a:fillRect/>
            </a:stretch>
          </p:blipFill>
          <p:spPr>
            <a:xfrm>
              <a:off x="6382752" y="3342088"/>
              <a:ext cx="4557597" cy="1298385"/>
            </a:xfrm>
            <a:prstGeom prst="rect">
              <a:avLst/>
            </a:prstGeom>
          </p:spPr>
        </p:pic>
        <p:pic>
          <p:nvPicPr>
            <p:cNvPr id="7" name="Picture 6">
              <a:extLst>
                <a:ext uri="{FF2B5EF4-FFF2-40B4-BE49-F238E27FC236}">
                  <a16:creationId xmlns:a16="http://schemas.microsoft.com/office/drawing/2014/main" id="{CF04E21C-B532-C238-F84C-8873E32E8088}"/>
                </a:ext>
              </a:extLst>
            </p:cNvPr>
            <p:cNvPicPr>
              <a:picLocks noChangeAspect="1"/>
            </p:cNvPicPr>
            <p:nvPr/>
          </p:nvPicPr>
          <p:blipFill>
            <a:blip r:embed="rId2">
              <a:extLst>
                <a:ext uri="{BEBA8EAE-BF5A-486C-A8C5-ECC9F3942E4B}">
                  <a14:imgProps xmlns:a14="http://schemas.microsoft.com/office/drawing/2010/main">
                    <a14:imgLayer r:embed="rId4">
                      <a14:imgEffect>
                        <a14:sharpenSoften amount="25000"/>
                      </a14:imgEffect>
                    </a14:imgLayer>
                  </a14:imgProps>
                </a:ext>
              </a:extLst>
            </a:blip>
            <a:srcRect l="41667" t="57752" r="28704" b="27778"/>
            <a:stretch>
              <a:fillRect/>
            </a:stretch>
          </p:blipFill>
          <p:spPr>
            <a:xfrm>
              <a:off x="6382752" y="4640473"/>
              <a:ext cx="4620627" cy="1410366"/>
            </a:xfrm>
            <a:prstGeom prst="rect">
              <a:avLst/>
            </a:prstGeom>
          </p:spPr>
        </p:pic>
      </p:grpSp>
      <p:sp>
        <p:nvSpPr>
          <p:cNvPr id="8" name="Content Placeholder 2">
            <a:extLst>
              <a:ext uri="{FF2B5EF4-FFF2-40B4-BE49-F238E27FC236}">
                <a16:creationId xmlns:a16="http://schemas.microsoft.com/office/drawing/2014/main" id="{87555509-1F97-88BD-A571-4F0736886015}"/>
              </a:ext>
            </a:extLst>
          </p:cNvPr>
          <p:cNvSpPr txBox="1">
            <a:spLocks/>
          </p:cNvSpPr>
          <p:nvPr/>
        </p:nvSpPr>
        <p:spPr bwMode="auto">
          <a:xfrm>
            <a:off x="471340" y="1863512"/>
            <a:ext cx="5439265" cy="457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a:lstStyle>
          <a:p>
            <a:pPr marL="0" marR="0" lvl="0" indent="0" algn="ctr" defTabSz="428638" rtl="0" eaLnBrk="1" fontAlgn="base" latinLnBrk="0" hangingPunct="0">
              <a:lnSpc>
                <a:spcPct val="112000"/>
              </a:lnSpc>
              <a:spcBef>
                <a:spcPct val="0"/>
              </a:spcBef>
              <a:spcAft>
                <a:spcPts val="1336"/>
              </a:spcAft>
              <a:buClr>
                <a:srgbClr val="000000"/>
              </a:buClr>
              <a:buSzPct val="45000"/>
              <a:buFont typeface="StarSymbol" charset="0"/>
              <a:buNone/>
              <a:tabLst/>
              <a:defRPr/>
            </a:pPr>
            <a:r>
              <a:rPr kumimoji="0" lang="en-US" sz="2800" b="0" i="0" u="none" strike="noStrike" kern="0" cap="none" spc="0" normalizeH="0" baseline="0" noProof="0" dirty="0">
                <a:ln>
                  <a:noFill/>
                </a:ln>
                <a:solidFill>
                  <a:srgbClr val="000000"/>
                </a:solidFill>
                <a:effectLst/>
                <a:uLnTx/>
                <a:uFillTx/>
                <a:latin typeface="Times New Roman"/>
                <a:cs typeface="Lucida Sans Unicode"/>
              </a:rPr>
              <a:t>Dato-</a:t>
            </a:r>
            <a:r>
              <a:rPr kumimoji="0" lang="en-US" sz="2800" b="0" i="0" u="none" strike="noStrike" kern="0" cap="none" spc="0" normalizeH="0" baseline="0" noProof="0" dirty="0" err="1">
                <a:ln>
                  <a:noFill/>
                </a:ln>
                <a:solidFill>
                  <a:srgbClr val="000000"/>
                </a:solidFill>
                <a:effectLst/>
                <a:uLnTx/>
                <a:uFillTx/>
                <a:latin typeface="Times New Roman"/>
                <a:cs typeface="Lucida Sans Unicode"/>
              </a:rPr>
              <a:t>DXd</a:t>
            </a:r>
            <a:r>
              <a:rPr kumimoji="0" lang="en-US" sz="2800" b="0" i="0" u="none" strike="noStrike" kern="0" cap="none" spc="0" normalizeH="0" baseline="0" noProof="0" dirty="0">
                <a:ln>
                  <a:noFill/>
                </a:ln>
                <a:solidFill>
                  <a:srgbClr val="000000"/>
                </a:solidFill>
                <a:effectLst/>
                <a:uLnTx/>
                <a:uFillTx/>
                <a:latin typeface="Times New Roman"/>
                <a:cs typeface="Lucida Sans Unicode"/>
              </a:rPr>
              <a:t> (pooled analysis from TROPION-Lung 05 and Lung01)</a:t>
            </a:r>
          </a:p>
        </p:txBody>
      </p:sp>
      <p:pic>
        <p:nvPicPr>
          <p:cNvPr id="10" name="Picture 9">
            <a:extLst>
              <a:ext uri="{FF2B5EF4-FFF2-40B4-BE49-F238E27FC236}">
                <a16:creationId xmlns:a16="http://schemas.microsoft.com/office/drawing/2014/main" id="{64EF2D05-FFE4-0950-FE38-3BE27AE87D99}"/>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668536" y="3587019"/>
            <a:ext cx="4572638" cy="2029108"/>
          </a:xfrm>
          <a:prstGeom prst="rect">
            <a:avLst/>
          </a:prstGeom>
        </p:spPr>
      </p:pic>
      <p:sp>
        <p:nvSpPr>
          <p:cNvPr id="12" name="Rectangle 11">
            <a:extLst>
              <a:ext uri="{FF2B5EF4-FFF2-40B4-BE49-F238E27FC236}">
                <a16:creationId xmlns:a16="http://schemas.microsoft.com/office/drawing/2014/main" id="{55ED39E8-FB62-086D-1B1F-3BBCAF7A84C0}"/>
              </a:ext>
            </a:extLst>
          </p:cNvPr>
          <p:cNvSpPr/>
          <p:nvPr/>
        </p:nvSpPr>
        <p:spPr bwMode="auto">
          <a:xfrm>
            <a:off x="10199801" y="2762054"/>
            <a:ext cx="1210539" cy="3440783"/>
          </a:xfrm>
          <a:prstGeom prst="rect">
            <a:avLst/>
          </a:prstGeom>
          <a:no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6" charset="0"/>
              <a:cs typeface="Lucida Sans Unicode"/>
            </a:endParaRPr>
          </a:p>
        </p:txBody>
      </p:sp>
    </p:spTree>
    <p:extLst>
      <p:ext uri="{BB962C8B-B14F-4D97-AF65-F5344CB8AC3E}">
        <p14:creationId xmlns:p14="http://schemas.microsoft.com/office/powerpoint/2010/main" val="23750985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EF0CE-930F-6404-F85D-0E34BAEE819B}"/>
              </a:ext>
            </a:extLst>
          </p:cNvPr>
          <p:cNvSpPr>
            <a:spLocks noGrp="1"/>
          </p:cNvSpPr>
          <p:nvPr>
            <p:ph type="title"/>
          </p:nvPr>
        </p:nvSpPr>
        <p:spPr>
          <a:xfrm>
            <a:off x="895352" y="353617"/>
            <a:ext cx="10407649" cy="1141412"/>
          </a:xfrm>
        </p:spPr>
        <p:txBody>
          <a:bodyPr/>
          <a:lstStyle/>
          <a:p>
            <a:pPr>
              <a:lnSpc>
                <a:spcPct val="100000"/>
              </a:lnSpc>
            </a:pPr>
            <a:r>
              <a:rPr lang="en-US" dirty="0"/>
              <a:t>Monitoring for, mitigating, and managing oral mucositis/stomatitis associated with Dato-</a:t>
            </a:r>
            <a:r>
              <a:rPr lang="en-US" dirty="0" err="1"/>
              <a:t>DXd</a:t>
            </a:r>
            <a:endParaRPr lang="en-US" dirty="0"/>
          </a:p>
        </p:txBody>
      </p:sp>
      <p:sp>
        <p:nvSpPr>
          <p:cNvPr id="5" name="TextBox 4">
            <a:extLst>
              <a:ext uri="{FF2B5EF4-FFF2-40B4-BE49-F238E27FC236}">
                <a16:creationId xmlns:a16="http://schemas.microsoft.com/office/drawing/2014/main" id="{C30C0F59-8BEE-5EE8-E8C5-7A6E4D131104}"/>
              </a:ext>
            </a:extLst>
          </p:cNvPr>
          <p:cNvSpPr txBox="1"/>
          <p:nvPr/>
        </p:nvSpPr>
        <p:spPr>
          <a:xfrm>
            <a:off x="9038384" y="6418265"/>
            <a:ext cx="2895600" cy="246221"/>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Arial"/>
              </a:rPr>
              <a:t>Meric-Bernstam F, et al. Oncologist 2025</a:t>
            </a:r>
            <a:endParaRPr kumimoji="0" lang="en-US" sz="1000" b="0" i="0" u="none" strike="noStrike" kern="1200" cap="none" spc="0" normalizeH="0" baseline="0" noProof="0" dirty="0">
              <a:ln>
                <a:noFill/>
              </a:ln>
              <a:solidFill>
                <a:srgbClr val="000000"/>
              </a:solidFill>
              <a:effectLst/>
              <a:uLnTx/>
              <a:uFillTx/>
              <a:latin typeface="Arial"/>
              <a:ea typeface="ＭＳ Ｐゴシック"/>
              <a:cs typeface="Lucida Sans Unicode"/>
            </a:endParaRPr>
          </a:p>
        </p:txBody>
      </p:sp>
      <p:pic>
        <p:nvPicPr>
          <p:cNvPr id="6" name="Picture 5">
            <a:extLst>
              <a:ext uri="{FF2B5EF4-FFF2-40B4-BE49-F238E27FC236}">
                <a16:creationId xmlns:a16="http://schemas.microsoft.com/office/drawing/2014/main" id="{4E48AF7D-1BEA-36E3-7D1F-5D26498E5B8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27777" t="64815" r="31483" b="5555"/>
          <a:stretch>
            <a:fillRect/>
          </a:stretch>
        </p:blipFill>
        <p:spPr>
          <a:xfrm>
            <a:off x="5852394" y="2721223"/>
            <a:ext cx="5686877" cy="2584944"/>
          </a:xfrm>
          <a:prstGeom prst="rect">
            <a:avLst/>
          </a:prstGeom>
        </p:spPr>
      </p:pic>
      <p:pic>
        <p:nvPicPr>
          <p:cNvPr id="7" name="Picture 6" descr="A diagram showing how to use oral hygiene&#10;&#10;AI-generated content may be incorrect.">
            <a:extLst>
              <a:ext uri="{FF2B5EF4-FFF2-40B4-BE49-F238E27FC236}">
                <a16:creationId xmlns:a16="http://schemas.microsoft.com/office/drawing/2014/main" id="{83E09313-83E3-EBF4-FEC1-7ACE23C39D88}"/>
              </a:ext>
            </a:extLst>
          </p:cNvPr>
          <p:cNvPicPr>
            <a:picLocks noChangeAspect="1"/>
          </p:cNvPicPr>
          <p:nvPr/>
        </p:nvPicPr>
        <p:blipFill>
          <a:blip r:embed="rId4"/>
          <a:stretch>
            <a:fillRect/>
          </a:stretch>
        </p:blipFill>
        <p:spPr>
          <a:xfrm>
            <a:off x="354330" y="1635600"/>
            <a:ext cx="5342890" cy="4782665"/>
          </a:xfrm>
          <a:prstGeom prst="rect">
            <a:avLst/>
          </a:prstGeom>
        </p:spPr>
      </p:pic>
    </p:spTree>
    <p:extLst>
      <p:ext uri="{BB962C8B-B14F-4D97-AF65-F5344CB8AC3E}">
        <p14:creationId xmlns:p14="http://schemas.microsoft.com/office/powerpoint/2010/main" val="23576435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918E2-FE6B-3604-F168-6F26708629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A186A9-D2DD-9774-7C80-914145D24889}"/>
              </a:ext>
            </a:extLst>
          </p:cNvPr>
          <p:cNvSpPr>
            <a:spLocks noGrp="1"/>
          </p:cNvSpPr>
          <p:nvPr>
            <p:ph type="title"/>
          </p:nvPr>
        </p:nvSpPr>
        <p:spPr>
          <a:xfrm>
            <a:off x="895352" y="353617"/>
            <a:ext cx="10407649" cy="1141412"/>
          </a:xfrm>
        </p:spPr>
        <p:txBody>
          <a:bodyPr/>
          <a:lstStyle/>
          <a:p>
            <a:pPr>
              <a:lnSpc>
                <a:spcPct val="100000"/>
              </a:lnSpc>
            </a:pPr>
            <a:r>
              <a:rPr lang="en-US" b="1">
                <a:latin typeface="Calibri" panose="020F0502020204030204" pitchFamily="34" charset="0"/>
                <a:cs typeface="Calibri" panose="020F0502020204030204" pitchFamily="34" charset="0"/>
              </a:rPr>
              <a:t>Monitoring for, </a:t>
            </a:r>
            <a:r>
              <a:rPr lang="en-US" b="1" dirty="0">
                <a:latin typeface="Calibri" panose="020F0502020204030204" pitchFamily="34" charset="0"/>
                <a:cs typeface="Calibri" panose="020F0502020204030204" pitchFamily="34" charset="0"/>
              </a:rPr>
              <a:t>mitigating, and managing </a:t>
            </a:r>
            <a:br>
              <a:rPr lang="en-US" b="1">
                <a:latin typeface="Calibri" panose="020F0502020204030204" pitchFamily="34" charset="0"/>
                <a:cs typeface="Calibri" panose="020F0502020204030204" pitchFamily="34" charset="0"/>
              </a:rPr>
            </a:br>
            <a:r>
              <a:rPr lang="en-US" b="1">
                <a:latin typeface="Calibri" panose="020F0502020204030204" pitchFamily="34" charset="0"/>
                <a:cs typeface="Calibri" panose="020F0502020204030204" pitchFamily="34" charset="0"/>
              </a:rPr>
              <a:t>ILD </a:t>
            </a:r>
            <a:r>
              <a:rPr lang="en-US" b="1" dirty="0">
                <a:latin typeface="Calibri" panose="020F0502020204030204" pitchFamily="34" charset="0"/>
                <a:cs typeface="Calibri" panose="020F0502020204030204" pitchFamily="34" charset="0"/>
              </a:rPr>
              <a:t>associated with Dato-</a:t>
            </a:r>
            <a:r>
              <a:rPr lang="en-US" b="1" dirty="0" err="1">
                <a:latin typeface="Calibri" panose="020F0502020204030204" pitchFamily="34" charset="0"/>
                <a:cs typeface="Calibri" panose="020F0502020204030204" pitchFamily="34" charset="0"/>
              </a:rPr>
              <a:t>DXd</a:t>
            </a:r>
            <a:endParaRPr lang="en-US" b="1"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FDFD8347-F81D-AD41-8D27-9D4CED2B2377}"/>
              </a:ext>
            </a:extLst>
          </p:cNvPr>
          <p:cNvSpPr txBox="1"/>
          <p:nvPr/>
        </p:nvSpPr>
        <p:spPr>
          <a:xfrm>
            <a:off x="9038384" y="6418265"/>
            <a:ext cx="2895600" cy="246221"/>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Arial"/>
              </a:rPr>
              <a:t>Sands J et al. ASCO 2024;Abstract 8263.</a:t>
            </a:r>
            <a:endParaRPr kumimoji="0" lang="en-US" sz="1000" b="0" i="0" u="none" strike="noStrike" kern="1200" cap="none" spc="0" normalizeH="0" baseline="0" noProof="0" dirty="0">
              <a:ln>
                <a:noFill/>
              </a:ln>
              <a:solidFill>
                <a:srgbClr val="000000"/>
              </a:solidFill>
              <a:effectLst/>
              <a:uLnTx/>
              <a:uFillTx/>
              <a:latin typeface="Arial"/>
              <a:ea typeface="ＭＳ Ｐゴシック"/>
              <a:cs typeface="Lucida Sans Unicode"/>
            </a:endParaRPr>
          </a:p>
        </p:txBody>
      </p:sp>
      <p:pic>
        <p:nvPicPr>
          <p:cNvPr id="4" name="Picture 3" descr="A blue and white diagram with blue text&#10;&#10;AI-generated content may be incorrect.">
            <a:extLst>
              <a:ext uri="{FF2B5EF4-FFF2-40B4-BE49-F238E27FC236}">
                <a16:creationId xmlns:a16="http://schemas.microsoft.com/office/drawing/2014/main" id="{9ED25868-1FCA-A154-5D74-BCD4D6FE2600}"/>
              </a:ext>
            </a:extLst>
          </p:cNvPr>
          <p:cNvPicPr>
            <a:picLocks noChangeAspect="1"/>
          </p:cNvPicPr>
          <p:nvPr/>
        </p:nvPicPr>
        <p:blipFill>
          <a:blip r:embed="rId2"/>
          <a:stretch>
            <a:fillRect/>
          </a:stretch>
        </p:blipFill>
        <p:spPr>
          <a:xfrm>
            <a:off x="300735" y="2397796"/>
            <a:ext cx="5585716" cy="2400252"/>
          </a:xfrm>
          <a:prstGeom prst="rect">
            <a:avLst/>
          </a:prstGeom>
        </p:spPr>
      </p:pic>
      <p:pic>
        <p:nvPicPr>
          <p:cNvPr id="9" name="Picture 8" descr="A screenshot of a step-by-step instructions&#10;&#10;AI-generated content may be incorrect.">
            <a:extLst>
              <a:ext uri="{FF2B5EF4-FFF2-40B4-BE49-F238E27FC236}">
                <a16:creationId xmlns:a16="http://schemas.microsoft.com/office/drawing/2014/main" id="{7F60460D-4671-6417-2A2F-600D520AE603}"/>
              </a:ext>
            </a:extLst>
          </p:cNvPr>
          <p:cNvPicPr>
            <a:picLocks noChangeAspect="1"/>
          </p:cNvPicPr>
          <p:nvPr/>
        </p:nvPicPr>
        <p:blipFill>
          <a:blip r:embed="rId3"/>
          <a:stretch>
            <a:fillRect/>
          </a:stretch>
        </p:blipFill>
        <p:spPr>
          <a:xfrm>
            <a:off x="6109255" y="2025270"/>
            <a:ext cx="5907741" cy="3862753"/>
          </a:xfrm>
          <a:prstGeom prst="rect">
            <a:avLst/>
          </a:prstGeom>
        </p:spPr>
      </p:pic>
    </p:spTree>
    <p:extLst>
      <p:ext uri="{BB962C8B-B14F-4D97-AF65-F5344CB8AC3E}">
        <p14:creationId xmlns:p14="http://schemas.microsoft.com/office/powerpoint/2010/main" val="20755087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A4006-A58F-840A-3505-B4BA7893AEE1}"/>
              </a:ext>
            </a:extLst>
          </p:cNvPr>
          <p:cNvSpPr>
            <a:spLocks noGrp="1"/>
          </p:cNvSpPr>
          <p:nvPr>
            <p:ph type="title"/>
          </p:nvPr>
        </p:nvSpPr>
        <p:spPr>
          <a:xfrm>
            <a:off x="986575" y="0"/>
            <a:ext cx="10218850" cy="1141412"/>
          </a:xfrm>
        </p:spPr>
        <p:txBody>
          <a:bodyPr/>
          <a:lstStyle/>
          <a:p>
            <a:r>
              <a:rPr lang="en-US" dirty="0" err="1"/>
              <a:t>Ivonescimab</a:t>
            </a:r>
            <a:r>
              <a:rPr lang="en-US" dirty="0"/>
              <a:t> for EGFR-mutant lung cancer</a:t>
            </a:r>
          </a:p>
        </p:txBody>
      </p:sp>
      <p:sp>
        <p:nvSpPr>
          <p:cNvPr id="3" name="Content Placeholder 2">
            <a:extLst>
              <a:ext uri="{FF2B5EF4-FFF2-40B4-BE49-F238E27FC236}">
                <a16:creationId xmlns:a16="http://schemas.microsoft.com/office/drawing/2014/main" id="{28E8C7BC-E8FC-4148-02E8-EFE7B0C56205}"/>
              </a:ext>
            </a:extLst>
          </p:cNvPr>
          <p:cNvSpPr>
            <a:spLocks noGrp="1"/>
          </p:cNvSpPr>
          <p:nvPr>
            <p:ph idx="1"/>
          </p:nvPr>
        </p:nvSpPr>
        <p:spPr>
          <a:xfrm>
            <a:off x="1684469" y="5802293"/>
            <a:ext cx="8801715" cy="861461"/>
          </a:xfrm>
        </p:spPr>
        <p:txBody>
          <a:bodyPr/>
          <a:lstStyle/>
          <a:p>
            <a:r>
              <a:rPr lang="en-US" sz="2400" dirty="0"/>
              <a:t>Potentially the biggest risk with </a:t>
            </a:r>
            <a:r>
              <a:rPr lang="en-US" sz="2400" dirty="0" err="1"/>
              <a:t>ivonescimab</a:t>
            </a:r>
            <a:r>
              <a:rPr lang="en-US" sz="2400" dirty="0"/>
              <a:t> in EGFR-mutant lung cancer is stopping the EGFR TKI</a:t>
            </a:r>
          </a:p>
        </p:txBody>
      </p:sp>
      <p:pic>
        <p:nvPicPr>
          <p:cNvPr id="5" name="Picture 4">
            <a:extLst>
              <a:ext uri="{FF2B5EF4-FFF2-40B4-BE49-F238E27FC236}">
                <a16:creationId xmlns:a16="http://schemas.microsoft.com/office/drawing/2014/main" id="{4CD4F078-26B8-6DDC-F35E-7A56C1DD3B5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258016" y="1641905"/>
            <a:ext cx="5716240" cy="3999701"/>
          </a:xfrm>
          <a:prstGeom prst="rect">
            <a:avLst/>
          </a:prstGeom>
        </p:spPr>
      </p:pic>
      <p:pic>
        <p:nvPicPr>
          <p:cNvPr id="7" name="Picture 6">
            <a:extLst>
              <a:ext uri="{FF2B5EF4-FFF2-40B4-BE49-F238E27FC236}">
                <a16:creationId xmlns:a16="http://schemas.microsoft.com/office/drawing/2014/main" id="{4302E4D1-EF98-A4EE-AF11-4C004B9395B4}"/>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217744" y="1595382"/>
            <a:ext cx="5716240" cy="3976149"/>
          </a:xfrm>
          <a:prstGeom prst="rect">
            <a:avLst/>
          </a:prstGeom>
        </p:spPr>
      </p:pic>
      <p:sp>
        <p:nvSpPr>
          <p:cNvPr id="8" name="TextBox 7">
            <a:extLst>
              <a:ext uri="{FF2B5EF4-FFF2-40B4-BE49-F238E27FC236}">
                <a16:creationId xmlns:a16="http://schemas.microsoft.com/office/drawing/2014/main" id="{18611329-D764-2F91-0870-BE3EEB3763AA}"/>
              </a:ext>
            </a:extLst>
          </p:cNvPr>
          <p:cNvSpPr txBox="1"/>
          <p:nvPr/>
        </p:nvSpPr>
        <p:spPr>
          <a:xfrm>
            <a:off x="9038384" y="6418265"/>
            <a:ext cx="2895600" cy="246221"/>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a:cs typeface="Arial" panose="020B0604020202020204" pitchFamily="34" charset="0"/>
                <a:sym typeface="Arial"/>
              </a:rPr>
              <a:t>HARMONi</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Arial"/>
              </a:rPr>
              <a:t>-A Study Investigators, JAMA. 2024</a:t>
            </a:r>
            <a:endParaRPr kumimoji="0" lang="en-US" sz="1000" b="0" i="0" u="none" strike="noStrike" kern="1200" cap="none" spc="0" normalizeH="0" baseline="0" noProof="0" dirty="0">
              <a:ln>
                <a:noFill/>
              </a:ln>
              <a:solidFill>
                <a:srgbClr val="000000"/>
              </a:solidFill>
              <a:effectLst/>
              <a:uLnTx/>
              <a:uFillTx/>
              <a:latin typeface="Arial"/>
              <a:ea typeface="ＭＳ Ｐゴシック"/>
              <a:cs typeface="Lucida Sans Unicode"/>
            </a:endParaRPr>
          </a:p>
        </p:txBody>
      </p:sp>
      <p:sp>
        <p:nvSpPr>
          <p:cNvPr id="9" name="TextBox 8">
            <a:extLst>
              <a:ext uri="{FF2B5EF4-FFF2-40B4-BE49-F238E27FC236}">
                <a16:creationId xmlns:a16="http://schemas.microsoft.com/office/drawing/2014/main" id="{0E86DED1-51C8-B7F2-5A10-F93657970B68}"/>
              </a:ext>
            </a:extLst>
          </p:cNvPr>
          <p:cNvSpPr txBox="1"/>
          <p:nvPr/>
        </p:nvSpPr>
        <p:spPr>
          <a:xfrm>
            <a:off x="2098238" y="1146837"/>
            <a:ext cx="270710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Times New Roman"/>
                <a:cs typeface="Lucida Sans Unicode"/>
              </a:rPr>
              <a:t>Immune-related toxicity</a:t>
            </a:r>
          </a:p>
        </p:txBody>
      </p:sp>
      <p:sp>
        <p:nvSpPr>
          <p:cNvPr id="10" name="TextBox 9">
            <a:extLst>
              <a:ext uri="{FF2B5EF4-FFF2-40B4-BE49-F238E27FC236}">
                <a16:creationId xmlns:a16="http://schemas.microsoft.com/office/drawing/2014/main" id="{D04D53FE-41D3-7E46-8217-B8EB8D3E59DE}"/>
              </a:ext>
            </a:extLst>
          </p:cNvPr>
          <p:cNvSpPr txBox="1"/>
          <p:nvPr/>
        </p:nvSpPr>
        <p:spPr>
          <a:xfrm>
            <a:off x="7666522" y="1143173"/>
            <a:ext cx="37485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Times New Roman"/>
                <a:cs typeface="Lucida Sans Unicode"/>
              </a:rPr>
              <a:t>VEGF blockade-related toxicity</a:t>
            </a:r>
          </a:p>
        </p:txBody>
      </p:sp>
    </p:spTree>
    <p:extLst>
      <p:ext uri="{BB962C8B-B14F-4D97-AF65-F5344CB8AC3E}">
        <p14:creationId xmlns:p14="http://schemas.microsoft.com/office/powerpoint/2010/main" val="2172037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p:bldP spid="9" grpId="0"/>
      <p:bldP spid="10" grpId="0"/>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A5C39-C5FF-E52B-D4F8-CA7CD2A9027F}"/>
              </a:ext>
            </a:extLst>
          </p:cNvPr>
          <p:cNvSpPr>
            <a:spLocks noGrp="1"/>
          </p:cNvSpPr>
          <p:nvPr>
            <p:ph type="title"/>
          </p:nvPr>
        </p:nvSpPr>
        <p:spPr>
          <a:xfrm>
            <a:off x="838200" y="365125"/>
            <a:ext cx="10515600" cy="838033"/>
          </a:xfrm>
        </p:spPr>
        <p:txBody>
          <a:bodyPr/>
          <a:lstStyle/>
          <a:p>
            <a:r>
              <a:rPr lang="en-US" dirty="0"/>
              <a:t>Summary</a:t>
            </a:r>
          </a:p>
        </p:txBody>
      </p:sp>
      <p:sp>
        <p:nvSpPr>
          <p:cNvPr id="3" name="Content Placeholder 2">
            <a:extLst>
              <a:ext uri="{FF2B5EF4-FFF2-40B4-BE49-F238E27FC236}">
                <a16:creationId xmlns:a16="http://schemas.microsoft.com/office/drawing/2014/main" id="{0A51A8C5-6D2F-820E-8BFB-A9755BCC7BE4}"/>
              </a:ext>
            </a:extLst>
          </p:cNvPr>
          <p:cNvSpPr>
            <a:spLocks noGrp="1"/>
          </p:cNvSpPr>
          <p:nvPr>
            <p:ph idx="1"/>
          </p:nvPr>
        </p:nvSpPr>
        <p:spPr>
          <a:xfrm>
            <a:off x="605188" y="1394894"/>
            <a:ext cx="10981623" cy="5217662"/>
          </a:xfrm>
        </p:spPr>
        <p:txBody>
          <a:bodyPr>
            <a:normAutofit/>
          </a:bodyPr>
          <a:lstStyle/>
          <a:p>
            <a:pPr>
              <a:lnSpc>
                <a:spcPct val="100000"/>
              </a:lnSpc>
            </a:pPr>
            <a:r>
              <a:rPr lang="en-US" dirty="0"/>
              <a:t>Therapeutics for EGFR-mutant lung cancer have distinct toxicity profiles which must be considered when selecting treatment for patients</a:t>
            </a:r>
          </a:p>
          <a:p>
            <a:pPr>
              <a:lnSpc>
                <a:spcPct val="100000"/>
              </a:lnSpc>
            </a:pPr>
            <a:r>
              <a:rPr lang="en-US" dirty="0"/>
              <a:t>Prophylaxis can be useful for some agents such as </a:t>
            </a:r>
            <a:r>
              <a:rPr lang="en-US" dirty="0" err="1"/>
              <a:t>amivantamab</a:t>
            </a:r>
            <a:r>
              <a:rPr lang="en-US" dirty="0"/>
              <a:t> and Dato-</a:t>
            </a:r>
            <a:r>
              <a:rPr lang="en-US" dirty="0" err="1"/>
              <a:t>DXd</a:t>
            </a:r>
            <a:endParaRPr lang="en-US" dirty="0"/>
          </a:p>
          <a:p>
            <a:pPr>
              <a:lnSpc>
                <a:spcPct val="100000"/>
              </a:lnSpc>
            </a:pPr>
            <a:r>
              <a:rPr lang="en-US" dirty="0"/>
              <a:t>Early identification and management of toxicity is critical in the care of patients with EGFR-mutant lung cancer, including treatment holds, dose reduction, and supportive measures</a:t>
            </a:r>
          </a:p>
        </p:txBody>
      </p:sp>
    </p:spTree>
    <p:extLst>
      <p:ext uri="{BB962C8B-B14F-4D97-AF65-F5344CB8AC3E}">
        <p14:creationId xmlns:p14="http://schemas.microsoft.com/office/powerpoint/2010/main" val="13386447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24774-85AF-3ABE-72DC-9B7604E66612}"/>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217A272B-63E7-AA0D-8B8B-A57F266FBE2D}"/>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98196145-BD79-75D9-3363-EFFA83DB2E24}"/>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9" name="Title 1">
            <a:extLst>
              <a:ext uri="{FF2B5EF4-FFF2-40B4-BE49-F238E27FC236}">
                <a16:creationId xmlns:a16="http://schemas.microsoft.com/office/drawing/2014/main" id="{F6AD1A53-3415-120B-1B4C-1A78A27B894E}"/>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FA29ED43-2AF0-DBAD-1A42-652B696FEC1A}"/>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5CCAF539-82EE-FA91-4B62-C02A513942D4}"/>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tephen “Fred” Divers, MD  </a:t>
            </a:r>
          </a:p>
        </p:txBody>
      </p:sp>
      <p:pic>
        <p:nvPicPr>
          <p:cNvPr id="4" name="Picture 3" descr="A person wearing headphones and smiling&#10;&#10;AI-generated content may be incorrect.">
            <a:extLst>
              <a:ext uri="{FF2B5EF4-FFF2-40B4-BE49-F238E27FC236}">
                <a16:creationId xmlns:a16="http://schemas.microsoft.com/office/drawing/2014/main" id="{EC6D3A4A-DFC4-2A85-FD03-B6291C6E9EFC}"/>
              </a:ext>
            </a:extLst>
          </p:cNvPr>
          <p:cNvPicPr>
            <a:picLocks/>
          </p:cNvPicPr>
          <p:nvPr/>
        </p:nvPicPr>
        <p:blipFill>
          <a:blip r:embed="rId3"/>
          <a:srcRect l="22910" r="21569"/>
          <a:stretch>
            <a:fillRect/>
          </a:stretch>
        </p:blipFill>
        <p:spPr>
          <a:xfrm>
            <a:off x="2281845" y="2570971"/>
            <a:ext cx="2651760"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673543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30BAC-E89A-1F0B-5296-2F8800BBDF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08C1CA-5673-FE79-9DE2-F8664978627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1675BDEE-F644-76EA-F531-E9F21801FA4F}"/>
              </a:ext>
            </a:extLst>
          </p:cNvPr>
          <p:cNvSpPr>
            <a:spLocks noGrp="1"/>
          </p:cNvSpPr>
          <p:nvPr>
            <p:ph idx="1"/>
          </p:nvPr>
        </p:nvSpPr>
        <p:spPr>
          <a:xfrm>
            <a:off x="912287" y="1416053"/>
            <a:ext cx="9936242" cy="4799013"/>
          </a:xfrm>
        </p:spPr>
        <p:txBody>
          <a:bodyPr/>
          <a:lstStyle/>
          <a:p>
            <a:pPr marL="98425" indent="0">
              <a:lnSpc>
                <a:spcPct val="100000"/>
              </a:lnSpc>
              <a:buNone/>
            </a:pPr>
            <a:r>
              <a:rPr lang="en-US" sz="2600" dirty="0"/>
              <a:t>What would you recommend for a patient with significant diarrhea on osimertinib? </a:t>
            </a:r>
          </a:p>
          <a:p>
            <a:pPr marL="98425" indent="0">
              <a:lnSpc>
                <a:spcPct val="100000"/>
              </a:lnSpc>
              <a:buNone/>
            </a:pPr>
            <a:r>
              <a:rPr lang="en-US" sz="2600" dirty="0"/>
              <a:t>Are you comfortable reducing osimertinib dosing to 40 mg daily if patients are unable to tolerate the recommended dose? Can this be done without compromising efficacy?</a:t>
            </a:r>
          </a:p>
          <a:p>
            <a:pPr marL="98425" indent="0">
              <a:lnSpc>
                <a:spcPct val="100000"/>
              </a:lnSpc>
              <a:buNone/>
            </a:pPr>
            <a:r>
              <a:rPr lang="en-US" sz="2600" dirty="0"/>
              <a:t>Has the introduction of subcutaneous administration and various practical approaches to toxicity prophylaxis changed your impression of the tolerability of </a:t>
            </a:r>
            <a:r>
              <a:rPr lang="en-US" sz="2600" dirty="0" err="1"/>
              <a:t>amivantamab</a:t>
            </a:r>
            <a:r>
              <a:rPr lang="en-US" sz="2600" dirty="0"/>
              <a:t> in any way?  </a:t>
            </a:r>
          </a:p>
        </p:txBody>
      </p:sp>
    </p:spTree>
    <p:extLst>
      <p:ext uri="{BB962C8B-B14F-4D97-AF65-F5344CB8AC3E}">
        <p14:creationId xmlns:p14="http://schemas.microsoft.com/office/powerpoint/2010/main" val="30291648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58A6E6-D548-949E-1216-165B654604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B9607C-D210-6CAF-2318-A687E2B493D7}"/>
              </a:ext>
            </a:extLst>
          </p:cNvPr>
          <p:cNvSpPr>
            <a:spLocks noGrp="1"/>
          </p:cNvSpPr>
          <p:nvPr>
            <p:ph type="title"/>
          </p:nvPr>
        </p:nvSpPr>
        <p:spPr>
          <a:xfrm>
            <a:off x="912286" y="5365"/>
            <a:ext cx="10358967" cy="1323025"/>
          </a:xfrm>
        </p:spPr>
        <p:txBody>
          <a:bodyPr/>
          <a:lstStyle/>
          <a:p>
            <a:r>
              <a:rPr lang="en-US" dirty="0"/>
              <a:t>Cases from the Community</a:t>
            </a:r>
          </a:p>
        </p:txBody>
      </p:sp>
      <p:sp>
        <p:nvSpPr>
          <p:cNvPr id="12" name="Text Box 9">
            <a:extLst>
              <a:ext uri="{FF2B5EF4-FFF2-40B4-BE49-F238E27FC236}">
                <a16:creationId xmlns:a16="http://schemas.microsoft.com/office/drawing/2014/main" id="{96565096-CD28-D681-CFA6-4E34B0C2D585}"/>
              </a:ext>
            </a:extLst>
          </p:cNvPr>
          <p:cNvSpPr txBox="1">
            <a:spLocks noChangeArrowheads="1"/>
          </p:cNvSpPr>
          <p:nvPr/>
        </p:nvSpPr>
        <p:spPr bwMode="auto">
          <a:xfrm>
            <a:off x="7551214" y="3997806"/>
            <a:ext cx="432669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Miami, Florida</a:t>
            </a:r>
          </a:p>
        </p:txBody>
      </p:sp>
      <p:pic>
        <p:nvPicPr>
          <p:cNvPr id="13" name="Picture 12">
            <a:extLst>
              <a:ext uri="{FF2B5EF4-FFF2-40B4-BE49-F238E27FC236}">
                <a16:creationId xmlns:a16="http://schemas.microsoft.com/office/drawing/2014/main" id="{6A4E206D-55FE-E63A-68E2-B470C46330F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576" y="3997806"/>
            <a:ext cx="1261872" cy="1261872"/>
          </a:xfrm>
          <a:prstGeom prst="rect">
            <a:avLst/>
          </a:prstGeom>
        </p:spPr>
      </p:pic>
      <p:sp>
        <p:nvSpPr>
          <p:cNvPr id="4" name="Text Box 7">
            <a:extLst>
              <a:ext uri="{FF2B5EF4-FFF2-40B4-BE49-F238E27FC236}">
                <a16:creationId xmlns:a16="http://schemas.microsoft.com/office/drawing/2014/main" id="{E330E3AF-68F7-C1FF-CF47-338E65FCEF35}"/>
              </a:ext>
            </a:extLst>
          </p:cNvPr>
          <p:cNvSpPr txBox="1">
            <a:spLocks noChangeArrowheads="1"/>
          </p:cNvSpPr>
          <p:nvPr/>
        </p:nvSpPr>
        <p:spPr bwMode="auto">
          <a:xfrm>
            <a:off x="2143675" y="1748765"/>
            <a:ext cx="3077019"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Susmitha </a:t>
            </a:r>
            <a:r>
              <a:rPr kumimoji="0" lang="en-US" sz="1600" b="1" i="0" u="none" strike="noStrike" kern="1200" cap="none" spc="0" normalizeH="0" baseline="0" noProof="0" dirty="0" err="1">
                <a:ln>
                  <a:noFill/>
                </a:ln>
                <a:solidFill>
                  <a:srgbClr val="000000"/>
                </a:solidFill>
                <a:effectLst/>
                <a:uLnTx/>
                <a:uFillTx/>
                <a:latin typeface="Calibri"/>
                <a:ea typeface="+mn-ea"/>
                <a:cs typeface="+mn-cs"/>
              </a:rPr>
              <a:t>Apuri</a:t>
            </a:r>
            <a:r>
              <a:rPr kumimoji="0" lang="en-US" sz="1600" b="1" i="0" u="none" strike="noStrike" kern="1200" cap="none" spc="0" normalizeH="0" baseline="0" noProof="0" dirty="0">
                <a:ln>
                  <a:noFill/>
                </a:ln>
                <a:solidFill>
                  <a:srgbClr val="000000"/>
                </a:solidFill>
                <a:effectLst/>
                <a:uLnTx/>
                <a:uFillTx/>
                <a:latin typeface="Calibri"/>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Florida Cancer </a:t>
            </a:r>
            <a:r>
              <a:rPr kumimoji="0" lang="en-US" sz="1600" b="0" i="0" u="none" strike="noStrike" kern="1200" cap="none" spc="0" normalizeH="0" baseline="0" noProof="0">
                <a:ln>
                  <a:noFill/>
                </a:ln>
                <a:solidFill>
                  <a:srgbClr val="000000"/>
                </a:solidFill>
                <a:effectLst/>
                <a:uLnTx/>
                <a:uFillTx/>
                <a:latin typeface="Calibri"/>
                <a:ea typeface="+mn-ea"/>
                <a:cs typeface="+mn-cs"/>
              </a:rPr>
              <a:t>Specialists </a:t>
            </a:r>
            <a:br>
              <a:rPr kumimoji="0" lang="en-US" sz="1600" b="0" i="0" u="none" strike="noStrike" kern="1200" cap="none" spc="0" normalizeH="0" baseline="0" noProof="0">
                <a:ln>
                  <a:noFill/>
                </a:ln>
                <a:solidFill>
                  <a:srgbClr val="000000"/>
                </a:solidFill>
                <a:effectLst/>
                <a:uLnTx/>
                <a:uFillTx/>
                <a:latin typeface="Calibri"/>
                <a:ea typeface="+mn-ea"/>
                <a:cs typeface="+mn-cs"/>
              </a:rPr>
            </a:br>
            <a:r>
              <a:rPr kumimoji="0" lang="en-US" sz="1600" b="0" i="0" u="none" strike="noStrike" kern="1200" cap="none" spc="0" normalizeH="0" baseline="0" noProof="0">
                <a:ln>
                  <a:noFill/>
                </a:ln>
                <a:solidFill>
                  <a:srgbClr val="000000"/>
                </a:solidFill>
                <a:effectLst/>
                <a:uLnTx/>
                <a:uFillTx/>
                <a:latin typeface="Calibri"/>
                <a:ea typeface="+mn-ea"/>
                <a:cs typeface="+mn-cs"/>
              </a:rPr>
              <a:t>&amp; </a:t>
            </a:r>
            <a:r>
              <a:rPr kumimoji="0" lang="en-US" sz="1600" b="0" i="0" u="none" strike="noStrike" kern="1200" cap="none" spc="0" normalizeH="0" baseline="0" noProof="0" dirty="0">
                <a:ln>
                  <a:noFill/>
                </a:ln>
                <a:solidFill>
                  <a:srgbClr val="000000"/>
                </a:solidFill>
                <a:effectLst/>
                <a:uLnTx/>
                <a:uFillTx/>
                <a:latin typeface="Calibri"/>
                <a:ea typeface="+mn-ea"/>
                <a:cs typeface="+mn-cs"/>
              </a:rPr>
              <a:t>Research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Inverness and Lecanto, Florida</a:t>
            </a:r>
          </a:p>
        </p:txBody>
      </p:sp>
      <p:sp>
        <p:nvSpPr>
          <p:cNvPr id="14" name="Text Box 7">
            <a:extLst>
              <a:ext uri="{FF2B5EF4-FFF2-40B4-BE49-F238E27FC236}">
                <a16:creationId xmlns:a16="http://schemas.microsoft.com/office/drawing/2014/main" id="{950BD399-4771-38BB-FCC1-A25AFABDAA07}"/>
              </a:ext>
            </a:extLst>
          </p:cNvPr>
          <p:cNvSpPr txBox="1">
            <a:spLocks noChangeArrowheads="1"/>
          </p:cNvSpPr>
          <p:nvPr/>
        </p:nvSpPr>
        <p:spPr bwMode="auto">
          <a:xfrm>
            <a:off x="2143675" y="3997806"/>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Stephen "Fred" Divers,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Chief Medical Offic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merican Oncolog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Hot Springs, Arkansas</a:t>
            </a:r>
          </a:p>
        </p:txBody>
      </p:sp>
      <p:sp>
        <p:nvSpPr>
          <p:cNvPr id="18" name="Text Box 9">
            <a:extLst>
              <a:ext uri="{FF2B5EF4-FFF2-40B4-BE49-F238E27FC236}">
                <a16:creationId xmlns:a16="http://schemas.microsoft.com/office/drawing/2014/main" id="{0B0D1A10-13DD-752D-4292-CAA8349106B4}"/>
              </a:ext>
            </a:extLst>
          </p:cNvPr>
          <p:cNvSpPr txBox="1">
            <a:spLocks noChangeArrowheads="1"/>
          </p:cNvSpPr>
          <p:nvPr/>
        </p:nvSpPr>
        <p:spPr bwMode="auto">
          <a:xfrm>
            <a:off x="7551214" y="1748765"/>
            <a:ext cx="3641923"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Priya Rudolph, MD, Ph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Georgia Cancer Speciali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orthside Hospital Cancer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thens, Georgia</a:t>
            </a:r>
          </a:p>
        </p:txBody>
      </p:sp>
      <p:pic>
        <p:nvPicPr>
          <p:cNvPr id="3" name="Picture 2">
            <a:extLst>
              <a:ext uri="{FF2B5EF4-FFF2-40B4-BE49-F238E27FC236}">
                <a16:creationId xmlns:a16="http://schemas.microsoft.com/office/drawing/2014/main" id="{7C1DD085-C50F-5515-E975-B042484C31AF}"/>
              </a:ext>
            </a:extLst>
          </p:cNvPr>
          <p:cNvPicPr>
            <a:picLocks noChangeAspect="1"/>
          </p:cNvPicPr>
          <p:nvPr/>
        </p:nvPicPr>
        <p:blipFill>
          <a:blip r:embed="rId4"/>
          <a:srcRect/>
          <a:stretch/>
        </p:blipFill>
        <p:spPr>
          <a:xfrm>
            <a:off x="833468" y="1748765"/>
            <a:ext cx="1261872" cy="1261872"/>
          </a:xfrm>
          <a:prstGeom prst="rect">
            <a:avLst/>
          </a:prstGeom>
        </p:spPr>
      </p:pic>
      <p:pic>
        <p:nvPicPr>
          <p:cNvPr id="5" name="Picture 4">
            <a:extLst>
              <a:ext uri="{FF2B5EF4-FFF2-40B4-BE49-F238E27FC236}">
                <a16:creationId xmlns:a16="http://schemas.microsoft.com/office/drawing/2014/main" id="{20778E94-49BC-1F20-9041-0500603DCEB0}"/>
              </a:ext>
            </a:extLst>
          </p:cNvPr>
          <p:cNvPicPr>
            <a:picLocks noChangeAspect="1"/>
          </p:cNvPicPr>
          <p:nvPr/>
        </p:nvPicPr>
        <p:blipFill>
          <a:blip r:embed="rId5"/>
          <a:srcRect/>
          <a:stretch/>
        </p:blipFill>
        <p:spPr>
          <a:xfrm>
            <a:off x="833468" y="3997806"/>
            <a:ext cx="1261872" cy="1261872"/>
          </a:xfrm>
          <a:prstGeom prst="rect">
            <a:avLst/>
          </a:prstGeom>
        </p:spPr>
      </p:pic>
      <p:pic>
        <p:nvPicPr>
          <p:cNvPr id="6" name="Picture 5">
            <a:extLst>
              <a:ext uri="{FF2B5EF4-FFF2-40B4-BE49-F238E27FC236}">
                <a16:creationId xmlns:a16="http://schemas.microsoft.com/office/drawing/2014/main" id="{A061A399-2823-ECBB-A48E-F40F39536794}"/>
              </a:ext>
            </a:extLst>
          </p:cNvPr>
          <p:cNvPicPr>
            <a:picLocks noChangeAspect="1"/>
          </p:cNvPicPr>
          <p:nvPr/>
        </p:nvPicPr>
        <p:blipFill>
          <a:blip r:embed="rId6"/>
          <a:srcRect/>
          <a:stretch/>
        </p:blipFill>
        <p:spPr>
          <a:xfrm>
            <a:off x="6229576" y="1748765"/>
            <a:ext cx="1261872" cy="1261872"/>
          </a:xfrm>
          <a:prstGeom prst="rect">
            <a:avLst/>
          </a:prstGeom>
        </p:spPr>
      </p:pic>
    </p:spTree>
    <p:custDataLst>
      <p:tags r:id="rId1"/>
    </p:custDataLst>
    <p:extLst>
      <p:ext uri="{BB962C8B-B14F-4D97-AF65-F5344CB8AC3E}">
        <p14:creationId xmlns:p14="http://schemas.microsoft.com/office/powerpoint/2010/main" val="7424597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862179-0042-6F85-539D-AAC110E035E2}"/>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7159B56-7320-32C2-5B0E-C01D697BB87A}"/>
              </a:ext>
            </a:extLst>
          </p:cNvPr>
          <p:cNvSpPr>
            <a:spLocks noGrp="1" noChangeArrowheads="1"/>
          </p:cNvSpPr>
          <p:nvPr>
            <p:ph type="title"/>
          </p:nvPr>
        </p:nvSpPr>
        <p:spPr>
          <a:xfrm>
            <a:off x="-26623" y="422735"/>
            <a:ext cx="12192000" cy="1143000"/>
          </a:xfrm>
        </p:spPr>
        <p:txBody>
          <a:bodyPr wrap="square" anchor="ctr">
            <a:noAutofit/>
          </a:bodyPr>
          <a:lstStyle/>
          <a:p>
            <a:r>
              <a:rPr lang="en-US" sz="3400" dirty="0"/>
              <a:t>Consensus or Controversy? Documenting </a:t>
            </a:r>
            <a:br>
              <a:rPr lang="en-US" sz="3400" dirty="0"/>
            </a:br>
            <a:r>
              <a:rPr lang="en-US" sz="3400" dirty="0"/>
              <a:t>and Discussing Investigators’ Approaches </a:t>
            </a:r>
            <a:br>
              <a:rPr lang="en-US" sz="3400" dirty="0"/>
            </a:br>
            <a:r>
              <a:rPr lang="en-US" sz="3400" dirty="0"/>
              <a:t>to the Management of Ovarian Cancer</a:t>
            </a:r>
          </a:p>
        </p:txBody>
      </p:sp>
      <p:sp>
        <p:nvSpPr>
          <p:cNvPr id="6" name="Text Box 6">
            <a:extLst>
              <a:ext uri="{FF2B5EF4-FFF2-40B4-BE49-F238E27FC236}">
                <a16:creationId xmlns:a16="http://schemas.microsoft.com/office/drawing/2014/main" id="{01B2A4B4-F1C9-83AC-D630-9D38BD62388A}"/>
              </a:ext>
            </a:extLst>
          </p:cNvPr>
          <p:cNvSpPr txBox="1">
            <a:spLocks noChangeArrowheads="1"/>
          </p:cNvSpPr>
          <p:nvPr/>
        </p:nvSpPr>
        <p:spPr bwMode="auto">
          <a:xfrm>
            <a:off x="0" y="1826033"/>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70057002-C93F-312E-C29F-C9155DFA154C}"/>
              </a:ext>
            </a:extLst>
          </p:cNvPr>
          <p:cNvSpPr txBox="1">
            <a:spLocks noChangeArrowheads="1"/>
          </p:cNvSpPr>
          <p:nvPr/>
        </p:nvSpPr>
        <p:spPr bwMode="auto">
          <a:xfrm>
            <a:off x="0" y="573325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thleen N Moore, MD, MS</a:t>
            </a:r>
          </a:p>
        </p:txBody>
      </p:sp>
      <p:sp>
        <p:nvSpPr>
          <p:cNvPr id="3" name="Text Box 7">
            <a:extLst>
              <a:ext uri="{FF2B5EF4-FFF2-40B4-BE49-F238E27FC236}">
                <a16:creationId xmlns:a16="http://schemas.microsoft.com/office/drawing/2014/main" id="{E0E31E96-E92F-6DB0-867B-3F57721E3483}"/>
              </a:ext>
            </a:extLst>
          </p:cNvPr>
          <p:cNvSpPr txBox="1">
            <a:spLocks noChangeArrowheads="1"/>
          </p:cNvSpPr>
          <p:nvPr/>
        </p:nvSpPr>
        <p:spPr bwMode="auto">
          <a:xfrm>
            <a:off x="4647392" y="313661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A73FFF1B-5988-22C6-6F7D-80121748F14D}"/>
              </a:ext>
            </a:extLst>
          </p:cNvPr>
          <p:cNvSpPr txBox="1">
            <a:spLocks noChangeArrowheads="1"/>
          </p:cNvSpPr>
          <p:nvPr/>
        </p:nvSpPr>
        <p:spPr bwMode="auto">
          <a:xfrm>
            <a:off x="152400" y="369112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mez N Eskander,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Ursula Matulonis,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exander B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lawaiye</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vid M O’Malley, MD</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1715164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t="1411" b="1411"/>
          <a:stretch/>
        </p:blipFill>
        <p:spPr>
          <a:xfrm>
            <a:off x="3166791" y="177578"/>
            <a:ext cx="5858418" cy="650284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FE0AA-7B72-055F-4627-EE553A2255F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A776172B-5C48-0705-8F6F-4432229D5008}"/>
              </a:ext>
            </a:extLst>
          </p:cNvPr>
          <p:cNvSpPr>
            <a:spLocks noGrp="1" noChangeArrowheads="1"/>
          </p:cNvSpPr>
          <p:nvPr>
            <p:ph type="title"/>
          </p:nvPr>
        </p:nvSpPr>
        <p:spPr>
          <a:xfrm>
            <a:off x="-26623" y="548315"/>
            <a:ext cx="12192000" cy="1143000"/>
          </a:xfrm>
        </p:spPr>
        <p:txBody>
          <a:bodyPr wrap="square" anchor="ctr">
            <a:noAutofit/>
          </a:bodyPr>
          <a:lstStyle/>
          <a:p>
            <a:r>
              <a:rPr lang="en-US" sz="3400" dirty="0"/>
              <a:t>What Clinicians Want to Know: </a:t>
            </a:r>
            <a:br>
              <a:rPr lang="en-US" sz="3400" dirty="0"/>
            </a:br>
            <a:r>
              <a:rPr lang="en-US" sz="3400" dirty="0"/>
              <a:t>Addressing Community Oncologists’ Questions </a:t>
            </a:r>
            <a:br>
              <a:rPr lang="en-US" sz="3400" dirty="0"/>
            </a:br>
            <a:r>
              <a:rPr lang="en-US" sz="3400" dirty="0"/>
              <a:t>About the Care of Patients with Prostate Cancer</a:t>
            </a:r>
          </a:p>
        </p:txBody>
      </p:sp>
      <p:sp>
        <p:nvSpPr>
          <p:cNvPr id="6" name="Text Box 6">
            <a:extLst>
              <a:ext uri="{FF2B5EF4-FFF2-40B4-BE49-F238E27FC236}">
                <a16:creationId xmlns:a16="http://schemas.microsoft.com/office/drawing/2014/main" id="{9C9BEB6C-7186-3099-119B-FFD46D6291AE}"/>
              </a:ext>
            </a:extLst>
          </p:cNvPr>
          <p:cNvSpPr txBox="1">
            <a:spLocks noChangeArrowheads="1"/>
          </p:cNvSpPr>
          <p:nvPr/>
        </p:nvSpPr>
        <p:spPr bwMode="auto">
          <a:xfrm>
            <a:off x="0" y="203122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9B0BB4B4-0DF4-915A-F0AC-6A5E67EDEB4A}"/>
              </a:ext>
            </a:extLst>
          </p:cNvPr>
          <p:cNvSpPr txBox="1">
            <a:spLocks noChangeArrowheads="1"/>
          </p:cNvSpPr>
          <p:nvPr/>
        </p:nvSpPr>
        <p:spPr bwMode="auto">
          <a:xfrm>
            <a:off x="0" y="573325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na R McKay, MD, FASCO</a:t>
            </a:r>
          </a:p>
        </p:txBody>
      </p:sp>
      <p:sp>
        <p:nvSpPr>
          <p:cNvPr id="3" name="Text Box 7">
            <a:extLst>
              <a:ext uri="{FF2B5EF4-FFF2-40B4-BE49-F238E27FC236}">
                <a16:creationId xmlns:a16="http://schemas.microsoft.com/office/drawing/2014/main" id="{6A0AA19E-42D4-E98F-F256-5253A64A8268}"/>
              </a:ext>
            </a:extLst>
          </p:cNvPr>
          <p:cNvSpPr txBox="1">
            <a:spLocks noChangeArrowheads="1"/>
          </p:cNvSpPr>
          <p:nvPr/>
        </p:nvSpPr>
        <p:spPr bwMode="auto">
          <a:xfrm>
            <a:off x="4647392" y="313661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A06CC10E-3C48-9511-2911-5948A0956C88}"/>
              </a:ext>
            </a:extLst>
          </p:cNvPr>
          <p:cNvSpPr txBox="1">
            <a:spLocks noChangeArrowheads="1"/>
          </p:cNvSpPr>
          <p:nvPr/>
        </p:nvSpPr>
        <p:spPr bwMode="auto">
          <a:xfrm>
            <a:off x="152400" y="369112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assim Abida, MD, Ph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hul Aggarwal,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mmanuel S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tonarakis</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rim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izazi</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5441829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70830-6B70-74C5-6D15-1B4E2157DC3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64874268-2766-C611-B779-83D9274A9371}"/>
              </a:ext>
            </a:extLst>
          </p:cNvPr>
          <p:cNvSpPr>
            <a:spLocks noGrp="1" noChangeArrowheads="1"/>
          </p:cNvSpPr>
          <p:nvPr>
            <p:ph type="title"/>
          </p:nvPr>
        </p:nvSpPr>
        <p:spPr>
          <a:xfrm>
            <a:off x="-26623" y="594955"/>
            <a:ext cx="12192000" cy="1143000"/>
          </a:xfrm>
        </p:spPr>
        <p:txBody>
          <a:bodyPr wrap="square" anchor="ctr">
            <a:noAutofit/>
          </a:bodyPr>
          <a:lstStyle/>
          <a:p>
            <a:r>
              <a:rPr lang="en-US" sz="3400" dirty="0"/>
              <a:t>Second Opinion: Investigators Provide </a:t>
            </a:r>
            <a:br>
              <a:rPr lang="en-US" sz="3400" dirty="0"/>
            </a:br>
            <a:r>
              <a:rPr lang="en-US" sz="3400" dirty="0"/>
              <a:t>Perspectives on the Current and Future </a:t>
            </a:r>
            <a:br>
              <a:rPr lang="en-US" sz="3400" dirty="0"/>
            </a:br>
            <a:r>
              <a:rPr lang="en-US" sz="3400" dirty="0"/>
              <a:t>Management of Small Cell Lung Cancer</a:t>
            </a:r>
          </a:p>
        </p:txBody>
      </p:sp>
      <p:sp>
        <p:nvSpPr>
          <p:cNvPr id="6" name="Text Box 6">
            <a:extLst>
              <a:ext uri="{FF2B5EF4-FFF2-40B4-BE49-F238E27FC236}">
                <a16:creationId xmlns:a16="http://schemas.microsoft.com/office/drawing/2014/main" id="{7426B4F1-623A-08E5-C26A-A26242667440}"/>
              </a:ext>
            </a:extLst>
          </p:cNvPr>
          <p:cNvSpPr txBox="1">
            <a:spLocks noChangeArrowheads="1"/>
          </p:cNvSpPr>
          <p:nvPr/>
        </p:nvSpPr>
        <p:spPr bwMode="auto">
          <a:xfrm>
            <a:off x="0" y="2114055"/>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8AB00D61-89C5-D16A-1A3E-062B16AE79B0}"/>
              </a:ext>
            </a:extLst>
          </p:cNvPr>
          <p:cNvSpPr txBox="1">
            <a:spLocks noChangeArrowheads="1"/>
          </p:cNvSpPr>
          <p:nvPr/>
        </p:nvSpPr>
        <p:spPr bwMode="auto">
          <a:xfrm>
            <a:off x="0" y="5601083"/>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sty Dawn Shields, MD, PhD</a:t>
            </a:r>
          </a:p>
        </p:txBody>
      </p:sp>
      <p:sp>
        <p:nvSpPr>
          <p:cNvPr id="3" name="Text Box 7">
            <a:extLst>
              <a:ext uri="{FF2B5EF4-FFF2-40B4-BE49-F238E27FC236}">
                <a16:creationId xmlns:a16="http://schemas.microsoft.com/office/drawing/2014/main" id="{A25A8725-69F5-B151-2ADA-92B808A10FD0}"/>
              </a:ext>
            </a:extLst>
          </p:cNvPr>
          <p:cNvSpPr txBox="1">
            <a:spLocks noChangeArrowheads="1"/>
          </p:cNvSpPr>
          <p:nvPr/>
        </p:nvSpPr>
        <p:spPr bwMode="auto">
          <a:xfrm>
            <a:off x="4647392" y="350928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0955414C-2B5A-DFC9-2DBB-1706CBA27708}"/>
              </a:ext>
            </a:extLst>
          </p:cNvPr>
          <p:cNvSpPr txBox="1">
            <a:spLocks noChangeArrowheads="1"/>
          </p:cNvSpPr>
          <p:nvPr/>
        </p:nvSpPr>
        <p:spPr bwMode="auto">
          <a:xfrm>
            <a:off x="152400" y="4063798"/>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ne Chiang, MD, PhD</a:t>
            </a:r>
          </a:p>
          <a:p>
            <a:pPr marL="0" marR="0" lvl="0" indent="0" algn="ctr" defTabSz="455613" rtl="0" eaLnBrk="1" fontAlgn="base" latinLnBrk="0" hangingPunct="1">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par Kishor Ganti, MD, MS</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uis Paz-Ares, MD, PhD</a:t>
            </a:r>
          </a:p>
        </p:txBody>
      </p:sp>
    </p:spTree>
    <p:custDataLst>
      <p:tags r:id="rId1"/>
    </p:custDataLst>
    <p:extLst>
      <p:ext uri="{BB962C8B-B14F-4D97-AF65-F5344CB8AC3E}">
        <p14:creationId xmlns:p14="http://schemas.microsoft.com/office/powerpoint/2010/main" val="28770127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6517" y="2857500"/>
            <a:ext cx="10358967" cy="1143000"/>
          </a:xfrm>
        </p:spPr>
        <p:txBody>
          <a:bodyPr/>
          <a:lstStyle/>
          <a:p>
            <a:pPr>
              <a:lnSpc>
                <a:spcPct val="100000"/>
              </a:lnSpc>
            </a:pPr>
            <a:r>
              <a:rPr lang="en-US" sz="2900" dirty="0"/>
              <a:t>Thank you for joining us!</a:t>
            </a:r>
            <a:br>
              <a:rPr lang="en-US" sz="2900" dirty="0"/>
            </a:br>
            <a:r>
              <a:rPr lang="en-US" sz="2900" dirty="0"/>
              <a:t>Your feedback is very important to us. </a:t>
            </a:r>
            <a:br>
              <a:rPr lang="en-US" sz="2900" dirty="0"/>
            </a:br>
            <a:br>
              <a:rPr lang="en-US" sz="2900" dirty="0"/>
            </a:br>
            <a:r>
              <a:rPr lang="en-US" sz="2900" dirty="0"/>
              <a:t>Please complete the survey currently up on the iPads</a:t>
            </a:r>
            <a:br>
              <a:rPr lang="en-US" sz="2900" dirty="0"/>
            </a:br>
            <a:r>
              <a:rPr lang="en-US" sz="2900" dirty="0"/>
              <a:t>for attendees in the room and on Zoom for</a:t>
            </a:r>
            <a:br>
              <a:rPr lang="en-US" sz="2900" dirty="0"/>
            </a:br>
            <a:r>
              <a:rPr lang="en-US" sz="2900" dirty="0"/>
              <a:t>those attending virtually. The survey will remain open</a:t>
            </a:r>
            <a:br>
              <a:rPr lang="en-US" sz="2900" dirty="0"/>
            </a:br>
            <a:r>
              <a:rPr lang="en-US" sz="2900" dirty="0"/>
              <a:t>up to 5 minutes after the meeting ends.</a:t>
            </a:r>
            <a:br>
              <a:rPr lang="en-US" sz="2900" i="1" dirty="0"/>
            </a:br>
            <a:br>
              <a:rPr lang="en-US" sz="2900" i="1" dirty="0"/>
            </a:br>
            <a:r>
              <a:rPr lang="en-US" sz="2900" i="1" u="sng" dirty="0"/>
              <a:t>How to Obtain CME Credit</a:t>
            </a:r>
            <a:br>
              <a:rPr lang="en-US" sz="2900" i="1" dirty="0"/>
            </a:br>
            <a:r>
              <a:rPr lang="en-US" sz="2900" i="1" dirty="0"/>
              <a:t>In-person attendees: Please refer to the program syllabus for the CME credit link or QR code. Online/Zoom attendees: </a:t>
            </a:r>
            <a:br>
              <a:rPr lang="en-US" sz="2900" i="1" dirty="0"/>
            </a:br>
            <a:r>
              <a:rPr lang="en-US" sz="2900" i="1" dirty="0"/>
              <a:t>The CME credit link is posted in the chat room.</a:t>
            </a:r>
          </a:p>
        </p:txBody>
      </p:sp>
    </p:spTree>
    <p:extLst>
      <p:ext uri="{BB962C8B-B14F-4D97-AF65-F5344CB8AC3E}">
        <p14:creationId xmlns:p14="http://schemas.microsoft.com/office/powerpoint/2010/main" val="5469110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615426-90A6-0968-5980-D5A39EF57EC9}"/>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CC6D5B36-EF8A-47A4-3407-FB5B341F4DD8}"/>
              </a:ext>
            </a:extLst>
          </p:cNvPr>
          <p:cNvSpPr>
            <a:spLocks noGrp="1" noChangeArrowheads="1"/>
          </p:cNvSpPr>
          <p:nvPr>
            <p:ph type="title"/>
          </p:nvPr>
        </p:nvSpPr>
        <p:spPr>
          <a:xfrm>
            <a:off x="-26623" y="341700"/>
            <a:ext cx="12192000" cy="1143000"/>
          </a:xfrm>
        </p:spPr>
        <p:txBody>
          <a:bodyPr wrap="square" anchor="ctr">
            <a:noAutofit/>
          </a:bodyPr>
          <a:lstStyle/>
          <a:p>
            <a:r>
              <a:rPr lang="en-US" sz="3400" dirty="0"/>
              <a:t>Cases from the Community: Investigators Discuss the Optimal Management of EGFR-Mutated Non-Small Cell Lung Cancer</a:t>
            </a:r>
          </a:p>
        </p:txBody>
      </p:sp>
      <p:sp>
        <p:nvSpPr>
          <p:cNvPr id="6" name="Text Box 6">
            <a:extLst>
              <a:ext uri="{FF2B5EF4-FFF2-40B4-BE49-F238E27FC236}">
                <a16:creationId xmlns:a16="http://schemas.microsoft.com/office/drawing/2014/main" id="{E3E82A1C-D1F0-727C-3AF0-930EAA4470DF}"/>
              </a:ext>
            </a:extLst>
          </p:cNvPr>
          <p:cNvSpPr txBox="1">
            <a:spLocks noChangeArrowheads="1"/>
          </p:cNvSpPr>
          <p:nvPr/>
        </p:nvSpPr>
        <p:spPr bwMode="auto">
          <a:xfrm>
            <a:off x="0" y="158611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May 29,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30 PM – 8:30 PM CT (7:30 PM – 9: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311B9F78-6CBE-6E0E-30F2-5A50225D325B}"/>
              </a:ext>
            </a:extLst>
          </p:cNvPr>
          <p:cNvSpPr txBox="1">
            <a:spLocks noChangeArrowheads="1"/>
          </p:cNvSpPr>
          <p:nvPr/>
        </p:nvSpPr>
        <p:spPr bwMode="auto">
          <a:xfrm>
            <a:off x="0" y="558953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cob Sands, MD</a:t>
            </a:r>
          </a:p>
        </p:txBody>
      </p:sp>
      <p:sp>
        <p:nvSpPr>
          <p:cNvPr id="3" name="Text Box 7">
            <a:extLst>
              <a:ext uri="{FF2B5EF4-FFF2-40B4-BE49-F238E27FC236}">
                <a16:creationId xmlns:a16="http://schemas.microsoft.com/office/drawing/2014/main" id="{24601FD9-4EAA-661B-1768-3B58673EB195}"/>
              </a:ext>
            </a:extLst>
          </p:cNvPr>
          <p:cNvSpPr txBox="1">
            <a:spLocks noChangeArrowheads="1"/>
          </p:cNvSpPr>
          <p:nvPr/>
        </p:nvSpPr>
        <p:spPr bwMode="auto">
          <a:xfrm>
            <a:off x="4647392" y="2874487"/>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1D0B472F-F55E-13E8-FCB0-CBBE2F23256E}"/>
              </a:ext>
            </a:extLst>
          </p:cNvPr>
          <p:cNvSpPr txBox="1">
            <a:spLocks noChangeArrowheads="1"/>
          </p:cNvSpPr>
          <p:nvPr/>
        </p:nvSpPr>
        <p:spPr bwMode="auto">
          <a:xfrm>
            <a:off x="152400" y="3429000"/>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rah B Goldberg, MD, MPH</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nathan Goldman,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el W Neal, MD, Ph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tonio Passaro, MD, PhD</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6929000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5"/>
            <a:ext cx="10358967" cy="1323025"/>
          </a:xfrm>
        </p:spPr>
        <p:txBody>
          <a:bodyPr/>
          <a:lstStyle/>
          <a:p>
            <a:r>
              <a:rPr lang="en-US" dirty="0"/>
              <a:t>Cases from the Community</a:t>
            </a:r>
          </a:p>
        </p:txBody>
      </p:sp>
      <p:sp>
        <p:nvSpPr>
          <p:cNvPr id="12" name="Text Box 9">
            <a:extLst>
              <a:ext uri="{FF2B5EF4-FFF2-40B4-BE49-F238E27FC236}">
                <a16:creationId xmlns:a16="http://schemas.microsoft.com/office/drawing/2014/main" id="{441728CD-2D3F-D688-1E25-AC52D3DB3776}"/>
              </a:ext>
            </a:extLst>
          </p:cNvPr>
          <p:cNvSpPr txBox="1">
            <a:spLocks noChangeArrowheads="1"/>
          </p:cNvSpPr>
          <p:nvPr/>
        </p:nvSpPr>
        <p:spPr bwMode="auto">
          <a:xfrm>
            <a:off x="7551214" y="3997806"/>
            <a:ext cx="432669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Miami, Florida</a:t>
            </a:r>
          </a:p>
        </p:txBody>
      </p:sp>
      <p:pic>
        <p:nvPicPr>
          <p:cNvPr id="13" name="Picture 12">
            <a:extLst>
              <a:ext uri="{FF2B5EF4-FFF2-40B4-BE49-F238E27FC236}">
                <a16:creationId xmlns:a16="http://schemas.microsoft.com/office/drawing/2014/main" id="{9115F577-BE88-BF84-D927-870CA3C8F09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576" y="3997806"/>
            <a:ext cx="1261872" cy="1261872"/>
          </a:xfrm>
          <a:prstGeom prst="rect">
            <a:avLst/>
          </a:prstGeom>
        </p:spPr>
      </p:pic>
      <p:sp>
        <p:nvSpPr>
          <p:cNvPr id="4" name="Text Box 7">
            <a:extLst>
              <a:ext uri="{FF2B5EF4-FFF2-40B4-BE49-F238E27FC236}">
                <a16:creationId xmlns:a16="http://schemas.microsoft.com/office/drawing/2014/main" id="{AB3727FD-F233-5F0E-C085-06F51C72E6FB}"/>
              </a:ext>
            </a:extLst>
          </p:cNvPr>
          <p:cNvSpPr txBox="1">
            <a:spLocks noChangeArrowheads="1"/>
          </p:cNvSpPr>
          <p:nvPr/>
        </p:nvSpPr>
        <p:spPr bwMode="auto">
          <a:xfrm>
            <a:off x="2143675" y="1748765"/>
            <a:ext cx="3077019"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Susmitha </a:t>
            </a:r>
            <a:r>
              <a:rPr kumimoji="0" lang="en-US" sz="1600" b="1" i="0" u="none" strike="noStrike" kern="1200" cap="none" spc="0" normalizeH="0" baseline="0" noProof="0" dirty="0" err="1">
                <a:ln>
                  <a:noFill/>
                </a:ln>
                <a:solidFill>
                  <a:srgbClr val="000000"/>
                </a:solidFill>
                <a:effectLst/>
                <a:uLnTx/>
                <a:uFillTx/>
                <a:latin typeface="Calibri"/>
                <a:ea typeface="+mn-ea"/>
                <a:cs typeface="+mn-cs"/>
              </a:rPr>
              <a:t>Apuri</a:t>
            </a:r>
            <a:r>
              <a:rPr kumimoji="0" lang="en-US" sz="1600" b="1" i="0" u="none" strike="noStrike" kern="1200" cap="none" spc="0" normalizeH="0" baseline="0" noProof="0" dirty="0">
                <a:ln>
                  <a:noFill/>
                </a:ln>
                <a:solidFill>
                  <a:srgbClr val="000000"/>
                </a:solidFill>
                <a:effectLst/>
                <a:uLnTx/>
                <a:uFillTx/>
                <a:latin typeface="Calibri"/>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Florida Cancer </a:t>
            </a:r>
            <a:r>
              <a:rPr kumimoji="0" lang="en-US" sz="1600" b="0" i="0" u="none" strike="noStrike" kern="1200" cap="none" spc="0" normalizeH="0" baseline="0" noProof="0">
                <a:ln>
                  <a:noFill/>
                </a:ln>
                <a:solidFill>
                  <a:srgbClr val="000000"/>
                </a:solidFill>
                <a:effectLst/>
                <a:uLnTx/>
                <a:uFillTx/>
                <a:latin typeface="Calibri"/>
                <a:ea typeface="+mn-ea"/>
                <a:cs typeface="+mn-cs"/>
              </a:rPr>
              <a:t>Specialists </a:t>
            </a:r>
            <a:br>
              <a:rPr kumimoji="0" lang="en-US" sz="1600" b="0" i="0" u="none" strike="noStrike" kern="1200" cap="none" spc="0" normalizeH="0" baseline="0" noProof="0">
                <a:ln>
                  <a:noFill/>
                </a:ln>
                <a:solidFill>
                  <a:srgbClr val="000000"/>
                </a:solidFill>
                <a:effectLst/>
                <a:uLnTx/>
                <a:uFillTx/>
                <a:latin typeface="Calibri"/>
                <a:ea typeface="+mn-ea"/>
                <a:cs typeface="+mn-cs"/>
              </a:rPr>
            </a:br>
            <a:r>
              <a:rPr kumimoji="0" lang="en-US" sz="1600" b="0" i="0" u="none" strike="noStrike" kern="1200" cap="none" spc="0" normalizeH="0" baseline="0" noProof="0">
                <a:ln>
                  <a:noFill/>
                </a:ln>
                <a:solidFill>
                  <a:srgbClr val="000000"/>
                </a:solidFill>
                <a:effectLst/>
                <a:uLnTx/>
                <a:uFillTx/>
                <a:latin typeface="Calibri"/>
                <a:ea typeface="+mn-ea"/>
                <a:cs typeface="+mn-cs"/>
              </a:rPr>
              <a:t>&amp; </a:t>
            </a:r>
            <a:r>
              <a:rPr kumimoji="0" lang="en-US" sz="1600" b="0" i="0" u="none" strike="noStrike" kern="1200" cap="none" spc="0" normalizeH="0" baseline="0" noProof="0" dirty="0">
                <a:ln>
                  <a:noFill/>
                </a:ln>
                <a:solidFill>
                  <a:srgbClr val="000000"/>
                </a:solidFill>
                <a:effectLst/>
                <a:uLnTx/>
                <a:uFillTx/>
                <a:latin typeface="Calibri"/>
                <a:ea typeface="+mn-ea"/>
                <a:cs typeface="+mn-cs"/>
              </a:rPr>
              <a:t>Research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Inverness and Lecanto, Florida</a:t>
            </a:r>
          </a:p>
        </p:txBody>
      </p:sp>
      <p:sp>
        <p:nvSpPr>
          <p:cNvPr id="14" name="Text Box 7">
            <a:extLst>
              <a:ext uri="{FF2B5EF4-FFF2-40B4-BE49-F238E27FC236}">
                <a16:creationId xmlns:a16="http://schemas.microsoft.com/office/drawing/2014/main" id="{66577322-329A-EFC4-7B03-975E894BDC71}"/>
              </a:ext>
            </a:extLst>
          </p:cNvPr>
          <p:cNvSpPr txBox="1">
            <a:spLocks noChangeArrowheads="1"/>
          </p:cNvSpPr>
          <p:nvPr/>
        </p:nvSpPr>
        <p:spPr bwMode="auto">
          <a:xfrm>
            <a:off x="2143675" y="3997806"/>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Stephen "Fred" Divers,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Chief Medical Offic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merican Oncolog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Hot Springs, Arkansas</a:t>
            </a:r>
          </a:p>
        </p:txBody>
      </p:sp>
      <p:sp>
        <p:nvSpPr>
          <p:cNvPr id="18" name="Text Box 9">
            <a:extLst>
              <a:ext uri="{FF2B5EF4-FFF2-40B4-BE49-F238E27FC236}">
                <a16:creationId xmlns:a16="http://schemas.microsoft.com/office/drawing/2014/main" id="{6CC7824C-7F5A-DDD6-06E8-05BE400C9191}"/>
              </a:ext>
            </a:extLst>
          </p:cNvPr>
          <p:cNvSpPr txBox="1">
            <a:spLocks noChangeArrowheads="1"/>
          </p:cNvSpPr>
          <p:nvPr/>
        </p:nvSpPr>
        <p:spPr bwMode="auto">
          <a:xfrm>
            <a:off x="7551214" y="1748765"/>
            <a:ext cx="3641923"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Priya Rudolph, MD, Ph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Georgia Cancer Speciali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orthside Hospital Cancer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thens, Georgia</a:t>
            </a:r>
          </a:p>
        </p:txBody>
      </p:sp>
      <p:pic>
        <p:nvPicPr>
          <p:cNvPr id="3" name="Picture 2">
            <a:extLst>
              <a:ext uri="{FF2B5EF4-FFF2-40B4-BE49-F238E27FC236}">
                <a16:creationId xmlns:a16="http://schemas.microsoft.com/office/drawing/2014/main" id="{610C6F8F-A54D-8436-AA7C-5A300776FBB2}"/>
              </a:ext>
            </a:extLst>
          </p:cNvPr>
          <p:cNvPicPr>
            <a:picLocks noChangeAspect="1"/>
          </p:cNvPicPr>
          <p:nvPr/>
        </p:nvPicPr>
        <p:blipFill>
          <a:blip r:embed="rId4"/>
          <a:srcRect/>
          <a:stretch/>
        </p:blipFill>
        <p:spPr>
          <a:xfrm>
            <a:off x="833468" y="1748765"/>
            <a:ext cx="1261872" cy="1261872"/>
          </a:xfrm>
          <a:prstGeom prst="rect">
            <a:avLst/>
          </a:prstGeom>
        </p:spPr>
      </p:pic>
      <p:pic>
        <p:nvPicPr>
          <p:cNvPr id="5" name="Picture 4">
            <a:extLst>
              <a:ext uri="{FF2B5EF4-FFF2-40B4-BE49-F238E27FC236}">
                <a16:creationId xmlns:a16="http://schemas.microsoft.com/office/drawing/2014/main" id="{913E31E5-E599-3A0C-949D-66208056918C}"/>
              </a:ext>
            </a:extLst>
          </p:cNvPr>
          <p:cNvPicPr>
            <a:picLocks noChangeAspect="1"/>
          </p:cNvPicPr>
          <p:nvPr/>
        </p:nvPicPr>
        <p:blipFill>
          <a:blip r:embed="rId5"/>
          <a:srcRect/>
          <a:stretch/>
        </p:blipFill>
        <p:spPr>
          <a:xfrm>
            <a:off x="833468" y="3997806"/>
            <a:ext cx="1261872" cy="1261872"/>
          </a:xfrm>
          <a:prstGeom prst="rect">
            <a:avLst/>
          </a:prstGeom>
        </p:spPr>
      </p:pic>
      <p:pic>
        <p:nvPicPr>
          <p:cNvPr id="6" name="Picture 5">
            <a:extLst>
              <a:ext uri="{FF2B5EF4-FFF2-40B4-BE49-F238E27FC236}">
                <a16:creationId xmlns:a16="http://schemas.microsoft.com/office/drawing/2014/main" id="{DDDAFC63-6AE7-3C70-5F0B-4BEA3A19C054}"/>
              </a:ext>
            </a:extLst>
          </p:cNvPr>
          <p:cNvPicPr>
            <a:picLocks noChangeAspect="1"/>
          </p:cNvPicPr>
          <p:nvPr/>
        </p:nvPicPr>
        <p:blipFill>
          <a:blip r:embed="rId6"/>
          <a:srcRect/>
          <a:stretch/>
        </p:blipFill>
        <p:spPr>
          <a:xfrm>
            <a:off x="6229576" y="1748765"/>
            <a:ext cx="1261872" cy="1261872"/>
          </a:xfrm>
          <a:prstGeom prst="rect">
            <a:avLst/>
          </a:prstGeom>
        </p:spPr>
      </p:pic>
    </p:spTree>
    <p:custDataLst>
      <p:tags r:id="rId1"/>
    </p:custDataLst>
    <p:extLst>
      <p:ext uri="{BB962C8B-B14F-4D97-AF65-F5344CB8AC3E}">
        <p14:creationId xmlns:p14="http://schemas.microsoft.com/office/powerpoint/2010/main" val="8521467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5616-704B-A139-A791-08E7B581F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FC1AB-5F92-5346-EE9B-27A647A110DD}"/>
              </a:ext>
            </a:extLst>
          </p:cNvPr>
          <p:cNvSpPr>
            <a:spLocks noGrp="1"/>
          </p:cNvSpPr>
          <p:nvPr>
            <p:ph type="title"/>
          </p:nvPr>
        </p:nvSpPr>
        <p:spPr>
          <a:xfrm>
            <a:off x="912286" y="227013"/>
            <a:ext cx="10358967" cy="969739"/>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A44683-7CBE-DAD2-6FBD-75BA452AB39B}"/>
              </a:ext>
            </a:extLst>
          </p:cNvPr>
          <p:cNvSpPr>
            <a:spLocks noGrp="1"/>
          </p:cNvSpPr>
          <p:nvPr>
            <p:ph idx="1"/>
          </p:nvPr>
        </p:nvSpPr>
        <p:spPr>
          <a:xfrm>
            <a:off x="767408" y="1196752"/>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Evolving First-Line Treatment for Metastatic EGFR-Mutated </a:t>
            </a:r>
            <a:br>
              <a:rPr lang="en-US" sz="2500" dirty="0">
                <a:solidFill>
                  <a:schemeClr val="tx1"/>
                </a:solidFill>
              </a:rPr>
            </a:br>
            <a:r>
              <a:rPr lang="en-US" sz="2500" dirty="0">
                <a:solidFill>
                  <a:schemeClr val="tx1"/>
                </a:solidFill>
              </a:rPr>
              <a:t>Non-Small Cell Lung Cancer (NSCLC) — Prof Passaro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EGFR-Targeted Therapeutic Strategies for Relapsed EGFR-Mutant NSCLC — Dr Nea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Utility of TROP2-Targeted Antibody-Drug Conjugates in the Management of EGFR-Mutant NSCLC — Dr Sands</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Emerging Role of Bispecific Antibody-Based Approaches for </a:t>
            </a:r>
            <a:br>
              <a:rPr lang="en-US" sz="2500" dirty="0">
                <a:solidFill>
                  <a:schemeClr val="tx1"/>
                </a:solidFill>
              </a:rPr>
            </a:br>
            <a:r>
              <a:rPr lang="en-US" sz="2500" dirty="0">
                <a:solidFill>
                  <a:schemeClr val="tx1"/>
                </a:solidFill>
              </a:rPr>
              <a:t>EGFR-Mutated NSCLC — Dr Goldman</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Tolerability Considerations with the Use of Available and Emerging Therapies for EGFR-Mutated NSCLC — Dr Goldberg</a:t>
            </a:r>
          </a:p>
        </p:txBody>
      </p:sp>
    </p:spTree>
    <p:extLst>
      <p:ext uri="{BB962C8B-B14F-4D97-AF65-F5344CB8AC3E}">
        <p14:creationId xmlns:p14="http://schemas.microsoft.com/office/powerpoint/2010/main" val="41749988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3A1FF1-BDFD-7CF6-C10A-34B435C5C8CC}"/>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CF9B798-4FC4-BB6A-2C6E-2511F6664D08}"/>
              </a:ext>
            </a:extLst>
          </p:cNvPr>
          <p:cNvSpPr/>
          <p:nvPr/>
        </p:nvSpPr>
        <p:spPr bwMode="auto">
          <a:xfrm>
            <a:off x="740128" y="1124744"/>
            <a:ext cx="10900488" cy="96973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DE08BA67-C677-751D-8E21-68A113EE5A02}"/>
              </a:ext>
            </a:extLst>
          </p:cNvPr>
          <p:cNvSpPr>
            <a:spLocks noGrp="1"/>
          </p:cNvSpPr>
          <p:nvPr>
            <p:ph type="title"/>
          </p:nvPr>
        </p:nvSpPr>
        <p:spPr>
          <a:xfrm>
            <a:off x="912286" y="227013"/>
            <a:ext cx="10358967" cy="969739"/>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68D5EFAF-8A64-3248-4D9F-573C460E1BDF}"/>
              </a:ext>
            </a:extLst>
          </p:cNvPr>
          <p:cNvSpPr>
            <a:spLocks noGrp="1"/>
          </p:cNvSpPr>
          <p:nvPr>
            <p:ph idx="1"/>
          </p:nvPr>
        </p:nvSpPr>
        <p:spPr>
          <a:xfrm>
            <a:off x="767408" y="1196752"/>
            <a:ext cx="10225136" cy="4799013"/>
          </a:xfrm>
        </p:spPr>
        <p:txBody>
          <a:bodyPr/>
          <a:lstStyle/>
          <a:p>
            <a:pPr marL="98425" indent="0">
              <a:lnSpc>
                <a:spcPct val="100000"/>
              </a:lnSpc>
              <a:spcBef>
                <a:spcPts val="1600"/>
              </a:spcBef>
              <a:spcAft>
                <a:spcPts val="0"/>
              </a:spcAft>
              <a:buNone/>
            </a:pPr>
            <a:r>
              <a:rPr lang="en-US" sz="2500" dirty="0">
                <a:solidFill>
                  <a:schemeClr val="bg1"/>
                </a:solidFill>
              </a:rPr>
              <a:t>Module 1: Evolving First-Line Treatment for Metastatic EGFR-Mutated </a:t>
            </a:r>
            <a:br>
              <a:rPr lang="en-US" sz="2500" dirty="0">
                <a:solidFill>
                  <a:schemeClr val="bg1"/>
                </a:solidFill>
              </a:rPr>
            </a:br>
            <a:r>
              <a:rPr lang="en-US" sz="2500" dirty="0">
                <a:solidFill>
                  <a:schemeClr val="bg1"/>
                </a:solidFill>
              </a:rPr>
              <a:t>Non-Small Cell Lung Cancer (NSCLC) — Prof Passaro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EGFR-Targeted Therapeutic Strategies for Relapsed EGFR-Mutant NSCLC — Dr Nea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Utility of TROP2-Targeted Antibody-Drug Conjugates in the Management of EGFR-Mutant NSCLC — Dr Sands</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Emerging Role of Bispecific Antibody-Based Approaches for </a:t>
            </a:r>
            <a:br>
              <a:rPr lang="en-US" sz="2500" dirty="0">
                <a:solidFill>
                  <a:schemeClr val="tx1"/>
                </a:solidFill>
              </a:rPr>
            </a:br>
            <a:r>
              <a:rPr lang="en-US" sz="2500" dirty="0">
                <a:solidFill>
                  <a:schemeClr val="tx1"/>
                </a:solidFill>
              </a:rPr>
              <a:t>EGFR-Mutated NSCLC — Dr Goldman</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Tolerability Considerations with the Use of Available and Emerging Therapies for EGFR-Mutated NSCLC — Dr Goldberg</a:t>
            </a:r>
          </a:p>
        </p:txBody>
      </p:sp>
    </p:spTree>
    <p:extLst>
      <p:ext uri="{BB962C8B-B14F-4D97-AF65-F5344CB8AC3E}">
        <p14:creationId xmlns:p14="http://schemas.microsoft.com/office/powerpoint/2010/main" val="16947943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fondo astratto di rete">
            <a:extLst>
              <a:ext uri="{FF2B5EF4-FFF2-40B4-BE49-F238E27FC236}">
                <a16:creationId xmlns:a16="http://schemas.microsoft.com/office/drawing/2014/main" id="{B4CC579C-3B94-FBC3-7497-0E87B55D20CD}"/>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10000"/>
                    </a14:imgEffect>
                  </a14:imgLayer>
                </a14:imgProps>
              </a:ext>
            </a:extLst>
          </a:blip>
          <a:srcRect l="32048" t="-1" r="24074" b="17014"/>
          <a:stretch/>
        </p:blipFill>
        <p:spPr>
          <a:xfrm>
            <a:off x="8284464" y="7938"/>
            <a:ext cx="3882135" cy="4901000"/>
          </a:xfrm>
          <a:prstGeom prst="rect">
            <a:avLst/>
          </a:prstGeom>
        </p:spPr>
      </p:pic>
      <p:sp>
        <p:nvSpPr>
          <p:cNvPr id="8" name="Rettangolo 7"/>
          <p:cNvSpPr/>
          <p:nvPr/>
        </p:nvSpPr>
        <p:spPr>
          <a:xfrm>
            <a:off x="1" y="4745165"/>
            <a:ext cx="12166598" cy="1569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002F5C"/>
                </a:solidFill>
                <a:effectLst/>
                <a:uLnTx/>
                <a:uFillTx/>
                <a:latin typeface="Arial" panose="020B0604020202020204" pitchFamily="34" charset="0"/>
                <a:ea typeface="+mn-ea"/>
                <a:cs typeface="Arial" panose="020B0604020202020204" pitchFamily="34" charset="0"/>
              </a:rPr>
              <a:t>Antonio Passaro, MD Ph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ivision</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a:t>
            </a:r>
            <a:r>
              <a:rPr kumimoji="0" lang="it-IT"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horacic</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ncolo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uropean</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nstitute</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Oncology – IEO, Milan, Ita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mail: </a:t>
            </a:r>
            <a:r>
              <a:rPr kumimoji="0" lang="it-IT" sz="2400" b="0"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5"/>
              </a:rPr>
              <a:t>antonio.passaro@ieo.it</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2400" b="0"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6"/>
              </a:rPr>
              <a:t>@APassaroMD</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9" name="AutoShape 2" descr="Istituto Europeo di Oncologia"/>
          <p:cNvSpPr>
            <a:spLocks noChangeAspect="1" noChangeArrowheads="1"/>
          </p:cNvSpPr>
          <p:nvPr/>
        </p:nvSpPr>
        <p:spPr bwMode="auto">
          <a:xfrm>
            <a:off x="155575" y="-144462"/>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Johnson Text"/>
              <a:ea typeface="+mn-ea"/>
              <a:cs typeface="+mn-cs"/>
            </a:endParaRPr>
          </a:p>
        </p:txBody>
      </p:sp>
      <p:sp>
        <p:nvSpPr>
          <p:cNvPr id="12" name="Rettangolo 11"/>
          <p:cNvSpPr/>
          <p:nvPr/>
        </p:nvSpPr>
        <p:spPr>
          <a:xfrm>
            <a:off x="1020013" y="2230065"/>
            <a:ext cx="10151972" cy="1658608"/>
          </a:xfrm>
          <a:prstGeom prst="rect">
            <a:avLst/>
          </a:prstGeom>
          <a:gradFill flip="none" rotWithShape="1">
            <a:gsLst>
              <a:gs pos="0">
                <a:schemeClr val="accent1">
                  <a:lumMod val="5000"/>
                  <a:lumOff val="95000"/>
                </a:schemeClr>
              </a:gs>
              <a:gs pos="74000">
                <a:schemeClr val="bg1">
                  <a:lumMod val="75000"/>
                </a:schemeClr>
              </a:gs>
              <a:gs pos="100000">
                <a:schemeClr val="bg1">
                  <a:lumMod val="85000"/>
                </a:schemeClr>
              </a:gs>
            </a:gsLst>
            <a:lin ang="0" scaled="1"/>
            <a:tileRect/>
          </a:gra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2600" b="1" i="0" u="none" strike="noStrike" kern="1200" cap="none" spc="0" normalizeH="0" baseline="0" noProof="0" dirty="0" err="1">
                <a:ln>
                  <a:noFill/>
                </a:ln>
                <a:solidFill>
                  <a:srgbClr val="002060"/>
                </a:solidFill>
                <a:effectLst/>
                <a:uLnTx/>
                <a:uFillTx/>
                <a:latin typeface="Johnson Text"/>
                <a:ea typeface="+mn-ea"/>
                <a:cs typeface="+mn-cs"/>
              </a:rPr>
              <a:t>Evolving</a:t>
            </a:r>
            <a:r>
              <a:rPr kumimoji="0" lang="it-IT" sz="2600" b="1" i="0" u="none" strike="noStrike" kern="1200" cap="none" spc="0" normalizeH="0" baseline="0" noProof="0" dirty="0">
                <a:ln>
                  <a:noFill/>
                </a:ln>
                <a:solidFill>
                  <a:srgbClr val="002060"/>
                </a:solidFill>
                <a:effectLst/>
                <a:uLnTx/>
                <a:uFillTx/>
                <a:latin typeface="Johnson Text"/>
                <a:ea typeface="+mn-ea"/>
                <a:cs typeface="+mn-cs"/>
              </a:rPr>
              <a:t> First-Line Treatment for </a:t>
            </a:r>
            <a:r>
              <a:rPr kumimoji="0" lang="it-IT" sz="2600" b="1" i="0" u="none" strike="noStrike" kern="1200" cap="none" spc="0" normalizeH="0" baseline="0" noProof="0" dirty="0" err="1">
                <a:ln>
                  <a:noFill/>
                </a:ln>
                <a:solidFill>
                  <a:srgbClr val="002060"/>
                </a:solidFill>
                <a:effectLst/>
                <a:uLnTx/>
                <a:uFillTx/>
                <a:latin typeface="Johnson Text"/>
                <a:ea typeface="+mn-ea"/>
                <a:cs typeface="+mn-cs"/>
              </a:rPr>
              <a:t>Metastatic</a:t>
            </a:r>
            <a:r>
              <a:rPr kumimoji="0" lang="it-IT" sz="2600" b="1" i="0" u="none" strike="noStrike" kern="1200" cap="none" spc="0" normalizeH="0" baseline="0" noProof="0" dirty="0">
                <a:ln>
                  <a:noFill/>
                </a:ln>
                <a:solidFill>
                  <a:srgbClr val="002060"/>
                </a:solidFill>
                <a:effectLst/>
                <a:uLnTx/>
                <a:uFillTx/>
                <a:latin typeface="Johnson Text"/>
                <a:ea typeface="+mn-ea"/>
                <a:cs typeface="+mn-cs"/>
              </a:rPr>
              <a:t> </a:t>
            </a:r>
            <a:br>
              <a:rPr kumimoji="0" lang="it-IT" sz="2600" b="1" i="0" u="none" strike="noStrike" kern="1200" cap="none" spc="0" normalizeH="0" baseline="0" noProof="0" dirty="0">
                <a:ln>
                  <a:noFill/>
                </a:ln>
                <a:solidFill>
                  <a:srgbClr val="002060"/>
                </a:solidFill>
                <a:effectLst/>
                <a:uLnTx/>
                <a:uFillTx/>
                <a:latin typeface="Johnson Text"/>
                <a:ea typeface="+mn-ea"/>
                <a:cs typeface="+mn-cs"/>
              </a:rPr>
            </a:br>
            <a:r>
              <a:rPr kumimoji="0" lang="it-IT" sz="2600" b="1" i="0" u="none" strike="noStrike" kern="1200" cap="none" spc="0" normalizeH="0" baseline="0" noProof="0" dirty="0">
                <a:ln>
                  <a:noFill/>
                </a:ln>
                <a:solidFill>
                  <a:srgbClr val="002060"/>
                </a:solidFill>
                <a:effectLst/>
                <a:uLnTx/>
                <a:uFillTx/>
                <a:latin typeface="Johnson Text"/>
                <a:ea typeface="+mn-ea"/>
                <a:cs typeface="+mn-cs"/>
              </a:rPr>
              <a:t>EGFR </a:t>
            </a:r>
            <a:r>
              <a:rPr kumimoji="0" lang="it-IT" sz="2600" b="1" i="0" u="none" strike="noStrike" kern="1200" cap="none" spc="0" normalizeH="0" baseline="0" noProof="0" dirty="0" err="1">
                <a:ln>
                  <a:noFill/>
                </a:ln>
                <a:solidFill>
                  <a:srgbClr val="002060"/>
                </a:solidFill>
                <a:effectLst/>
                <a:uLnTx/>
                <a:uFillTx/>
                <a:latin typeface="Johnson Text"/>
                <a:ea typeface="+mn-ea"/>
                <a:cs typeface="+mn-cs"/>
              </a:rPr>
              <a:t>Mutation</a:t>
            </a:r>
            <a:r>
              <a:rPr kumimoji="0" lang="it-IT" sz="2600" b="1" i="0" u="none" strike="noStrike" kern="1200" cap="none" spc="0" normalizeH="0" baseline="0" noProof="0" dirty="0">
                <a:ln>
                  <a:noFill/>
                </a:ln>
                <a:solidFill>
                  <a:srgbClr val="002060"/>
                </a:solidFill>
                <a:effectLst/>
                <a:uLnTx/>
                <a:uFillTx/>
                <a:latin typeface="Johnson Text"/>
                <a:ea typeface="+mn-ea"/>
                <a:cs typeface="+mn-cs"/>
              </a:rPr>
              <a:t>-Positive Non-Small Cell Lung Cancer (NSCLC) </a:t>
            </a:r>
            <a:endParaRPr kumimoji="0" lang="it-IT" sz="2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11" name="Gruppo 10">
            <a:extLst>
              <a:ext uri="{FF2B5EF4-FFF2-40B4-BE49-F238E27FC236}">
                <a16:creationId xmlns:a16="http://schemas.microsoft.com/office/drawing/2014/main" id="{A6BD31F3-8A2E-9093-26D6-B8E92C1637BC}"/>
              </a:ext>
            </a:extLst>
          </p:cNvPr>
          <p:cNvGrpSpPr/>
          <p:nvPr/>
        </p:nvGrpSpPr>
        <p:grpSpPr>
          <a:xfrm>
            <a:off x="-1" y="6630994"/>
            <a:ext cx="12192001" cy="226102"/>
            <a:chOff x="-1" y="6630994"/>
            <a:chExt cx="12192001" cy="226102"/>
          </a:xfrm>
        </p:grpSpPr>
        <p:sp>
          <p:nvSpPr>
            <p:cNvPr id="6" name="Rettangolo 5">
              <a:extLst>
                <a:ext uri="{FF2B5EF4-FFF2-40B4-BE49-F238E27FC236}">
                  <a16:creationId xmlns:a16="http://schemas.microsoft.com/office/drawing/2014/main" id="{9F8E0C90-AA7E-A10E-87B6-47675381E736}"/>
                </a:ext>
              </a:extLst>
            </p:cNvPr>
            <p:cNvSpPr/>
            <p:nvPr/>
          </p:nvSpPr>
          <p:spPr>
            <a:xfrm>
              <a:off x="1" y="6667571"/>
              <a:ext cx="12191999" cy="189525"/>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Johnson Text"/>
                <a:ea typeface="+mn-ea"/>
                <a:cs typeface="+mn-cs"/>
              </a:endParaRPr>
            </a:p>
          </p:txBody>
        </p:sp>
        <p:sp>
          <p:nvSpPr>
            <p:cNvPr id="7" name="Rettangolo 6">
              <a:extLst>
                <a:ext uri="{FF2B5EF4-FFF2-40B4-BE49-F238E27FC236}">
                  <a16:creationId xmlns:a16="http://schemas.microsoft.com/office/drawing/2014/main" id="{7158BF55-98D5-3120-90A2-1C752F2701BE}"/>
                </a:ext>
              </a:extLst>
            </p:cNvPr>
            <p:cNvSpPr/>
            <p:nvPr/>
          </p:nvSpPr>
          <p:spPr>
            <a:xfrm>
              <a:off x="-1" y="6630994"/>
              <a:ext cx="12191999" cy="25609"/>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Johnson Text"/>
                <a:ea typeface="+mn-ea"/>
                <a:cs typeface="+mn-cs"/>
              </a:endParaRPr>
            </a:p>
          </p:txBody>
        </p:sp>
      </p:grpSp>
      <p:sp>
        <p:nvSpPr>
          <p:cNvPr id="3" name="CasellaDiTesto 2">
            <a:extLst>
              <a:ext uri="{FF2B5EF4-FFF2-40B4-BE49-F238E27FC236}">
                <a16:creationId xmlns:a16="http://schemas.microsoft.com/office/drawing/2014/main" id="{98605CC2-E056-CEDD-DBDF-CE9545580D77}"/>
              </a:ext>
            </a:extLst>
          </p:cNvPr>
          <p:cNvSpPr txBox="1"/>
          <p:nvPr/>
        </p:nvSpPr>
        <p:spPr>
          <a:xfrm>
            <a:off x="11516139" y="551290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000000"/>
              </a:solidFill>
              <a:effectLst/>
              <a:uLnTx/>
              <a:uFillTx/>
              <a:latin typeface="Johnson Text"/>
              <a:ea typeface="+mn-ea"/>
              <a:cs typeface="+mn-cs"/>
            </a:endParaRPr>
          </a:p>
        </p:txBody>
      </p:sp>
    </p:spTree>
    <p:extLst>
      <p:ext uri="{BB962C8B-B14F-4D97-AF65-F5344CB8AC3E}">
        <p14:creationId xmlns:p14="http://schemas.microsoft.com/office/powerpoint/2010/main" val="29137165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8353742" y="3284984"/>
            <a:ext cx="3718921" cy="1531803"/>
          </a:xfrm>
          <a:prstGeom prst="rect">
            <a:avLst/>
          </a:prstGeom>
          <a:noFill/>
          <a:ln w="9525">
            <a:noFill/>
            <a:miter lim="800000"/>
            <a:headEnd/>
            <a:tailEnd/>
          </a:ln>
        </p:spPr>
        <p:txBody>
          <a:bodyPr lIns="91440" tIns="0" rIns="0" bIns="0">
            <a:prstTxWarp prst="textNoShape">
              <a:avLst/>
            </a:prstTxWarp>
          </a:bodyPr>
          <a:lstStyle/>
          <a:p>
            <a:pPr lvl="0">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Moderator </a:t>
            </a:r>
            <a:b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br>
            <a:r>
              <a:rPr lang="en-US" sz="1600" dirty="0">
                <a:solidFill>
                  <a:srgbClr val="000000"/>
                </a:solidFill>
                <a:latin typeface="Calibri" panose="020F0502020204030204" pitchFamily="34" charset="0"/>
                <a:ea typeface="ＭＳ Ｐゴシック" charset="0"/>
                <a:cs typeface="Calibri" panose="020F0502020204030204" pitchFamily="34" charset="0"/>
              </a:rPr>
              <a:t>Jacob Sands,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Chief, Thoracic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ana-Farber Cancer Institut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istant 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arvard Medical School</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oston, Massachusett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3E85B479-7CC2-B8D4-AEAB-4F020D82316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32104" y="3284984"/>
            <a:ext cx="1261872" cy="1261872"/>
          </a:xfrm>
          <a:prstGeom prst="rect">
            <a:avLst/>
          </a:prstGeom>
        </p:spPr>
      </p:pic>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1850635" y="1208704"/>
            <a:ext cx="5037453"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Sarah B Goldberg, MD, MP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Medical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hief of Thoracic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Yal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ew Haven, Connecticut</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6" name="Picture 15">
            <a:extLst>
              <a:ext uri="{FF2B5EF4-FFF2-40B4-BE49-F238E27FC236}">
                <a16:creationId xmlns:a16="http://schemas.microsoft.com/office/drawing/2014/main" id="{0479E3F4-F609-4335-E0B8-E8D3376AC12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28996" y="1208704"/>
            <a:ext cx="1261872" cy="1261872"/>
          </a:xfrm>
          <a:prstGeom prst="rect">
            <a:avLst/>
          </a:prstGeom>
        </p:spPr>
      </p:pic>
      <p:sp>
        <p:nvSpPr>
          <p:cNvPr id="18" name="Text Box 7">
            <a:extLst>
              <a:ext uri="{FF2B5EF4-FFF2-40B4-BE49-F238E27FC236}">
                <a16:creationId xmlns:a16="http://schemas.microsoft.com/office/drawing/2014/main" id="{027F8254-7C8B-9824-BE15-6C32B4F441CD}"/>
              </a:ext>
            </a:extLst>
          </p:cNvPr>
          <p:cNvSpPr txBox="1">
            <a:spLocks noChangeArrowheads="1"/>
          </p:cNvSpPr>
          <p:nvPr/>
        </p:nvSpPr>
        <p:spPr bwMode="auto">
          <a:xfrm>
            <a:off x="1816202" y="2801397"/>
            <a:ext cx="478385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Jonathan Goldman,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UCLA Hematology and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of Clinical Trials in Thoracic Oncology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Director of Drug Development</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CLA Healt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anta Monica, Californ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9" name="Picture 18">
            <a:extLst>
              <a:ext uri="{FF2B5EF4-FFF2-40B4-BE49-F238E27FC236}">
                <a16:creationId xmlns:a16="http://schemas.microsoft.com/office/drawing/2014/main" id="{FFC2443C-1709-4E13-FE10-FEBFA1B7F6F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94563" y="2801397"/>
            <a:ext cx="1261872" cy="1261872"/>
          </a:xfrm>
          <a:prstGeom prst="rect">
            <a:avLst/>
          </a:prstGeom>
        </p:spPr>
      </p:pic>
      <p:sp>
        <p:nvSpPr>
          <p:cNvPr id="3" name="Text Box 7">
            <a:extLst>
              <a:ext uri="{FF2B5EF4-FFF2-40B4-BE49-F238E27FC236}">
                <a16:creationId xmlns:a16="http://schemas.microsoft.com/office/drawing/2014/main" id="{4ED43422-A6E4-807B-F67A-E613773F6D14}"/>
              </a:ext>
            </a:extLst>
          </p:cNvPr>
          <p:cNvSpPr txBox="1">
            <a:spLocks noChangeArrowheads="1"/>
          </p:cNvSpPr>
          <p:nvPr/>
        </p:nvSpPr>
        <p:spPr bwMode="auto">
          <a:xfrm>
            <a:off x="1816202" y="4682151"/>
            <a:ext cx="478385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Joel W Neal,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Lead, Thoracic Oncology Clinical Research Group/Cancer Care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Division of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tanford University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alo Alto, Californ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4" name="Picture 3">
            <a:extLst>
              <a:ext uri="{FF2B5EF4-FFF2-40B4-BE49-F238E27FC236}">
                <a16:creationId xmlns:a16="http://schemas.microsoft.com/office/drawing/2014/main" id="{5F26E27A-CA8C-7E39-DA5D-FC3EA96E4DE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94563" y="4682151"/>
            <a:ext cx="1261872" cy="1261872"/>
          </a:xfrm>
          <a:prstGeom prst="rect">
            <a:avLst/>
          </a:prstGeom>
        </p:spPr>
      </p:pic>
      <p:sp>
        <p:nvSpPr>
          <p:cNvPr id="5" name="Text Box 7">
            <a:extLst>
              <a:ext uri="{FF2B5EF4-FFF2-40B4-BE49-F238E27FC236}">
                <a16:creationId xmlns:a16="http://schemas.microsoft.com/office/drawing/2014/main" id="{8C28A32C-06C5-6140-539D-5766A7ACF2E1}"/>
              </a:ext>
            </a:extLst>
          </p:cNvPr>
          <p:cNvSpPr txBox="1">
            <a:spLocks noChangeArrowheads="1"/>
          </p:cNvSpPr>
          <p:nvPr/>
        </p:nvSpPr>
        <p:spPr bwMode="auto">
          <a:xfrm>
            <a:off x="8353744" y="1208704"/>
            <a:ext cx="3718920"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ntonio Passaro,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vision of Thoracic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European Institute of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ilan, Italy</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6" name="Picture 5">
            <a:extLst>
              <a:ext uri="{FF2B5EF4-FFF2-40B4-BE49-F238E27FC236}">
                <a16:creationId xmlns:a16="http://schemas.microsoft.com/office/drawing/2014/main" id="{944B7B1C-3B12-85EB-391F-E2D4A151615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032104" y="1208704"/>
            <a:ext cx="1261872" cy="1261872"/>
          </a:xfrm>
          <a:prstGeom prst="rect">
            <a:avLst/>
          </a:prstGeom>
        </p:spPr>
      </p:pic>
    </p:spTree>
    <p:custDataLst>
      <p:tags r:id="rId1"/>
    </p:custDataLst>
    <p:extLst>
      <p:ext uri="{BB962C8B-B14F-4D97-AF65-F5344CB8AC3E}">
        <p14:creationId xmlns:p14="http://schemas.microsoft.com/office/powerpoint/2010/main" val="29487696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AC289-7B6C-4AAC-9289-54E8DE1B9951}"/>
            </a:ext>
          </a:extLst>
        </p:cNvPr>
        <p:cNvGrpSpPr/>
        <p:nvPr/>
      </p:nvGrpSpPr>
      <p:grpSpPr>
        <a:xfrm>
          <a:off x="0" y="0"/>
          <a:ext cx="0" cy="0"/>
          <a:chOff x="0" y="0"/>
          <a:chExt cx="0" cy="0"/>
        </a:xfrm>
      </p:grpSpPr>
      <p:sp>
        <p:nvSpPr>
          <p:cNvPr id="1879" name="Graphic 1877">
            <a:extLst>
              <a:ext uri="{FF2B5EF4-FFF2-40B4-BE49-F238E27FC236}">
                <a16:creationId xmlns:a16="http://schemas.microsoft.com/office/drawing/2014/main" id="{0D136C25-1BD5-87AD-CFA6-C6D4F3CF419D}"/>
              </a:ext>
            </a:extLst>
          </p:cNvPr>
          <p:cNvSpPr/>
          <p:nvPr/>
        </p:nvSpPr>
        <p:spPr>
          <a:xfrm flipV="1">
            <a:off x="425435" y="1676197"/>
            <a:ext cx="5510153" cy="1227461"/>
          </a:xfrm>
          <a:custGeom>
            <a:avLst/>
            <a:gdLst>
              <a:gd name="connsiteX0" fmla="*/ -827 w 6260648"/>
              <a:gd name="connsiteY0" fmla="*/ 1 h 1227461"/>
              <a:gd name="connsiteX1" fmla="*/ 6259822 w 6260648"/>
              <a:gd name="connsiteY1" fmla="*/ 1227463 h 1227461"/>
            </a:gdLst>
            <a:ahLst/>
            <a:cxnLst>
              <a:cxn ang="0">
                <a:pos x="connsiteX0" y="connsiteY0"/>
              </a:cxn>
              <a:cxn ang="0">
                <a:pos x="connsiteX1" y="connsiteY1"/>
              </a:cxn>
            </a:cxnLst>
            <a:rect l="l" t="t" r="r" b="b"/>
            <a:pathLst>
              <a:path w="6260648" h="1227461">
                <a:moveTo>
                  <a:pt x="-827" y="1"/>
                </a:moveTo>
                <a:cubicBezTo>
                  <a:pt x="2504305" y="14182"/>
                  <a:pt x="4836312" y="471401"/>
                  <a:pt x="6259822" y="1227463"/>
                </a:cubicBezTo>
              </a:path>
            </a:pathLst>
          </a:custGeom>
          <a:noFill/>
          <a:ln w="12700" cap="flat">
            <a:gradFill>
              <a:gsLst>
                <a:gs pos="62000">
                  <a:schemeClr val="tx2"/>
                </a:gs>
                <a:gs pos="100000">
                  <a:schemeClr val="accent1"/>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80" name="Graphic 1877">
            <a:extLst>
              <a:ext uri="{FF2B5EF4-FFF2-40B4-BE49-F238E27FC236}">
                <a16:creationId xmlns:a16="http://schemas.microsoft.com/office/drawing/2014/main" id="{0AF95B28-7FD1-BD95-2EA3-BC909DDC2748}"/>
              </a:ext>
            </a:extLst>
          </p:cNvPr>
          <p:cNvSpPr/>
          <p:nvPr/>
        </p:nvSpPr>
        <p:spPr>
          <a:xfrm>
            <a:off x="493807" y="5270296"/>
            <a:ext cx="5441781" cy="1066914"/>
          </a:xfrm>
          <a:custGeom>
            <a:avLst/>
            <a:gdLst>
              <a:gd name="connsiteX0" fmla="*/ -827 w 6260648"/>
              <a:gd name="connsiteY0" fmla="*/ 1 h 1227461"/>
              <a:gd name="connsiteX1" fmla="*/ 6259822 w 6260648"/>
              <a:gd name="connsiteY1" fmla="*/ 1227463 h 1227461"/>
            </a:gdLst>
            <a:ahLst/>
            <a:cxnLst>
              <a:cxn ang="0">
                <a:pos x="connsiteX0" y="connsiteY0"/>
              </a:cxn>
              <a:cxn ang="0">
                <a:pos x="connsiteX1" y="connsiteY1"/>
              </a:cxn>
            </a:cxnLst>
            <a:rect l="l" t="t" r="r" b="b"/>
            <a:pathLst>
              <a:path w="6260648" h="1227461">
                <a:moveTo>
                  <a:pt x="-827" y="1"/>
                </a:moveTo>
                <a:cubicBezTo>
                  <a:pt x="2504305" y="14182"/>
                  <a:pt x="4836312" y="471401"/>
                  <a:pt x="6259822" y="1227463"/>
                </a:cubicBezTo>
              </a:path>
            </a:pathLst>
          </a:custGeom>
          <a:noFill/>
          <a:ln w="12700" cap="flat">
            <a:gradFill>
              <a:gsLst>
                <a:gs pos="61000">
                  <a:schemeClr val="tx2"/>
                </a:gs>
                <a:gs pos="100000">
                  <a:schemeClr val="accent1"/>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82" name="Oval 1881">
            <a:extLst>
              <a:ext uri="{FF2B5EF4-FFF2-40B4-BE49-F238E27FC236}">
                <a16:creationId xmlns:a16="http://schemas.microsoft.com/office/drawing/2014/main" id="{6025C59F-7066-AAC9-1239-D9B85305EE75}"/>
              </a:ext>
            </a:extLst>
          </p:cNvPr>
          <p:cNvSpPr/>
          <p:nvPr/>
        </p:nvSpPr>
        <p:spPr>
          <a:xfrm>
            <a:off x="6733404" y="4984323"/>
            <a:ext cx="897053" cy="89705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endParaRPr>
          </a:p>
        </p:txBody>
      </p:sp>
      <p:graphicFrame>
        <p:nvGraphicFramePr>
          <p:cNvPr id="1881" name="Chart 1880">
            <a:extLst>
              <a:ext uri="{FF2B5EF4-FFF2-40B4-BE49-F238E27FC236}">
                <a16:creationId xmlns:a16="http://schemas.microsoft.com/office/drawing/2014/main" id="{A1B90B98-9B69-A108-3673-67B63CC1606B}"/>
              </a:ext>
            </a:extLst>
          </p:cNvPr>
          <p:cNvGraphicFramePr/>
          <p:nvPr/>
        </p:nvGraphicFramePr>
        <p:xfrm>
          <a:off x="6205836" y="4782120"/>
          <a:ext cx="1952189" cy="1301459"/>
        </p:xfrm>
        <a:graphic>
          <a:graphicData uri="http://schemas.openxmlformats.org/drawingml/2006/chart">
            <c:chart xmlns:c="http://schemas.openxmlformats.org/drawingml/2006/chart" xmlns:r="http://schemas.openxmlformats.org/officeDocument/2006/relationships" r:id="rId2"/>
          </a:graphicData>
        </a:graphic>
      </p:graphicFrame>
      <p:sp>
        <p:nvSpPr>
          <p:cNvPr id="1857" name="Oval 1856">
            <a:extLst>
              <a:ext uri="{FF2B5EF4-FFF2-40B4-BE49-F238E27FC236}">
                <a16:creationId xmlns:a16="http://schemas.microsoft.com/office/drawing/2014/main" id="{F2785760-3FE7-1EA4-699C-1B5A81CA30E2}"/>
              </a:ext>
            </a:extLst>
          </p:cNvPr>
          <p:cNvSpPr/>
          <p:nvPr/>
        </p:nvSpPr>
        <p:spPr>
          <a:xfrm>
            <a:off x="6899273" y="5150192"/>
            <a:ext cx="565315" cy="565315"/>
          </a:xfrm>
          <a:prstGeom prst="ellipse">
            <a:avLst/>
          </a:prstGeom>
          <a:solidFill>
            <a:srgbClr val="FFFFFF">
              <a:hueOff val="0"/>
              <a:satOff val="0"/>
              <a:lumOff val="0"/>
              <a:alphaOff val="0"/>
            </a:srgbClr>
          </a:solidFill>
          <a:ln w="12700" cap="flat" cmpd="sng" algn="ctr">
            <a:solidFill>
              <a:srgbClr val="000000"/>
            </a:solidFill>
            <a:prstDash val="solid"/>
            <a:miter lim="800000"/>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hueOff val="0"/>
                  <a:satOff val="0"/>
                  <a:lumOff val="0"/>
                  <a:alphaOff val="0"/>
                </a:srgbClr>
              </a:solidFill>
              <a:effectLst/>
              <a:uLnTx/>
              <a:uFillTx/>
              <a:latin typeface="Arial "/>
              <a:ea typeface="+mn-ea"/>
              <a:cs typeface="Arial" panose="020B0604020202020204" pitchFamily="34" charset="0"/>
            </a:endParaRPr>
          </a:p>
        </p:txBody>
      </p:sp>
      <p:pic>
        <p:nvPicPr>
          <p:cNvPr id="1889" name="Picture 4" descr="DNA Icon 6973924">
            <a:extLst>
              <a:ext uri="{FF2B5EF4-FFF2-40B4-BE49-F238E27FC236}">
                <a16:creationId xmlns:a16="http://schemas.microsoft.com/office/drawing/2014/main" id="{EEE7EEC6-C96E-79B7-1602-BDE7B49971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3280" y="5056286"/>
            <a:ext cx="711735" cy="743759"/>
          </a:xfrm>
          <a:prstGeom prst="rect">
            <a:avLst/>
          </a:prstGeom>
          <a:noFill/>
          <a:effectLst/>
          <a:extLst>
            <a:ext uri="{909E8E84-426E-40DD-AFC4-6F175D3DCCD1}">
              <a14:hiddenFill xmlns:a14="http://schemas.microsoft.com/office/drawing/2010/main">
                <a:solidFill>
                  <a:srgbClr val="FFFFFF"/>
                </a:solidFill>
              </a14:hiddenFill>
            </a:ext>
          </a:extLst>
        </p:spPr>
      </p:pic>
      <p:sp>
        <p:nvSpPr>
          <p:cNvPr id="1872" name="Oval 1871">
            <a:extLst>
              <a:ext uri="{FF2B5EF4-FFF2-40B4-BE49-F238E27FC236}">
                <a16:creationId xmlns:a16="http://schemas.microsoft.com/office/drawing/2014/main" id="{77D68ABE-CCF5-A54D-937A-EC722B9AB6B4}"/>
              </a:ext>
            </a:extLst>
          </p:cNvPr>
          <p:cNvSpPr/>
          <p:nvPr/>
        </p:nvSpPr>
        <p:spPr>
          <a:xfrm>
            <a:off x="6693561" y="3385679"/>
            <a:ext cx="897053" cy="89705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endParaRPr>
          </a:p>
        </p:txBody>
      </p:sp>
      <p:graphicFrame>
        <p:nvGraphicFramePr>
          <p:cNvPr id="1871" name="Chart 1870">
            <a:extLst>
              <a:ext uri="{FF2B5EF4-FFF2-40B4-BE49-F238E27FC236}">
                <a16:creationId xmlns:a16="http://schemas.microsoft.com/office/drawing/2014/main" id="{B072FF13-A505-DABC-2827-85A8B81E9D93}"/>
              </a:ext>
            </a:extLst>
          </p:cNvPr>
          <p:cNvGraphicFramePr/>
          <p:nvPr/>
        </p:nvGraphicFramePr>
        <p:xfrm>
          <a:off x="6173076" y="3176118"/>
          <a:ext cx="1952189" cy="1301459"/>
        </p:xfrm>
        <a:graphic>
          <a:graphicData uri="http://schemas.openxmlformats.org/drawingml/2006/chart">
            <c:chart xmlns:c="http://schemas.openxmlformats.org/drawingml/2006/chart" xmlns:r="http://schemas.openxmlformats.org/officeDocument/2006/relationships" r:id="rId4"/>
          </a:graphicData>
        </a:graphic>
      </p:graphicFrame>
      <p:sp>
        <p:nvSpPr>
          <p:cNvPr id="1876" name="Oval 1875">
            <a:extLst>
              <a:ext uri="{FF2B5EF4-FFF2-40B4-BE49-F238E27FC236}">
                <a16:creationId xmlns:a16="http://schemas.microsoft.com/office/drawing/2014/main" id="{EA4A20EB-9F35-9443-1DDB-DBCAAB2DC8AD}"/>
              </a:ext>
            </a:extLst>
          </p:cNvPr>
          <p:cNvSpPr/>
          <p:nvPr/>
        </p:nvSpPr>
        <p:spPr>
          <a:xfrm>
            <a:off x="9206173" y="3385679"/>
            <a:ext cx="897053" cy="89705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endParaRPr>
          </a:p>
        </p:txBody>
      </p:sp>
      <p:graphicFrame>
        <p:nvGraphicFramePr>
          <p:cNvPr id="1874" name="Chart 1873">
            <a:extLst>
              <a:ext uri="{FF2B5EF4-FFF2-40B4-BE49-F238E27FC236}">
                <a16:creationId xmlns:a16="http://schemas.microsoft.com/office/drawing/2014/main" id="{F3423CA4-6001-CF99-464F-F59EE8E00C95}"/>
              </a:ext>
            </a:extLst>
          </p:cNvPr>
          <p:cNvGraphicFramePr/>
          <p:nvPr/>
        </p:nvGraphicFramePr>
        <p:xfrm>
          <a:off x="8679059" y="3176118"/>
          <a:ext cx="1952189" cy="1301459"/>
        </p:xfrm>
        <a:graphic>
          <a:graphicData uri="http://schemas.openxmlformats.org/drawingml/2006/chart">
            <c:chart xmlns:c="http://schemas.openxmlformats.org/drawingml/2006/chart" xmlns:r="http://schemas.openxmlformats.org/officeDocument/2006/relationships" r:id="rId5"/>
          </a:graphicData>
        </a:graphic>
      </p:graphicFrame>
      <p:sp>
        <p:nvSpPr>
          <p:cNvPr id="1866" name="Oval 1865">
            <a:extLst>
              <a:ext uri="{FF2B5EF4-FFF2-40B4-BE49-F238E27FC236}">
                <a16:creationId xmlns:a16="http://schemas.microsoft.com/office/drawing/2014/main" id="{CDAF6E8A-F20F-E6C4-D859-3DC74AE75BE1}"/>
              </a:ext>
            </a:extLst>
          </p:cNvPr>
          <p:cNvSpPr/>
          <p:nvPr/>
        </p:nvSpPr>
        <p:spPr>
          <a:xfrm>
            <a:off x="8015042" y="1686577"/>
            <a:ext cx="897053" cy="89705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endParaRPr>
          </a:p>
        </p:txBody>
      </p:sp>
      <p:graphicFrame>
        <p:nvGraphicFramePr>
          <p:cNvPr id="1867" name="Chart 1866">
            <a:extLst>
              <a:ext uri="{FF2B5EF4-FFF2-40B4-BE49-F238E27FC236}">
                <a16:creationId xmlns:a16="http://schemas.microsoft.com/office/drawing/2014/main" id="{5536B046-0A65-27E8-6FA3-581AEC46010D}"/>
              </a:ext>
            </a:extLst>
          </p:cNvPr>
          <p:cNvGraphicFramePr/>
          <p:nvPr/>
        </p:nvGraphicFramePr>
        <p:xfrm>
          <a:off x="7466408" y="1484375"/>
          <a:ext cx="1952189" cy="1301459"/>
        </p:xfrm>
        <a:graphic>
          <a:graphicData uri="http://schemas.openxmlformats.org/drawingml/2006/chart">
            <c:chart xmlns:c="http://schemas.openxmlformats.org/drawingml/2006/chart" xmlns:r="http://schemas.openxmlformats.org/officeDocument/2006/relationships" r:id="rId6"/>
          </a:graphicData>
        </a:graphic>
      </p:graphicFrame>
      <p:sp>
        <p:nvSpPr>
          <p:cNvPr id="1870" name="Oval 1869">
            <a:extLst>
              <a:ext uri="{FF2B5EF4-FFF2-40B4-BE49-F238E27FC236}">
                <a16:creationId xmlns:a16="http://schemas.microsoft.com/office/drawing/2014/main" id="{60D578D4-C3AD-F9C7-3DE8-789E0F063F4B}"/>
              </a:ext>
            </a:extLst>
          </p:cNvPr>
          <p:cNvSpPr/>
          <p:nvPr/>
        </p:nvSpPr>
        <p:spPr>
          <a:xfrm>
            <a:off x="10368642" y="1674025"/>
            <a:ext cx="897053" cy="89705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endParaRPr>
          </a:p>
        </p:txBody>
      </p:sp>
      <p:graphicFrame>
        <p:nvGraphicFramePr>
          <p:cNvPr id="1868" name="Chart 1867">
            <a:extLst>
              <a:ext uri="{FF2B5EF4-FFF2-40B4-BE49-F238E27FC236}">
                <a16:creationId xmlns:a16="http://schemas.microsoft.com/office/drawing/2014/main" id="{3B4543C5-B58B-3238-F550-5DEF696A9B35}"/>
              </a:ext>
            </a:extLst>
          </p:cNvPr>
          <p:cNvGraphicFramePr/>
          <p:nvPr/>
        </p:nvGraphicFramePr>
        <p:xfrm>
          <a:off x="9836146" y="1471823"/>
          <a:ext cx="1952189" cy="1301459"/>
        </p:xfrm>
        <a:graphic>
          <a:graphicData uri="http://schemas.openxmlformats.org/drawingml/2006/chart">
            <c:chart xmlns:c="http://schemas.openxmlformats.org/drawingml/2006/chart" xmlns:r="http://schemas.openxmlformats.org/officeDocument/2006/relationships" r:id="rId7"/>
          </a:graphicData>
        </a:graphic>
      </p:graphicFrame>
      <p:sp>
        <p:nvSpPr>
          <p:cNvPr id="1863" name="Oval 1862">
            <a:extLst>
              <a:ext uri="{FF2B5EF4-FFF2-40B4-BE49-F238E27FC236}">
                <a16:creationId xmlns:a16="http://schemas.microsoft.com/office/drawing/2014/main" id="{8A4C51AF-2C3F-254F-0F82-DDF6A8D57F07}"/>
              </a:ext>
            </a:extLst>
          </p:cNvPr>
          <p:cNvSpPr/>
          <p:nvPr/>
        </p:nvSpPr>
        <p:spPr>
          <a:xfrm>
            <a:off x="5818918" y="1686577"/>
            <a:ext cx="897053" cy="89705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endParaRPr>
          </a:p>
        </p:txBody>
      </p:sp>
      <p:sp>
        <p:nvSpPr>
          <p:cNvPr id="1854" name="Oval 1853">
            <a:extLst>
              <a:ext uri="{FF2B5EF4-FFF2-40B4-BE49-F238E27FC236}">
                <a16:creationId xmlns:a16="http://schemas.microsoft.com/office/drawing/2014/main" id="{670E511D-50CE-E425-16B7-68A34DFE00EA}"/>
              </a:ext>
            </a:extLst>
          </p:cNvPr>
          <p:cNvSpPr/>
          <p:nvPr/>
        </p:nvSpPr>
        <p:spPr>
          <a:xfrm>
            <a:off x="6866514" y="3544610"/>
            <a:ext cx="565315" cy="565315"/>
          </a:xfrm>
          <a:prstGeom prst="ellipse">
            <a:avLst/>
          </a:prstGeom>
          <a:solidFill>
            <a:srgbClr val="FFFFFF">
              <a:hueOff val="0"/>
              <a:satOff val="0"/>
              <a:lumOff val="0"/>
              <a:alphaOff val="0"/>
            </a:srgbClr>
          </a:solidFill>
          <a:ln w="12700" cap="flat" cmpd="sng" algn="ctr">
            <a:solidFill>
              <a:srgbClr val="000000"/>
            </a:solidFill>
            <a:prstDash val="solid"/>
            <a:miter lim="800000"/>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hueOff val="0"/>
                  <a:satOff val="0"/>
                  <a:lumOff val="0"/>
                  <a:alphaOff val="0"/>
                </a:srgbClr>
              </a:solidFill>
              <a:effectLst/>
              <a:uLnTx/>
              <a:uFillTx/>
              <a:latin typeface="Arial "/>
              <a:ea typeface="+mn-ea"/>
              <a:cs typeface="Arial" panose="020B0604020202020204" pitchFamily="34" charset="0"/>
            </a:endParaRPr>
          </a:p>
        </p:txBody>
      </p:sp>
      <p:sp>
        <p:nvSpPr>
          <p:cNvPr id="1853" name="Oval 1852">
            <a:extLst>
              <a:ext uri="{FF2B5EF4-FFF2-40B4-BE49-F238E27FC236}">
                <a16:creationId xmlns:a16="http://schemas.microsoft.com/office/drawing/2014/main" id="{DD349E59-3B15-CE02-49E3-34480555D1FC}"/>
              </a:ext>
            </a:extLst>
          </p:cNvPr>
          <p:cNvSpPr/>
          <p:nvPr/>
        </p:nvSpPr>
        <p:spPr>
          <a:xfrm>
            <a:off x="10529583" y="1839895"/>
            <a:ext cx="565315" cy="565315"/>
          </a:xfrm>
          <a:prstGeom prst="ellipse">
            <a:avLst/>
          </a:prstGeom>
          <a:solidFill>
            <a:srgbClr val="FFFFFF">
              <a:hueOff val="0"/>
              <a:satOff val="0"/>
              <a:lumOff val="0"/>
              <a:alphaOff val="0"/>
            </a:srgbClr>
          </a:solidFill>
          <a:ln w="12700" cap="flat" cmpd="sng" algn="ctr">
            <a:solidFill>
              <a:srgbClr val="000000"/>
            </a:solidFill>
            <a:prstDash val="solid"/>
            <a:miter lim="800000"/>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hueOff val="0"/>
                  <a:satOff val="0"/>
                  <a:lumOff val="0"/>
                  <a:alphaOff val="0"/>
                </a:srgbClr>
              </a:solidFill>
              <a:effectLst/>
              <a:uLnTx/>
              <a:uFillTx/>
              <a:latin typeface="Arial "/>
              <a:ea typeface="+mn-ea"/>
              <a:cs typeface="Arial" panose="020B0604020202020204" pitchFamily="34" charset="0"/>
            </a:endParaRPr>
          </a:p>
        </p:txBody>
      </p:sp>
      <p:sp>
        <p:nvSpPr>
          <p:cNvPr id="2" name="Title 1">
            <a:extLst>
              <a:ext uri="{FF2B5EF4-FFF2-40B4-BE49-F238E27FC236}">
                <a16:creationId xmlns:a16="http://schemas.microsoft.com/office/drawing/2014/main" id="{DA56B1EA-E3F7-6322-8211-1C2465A37F69}"/>
              </a:ext>
            </a:extLst>
          </p:cNvPr>
          <p:cNvSpPr>
            <a:spLocks noGrp="1"/>
          </p:cNvSpPr>
          <p:nvPr>
            <p:ph type="title"/>
          </p:nvPr>
        </p:nvSpPr>
        <p:spPr>
          <a:xfrm>
            <a:off x="442800" y="262800"/>
            <a:ext cx="11306174" cy="769441"/>
          </a:xfrm>
        </p:spPr>
        <p:txBody>
          <a:bodyPr/>
          <a:lstStyle/>
          <a:p>
            <a:r>
              <a:rPr lang="en-GB" dirty="0"/>
              <a:t>~89</a:t>
            </a:r>
            <a:r>
              <a:rPr lang="en-GB" dirty="0">
                <a:ea typeface="Calibri" panose="020F0502020204030204" pitchFamily="34" charset="0"/>
              </a:rPr>
              <a:t>–</a:t>
            </a:r>
            <a:r>
              <a:rPr lang="en-GB" dirty="0"/>
              <a:t>95% of </a:t>
            </a:r>
            <a:r>
              <a:rPr lang="en-GB" i="1" dirty="0"/>
              <a:t>EGFR</a:t>
            </a:r>
            <a:r>
              <a:rPr lang="en-GB" dirty="0"/>
              <a:t>-mutant NSCLC patients in the real-world </a:t>
            </a:r>
            <a:br>
              <a:rPr lang="en-GB" dirty="0"/>
            </a:br>
            <a:r>
              <a:rPr lang="en-GB" dirty="0"/>
              <a:t>have ≥1 high-risk feature</a:t>
            </a:r>
            <a:r>
              <a:rPr lang="en-GB" baseline="30000" dirty="0"/>
              <a:t>1,2</a:t>
            </a:r>
            <a:endParaRPr lang="en-GB" dirty="0"/>
          </a:p>
        </p:txBody>
      </p:sp>
      <p:sp>
        <p:nvSpPr>
          <p:cNvPr id="345" name="Rectangle: Rounded Corners 344">
            <a:extLst>
              <a:ext uri="{FF2B5EF4-FFF2-40B4-BE49-F238E27FC236}">
                <a16:creationId xmlns:a16="http://schemas.microsoft.com/office/drawing/2014/main" id="{2E27E959-1024-5588-A274-5D69073AFFAC}"/>
              </a:ext>
            </a:extLst>
          </p:cNvPr>
          <p:cNvSpPr/>
          <p:nvPr/>
        </p:nvSpPr>
        <p:spPr>
          <a:xfrm>
            <a:off x="6289170" y="4350827"/>
            <a:ext cx="1660343" cy="308381"/>
          </a:xfrm>
          <a:prstGeom prst="roundRect">
            <a:avLst>
              <a:gd name="adj" fmla="val 50000"/>
            </a:avLst>
          </a:prstGeom>
          <a:solidFill>
            <a:srgbClr val="00A7F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48260" rIns="0" bIns="4826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Brain metastases</a:t>
            </a:r>
            <a:endParaRPr kumimoji="0" lang="it-IT" sz="1400" b="1" i="0" u="none" strike="noStrike" kern="1200" cap="none" spc="0" normalizeH="0" baseline="30000" noProof="0" dirty="0">
              <a:ln>
                <a:noFill/>
              </a:ln>
              <a:solidFill>
                <a:srgbClr val="FFFFFF"/>
              </a:solidFill>
              <a:effectLst/>
              <a:uLnTx/>
              <a:uFillTx/>
              <a:latin typeface="Arial "/>
              <a:ea typeface="+mn-ea"/>
              <a:cs typeface="Arial" panose="020B0604020202020204" pitchFamily="34" charset="0"/>
            </a:endParaRPr>
          </a:p>
        </p:txBody>
      </p:sp>
      <p:sp>
        <p:nvSpPr>
          <p:cNvPr id="347" name="Rectangle: Rounded Corners 346">
            <a:extLst>
              <a:ext uri="{FF2B5EF4-FFF2-40B4-BE49-F238E27FC236}">
                <a16:creationId xmlns:a16="http://schemas.microsoft.com/office/drawing/2014/main" id="{29BDBD0F-AB21-8DDB-877E-E3595FD7908C}"/>
              </a:ext>
            </a:extLst>
          </p:cNvPr>
          <p:cNvSpPr/>
          <p:nvPr/>
        </p:nvSpPr>
        <p:spPr>
          <a:xfrm>
            <a:off x="8847845" y="4350827"/>
            <a:ext cx="1660343" cy="308381"/>
          </a:xfrm>
          <a:prstGeom prst="roundRect">
            <a:avLst>
              <a:gd name="adj" fmla="val 50000"/>
            </a:avLst>
          </a:prstGeom>
          <a:solidFill>
            <a:srgbClr val="841D5E"/>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8260" rIns="0" bIns="4826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Liver metastases</a:t>
            </a:r>
            <a:endParaRPr kumimoji="0" lang="it-IT" sz="1400" b="1" i="0" u="none" strike="noStrike" kern="1200" cap="none" spc="0" normalizeH="0" baseline="30000" noProof="0" dirty="0">
              <a:ln>
                <a:noFill/>
              </a:ln>
              <a:solidFill>
                <a:srgbClr val="FFFFFF"/>
              </a:solidFill>
              <a:effectLst/>
              <a:uLnTx/>
              <a:uFillTx/>
              <a:latin typeface="Arial "/>
              <a:ea typeface="+mn-ea"/>
              <a:cs typeface="Arial" panose="020B0604020202020204" pitchFamily="34" charset="0"/>
            </a:endParaRPr>
          </a:p>
        </p:txBody>
      </p:sp>
      <p:sp>
        <p:nvSpPr>
          <p:cNvPr id="349" name="Rectangle: Rounded Corners 348">
            <a:extLst>
              <a:ext uri="{FF2B5EF4-FFF2-40B4-BE49-F238E27FC236}">
                <a16:creationId xmlns:a16="http://schemas.microsoft.com/office/drawing/2014/main" id="{80999A95-8A0F-D0C8-225F-08FCF4D5573F}"/>
              </a:ext>
            </a:extLst>
          </p:cNvPr>
          <p:cNvSpPr/>
          <p:nvPr/>
        </p:nvSpPr>
        <p:spPr>
          <a:xfrm>
            <a:off x="6375032" y="6082360"/>
            <a:ext cx="1681738" cy="308381"/>
          </a:xfrm>
          <a:prstGeom prst="roundRect">
            <a:avLst>
              <a:gd name="adj" fmla="val 50000"/>
            </a:avLst>
          </a:prstGeom>
          <a:solidFill>
            <a:schemeClr val="accent1">
              <a:lumMod val="75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48260" rIns="0" bIns="4826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400" b="1" i="1"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TP53</a:t>
            </a:r>
            <a:r>
              <a:rPr kumimoji="0" lang="it-IT" sz="14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 co-mutation</a:t>
            </a:r>
            <a:endParaRPr kumimoji="0" lang="it-IT" sz="1400" b="1" i="0" u="none" strike="noStrike" kern="1200" cap="none" spc="0" normalizeH="0" baseline="30000" noProof="0" dirty="0">
              <a:ln>
                <a:noFill/>
              </a:ln>
              <a:solidFill>
                <a:srgbClr val="FFFFFF"/>
              </a:solidFill>
              <a:effectLst/>
              <a:uLnTx/>
              <a:uFillTx/>
              <a:latin typeface="Arial "/>
              <a:ea typeface="+mn-ea"/>
              <a:cs typeface="Arial" panose="020B0604020202020204" pitchFamily="34" charset="0"/>
            </a:endParaRPr>
          </a:p>
        </p:txBody>
      </p:sp>
      <p:sp>
        <p:nvSpPr>
          <p:cNvPr id="351" name="Rectangle: Rounded Corners 350">
            <a:extLst>
              <a:ext uri="{FF2B5EF4-FFF2-40B4-BE49-F238E27FC236}">
                <a16:creationId xmlns:a16="http://schemas.microsoft.com/office/drawing/2014/main" id="{E13FDEE0-51BE-F1ED-4125-80F40E240AE1}"/>
              </a:ext>
            </a:extLst>
          </p:cNvPr>
          <p:cNvSpPr/>
          <p:nvPr/>
        </p:nvSpPr>
        <p:spPr>
          <a:xfrm>
            <a:off x="8597682" y="6082360"/>
            <a:ext cx="2211321" cy="309600"/>
          </a:xfrm>
          <a:prstGeom prst="roundRect">
            <a:avLst>
              <a:gd name="adj" fmla="val 50000"/>
            </a:avLst>
          </a:prstGeom>
          <a:solidFill>
            <a:schemeClr val="accent5">
              <a:lumMod val="5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48260" rIns="0" bIns="4826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Baseline ctDNA positive</a:t>
            </a:r>
            <a:endParaRPr kumimoji="0" lang="it-IT" sz="1400" b="1" i="0" u="none" strike="noStrike" kern="1200" cap="none" spc="0" normalizeH="0" baseline="30000" noProof="0" dirty="0">
              <a:ln>
                <a:noFill/>
              </a:ln>
              <a:solidFill>
                <a:srgbClr val="FFFFFF"/>
              </a:solidFill>
              <a:effectLst/>
              <a:uLnTx/>
              <a:uFillTx/>
              <a:latin typeface="Arial "/>
              <a:ea typeface="+mn-ea"/>
              <a:cs typeface="Arial" panose="020B0604020202020204" pitchFamily="34" charset="0"/>
            </a:endParaRPr>
          </a:p>
        </p:txBody>
      </p:sp>
      <p:pic>
        <p:nvPicPr>
          <p:cNvPr id="312" name="Picture 2" descr="Brain Icon 4398045">
            <a:extLst>
              <a:ext uri="{FF2B5EF4-FFF2-40B4-BE49-F238E27FC236}">
                <a16:creationId xmlns:a16="http://schemas.microsoft.com/office/drawing/2014/main" id="{B13E7FF2-CA3C-2824-92C5-358D4635CD7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54246" y="3523112"/>
            <a:ext cx="582118" cy="608310"/>
          </a:xfrm>
          <a:prstGeom prst="rect">
            <a:avLst/>
          </a:prstGeom>
          <a:noFill/>
          <a:ln>
            <a:noFill/>
          </a:ln>
          <a:effectLst/>
          <a:extLst>
            <a:ext uri="{909E8E84-426E-40DD-AFC4-6F175D3DCCD1}">
              <a14:hiddenFill xmlns:a14="http://schemas.microsoft.com/office/drawing/2010/main">
                <a:solidFill>
                  <a:srgbClr val="FFFFFF"/>
                </a:solidFill>
              </a14:hiddenFill>
            </a:ext>
          </a:extLst>
        </p:spPr>
      </p:pic>
      <p:grpSp>
        <p:nvGrpSpPr>
          <p:cNvPr id="329" name="Elemento grafico 322" descr="Persona su sedia a rotelle contorno">
            <a:extLst>
              <a:ext uri="{FF2B5EF4-FFF2-40B4-BE49-F238E27FC236}">
                <a16:creationId xmlns:a16="http://schemas.microsoft.com/office/drawing/2014/main" id="{5F144102-BE59-364E-A97C-0BBE3C67415C}"/>
              </a:ext>
            </a:extLst>
          </p:cNvPr>
          <p:cNvGrpSpPr/>
          <p:nvPr/>
        </p:nvGrpSpPr>
        <p:grpSpPr>
          <a:xfrm>
            <a:off x="10683989" y="1916685"/>
            <a:ext cx="278481" cy="373242"/>
            <a:chOff x="1294423" y="3005653"/>
            <a:chExt cx="331093" cy="432289"/>
          </a:xfrm>
          <a:solidFill>
            <a:schemeClr val="accent1"/>
          </a:solidFill>
        </p:grpSpPr>
        <p:sp>
          <p:nvSpPr>
            <p:cNvPr id="330" name="Freeform: Shape 329">
              <a:extLst>
                <a:ext uri="{FF2B5EF4-FFF2-40B4-BE49-F238E27FC236}">
                  <a16:creationId xmlns:a16="http://schemas.microsoft.com/office/drawing/2014/main" id="{4D7184D8-49B2-8ADF-BADE-D265FA68332E}"/>
                </a:ext>
              </a:extLst>
            </p:cNvPr>
            <p:cNvSpPr/>
            <p:nvPr/>
          </p:nvSpPr>
          <p:spPr>
            <a:xfrm>
              <a:off x="1295809" y="3252567"/>
              <a:ext cx="258789" cy="185374"/>
            </a:xfrm>
            <a:custGeom>
              <a:avLst/>
              <a:gdLst>
                <a:gd name="connsiteX0" fmla="*/ 132801 w 258789"/>
                <a:gd name="connsiteY0" fmla="*/ 175028 h 185374"/>
                <a:gd name="connsiteX1" fmla="*/ 10386 w 258789"/>
                <a:gd name="connsiteY1" fmla="*/ 52873 h 185374"/>
                <a:gd name="connsiteX2" fmla="*/ 16063 w 258789"/>
                <a:gd name="connsiteY2" fmla="*/ 15914 h 185374"/>
                <a:gd name="connsiteX3" fmla="*/ 14756 w 258789"/>
                <a:gd name="connsiteY3" fmla="*/ 12544 h 185374"/>
                <a:gd name="connsiteX4" fmla="*/ 10833 w 258789"/>
                <a:gd name="connsiteY4" fmla="*/ 0 h 185374"/>
                <a:gd name="connsiteX5" fmla="*/ 80434 w 258789"/>
                <a:gd name="connsiteY5" fmla="*/ 174541 h 185374"/>
                <a:gd name="connsiteX6" fmla="*/ 254975 w 258789"/>
                <a:gd name="connsiteY6" fmla="*/ 104941 h 185374"/>
                <a:gd name="connsiteX7" fmla="*/ 258789 w 258789"/>
                <a:gd name="connsiteY7" fmla="*/ 94984 h 185374"/>
                <a:gd name="connsiteX8" fmla="*/ 251533 w 258789"/>
                <a:gd name="connsiteY8" fmla="*/ 82154 h 185374"/>
                <a:gd name="connsiteX9" fmla="*/ 132801 w 258789"/>
                <a:gd name="connsiteY9" fmla="*/ 175028 h 18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789" h="185374">
                  <a:moveTo>
                    <a:pt x="132801" y="175028"/>
                  </a:moveTo>
                  <a:cubicBezTo>
                    <a:pt x="65264" y="175100"/>
                    <a:pt x="10457" y="120409"/>
                    <a:pt x="10386" y="52873"/>
                  </a:cubicBezTo>
                  <a:cubicBezTo>
                    <a:pt x="10372" y="40335"/>
                    <a:pt x="12287" y="27870"/>
                    <a:pt x="16063" y="15914"/>
                  </a:cubicBezTo>
                  <a:cubicBezTo>
                    <a:pt x="15568" y="14814"/>
                    <a:pt x="15132" y="13689"/>
                    <a:pt x="14756" y="12544"/>
                  </a:cubicBezTo>
                  <a:lnTo>
                    <a:pt x="10833" y="0"/>
                  </a:lnTo>
                  <a:cubicBezTo>
                    <a:pt x="-18145" y="67418"/>
                    <a:pt x="13016" y="145563"/>
                    <a:pt x="80434" y="174541"/>
                  </a:cubicBezTo>
                  <a:cubicBezTo>
                    <a:pt x="147852" y="203520"/>
                    <a:pt x="225997" y="172359"/>
                    <a:pt x="254975" y="104941"/>
                  </a:cubicBezTo>
                  <a:cubicBezTo>
                    <a:pt x="256380" y="101674"/>
                    <a:pt x="257652" y="98353"/>
                    <a:pt x="258789" y="94984"/>
                  </a:cubicBezTo>
                  <a:lnTo>
                    <a:pt x="251533" y="82154"/>
                  </a:lnTo>
                  <a:cubicBezTo>
                    <a:pt x="238182" y="136835"/>
                    <a:pt x="189088" y="175237"/>
                    <a:pt x="132801" y="175028"/>
                  </a:cubicBezTo>
                  <a:close/>
                </a:path>
              </a:pathLst>
            </a:custGeom>
            <a:solidFill>
              <a:schemeClr val="accent1"/>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1" name="Freeform: Shape 330">
              <a:extLst>
                <a:ext uri="{FF2B5EF4-FFF2-40B4-BE49-F238E27FC236}">
                  <a16:creationId xmlns:a16="http://schemas.microsoft.com/office/drawing/2014/main" id="{6AD52A23-9E74-37E3-1F96-ED7C204CC53C}"/>
                </a:ext>
              </a:extLst>
            </p:cNvPr>
            <p:cNvSpPr/>
            <p:nvPr/>
          </p:nvSpPr>
          <p:spPr>
            <a:xfrm>
              <a:off x="1294423" y="3099405"/>
              <a:ext cx="331093" cy="281309"/>
            </a:xfrm>
            <a:custGeom>
              <a:avLst/>
              <a:gdLst>
                <a:gd name="connsiteX0" fmla="*/ 327858 w 331093"/>
                <a:gd name="connsiteY0" fmla="*/ 243426 h 281309"/>
                <a:gd name="connsiteX1" fmla="*/ 267692 w 331093"/>
                <a:gd name="connsiteY1" fmla="*/ 138118 h 281309"/>
                <a:gd name="connsiteX2" fmla="*/ 245662 w 331093"/>
                <a:gd name="connsiteY2" fmla="*/ 125506 h 281309"/>
                <a:gd name="connsiteX3" fmla="*/ 169609 w 331093"/>
                <a:gd name="connsiteY3" fmla="*/ 125506 h 281309"/>
                <a:gd name="connsiteX4" fmla="*/ 160060 w 331093"/>
                <a:gd name="connsiteY4" fmla="*/ 37544 h 281309"/>
                <a:gd name="connsiteX5" fmla="*/ 141385 w 331093"/>
                <a:gd name="connsiteY5" fmla="*/ 8138 h 281309"/>
                <a:gd name="connsiteX6" fmla="*/ 107302 w 331093"/>
                <a:gd name="connsiteY6" fmla="*/ 778 h 281309"/>
                <a:gd name="connsiteX7" fmla="*/ 92138 w 331093"/>
                <a:gd name="connsiteY7" fmla="*/ 6414 h 281309"/>
                <a:gd name="connsiteX8" fmla="*/ 12542 w 331093"/>
                <a:gd name="connsiteY8" fmla="*/ 53484 h 281309"/>
                <a:gd name="connsiteX9" fmla="*/ 1082 w 331093"/>
                <a:gd name="connsiteY9" fmla="*/ 82656 h 281309"/>
                <a:gd name="connsiteX10" fmla="*/ 26117 w 331093"/>
                <a:gd name="connsiteY10" fmla="*/ 162783 h 281309"/>
                <a:gd name="connsiteX11" fmla="*/ 50162 w 331093"/>
                <a:gd name="connsiteY11" fmla="*/ 180557 h 281309"/>
                <a:gd name="connsiteX12" fmla="*/ 57825 w 331093"/>
                <a:gd name="connsiteY12" fmla="*/ 179291 h 281309"/>
                <a:gd name="connsiteX13" fmla="*/ 74177 w 331093"/>
                <a:gd name="connsiteY13" fmla="*/ 147713 h 281309"/>
                <a:gd name="connsiteX14" fmla="*/ 54892 w 331093"/>
                <a:gd name="connsiteY14" fmla="*/ 86484 h 281309"/>
                <a:gd name="connsiteX15" fmla="*/ 74437 w 331093"/>
                <a:gd name="connsiteY15" fmla="*/ 74868 h 281309"/>
                <a:gd name="connsiteX16" fmla="*/ 85652 w 331093"/>
                <a:gd name="connsiteY16" fmla="*/ 138154 h 281309"/>
                <a:gd name="connsiteX17" fmla="*/ 130378 w 331093"/>
                <a:gd name="connsiteY17" fmla="*/ 175530 h 281309"/>
                <a:gd name="connsiteX18" fmla="*/ 231077 w 331093"/>
                <a:gd name="connsiteY18" fmla="*/ 175530 h 281309"/>
                <a:gd name="connsiteX19" fmla="*/ 283689 w 331093"/>
                <a:gd name="connsiteY19" fmla="*/ 268539 h 281309"/>
                <a:gd name="connsiteX20" fmla="*/ 305797 w 331093"/>
                <a:gd name="connsiteY20" fmla="*/ 281307 h 281309"/>
                <a:gd name="connsiteX21" fmla="*/ 318434 w 331093"/>
                <a:gd name="connsiteY21" fmla="*/ 278098 h 281309"/>
                <a:gd name="connsiteX22" fmla="*/ 327858 w 331093"/>
                <a:gd name="connsiteY22" fmla="*/ 243426 h 281309"/>
                <a:gd name="connsiteX23" fmla="*/ 313491 w 331093"/>
                <a:gd name="connsiteY23" fmla="*/ 268951 h 281309"/>
                <a:gd name="connsiteX24" fmla="*/ 292790 w 331093"/>
                <a:gd name="connsiteY24" fmla="*/ 263523 h 281309"/>
                <a:gd name="connsiteX25" fmla="*/ 237166 w 331093"/>
                <a:gd name="connsiteY25" fmla="*/ 165111 h 281309"/>
                <a:gd name="connsiteX26" fmla="*/ 130378 w 331093"/>
                <a:gd name="connsiteY26" fmla="*/ 165111 h 281309"/>
                <a:gd name="connsiteX27" fmla="*/ 95909 w 331093"/>
                <a:gd name="connsiteY27" fmla="*/ 136326 h 281309"/>
                <a:gd name="connsiteX28" fmla="*/ 84011 w 331093"/>
                <a:gd name="connsiteY28" fmla="*/ 69185 h 281309"/>
                <a:gd name="connsiteX29" fmla="*/ 92398 w 331093"/>
                <a:gd name="connsiteY29" fmla="*/ 64210 h 281309"/>
                <a:gd name="connsiteX30" fmla="*/ 94098 w 331093"/>
                <a:gd name="connsiteY30" fmla="*/ 57042 h 281309"/>
                <a:gd name="connsiteX31" fmla="*/ 87085 w 331093"/>
                <a:gd name="connsiteY31" fmla="*/ 55250 h 281309"/>
                <a:gd name="connsiteX32" fmla="*/ 82068 w 331093"/>
                <a:gd name="connsiteY32" fmla="*/ 58225 h 281309"/>
                <a:gd name="connsiteX33" fmla="*/ 82068 w 331093"/>
                <a:gd name="connsiteY33" fmla="*/ 58225 h 281309"/>
                <a:gd name="connsiteX34" fmla="*/ 42479 w 331093"/>
                <a:gd name="connsiteY34" fmla="*/ 81718 h 281309"/>
                <a:gd name="connsiteX35" fmla="*/ 64295 w 331093"/>
                <a:gd name="connsiteY35" fmla="*/ 150911 h 281309"/>
                <a:gd name="connsiteX36" fmla="*/ 54971 w 331093"/>
                <a:gd name="connsiteY36" fmla="*/ 169262 h 281309"/>
                <a:gd name="connsiteX37" fmla="*/ 54918 w 331093"/>
                <a:gd name="connsiteY37" fmla="*/ 169279 h 281309"/>
                <a:gd name="connsiteX38" fmla="*/ 50168 w 331093"/>
                <a:gd name="connsiteY38" fmla="*/ 170123 h 281309"/>
                <a:gd name="connsiteX39" fmla="*/ 36103 w 331093"/>
                <a:gd name="connsiteY39" fmla="*/ 159741 h 281309"/>
                <a:gd name="connsiteX40" fmla="*/ 11073 w 331093"/>
                <a:gd name="connsiteY40" fmla="*/ 79613 h 281309"/>
                <a:gd name="connsiteX41" fmla="*/ 17746 w 331093"/>
                <a:gd name="connsiteY41" fmla="*/ 62522 h 281309"/>
                <a:gd name="connsiteX42" fmla="*/ 97550 w 331093"/>
                <a:gd name="connsiteY42" fmla="*/ 15332 h 281309"/>
                <a:gd name="connsiteX43" fmla="*/ 135400 w 331093"/>
                <a:gd name="connsiteY43" fmla="*/ 16681 h 281309"/>
                <a:gd name="connsiteX44" fmla="*/ 149756 w 331093"/>
                <a:gd name="connsiteY44" fmla="*/ 39050 h 281309"/>
                <a:gd name="connsiteX45" fmla="*/ 160284 w 331093"/>
                <a:gd name="connsiteY45" fmla="*/ 135940 h 281309"/>
                <a:gd name="connsiteX46" fmla="*/ 245662 w 331093"/>
                <a:gd name="connsiteY46" fmla="*/ 135940 h 281309"/>
                <a:gd name="connsiteX47" fmla="*/ 258685 w 331093"/>
                <a:gd name="connsiteY47" fmla="*/ 143342 h 281309"/>
                <a:gd name="connsiteX48" fmla="*/ 318830 w 331093"/>
                <a:gd name="connsiteY48" fmla="*/ 248620 h 281309"/>
                <a:gd name="connsiteX49" fmla="*/ 318830 w 331093"/>
                <a:gd name="connsiteY49" fmla="*/ 248646 h 281309"/>
                <a:gd name="connsiteX50" fmla="*/ 313491 w 331093"/>
                <a:gd name="connsiteY50" fmla="*/ 268935 h 28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31093" h="281309">
                  <a:moveTo>
                    <a:pt x="327858" y="243426"/>
                  </a:moveTo>
                  <a:lnTo>
                    <a:pt x="267692" y="138118"/>
                  </a:lnTo>
                  <a:cubicBezTo>
                    <a:pt x="263101" y="130309"/>
                    <a:pt x="254721" y="125511"/>
                    <a:pt x="245662" y="125506"/>
                  </a:cubicBezTo>
                  <a:lnTo>
                    <a:pt x="169609" y="125506"/>
                  </a:lnTo>
                  <a:lnTo>
                    <a:pt x="160060" y="37544"/>
                  </a:lnTo>
                  <a:cubicBezTo>
                    <a:pt x="157971" y="25657"/>
                    <a:pt x="151256" y="15083"/>
                    <a:pt x="141385" y="8138"/>
                  </a:cubicBezTo>
                  <a:cubicBezTo>
                    <a:pt x="131482" y="1189"/>
                    <a:pt x="119191" y="-1465"/>
                    <a:pt x="107302" y="778"/>
                  </a:cubicBezTo>
                  <a:cubicBezTo>
                    <a:pt x="101944" y="1711"/>
                    <a:pt x="96804" y="3622"/>
                    <a:pt x="92138" y="6414"/>
                  </a:cubicBezTo>
                  <a:lnTo>
                    <a:pt x="12542" y="53484"/>
                  </a:lnTo>
                  <a:cubicBezTo>
                    <a:pt x="2440" y="59391"/>
                    <a:pt x="-2298" y="71452"/>
                    <a:pt x="1082" y="82656"/>
                  </a:cubicBezTo>
                  <a:lnTo>
                    <a:pt x="26117" y="162783"/>
                  </a:lnTo>
                  <a:cubicBezTo>
                    <a:pt x="29343" y="173357"/>
                    <a:pt x="39107" y="180574"/>
                    <a:pt x="50162" y="180557"/>
                  </a:cubicBezTo>
                  <a:cubicBezTo>
                    <a:pt x="52760" y="180460"/>
                    <a:pt x="55335" y="180035"/>
                    <a:pt x="57825" y="179291"/>
                  </a:cubicBezTo>
                  <a:cubicBezTo>
                    <a:pt x="71036" y="175058"/>
                    <a:pt x="78344" y="160945"/>
                    <a:pt x="74177" y="147713"/>
                  </a:cubicBezTo>
                  <a:lnTo>
                    <a:pt x="54892" y="86484"/>
                  </a:lnTo>
                  <a:lnTo>
                    <a:pt x="74437" y="74868"/>
                  </a:lnTo>
                  <a:lnTo>
                    <a:pt x="85652" y="138154"/>
                  </a:lnTo>
                  <a:cubicBezTo>
                    <a:pt x="89533" y="159805"/>
                    <a:pt x="108382" y="175557"/>
                    <a:pt x="130378" y="175530"/>
                  </a:cubicBezTo>
                  <a:lnTo>
                    <a:pt x="231077" y="175530"/>
                  </a:lnTo>
                  <a:lnTo>
                    <a:pt x="283689" y="268539"/>
                  </a:lnTo>
                  <a:cubicBezTo>
                    <a:pt x="288148" y="276539"/>
                    <a:pt x="296640" y="281444"/>
                    <a:pt x="305797" y="281307"/>
                  </a:cubicBezTo>
                  <a:cubicBezTo>
                    <a:pt x="310202" y="281241"/>
                    <a:pt x="314531" y="280142"/>
                    <a:pt x="318434" y="278098"/>
                  </a:cubicBezTo>
                  <a:cubicBezTo>
                    <a:pt x="330445" y="270999"/>
                    <a:pt x="334623" y="255629"/>
                    <a:pt x="327858" y="243426"/>
                  </a:cubicBezTo>
                  <a:close/>
                  <a:moveTo>
                    <a:pt x="313491" y="268951"/>
                  </a:moveTo>
                  <a:cubicBezTo>
                    <a:pt x="306262" y="273066"/>
                    <a:pt x="297070" y="270656"/>
                    <a:pt x="292790" y="263523"/>
                  </a:cubicBezTo>
                  <a:lnTo>
                    <a:pt x="237166" y="165111"/>
                  </a:lnTo>
                  <a:lnTo>
                    <a:pt x="130378" y="165111"/>
                  </a:lnTo>
                  <a:cubicBezTo>
                    <a:pt x="113431" y="165136"/>
                    <a:pt x="98906" y="153005"/>
                    <a:pt x="95909" y="136326"/>
                  </a:cubicBezTo>
                  <a:lnTo>
                    <a:pt x="84011" y="69185"/>
                  </a:lnTo>
                  <a:lnTo>
                    <a:pt x="92398" y="64210"/>
                  </a:lnTo>
                  <a:cubicBezTo>
                    <a:pt x="94847" y="62700"/>
                    <a:pt x="95608" y="59490"/>
                    <a:pt x="94098" y="57042"/>
                  </a:cubicBezTo>
                  <a:cubicBezTo>
                    <a:pt x="92625" y="54653"/>
                    <a:pt x="89523" y="53860"/>
                    <a:pt x="87085" y="55250"/>
                  </a:cubicBezTo>
                  <a:lnTo>
                    <a:pt x="82068" y="58225"/>
                  </a:lnTo>
                  <a:lnTo>
                    <a:pt x="82068" y="58225"/>
                  </a:lnTo>
                  <a:lnTo>
                    <a:pt x="42479" y="81718"/>
                  </a:lnTo>
                  <a:lnTo>
                    <a:pt x="64295" y="150911"/>
                  </a:lnTo>
                  <a:cubicBezTo>
                    <a:pt x="66787" y="158553"/>
                    <a:pt x="62613" y="166769"/>
                    <a:pt x="54971" y="169262"/>
                  </a:cubicBezTo>
                  <a:cubicBezTo>
                    <a:pt x="54954" y="169267"/>
                    <a:pt x="54936" y="169273"/>
                    <a:pt x="54918" y="169279"/>
                  </a:cubicBezTo>
                  <a:cubicBezTo>
                    <a:pt x="53371" y="169737"/>
                    <a:pt x="51778" y="170021"/>
                    <a:pt x="50168" y="170123"/>
                  </a:cubicBezTo>
                  <a:cubicBezTo>
                    <a:pt x="43702" y="170146"/>
                    <a:pt x="37986" y="165926"/>
                    <a:pt x="36103" y="159741"/>
                  </a:cubicBezTo>
                  <a:lnTo>
                    <a:pt x="11073" y="79613"/>
                  </a:lnTo>
                  <a:cubicBezTo>
                    <a:pt x="9158" y="73062"/>
                    <a:pt x="11898" y="66043"/>
                    <a:pt x="17746" y="62522"/>
                  </a:cubicBezTo>
                  <a:lnTo>
                    <a:pt x="97550" y="15332"/>
                  </a:lnTo>
                  <a:cubicBezTo>
                    <a:pt x="109362" y="8410"/>
                    <a:pt x="124111" y="8935"/>
                    <a:pt x="135400" y="16681"/>
                  </a:cubicBezTo>
                  <a:cubicBezTo>
                    <a:pt x="142933" y="21967"/>
                    <a:pt x="148089" y="29999"/>
                    <a:pt x="149756" y="39050"/>
                  </a:cubicBezTo>
                  <a:lnTo>
                    <a:pt x="160284" y="135940"/>
                  </a:lnTo>
                  <a:lnTo>
                    <a:pt x="245662" y="135940"/>
                  </a:lnTo>
                  <a:cubicBezTo>
                    <a:pt x="251018" y="135888"/>
                    <a:pt x="255990" y="138714"/>
                    <a:pt x="258685" y="143342"/>
                  </a:cubicBezTo>
                  <a:lnTo>
                    <a:pt x="318830" y="248620"/>
                  </a:lnTo>
                  <a:lnTo>
                    <a:pt x="318830" y="248646"/>
                  </a:lnTo>
                  <a:cubicBezTo>
                    <a:pt x="322774" y="255747"/>
                    <a:pt x="320420" y="264695"/>
                    <a:pt x="313491" y="268935"/>
                  </a:cubicBezTo>
                  <a:close/>
                </a:path>
              </a:pathLst>
            </a:custGeom>
            <a:solidFill>
              <a:schemeClr val="accent1"/>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2" name="Freeform: Shape 331">
              <a:extLst>
                <a:ext uri="{FF2B5EF4-FFF2-40B4-BE49-F238E27FC236}">
                  <a16:creationId xmlns:a16="http://schemas.microsoft.com/office/drawing/2014/main" id="{C143BD72-5E11-FC8E-6A65-3333DF740BC8}"/>
                </a:ext>
              </a:extLst>
            </p:cNvPr>
            <p:cNvSpPr/>
            <p:nvPr/>
          </p:nvSpPr>
          <p:spPr>
            <a:xfrm>
              <a:off x="1360890" y="3005653"/>
              <a:ext cx="83346" cy="83346"/>
            </a:xfrm>
            <a:custGeom>
              <a:avLst/>
              <a:gdLst>
                <a:gd name="connsiteX0" fmla="*/ 41673 w 83346"/>
                <a:gd name="connsiteY0" fmla="*/ 83347 h 83346"/>
                <a:gd name="connsiteX1" fmla="*/ 83347 w 83346"/>
                <a:gd name="connsiteY1" fmla="*/ 41673 h 83346"/>
                <a:gd name="connsiteX2" fmla="*/ 41673 w 83346"/>
                <a:gd name="connsiteY2" fmla="*/ 0 h 83346"/>
                <a:gd name="connsiteX3" fmla="*/ 0 w 83346"/>
                <a:gd name="connsiteY3" fmla="*/ 41673 h 83346"/>
                <a:gd name="connsiteX4" fmla="*/ 41673 w 83346"/>
                <a:gd name="connsiteY4" fmla="*/ 83347 h 83346"/>
                <a:gd name="connsiteX5" fmla="*/ 41673 w 83346"/>
                <a:gd name="connsiteY5" fmla="*/ 10418 h 83346"/>
                <a:gd name="connsiteX6" fmla="*/ 72928 w 83346"/>
                <a:gd name="connsiteY6" fmla="*/ 41673 h 83346"/>
                <a:gd name="connsiteX7" fmla="*/ 41673 w 83346"/>
                <a:gd name="connsiteY7" fmla="*/ 72928 h 83346"/>
                <a:gd name="connsiteX8" fmla="*/ 10418 w 83346"/>
                <a:gd name="connsiteY8" fmla="*/ 41673 h 83346"/>
                <a:gd name="connsiteX9" fmla="*/ 41673 w 83346"/>
                <a:gd name="connsiteY9" fmla="*/ 10418 h 8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346" h="83346">
                  <a:moveTo>
                    <a:pt x="41673" y="83347"/>
                  </a:moveTo>
                  <a:cubicBezTo>
                    <a:pt x="64689" y="83347"/>
                    <a:pt x="83347" y="64689"/>
                    <a:pt x="83347" y="41673"/>
                  </a:cubicBezTo>
                  <a:cubicBezTo>
                    <a:pt x="83347" y="18658"/>
                    <a:pt x="64689" y="0"/>
                    <a:pt x="41673" y="0"/>
                  </a:cubicBezTo>
                  <a:cubicBezTo>
                    <a:pt x="18658" y="0"/>
                    <a:pt x="0" y="18658"/>
                    <a:pt x="0" y="41673"/>
                  </a:cubicBezTo>
                  <a:cubicBezTo>
                    <a:pt x="26" y="64678"/>
                    <a:pt x="18669" y="83321"/>
                    <a:pt x="41673" y="83347"/>
                  </a:cubicBezTo>
                  <a:close/>
                  <a:moveTo>
                    <a:pt x="41673" y="10418"/>
                  </a:moveTo>
                  <a:cubicBezTo>
                    <a:pt x="58935" y="10418"/>
                    <a:pt x="72928" y="24412"/>
                    <a:pt x="72928" y="41673"/>
                  </a:cubicBezTo>
                  <a:cubicBezTo>
                    <a:pt x="72928" y="58935"/>
                    <a:pt x="58935" y="72928"/>
                    <a:pt x="41673" y="72928"/>
                  </a:cubicBezTo>
                  <a:cubicBezTo>
                    <a:pt x="24412" y="72928"/>
                    <a:pt x="10418" y="58935"/>
                    <a:pt x="10418" y="41673"/>
                  </a:cubicBezTo>
                  <a:cubicBezTo>
                    <a:pt x="10436" y="24419"/>
                    <a:pt x="24419" y="10436"/>
                    <a:pt x="41673" y="10418"/>
                  </a:cubicBezTo>
                  <a:close/>
                </a:path>
              </a:pathLst>
            </a:custGeom>
            <a:solidFill>
              <a:schemeClr val="accent1"/>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sp>
        <p:nvSpPr>
          <p:cNvPr id="320" name="Text Placeholder 3">
            <a:extLst>
              <a:ext uri="{FF2B5EF4-FFF2-40B4-BE49-F238E27FC236}">
                <a16:creationId xmlns:a16="http://schemas.microsoft.com/office/drawing/2014/main" id="{9C31336B-1676-ADFC-6C07-3B1A795BF1C5}"/>
              </a:ext>
            </a:extLst>
          </p:cNvPr>
          <p:cNvSpPr>
            <a:spLocks noGrp="1"/>
          </p:cNvSpPr>
          <p:nvPr>
            <p:ph type="body" sz="quarter" idx="13"/>
          </p:nvPr>
        </p:nvSpPr>
        <p:spPr>
          <a:xfrm>
            <a:off x="5229226" y="6524625"/>
            <a:ext cx="6529684" cy="230832"/>
          </a:xfrm>
        </p:spPr>
        <p:txBody>
          <a:bodyPr/>
          <a:lstStyle/>
          <a:p>
            <a:r>
              <a:rPr lang="en-GB" dirty="0">
                <a:latin typeface="Arial "/>
              </a:rPr>
              <a:t>ECOG PS, Eastern Cooperative Oncology Group performance status; ctDNA, circulating tumour DNA; TP53, tumour protein 53.</a:t>
            </a:r>
          </a:p>
        </p:txBody>
      </p:sp>
      <p:sp>
        <p:nvSpPr>
          <p:cNvPr id="321" name="Text Placeholder 4">
            <a:extLst>
              <a:ext uri="{FF2B5EF4-FFF2-40B4-BE49-F238E27FC236}">
                <a16:creationId xmlns:a16="http://schemas.microsoft.com/office/drawing/2014/main" id="{146B7447-0F7B-F7D3-EB9B-678282CE55E2}"/>
              </a:ext>
            </a:extLst>
          </p:cNvPr>
          <p:cNvSpPr>
            <a:spLocks noGrp="1"/>
          </p:cNvSpPr>
          <p:nvPr>
            <p:ph type="body" sz="quarter" idx="15"/>
          </p:nvPr>
        </p:nvSpPr>
        <p:spPr>
          <a:xfrm>
            <a:off x="442912" y="6524625"/>
            <a:ext cx="5593059" cy="230832"/>
          </a:xfrm>
        </p:spPr>
        <p:txBody>
          <a:bodyPr/>
          <a:lstStyle/>
          <a:p>
            <a:r>
              <a:rPr lang="en-GB" dirty="0"/>
              <a:t>1. Felip E, et al. </a:t>
            </a:r>
            <a:r>
              <a:rPr lang="en-GB" i="1" dirty="0"/>
              <a:t>Ann Oncol</a:t>
            </a:r>
            <a:r>
              <a:rPr lang="en-GB" dirty="0"/>
              <a:t>. 2024;35:805</a:t>
            </a:r>
            <a:r>
              <a:rPr lang="en-GB" dirty="0">
                <a:ea typeface="Calibri" panose="020F0502020204030204" pitchFamily="34" charset="0"/>
              </a:rPr>
              <a:t>–</a:t>
            </a:r>
            <a:r>
              <a:rPr lang="en-GB" dirty="0"/>
              <a:t>16; 2. Sabari JK, et al. </a:t>
            </a:r>
            <a:r>
              <a:rPr lang="en-GB" i="1" dirty="0"/>
              <a:t>J </a:t>
            </a:r>
            <a:r>
              <a:rPr lang="en-GB" i="1" dirty="0" err="1"/>
              <a:t>Thorac</a:t>
            </a:r>
            <a:r>
              <a:rPr lang="en-GB" i="1" dirty="0"/>
              <a:t> Oncol</a:t>
            </a:r>
            <a:r>
              <a:rPr lang="en-GB" dirty="0"/>
              <a:t>. 2025;20:1268</a:t>
            </a:r>
            <a:r>
              <a:rPr lang="en-GB" dirty="0">
                <a:ea typeface="Calibri" panose="020F0502020204030204" pitchFamily="34" charset="0"/>
              </a:rPr>
              <a:t>–</a:t>
            </a:r>
            <a:r>
              <a:rPr lang="en-GB" dirty="0"/>
              <a:t>78.</a:t>
            </a:r>
          </a:p>
        </p:txBody>
      </p:sp>
      <p:sp>
        <p:nvSpPr>
          <p:cNvPr id="353" name="Rectangle: Rounded Corners 352">
            <a:extLst>
              <a:ext uri="{FF2B5EF4-FFF2-40B4-BE49-F238E27FC236}">
                <a16:creationId xmlns:a16="http://schemas.microsoft.com/office/drawing/2014/main" id="{11D9D32B-E646-EB8C-5387-6CA3876EED6C}"/>
              </a:ext>
            </a:extLst>
          </p:cNvPr>
          <p:cNvSpPr/>
          <p:nvPr/>
        </p:nvSpPr>
        <p:spPr>
          <a:xfrm>
            <a:off x="10103226" y="2791537"/>
            <a:ext cx="1419693" cy="308381"/>
          </a:xfrm>
          <a:prstGeom prst="roundRect">
            <a:avLst>
              <a:gd name="adj" fmla="val 50000"/>
            </a:avLst>
          </a:prstGeom>
          <a:solidFill>
            <a:srgbClr val="FF4A37"/>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48260" rIns="0" bIns="4826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ECOG PS ≥2</a:t>
            </a:r>
            <a:endParaRPr kumimoji="0" lang="it-IT" sz="1400" b="1" i="0" u="none" strike="noStrike" kern="1200" cap="none" spc="0" normalizeH="0" baseline="30000" noProof="0" dirty="0">
              <a:ln>
                <a:noFill/>
              </a:ln>
              <a:solidFill>
                <a:srgbClr val="FFFFFF"/>
              </a:solidFill>
              <a:effectLst/>
              <a:uLnTx/>
              <a:uFillTx/>
              <a:latin typeface="Arial "/>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2AD2006A-8F4A-5350-FED5-997FEE9341AE}"/>
              </a:ext>
            </a:extLst>
          </p:cNvPr>
          <p:cNvGraphicFramePr/>
          <p:nvPr/>
        </p:nvGraphicFramePr>
        <p:xfrm>
          <a:off x="5313077" y="1484375"/>
          <a:ext cx="1952189" cy="1301459"/>
        </p:xfrm>
        <a:graphic>
          <a:graphicData uri="http://schemas.openxmlformats.org/drawingml/2006/chart">
            <c:chart xmlns:c="http://schemas.openxmlformats.org/drawingml/2006/chart" xmlns:r="http://schemas.openxmlformats.org/officeDocument/2006/relationships" r:id="rId9"/>
          </a:graphicData>
        </a:graphic>
      </p:graphicFrame>
      <p:grpSp>
        <p:nvGrpSpPr>
          <p:cNvPr id="1838" name="Group 1837">
            <a:extLst>
              <a:ext uri="{FF2B5EF4-FFF2-40B4-BE49-F238E27FC236}">
                <a16:creationId xmlns:a16="http://schemas.microsoft.com/office/drawing/2014/main" id="{02DDD574-F664-AA40-1EBA-9DCF87D1471B}"/>
              </a:ext>
            </a:extLst>
          </p:cNvPr>
          <p:cNvGrpSpPr/>
          <p:nvPr/>
        </p:nvGrpSpPr>
        <p:grpSpPr>
          <a:xfrm>
            <a:off x="488472" y="2156690"/>
            <a:ext cx="4433088" cy="3820114"/>
            <a:chOff x="588749" y="1809956"/>
            <a:chExt cx="4810061" cy="4144969"/>
          </a:xfrm>
          <a:gradFill>
            <a:gsLst>
              <a:gs pos="63000">
                <a:schemeClr val="accent1"/>
              </a:gs>
              <a:gs pos="19000">
                <a:schemeClr val="accent6"/>
              </a:gs>
            </a:gsLst>
            <a:path path="circle">
              <a:fillToRect l="100000" b="100000"/>
            </a:path>
          </a:gradFill>
        </p:grpSpPr>
        <p:sp>
          <p:nvSpPr>
            <p:cNvPr id="771" name="Oval 15">
              <a:extLst>
                <a:ext uri="{FF2B5EF4-FFF2-40B4-BE49-F238E27FC236}">
                  <a16:creationId xmlns:a16="http://schemas.microsoft.com/office/drawing/2014/main" id="{135F1996-A01D-0613-2535-8E337D3D8E1E}"/>
                </a:ext>
              </a:extLst>
            </p:cNvPr>
            <p:cNvSpPr>
              <a:spLocks noChangeArrowheads="1"/>
            </p:cNvSpPr>
            <p:nvPr/>
          </p:nvSpPr>
          <p:spPr bwMode="auto">
            <a:xfrm>
              <a:off x="1170502" y="2467459"/>
              <a:ext cx="127258" cy="13028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72" name="Freeform 16">
              <a:extLst>
                <a:ext uri="{FF2B5EF4-FFF2-40B4-BE49-F238E27FC236}">
                  <a16:creationId xmlns:a16="http://schemas.microsoft.com/office/drawing/2014/main" id="{448F709D-1F1A-BC1B-9ABD-4A81F2DB9842}"/>
                </a:ext>
              </a:extLst>
            </p:cNvPr>
            <p:cNvSpPr>
              <a:spLocks/>
            </p:cNvSpPr>
            <p:nvPr/>
          </p:nvSpPr>
          <p:spPr bwMode="auto">
            <a:xfrm>
              <a:off x="1118993" y="2621987"/>
              <a:ext cx="242397" cy="448434"/>
            </a:xfrm>
            <a:custGeom>
              <a:avLst/>
              <a:gdLst>
                <a:gd name="T0" fmla="*/ 24 w 38"/>
                <a:gd name="T1" fmla="*/ 0 h 70"/>
                <a:gd name="T2" fmla="*/ 13 w 38"/>
                <a:gd name="T3" fmla="*/ 0 h 70"/>
                <a:gd name="T4" fmla="*/ 3 w 38"/>
                <a:gd name="T5" fmla="*/ 10 h 70"/>
                <a:gd name="T6" fmla="*/ 0 w 38"/>
                <a:gd name="T7" fmla="*/ 37 h 70"/>
                <a:gd name="T8" fmla="*/ 10 w 38"/>
                <a:gd name="T9" fmla="*/ 47 h 70"/>
                <a:gd name="T10" fmla="*/ 10 w 38"/>
                <a:gd name="T11" fmla="*/ 63 h 70"/>
                <a:gd name="T12" fmla="*/ 17 w 38"/>
                <a:gd name="T13" fmla="*/ 70 h 70"/>
                <a:gd name="T14" fmla="*/ 17 w 38"/>
                <a:gd name="T15" fmla="*/ 70 h 70"/>
                <a:gd name="T16" fmla="*/ 20 w 38"/>
                <a:gd name="T17" fmla="*/ 70 h 70"/>
                <a:gd name="T18" fmla="*/ 28 w 38"/>
                <a:gd name="T19" fmla="*/ 63 h 70"/>
                <a:gd name="T20" fmla="*/ 28 w 38"/>
                <a:gd name="T21" fmla="*/ 63 h 70"/>
                <a:gd name="T22" fmla="*/ 28 w 38"/>
                <a:gd name="T23" fmla="*/ 47 h 70"/>
                <a:gd name="T24" fmla="*/ 37 w 38"/>
                <a:gd name="T25" fmla="*/ 37 h 70"/>
                <a:gd name="T26" fmla="*/ 34 w 38"/>
                <a:gd name="T27" fmla="*/ 10 h 70"/>
                <a:gd name="T28" fmla="*/ 24 w 38"/>
                <a:gd name="T2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0">
                  <a:moveTo>
                    <a:pt x="24" y="0"/>
                  </a:moveTo>
                  <a:cubicBezTo>
                    <a:pt x="13" y="0"/>
                    <a:pt x="13" y="0"/>
                    <a:pt x="13" y="0"/>
                  </a:cubicBezTo>
                  <a:cubicBezTo>
                    <a:pt x="8" y="0"/>
                    <a:pt x="4" y="4"/>
                    <a:pt x="3" y="10"/>
                  </a:cubicBezTo>
                  <a:cubicBezTo>
                    <a:pt x="0" y="37"/>
                    <a:pt x="0" y="37"/>
                    <a:pt x="0" y="37"/>
                  </a:cubicBezTo>
                  <a:cubicBezTo>
                    <a:pt x="0" y="42"/>
                    <a:pt x="5" y="46"/>
                    <a:pt x="10" y="47"/>
                  </a:cubicBezTo>
                  <a:cubicBezTo>
                    <a:pt x="10" y="63"/>
                    <a:pt x="10" y="63"/>
                    <a:pt x="10" y="63"/>
                  </a:cubicBezTo>
                  <a:cubicBezTo>
                    <a:pt x="10" y="67"/>
                    <a:pt x="13" y="70"/>
                    <a:pt x="17" y="70"/>
                  </a:cubicBezTo>
                  <a:cubicBezTo>
                    <a:pt x="17" y="70"/>
                    <a:pt x="17" y="70"/>
                    <a:pt x="17" y="70"/>
                  </a:cubicBezTo>
                  <a:cubicBezTo>
                    <a:pt x="20" y="70"/>
                    <a:pt x="20" y="70"/>
                    <a:pt x="20" y="70"/>
                  </a:cubicBezTo>
                  <a:cubicBezTo>
                    <a:pt x="24" y="70"/>
                    <a:pt x="28" y="67"/>
                    <a:pt x="28" y="63"/>
                  </a:cubicBezTo>
                  <a:cubicBezTo>
                    <a:pt x="28" y="63"/>
                    <a:pt x="28" y="63"/>
                    <a:pt x="28" y="63"/>
                  </a:cubicBezTo>
                  <a:cubicBezTo>
                    <a:pt x="28" y="47"/>
                    <a:pt x="28" y="47"/>
                    <a:pt x="28" y="47"/>
                  </a:cubicBezTo>
                  <a:cubicBezTo>
                    <a:pt x="32" y="46"/>
                    <a:pt x="38" y="42"/>
                    <a:pt x="37" y="37"/>
                  </a:cubicBezTo>
                  <a:cubicBezTo>
                    <a:pt x="34" y="10"/>
                    <a:pt x="34" y="10"/>
                    <a:pt x="34" y="10"/>
                  </a:cubicBezTo>
                  <a:cubicBezTo>
                    <a:pt x="33" y="4"/>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73" name="Oval 17">
              <a:extLst>
                <a:ext uri="{FF2B5EF4-FFF2-40B4-BE49-F238E27FC236}">
                  <a16:creationId xmlns:a16="http://schemas.microsoft.com/office/drawing/2014/main" id="{12D49B01-218D-86E7-49A4-3923DE425CA1}"/>
                </a:ext>
              </a:extLst>
            </p:cNvPr>
            <p:cNvSpPr>
              <a:spLocks noChangeArrowheads="1"/>
            </p:cNvSpPr>
            <p:nvPr/>
          </p:nvSpPr>
          <p:spPr bwMode="auto">
            <a:xfrm>
              <a:off x="1694684" y="2467459"/>
              <a:ext cx="127258" cy="13028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74" name="Freeform 18">
              <a:extLst>
                <a:ext uri="{FF2B5EF4-FFF2-40B4-BE49-F238E27FC236}">
                  <a16:creationId xmlns:a16="http://schemas.microsoft.com/office/drawing/2014/main" id="{AA9BAF7D-97E1-DD0E-0CCF-EC13349C1F6E}"/>
                </a:ext>
              </a:extLst>
            </p:cNvPr>
            <p:cNvSpPr>
              <a:spLocks/>
            </p:cNvSpPr>
            <p:nvPr/>
          </p:nvSpPr>
          <p:spPr bwMode="auto">
            <a:xfrm>
              <a:off x="1643174" y="2621987"/>
              <a:ext cx="242397" cy="448434"/>
            </a:xfrm>
            <a:custGeom>
              <a:avLst/>
              <a:gdLst>
                <a:gd name="T0" fmla="*/ 24 w 38"/>
                <a:gd name="T1" fmla="*/ 0 h 70"/>
                <a:gd name="T2" fmla="*/ 13 w 38"/>
                <a:gd name="T3" fmla="*/ 0 h 70"/>
                <a:gd name="T4" fmla="*/ 3 w 38"/>
                <a:gd name="T5" fmla="*/ 10 h 70"/>
                <a:gd name="T6" fmla="*/ 0 w 38"/>
                <a:gd name="T7" fmla="*/ 37 h 70"/>
                <a:gd name="T8" fmla="*/ 10 w 38"/>
                <a:gd name="T9" fmla="*/ 47 h 70"/>
                <a:gd name="T10" fmla="*/ 10 w 38"/>
                <a:gd name="T11" fmla="*/ 63 h 70"/>
                <a:gd name="T12" fmla="*/ 17 w 38"/>
                <a:gd name="T13" fmla="*/ 70 h 70"/>
                <a:gd name="T14" fmla="*/ 17 w 38"/>
                <a:gd name="T15" fmla="*/ 70 h 70"/>
                <a:gd name="T16" fmla="*/ 20 w 38"/>
                <a:gd name="T17" fmla="*/ 70 h 70"/>
                <a:gd name="T18" fmla="*/ 28 w 38"/>
                <a:gd name="T19" fmla="*/ 63 h 70"/>
                <a:gd name="T20" fmla="*/ 28 w 38"/>
                <a:gd name="T21" fmla="*/ 63 h 70"/>
                <a:gd name="T22" fmla="*/ 28 w 38"/>
                <a:gd name="T23" fmla="*/ 47 h 70"/>
                <a:gd name="T24" fmla="*/ 38 w 38"/>
                <a:gd name="T25" fmla="*/ 37 h 70"/>
                <a:gd name="T26" fmla="*/ 34 w 38"/>
                <a:gd name="T27" fmla="*/ 10 h 70"/>
                <a:gd name="T28" fmla="*/ 24 w 38"/>
                <a:gd name="T2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0">
                  <a:moveTo>
                    <a:pt x="24" y="0"/>
                  </a:moveTo>
                  <a:cubicBezTo>
                    <a:pt x="13" y="0"/>
                    <a:pt x="13" y="0"/>
                    <a:pt x="13" y="0"/>
                  </a:cubicBezTo>
                  <a:cubicBezTo>
                    <a:pt x="8" y="0"/>
                    <a:pt x="4" y="4"/>
                    <a:pt x="3" y="10"/>
                  </a:cubicBezTo>
                  <a:cubicBezTo>
                    <a:pt x="0" y="37"/>
                    <a:pt x="0" y="37"/>
                    <a:pt x="0" y="37"/>
                  </a:cubicBezTo>
                  <a:cubicBezTo>
                    <a:pt x="0" y="42"/>
                    <a:pt x="5" y="46"/>
                    <a:pt x="10" y="47"/>
                  </a:cubicBezTo>
                  <a:cubicBezTo>
                    <a:pt x="10" y="63"/>
                    <a:pt x="10" y="63"/>
                    <a:pt x="10" y="63"/>
                  </a:cubicBezTo>
                  <a:cubicBezTo>
                    <a:pt x="10" y="67"/>
                    <a:pt x="13" y="70"/>
                    <a:pt x="17" y="70"/>
                  </a:cubicBezTo>
                  <a:cubicBezTo>
                    <a:pt x="17" y="70"/>
                    <a:pt x="17" y="70"/>
                    <a:pt x="17" y="70"/>
                  </a:cubicBezTo>
                  <a:cubicBezTo>
                    <a:pt x="20" y="70"/>
                    <a:pt x="20" y="70"/>
                    <a:pt x="20" y="70"/>
                  </a:cubicBezTo>
                  <a:cubicBezTo>
                    <a:pt x="24" y="70"/>
                    <a:pt x="28" y="67"/>
                    <a:pt x="28" y="63"/>
                  </a:cubicBezTo>
                  <a:cubicBezTo>
                    <a:pt x="28" y="63"/>
                    <a:pt x="28" y="63"/>
                    <a:pt x="28" y="63"/>
                  </a:cubicBezTo>
                  <a:cubicBezTo>
                    <a:pt x="28" y="47"/>
                    <a:pt x="28" y="47"/>
                    <a:pt x="28" y="47"/>
                  </a:cubicBezTo>
                  <a:cubicBezTo>
                    <a:pt x="33" y="46"/>
                    <a:pt x="38" y="42"/>
                    <a:pt x="38" y="37"/>
                  </a:cubicBezTo>
                  <a:cubicBezTo>
                    <a:pt x="34" y="10"/>
                    <a:pt x="34" y="10"/>
                    <a:pt x="34" y="10"/>
                  </a:cubicBezTo>
                  <a:cubicBezTo>
                    <a:pt x="33" y="4"/>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
                <a:ea typeface="+mn-ea"/>
                <a:cs typeface="Arial" panose="020B0604020202020204" pitchFamily="34" charset="0"/>
              </a:endParaRPr>
            </a:p>
          </p:txBody>
        </p:sp>
        <p:sp>
          <p:nvSpPr>
            <p:cNvPr id="775" name="Oval 19">
              <a:extLst>
                <a:ext uri="{FF2B5EF4-FFF2-40B4-BE49-F238E27FC236}">
                  <a16:creationId xmlns:a16="http://schemas.microsoft.com/office/drawing/2014/main" id="{EBCDB56C-88FB-EF75-CFE9-CC11C3F43A36}"/>
                </a:ext>
              </a:extLst>
            </p:cNvPr>
            <p:cNvSpPr>
              <a:spLocks noChangeArrowheads="1"/>
            </p:cNvSpPr>
            <p:nvPr/>
          </p:nvSpPr>
          <p:spPr bwMode="auto">
            <a:xfrm>
              <a:off x="2218865" y="2467459"/>
              <a:ext cx="127258" cy="13028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76" name="Freeform 20">
              <a:extLst>
                <a:ext uri="{FF2B5EF4-FFF2-40B4-BE49-F238E27FC236}">
                  <a16:creationId xmlns:a16="http://schemas.microsoft.com/office/drawing/2014/main" id="{287137E8-A108-E8EC-2C39-AA8629266692}"/>
                </a:ext>
              </a:extLst>
            </p:cNvPr>
            <p:cNvSpPr>
              <a:spLocks/>
            </p:cNvSpPr>
            <p:nvPr/>
          </p:nvSpPr>
          <p:spPr bwMode="auto">
            <a:xfrm>
              <a:off x="2167357" y="2621987"/>
              <a:ext cx="242397" cy="448434"/>
            </a:xfrm>
            <a:custGeom>
              <a:avLst/>
              <a:gdLst>
                <a:gd name="T0" fmla="*/ 24 w 38"/>
                <a:gd name="T1" fmla="*/ 0 h 70"/>
                <a:gd name="T2" fmla="*/ 13 w 38"/>
                <a:gd name="T3" fmla="*/ 0 h 70"/>
                <a:gd name="T4" fmla="*/ 3 w 38"/>
                <a:gd name="T5" fmla="*/ 10 h 70"/>
                <a:gd name="T6" fmla="*/ 0 w 38"/>
                <a:gd name="T7" fmla="*/ 37 h 70"/>
                <a:gd name="T8" fmla="*/ 10 w 38"/>
                <a:gd name="T9" fmla="*/ 47 h 70"/>
                <a:gd name="T10" fmla="*/ 10 w 38"/>
                <a:gd name="T11" fmla="*/ 63 h 70"/>
                <a:gd name="T12" fmla="*/ 17 w 38"/>
                <a:gd name="T13" fmla="*/ 70 h 70"/>
                <a:gd name="T14" fmla="*/ 17 w 38"/>
                <a:gd name="T15" fmla="*/ 70 h 70"/>
                <a:gd name="T16" fmla="*/ 20 w 38"/>
                <a:gd name="T17" fmla="*/ 70 h 70"/>
                <a:gd name="T18" fmla="*/ 28 w 38"/>
                <a:gd name="T19" fmla="*/ 63 h 70"/>
                <a:gd name="T20" fmla="*/ 28 w 38"/>
                <a:gd name="T21" fmla="*/ 63 h 70"/>
                <a:gd name="T22" fmla="*/ 28 w 38"/>
                <a:gd name="T23" fmla="*/ 47 h 70"/>
                <a:gd name="T24" fmla="*/ 37 w 38"/>
                <a:gd name="T25" fmla="*/ 37 h 70"/>
                <a:gd name="T26" fmla="*/ 34 w 38"/>
                <a:gd name="T27" fmla="*/ 10 h 70"/>
                <a:gd name="T28" fmla="*/ 24 w 38"/>
                <a:gd name="T2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0">
                  <a:moveTo>
                    <a:pt x="24" y="0"/>
                  </a:moveTo>
                  <a:cubicBezTo>
                    <a:pt x="13" y="0"/>
                    <a:pt x="13" y="0"/>
                    <a:pt x="13" y="0"/>
                  </a:cubicBezTo>
                  <a:cubicBezTo>
                    <a:pt x="8" y="0"/>
                    <a:pt x="4" y="4"/>
                    <a:pt x="3" y="10"/>
                  </a:cubicBezTo>
                  <a:cubicBezTo>
                    <a:pt x="0" y="37"/>
                    <a:pt x="0" y="37"/>
                    <a:pt x="0" y="37"/>
                  </a:cubicBezTo>
                  <a:cubicBezTo>
                    <a:pt x="0" y="42"/>
                    <a:pt x="5" y="46"/>
                    <a:pt x="10" y="47"/>
                  </a:cubicBezTo>
                  <a:cubicBezTo>
                    <a:pt x="10" y="63"/>
                    <a:pt x="10" y="63"/>
                    <a:pt x="10" y="63"/>
                  </a:cubicBezTo>
                  <a:cubicBezTo>
                    <a:pt x="10" y="67"/>
                    <a:pt x="13" y="70"/>
                    <a:pt x="17" y="70"/>
                  </a:cubicBezTo>
                  <a:cubicBezTo>
                    <a:pt x="17" y="70"/>
                    <a:pt x="17" y="70"/>
                    <a:pt x="17" y="70"/>
                  </a:cubicBezTo>
                  <a:cubicBezTo>
                    <a:pt x="20" y="70"/>
                    <a:pt x="20" y="70"/>
                    <a:pt x="20" y="70"/>
                  </a:cubicBezTo>
                  <a:cubicBezTo>
                    <a:pt x="24" y="70"/>
                    <a:pt x="28" y="67"/>
                    <a:pt x="28" y="63"/>
                  </a:cubicBezTo>
                  <a:cubicBezTo>
                    <a:pt x="28" y="63"/>
                    <a:pt x="28" y="63"/>
                    <a:pt x="28" y="63"/>
                  </a:cubicBezTo>
                  <a:cubicBezTo>
                    <a:pt x="28" y="47"/>
                    <a:pt x="28" y="47"/>
                    <a:pt x="28" y="47"/>
                  </a:cubicBezTo>
                  <a:cubicBezTo>
                    <a:pt x="32" y="46"/>
                    <a:pt x="38" y="42"/>
                    <a:pt x="37" y="37"/>
                  </a:cubicBezTo>
                  <a:cubicBezTo>
                    <a:pt x="34" y="10"/>
                    <a:pt x="34" y="10"/>
                    <a:pt x="34" y="10"/>
                  </a:cubicBezTo>
                  <a:cubicBezTo>
                    <a:pt x="33" y="4"/>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69" name="Oval 13">
              <a:extLst>
                <a:ext uri="{FF2B5EF4-FFF2-40B4-BE49-F238E27FC236}">
                  <a16:creationId xmlns:a16="http://schemas.microsoft.com/office/drawing/2014/main" id="{39AEA2BB-A0F0-3C7D-C7C0-BE9B91DF53F9}"/>
                </a:ext>
              </a:extLst>
            </p:cNvPr>
            <p:cNvSpPr>
              <a:spLocks noChangeArrowheads="1"/>
            </p:cNvSpPr>
            <p:nvPr/>
          </p:nvSpPr>
          <p:spPr bwMode="auto">
            <a:xfrm>
              <a:off x="646319" y="2467459"/>
              <a:ext cx="127258" cy="13028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70" name="Freeform 14">
              <a:extLst>
                <a:ext uri="{FF2B5EF4-FFF2-40B4-BE49-F238E27FC236}">
                  <a16:creationId xmlns:a16="http://schemas.microsoft.com/office/drawing/2014/main" id="{B6AA76FF-433A-52FE-919E-073BB39D993B}"/>
                </a:ext>
              </a:extLst>
            </p:cNvPr>
            <p:cNvSpPr>
              <a:spLocks/>
            </p:cNvSpPr>
            <p:nvPr/>
          </p:nvSpPr>
          <p:spPr bwMode="auto">
            <a:xfrm>
              <a:off x="588749" y="2621987"/>
              <a:ext cx="248457" cy="448434"/>
            </a:xfrm>
            <a:custGeom>
              <a:avLst/>
              <a:gdLst>
                <a:gd name="T0" fmla="*/ 25 w 39"/>
                <a:gd name="T1" fmla="*/ 0 h 70"/>
                <a:gd name="T2" fmla="*/ 14 w 39"/>
                <a:gd name="T3" fmla="*/ 0 h 70"/>
                <a:gd name="T4" fmla="*/ 4 w 39"/>
                <a:gd name="T5" fmla="*/ 10 h 70"/>
                <a:gd name="T6" fmla="*/ 1 w 39"/>
                <a:gd name="T7" fmla="*/ 37 h 70"/>
                <a:gd name="T8" fmla="*/ 10 w 39"/>
                <a:gd name="T9" fmla="*/ 47 h 70"/>
                <a:gd name="T10" fmla="*/ 10 w 39"/>
                <a:gd name="T11" fmla="*/ 63 h 70"/>
                <a:gd name="T12" fmla="*/ 18 w 39"/>
                <a:gd name="T13" fmla="*/ 70 h 70"/>
                <a:gd name="T14" fmla="*/ 18 w 39"/>
                <a:gd name="T15" fmla="*/ 70 h 70"/>
                <a:gd name="T16" fmla="*/ 21 w 39"/>
                <a:gd name="T17" fmla="*/ 70 h 70"/>
                <a:gd name="T18" fmla="*/ 29 w 39"/>
                <a:gd name="T19" fmla="*/ 63 h 70"/>
                <a:gd name="T20" fmla="*/ 29 w 39"/>
                <a:gd name="T21" fmla="*/ 63 h 70"/>
                <a:gd name="T22" fmla="*/ 29 w 39"/>
                <a:gd name="T23" fmla="*/ 47 h 70"/>
                <a:gd name="T24" fmla="*/ 38 w 39"/>
                <a:gd name="T25" fmla="*/ 37 h 70"/>
                <a:gd name="T26" fmla="*/ 35 w 39"/>
                <a:gd name="T27" fmla="*/ 10 h 70"/>
                <a:gd name="T28" fmla="*/ 25 w 39"/>
                <a:gd name="T2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0">
                  <a:moveTo>
                    <a:pt x="25" y="0"/>
                  </a:moveTo>
                  <a:cubicBezTo>
                    <a:pt x="14" y="0"/>
                    <a:pt x="14" y="0"/>
                    <a:pt x="14" y="0"/>
                  </a:cubicBezTo>
                  <a:cubicBezTo>
                    <a:pt x="9" y="0"/>
                    <a:pt x="5" y="4"/>
                    <a:pt x="4" y="10"/>
                  </a:cubicBezTo>
                  <a:cubicBezTo>
                    <a:pt x="1" y="37"/>
                    <a:pt x="1" y="37"/>
                    <a:pt x="1" y="37"/>
                  </a:cubicBezTo>
                  <a:cubicBezTo>
                    <a:pt x="0" y="42"/>
                    <a:pt x="5" y="46"/>
                    <a:pt x="10" y="47"/>
                  </a:cubicBezTo>
                  <a:cubicBezTo>
                    <a:pt x="10" y="63"/>
                    <a:pt x="10" y="63"/>
                    <a:pt x="10" y="63"/>
                  </a:cubicBezTo>
                  <a:cubicBezTo>
                    <a:pt x="10" y="67"/>
                    <a:pt x="13" y="70"/>
                    <a:pt x="18" y="70"/>
                  </a:cubicBezTo>
                  <a:cubicBezTo>
                    <a:pt x="18" y="70"/>
                    <a:pt x="18" y="70"/>
                    <a:pt x="18" y="70"/>
                  </a:cubicBezTo>
                  <a:cubicBezTo>
                    <a:pt x="21" y="70"/>
                    <a:pt x="21" y="70"/>
                    <a:pt x="21" y="70"/>
                  </a:cubicBezTo>
                  <a:cubicBezTo>
                    <a:pt x="25" y="70"/>
                    <a:pt x="29" y="67"/>
                    <a:pt x="29" y="63"/>
                  </a:cubicBezTo>
                  <a:cubicBezTo>
                    <a:pt x="29" y="63"/>
                    <a:pt x="29" y="63"/>
                    <a:pt x="29" y="63"/>
                  </a:cubicBezTo>
                  <a:cubicBezTo>
                    <a:pt x="29" y="47"/>
                    <a:pt x="29" y="47"/>
                    <a:pt x="29" y="47"/>
                  </a:cubicBezTo>
                  <a:cubicBezTo>
                    <a:pt x="33" y="46"/>
                    <a:pt x="39" y="42"/>
                    <a:pt x="38" y="37"/>
                  </a:cubicBezTo>
                  <a:cubicBezTo>
                    <a:pt x="35" y="10"/>
                    <a:pt x="35" y="10"/>
                    <a:pt x="35" y="10"/>
                  </a:cubicBezTo>
                  <a:cubicBezTo>
                    <a:pt x="34" y="4"/>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85" name="Oval 29">
              <a:extLst>
                <a:ext uri="{FF2B5EF4-FFF2-40B4-BE49-F238E27FC236}">
                  <a16:creationId xmlns:a16="http://schemas.microsoft.com/office/drawing/2014/main" id="{EFCF809E-E9FE-7C77-805D-17310BB08D49}"/>
                </a:ext>
              </a:extLst>
            </p:cNvPr>
            <p:cNvSpPr>
              <a:spLocks noChangeArrowheads="1"/>
            </p:cNvSpPr>
            <p:nvPr/>
          </p:nvSpPr>
          <p:spPr bwMode="auto">
            <a:xfrm>
              <a:off x="912953" y="2131133"/>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86" name="Freeform 30">
              <a:extLst>
                <a:ext uri="{FF2B5EF4-FFF2-40B4-BE49-F238E27FC236}">
                  <a16:creationId xmlns:a16="http://schemas.microsoft.com/office/drawing/2014/main" id="{C7D67AB3-BB05-7DDB-C61C-3D720FF24CB1}"/>
                </a:ext>
              </a:extLst>
            </p:cNvPr>
            <p:cNvSpPr>
              <a:spLocks/>
            </p:cNvSpPr>
            <p:nvPr/>
          </p:nvSpPr>
          <p:spPr bwMode="auto">
            <a:xfrm>
              <a:off x="864476" y="2276570"/>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4"/>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91" name="Oval 35">
              <a:extLst>
                <a:ext uri="{FF2B5EF4-FFF2-40B4-BE49-F238E27FC236}">
                  <a16:creationId xmlns:a16="http://schemas.microsoft.com/office/drawing/2014/main" id="{7E9C1331-314F-1EE8-5313-C761C7763870}"/>
                </a:ext>
              </a:extLst>
            </p:cNvPr>
            <p:cNvSpPr>
              <a:spLocks noChangeArrowheads="1"/>
            </p:cNvSpPr>
            <p:nvPr/>
          </p:nvSpPr>
          <p:spPr bwMode="auto">
            <a:xfrm>
              <a:off x="1440167" y="2131133"/>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92" name="Freeform 36">
              <a:extLst>
                <a:ext uri="{FF2B5EF4-FFF2-40B4-BE49-F238E27FC236}">
                  <a16:creationId xmlns:a16="http://schemas.microsoft.com/office/drawing/2014/main" id="{792A7FE7-C3AA-96FE-A0C2-1BCFB6BE89EB}"/>
                </a:ext>
              </a:extLst>
            </p:cNvPr>
            <p:cNvSpPr>
              <a:spLocks/>
            </p:cNvSpPr>
            <p:nvPr/>
          </p:nvSpPr>
          <p:spPr bwMode="auto">
            <a:xfrm>
              <a:off x="1388657" y="2276570"/>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4"/>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97" name="Oval 41">
              <a:extLst>
                <a:ext uri="{FF2B5EF4-FFF2-40B4-BE49-F238E27FC236}">
                  <a16:creationId xmlns:a16="http://schemas.microsoft.com/office/drawing/2014/main" id="{5CA9D02D-6732-490B-ECAA-992122A4813C}"/>
                </a:ext>
              </a:extLst>
            </p:cNvPr>
            <p:cNvSpPr>
              <a:spLocks noChangeArrowheads="1"/>
            </p:cNvSpPr>
            <p:nvPr/>
          </p:nvSpPr>
          <p:spPr bwMode="auto">
            <a:xfrm>
              <a:off x="1964348" y="2131133"/>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98" name="Freeform 42">
              <a:extLst>
                <a:ext uri="{FF2B5EF4-FFF2-40B4-BE49-F238E27FC236}">
                  <a16:creationId xmlns:a16="http://schemas.microsoft.com/office/drawing/2014/main" id="{DF804138-4F7D-5D6D-9C7A-2560E7EEFBB6}"/>
                </a:ext>
              </a:extLst>
            </p:cNvPr>
            <p:cNvSpPr>
              <a:spLocks/>
            </p:cNvSpPr>
            <p:nvPr/>
          </p:nvSpPr>
          <p:spPr bwMode="auto">
            <a:xfrm>
              <a:off x="1912841" y="2276570"/>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4"/>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803" name="Oval 47">
              <a:extLst>
                <a:ext uri="{FF2B5EF4-FFF2-40B4-BE49-F238E27FC236}">
                  <a16:creationId xmlns:a16="http://schemas.microsoft.com/office/drawing/2014/main" id="{3B3EE017-A6C9-8476-3731-267F6E3E55C9}"/>
                </a:ext>
              </a:extLst>
            </p:cNvPr>
            <p:cNvSpPr>
              <a:spLocks noChangeArrowheads="1"/>
            </p:cNvSpPr>
            <p:nvPr/>
          </p:nvSpPr>
          <p:spPr bwMode="auto">
            <a:xfrm>
              <a:off x="2488533" y="2131133"/>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804" name="Freeform 48">
              <a:extLst>
                <a:ext uri="{FF2B5EF4-FFF2-40B4-BE49-F238E27FC236}">
                  <a16:creationId xmlns:a16="http://schemas.microsoft.com/office/drawing/2014/main" id="{2A03FE99-42AC-F12C-76E5-65A1D492632F}"/>
                </a:ext>
              </a:extLst>
            </p:cNvPr>
            <p:cNvSpPr>
              <a:spLocks/>
            </p:cNvSpPr>
            <p:nvPr/>
          </p:nvSpPr>
          <p:spPr bwMode="auto">
            <a:xfrm>
              <a:off x="2437024" y="2276570"/>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4"/>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63" name="Oval 7">
              <a:extLst>
                <a:ext uri="{FF2B5EF4-FFF2-40B4-BE49-F238E27FC236}">
                  <a16:creationId xmlns:a16="http://schemas.microsoft.com/office/drawing/2014/main" id="{EF2E6D30-6EF6-3FF6-B879-2DDC2A9DC546}"/>
                </a:ext>
              </a:extLst>
            </p:cNvPr>
            <p:cNvSpPr>
              <a:spLocks noChangeArrowheads="1"/>
            </p:cNvSpPr>
            <p:nvPr/>
          </p:nvSpPr>
          <p:spPr bwMode="auto">
            <a:xfrm>
              <a:off x="1170502" y="18099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64" name="Freeform 8">
              <a:extLst>
                <a:ext uri="{FF2B5EF4-FFF2-40B4-BE49-F238E27FC236}">
                  <a16:creationId xmlns:a16="http://schemas.microsoft.com/office/drawing/2014/main" id="{3C2A89A0-5E01-5FAE-AA9F-646D8C854514}"/>
                </a:ext>
              </a:extLst>
            </p:cNvPr>
            <p:cNvSpPr>
              <a:spLocks/>
            </p:cNvSpPr>
            <p:nvPr/>
          </p:nvSpPr>
          <p:spPr bwMode="auto">
            <a:xfrm>
              <a:off x="1118993" y="1958425"/>
              <a:ext cx="242397" cy="451466"/>
            </a:xfrm>
            <a:custGeom>
              <a:avLst/>
              <a:gdLst>
                <a:gd name="T0" fmla="*/ 24 w 38"/>
                <a:gd name="T1" fmla="*/ 0 h 71"/>
                <a:gd name="T2" fmla="*/ 13 w 38"/>
                <a:gd name="T3" fmla="*/ 0 h 71"/>
                <a:gd name="T4" fmla="*/ 3 w 38"/>
                <a:gd name="T5" fmla="*/ 10 h 71"/>
                <a:gd name="T6" fmla="*/ 0 w 38"/>
                <a:gd name="T7" fmla="*/ 38 h 71"/>
                <a:gd name="T8" fmla="*/ 10 w 38"/>
                <a:gd name="T9" fmla="*/ 48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8 h 71"/>
                <a:gd name="T24" fmla="*/ 37 w 38"/>
                <a:gd name="T25" fmla="*/ 38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8"/>
                    <a:pt x="0" y="38"/>
                    <a:pt x="0" y="38"/>
                  </a:cubicBezTo>
                  <a:cubicBezTo>
                    <a:pt x="0" y="42"/>
                    <a:pt x="5" y="47"/>
                    <a:pt x="10" y="48"/>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8"/>
                    <a:pt x="28" y="63"/>
                  </a:cubicBezTo>
                  <a:cubicBezTo>
                    <a:pt x="28" y="63"/>
                    <a:pt x="28" y="63"/>
                    <a:pt x="28" y="63"/>
                  </a:cubicBezTo>
                  <a:cubicBezTo>
                    <a:pt x="28" y="48"/>
                    <a:pt x="28" y="48"/>
                    <a:pt x="28" y="48"/>
                  </a:cubicBezTo>
                  <a:cubicBezTo>
                    <a:pt x="32" y="47"/>
                    <a:pt x="38" y="42"/>
                    <a:pt x="37" y="38"/>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65" name="Oval 9">
              <a:extLst>
                <a:ext uri="{FF2B5EF4-FFF2-40B4-BE49-F238E27FC236}">
                  <a16:creationId xmlns:a16="http://schemas.microsoft.com/office/drawing/2014/main" id="{F89D790B-E4AE-284D-A8D7-2C2D9ECEE20B}"/>
                </a:ext>
              </a:extLst>
            </p:cNvPr>
            <p:cNvSpPr>
              <a:spLocks noChangeArrowheads="1"/>
            </p:cNvSpPr>
            <p:nvPr/>
          </p:nvSpPr>
          <p:spPr bwMode="auto">
            <a:xfrm>
              <a:off x="1694684" y="18099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66" name="Freeform 10">
              <a:extLst>
                <a:ext uri="{FF2B5EF4-FFF2-40B4-BE49-F238E27FC236}">
                  <a16:creationId xmlns:a16="http://schemas.microsoft.com/office/drawing/2014/main" id="{A97F1D45-230C-5641-8A49-57D33734268C}"/>
                </a:ext>
              </a:extLst>
            </p:cNvPr>
            <p:cNvSpPr>
              <a:spLocks/>
            </p:cNvSpPr>
            <p:nvPr/>
          </p:nvSpPr>
          <p:spPr bwMode="auto">
            <a:xfrm>
              <a:off x="1643174" y="1958425"/>
              <a:ext cx="242397" cy="451466"/>
            </a:xfrm>
            <a:custGeom>
              <a:avLst/>
              <a:gdLst>
                <a:gd name="T0" fmla="*/ 24 w 38"/>
                <a:gd name="T1" fmla="*/ 0 h 71"/>
                <a:gd name="T2" fmla="*/ 13 w 38"/>
                <a:gd name="T3" fmla="*/ 0 h 71"/>
                <a:gd name="T4" fmla="*/ 3 w 38"/>
                <a:gd name="T5" fmla="*/ 10 h 71"/>
                <a:gd name="T6" fmla="*/ 0 w 38"/>
                <a:gd name="T7" fmla="*/ 38 h 71"/>
                <a:gd name="T8" fmla="*/ 10 w 38"/>
                <a:gd name="T9" fmla="*/ 48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8 h 71"/>
                <a:gd name="T24" fmla="*/ 38 w 38"/>
                <a:gd name="T25" fmla="*/ 38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8"/>
                    <a:pt x="0" y="38"/>
                    <a:pt x="0" y="38"/>
                  </a:cubicBezTo>
                  <a:cubicBezTo>
                    <a:pt x="0" y="42"/>
                    <a:pt x="5" y="47"/>
                    <a:pt x="10" y="48"/>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8"/>
                    <a:pt x="28" y="63"/>
                  </a:cubicBezTo>
                  <a:cubicBezTo>
                    <a:pt x="28" y="63"/>
                    <a:pt x="28" y="63"/>
                    <a:pt x="28" y="63"/>
                  </a:cubicBezTo>
                  <a:cubicBezTo>
                    <a:pt x="28" y="48"/>
                    <a:pt x="28" y="48"/>
                    <a:pt x="28" y="48"/>
                  </a:cubicBezTo>
                  <a:cubicBezTo>
                    <a:pt x="33" y="47"/>
                    <a:pt x="38" y="42"/>
                    <a:pt x="38" y="38"/>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67" name="Oval 11">
              <a:extLst>
                <a:ext uri="{FF2B5EF4-FFF2-40B4-BE49-F238E27FC236}">
                  <a16:creationId xmlns:a16="http://schemas.microsoft.com/office/drawing/2014/main" id="{04161BB8-A650-844C-C7FD-9D6600C50F78}"/>
                </a:ext>
              </a:extLst>
            </p:cNvPr>
            <p:cNvSpPr>
              <a:spLocks noChangeArrowheads="1"/>
            </p:cNvSpPr>
            <p:nvPr/>
          </p:nvSpPr>
          <p:spPr bwMode="auto">
            <a:xfrm>
              <a:off x="2218865" y="18099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68" name="Freeform 12">
              <a:extLst>
                <a:ext uri="{FF2B5EF4-FFF2-40B4-BE49-F238E27FC236}">
                  <a16:creationId xmlns:a16="http://schemas.microsoft.com/office/drawing/2014/main" id="{D3AB54C0-AD8A-BDCC-D172-B0A881957B84}"/>
                </a:ext>
              </a:extLst>
            </p:cNvPr>
            <p:cNvSpPr>
              <a:spLocks/>
            </p:cNvSpPr>
            <p:nvPr/>
          </p:nvSpPr>
          <p:spPr bwMode="auto">
            <a:xfrm>
              <a:off x="2167357" y="1958425"/>
              <a:ext cx="242397" cy="451466"/>
            </a:xfrm>
            <a:custGeom>
              <a:avLst/>
              <a:gdLst>
                <a:gd name="T0" fmla="*/ 24 w 38"/>
                <a:gd name="T1" fmla="*/ 0 h 71"/>
                <a:gd name="T2" fmla="*/ 13 w 38"/>
                <a:gd name="T3" fmla="*/ 0 h 71"/>
                <a:gd name="T4" fmla="*/ 3 w 38"/>
                <a:gd name="T5" fmla="*/ 10 h 71"/>
                <a:gd name="T6" fmla="*/ 0 w 38"/>
                <a:gd name="T7" fmla="*/ 38 h 71"/>
                <a:gd name="T8" fmla="*/ 10 w 38"/>
                <a:gd name="T9" fmla="*/ 48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8 h 71"/>
                <a:gd name="T24" fmla="*/ 37 w 38"/>
                <a:gd name="T25" fmla="*/ 38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8"/>
                    <a:pt x="0" y="38"/>
                    <a:pt x="0" y="38"/>
                  </a:cubicBezTo>
                  <a:cubicBezTo>
                    <a:pt x="0" y="42"/>
                    <a:pt x="5" y="47"/>
                    <a:pt x="10" y="48"/>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8"/>
                    <a:pt x="28" y="63"/>
                  </a:cubicBezTo>
                  <a:cubicBezTo>
                    <a:pt x="28" y="63"/>
                    <a:pt x="28" y="63"/>
                    <a:pt x="28" y="63"/>
                  </a:cubicBezTo>
                  <a:cubicBezTo>
                    <a:pt x="28" y="48"/>
                    <a:pt x="28" y="48"/>
                    <a:pt x="28" y="48"/>
                  </a:cubicBezTo>
                  <a:cubicBezTo>
                    <a:pt x="32" y="47"/>
                    <a:pt x="38" y="42"/>
                    <a:pt x="37" y="38"/>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61" name="Oval 5">
              <a:extLst>
                <a:ext uri="{FF2B5EF4-FFF2-40B4-BE49-F238E27FC236}">
                  <a16:creationId xmlns:a16="http://schemas.microsoft.com/office/drawing/2014/main" id="{C82C0E98-06E6-138A-C2C0-A9D4C70B2093}"/>
                </a:ext>
              </a:extLst>
            </p:cNvPr>
            <p:cNvSpPr>
              <a:spLocks noChangeArrowheads="1"/>
            </p:cNvSpPr>
            <p:nvPr/>
          </p:nvSpPr>
          <p:spPr bwMode="auto">
            <a:xfrm>
              <a:off x="646319" y="18099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62" name="Freeform 6">
              <a:extLst>
                <a:ext uri="{FF2B5EF4-FFF2-40B4-BE49-F238E27FC236}">
                  <a16:creationId xmlns:a16="http://schemas.microsoft.com/office/drawing/2014/main" id="{9FC84499-36F8-E29F-6309-3B49EAC6196C}"/>
                </a:ext>
              </a:extLst>
            </p:cNvPr>
            <p:cNvSpPr>
              <a:spLocks/>
            </p:cNvSpPr>
            <p:nvPr/>
          </p:nvSpPr>
          <p:spPr bwMode="auto">
            <a:xfrm>
              <a:off x="588749" y="1958425"/>
              <a:ext cx="248457" cy="451466"/>
            </a:xfrm>
            <a:custGeom>
              <a:avLst/>
              <a:gdLst>
                <a:gd name="T0" fmla="*/ 25 w 39"/>
                <a:gd name="T1" fmla="*/ 0 h 71"/>
                <a:gd name="T2" fmla="*/ 14 w 39"/>
                <a:gd name="T3" fmla="*/ 0 h 71"/>
                <a:gd name="T4" fmla="*/ 4 w 39"/>
                <a:gd name="T5" fmla="*/ 10 h 71"/>
                <a:gd name="T6" fmla="*/ 1 w 39"/>
                <a:gd name="T7" fmla="*/ 38 h 71"/>
                <a:gd name="T8" fmla="*/ 10 w 39"/>
                <a:gd name="T9" fmla="*/ 48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8 h 71"/>
                <a:gd name="T24" fmla="*/ 38 w 39"/>
                <a:gd name="T25" fmla="*/ 38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8"/>
                    <a:pt x="1" y="38"/>
                    <a:pt x="1" y="38"/>
                  </a:cubicBezTo>
                  <a:cubicBezTo>
                    <a:pt x="0" y="42"/>
                    <a:pt x="5" y="47"/>
                    <a:pt x="10" y="48"/>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8"/>
                    <a:pt x="29" y="63"/>
                  </a:cubicBezTo>
                  <a:cubicBezTo>
                    <a:pt x="29" y="63"/>
                    <a:pt x="29" y="63"/>
                    <a:pt x="29" y="63"/>
                  </a:cubicBezTo>
                  <a:cubicBezTo>
                    <a:pt x="29" y="48"/>
                    <a:pt x="29" y="48"/>
                    <a:pt x="29" y="48"/>
                  </a:cubicBezTo>
                  <a:cubicBezTo>
                    <a:pt x="33" y="47"/>
                    <a:pt x="39" y="42"/>
                    <a:pt x="38" y="38"/>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277" name="Oval 5">
              <a:extLst>
                <a:ext uri="{FF2B5EF4-FFF2-40B4-BE49-F238E27FC236}">
                  <a16:creationId xmlns:a16="http://schemas.microsoft.com/office/drawing/2014/main" id="{73F57976-7FB9-9A6D-5E5F-E83392E7C65D}"/>
                </a:ext>
              </a:extLst>
            </p:cNvPr>
            <p:cNvSpPr>
              <a:spLocks noChangeArrowheads="1"/>
            </p:cNvSpPr>
            <p:nvPr/>
          </p:nvSpPr>
          <p:spPr bwMode="auto">
            <a:xfrm>
              <a:off x="2779054" y="18099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278" name="Freeform 6">
              <a:extLst>
                <a:ext uri="{FF2B5EF4-FFF2-40B4-BE49-F238E27FC236}">
                  <a16:creationId xmlns:a16="http://schemas.microsoft.com/office/drawing/2014/main" id="{7F63DF05-6DAA-9990-0E9D-C007008DAD9C}"/>
                </a:ext>
              </a:extLst>
            </p:cNvPr>
            <p:cNvSpPr>
              <a:spLocks/>
            </p:cNvSpPr>
            <p:nvPr/>
          </p:nvSpPr>
          <p:spPr bwMode="auto">
            <a:xfrm>
              <a:off x="2721484" y="1958425"/>
              <a:ext cx="248457" cy="451466"/>
            </a:xfrm>
            <a:custGeom>
              <a:avLst/>
              <a:gdLst>
                <a:gd name="T0" fmla="*/ 25 w 39"/>
                <a:gd name="T1" fmla="*/ 0 h 71"/>
                <a:gd name="T2" fmla="*/ 14 w 39"/>
                <a:gd name="T3" fmla="*/ 0 h 71"/>
                <a:gd name="T4" fmla="*/ 4 w 39"/>
                <a:gd name="T5" fmla="*/ 10 h 71"/>
                <a:gd name="T6" fmla="*/ 1 w 39"/>
                <a:gd name="T7" fmla="*/ 38 h 71"/>
                <a:gd name="T8" fmla="*/ 10 w 39"/>
                <a:gd name="T9" fmla="*/ 48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8 h 71"/>
                <a:gd name="T24" fmla="*/ 38 w 39"/>
                <a:gd name="T25" fmla="*/ 38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8"/>
                    <a:pt x="1" y="38"/>
                    <a:pt x="1" y="38"/>
                  </a:cubicBezTo>
                  <a:cubicBezTo>
                    <a:pt x="0" y="42"/>
                    <a:pt x="5" y="47"/>
                    <a:pt x="10" y="48"/>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8"/>
                    <a:pt x="29" y="63"/>
                  </a:cubicBezTo>
                  <a:cubicBezTo>
                    <a:pt x="29" y="63"/>
                    <a:pt x="29" y="63"/>
                    <a:pt x="29" y="63"/>
                  </a:cubicBezTo>
                  <a:cubicBezTo>
                    <a:pt x="29" y="48"/>
                    <a:pt x="29" y="48"/>
                    <a:pt x="29" y="48"/>
                  </a:cubicBezTo>
                  <a:cubicBezTo>
                    <a:pt x="33" y="47"/>
                    <a:pt x="39" y="42"/>
                    <a:pt x="38" y="38"/>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279" name="Oval 13">
              <a:extLst>
                <a:ext uri="{FF2B5EF4-FFF2-40B4-BE49-F238E27FC236}">
                  <a16:creationId xmlns:a16="http://schemas.microsoft.com/office/drawing/2014/main" id="{6C401BB4-4A2F-8D25-4CE9-F7FD0891014C}"/>
                </a:ext>
              </a:extLst>
            </p:cNvPr>
            <p:cNvSpPr>
              <a:spLocks noChangeArrowheads="1"/>
            </p:cNvSpPr>
            <p:nvPr/>
          </p:nvSpPr>
          <p:spPr bwMode="auto">
            <a:xfrm>
              <a:off x="2779054" y="2467459"/>
              <a:ext cx="127258" cy="13028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280" name="Freeform 14">
              <a:extLst>
                <a:ext uri="{FF2B5EF4-FFF2-40B4-BE49-F238E27FC236}">
                  <a16:creationId xmlns:a16="http://schemas.microsoft.com/office/drawing/2014/main" id="{7155EC15-E0D1-3FEE-AFDE-55AD5F1841BD}"/>
                </a:ext>
              </a:extLst>
            </p:cNvPr>
            <p:cNvSpPr>
              <a:spLocks/>
            </p:cNvSpPr>
            <p:nvPr/>
          </p:nvSpPr>
          <p:spPr bwMode="auto">
            <a:xfrm>
              <a:off x="2721484" y="2621987"/>
              <a:ext cx="248457" cy="448434"/>
            </a:xfrm>
            <a:custGeom>
              <a:avLst/>
              <a:gdLst>
                <a:gd name="T0" fmla="*/ 25 w 39"/>
                <a:gd name="T1" fmla="*/ 0 h 70"/>
                <a:gd name="T2" fmla="*/ 14 w 39"/>
                <a:gd name="T3" fmla="*/ 0 h 70"/>
                <a:gd name="T4" fmla="*/ 4 w 39"/>
                <a:gd name="T5" fmla="*/ 10 h 70"/>
                <a:gd name="T6" fmla="*/ 1 w 39"/>
                <a:gd name="T7" fmla="*/ 37 h 70"/>
                <a:gd name="T8" fmla="*/ 10 w 39"/>
                <a:gd name="T9" fmla="*/ 47 h 70"/>
                <a:gd name="T10" fmla="*/ 10 w 39"/>
                <a:gd name="T11" fmla="*/ 63 h 70"/>
                <a:gd name="T12" fmla="*/ 18 w 39"/>
                <a:gd name="T13" fmla="*/ 70 h 70"/>
                <a:gd name="T14" fmla="*/ 18 w 39"/>
                <a:gd name="T15" fmla="*/ 70 h 70"/>
                <a:gd name="T16" fmla="*/ 21 w 39"/>
                <a:gd name="T17" fmla="*/ 70 h 70"/>
                <a:gd name="T18" fmla="*/ 29 w 39"/>
                <a:gd name="T19" fmla="*/ 63 h 70"/>
                <a:gd name="T20" fmla="*/ 29 w 39"/>
                <a:gd name="T21" fmla="*/ 63 h 70"/>
                <a:gd name="T22" fmla="*/ 29 w 39"/>
                <a:gd name="T23" fmla="*/ 47 h 70"/>
                <a:gd name="T24" fmla="*/ 38 w 39"/>
                <a:gd name="T25" fmla="*/ 37 h 70"/>
                <a:gd name="T26" fmla="*/ 35 w 39"/>
                <a:gd name="T27" fmla="*/ 10 h 70"/>
                <a:gd name="T28" fmla="*/ 25 w 39"/>
                <a:gd name="T2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0">
                  <a:moveTo>
                    <a:pt x="25" y="0"/>
                  </a:moveTo>
                  <a:cubicBezTo>
                    <a:pt x="14" y="0"/>
                    <a:pt x="14" y="0"/>
                    <a:pt x="14" y="0"/>
                  </a:cubicBezTo>
                  <a:cubicBezTo>
                    <a:pt x="9" y="0"/>
                    <a:pt x="5" y="4"/>
                    <a:pt x="4" y="10"/>
                  </a:cubicBezTo>
                  <a:cubicBezTo>
                    <a:pt x="1" y="37"/>
                    <a:pt x="1" y="37"/>
                    <a:pt x="1" y="37"/>
                  </a:cubicBezTo>
                  <a:cubicBezTo>
                    <a:pt x="0" y="42"/>
                    <a:pt x="5" y="46"/>
                    <a:pt x="10" y="47"/>
                  </a:cubicBezTo>
                  <a:cubicBezTo>
                    <a:pt x="10" y="63"/>
                    <a:pt x="10" y="63"/>
                    <a:pt x="10" y="63"/>
                  </a:cubicBezTo>
                  <a:cubicBezTo>
                    <a:pt x="10" y="67"/>
                    <a:pt x="13" y="70"/>
                    <a:pt x="18" y="70"/>
                  </a:cubicBezTo>
                  <a:cubicBezTo>
                    <a:pt x="18" y="70"/>
                    <a:pt x="18" y="70"/>
                    <a:pt x="18" y="70"/>
                  </a:cubicBezTo>
                  <a:cubicBezTo>
                    <a:pt x="21" y="70"/>
                    <a:pt x="21" y="70"/>
                    <a:pt x="21" y="70"/>
                  </a:cubicBezTo>
                  <a:cubicBezTo>
                    <a:pt x="25" y="70"/>
                    <a:pt x="29" y="67"/>
                    <a:pt x="29" y="63"/>
                  </a:cubicBezTo>
                  <a:cubicBezTo>
                    <a:pt x="29" y="63"/>
                    <a:pt x="29" y="63"/>
                    <a:pt x="29" y="63"/>
                  </a:cubicBezTo>
                  <a:cubicBezTo>
                    <a:pt x="29" y="47"/>
                    <a:pt x="29" y="47"/>
                    <a:pt x="29" y="47"/>
                  </a:cubicBezTo>
                  <a:cubicBezTo>
                    <a:pt x="33" y="46"/>
                    <a:pt x="39" y="42"/>
                    <a:pt x="38" y="37"/>
                  </a:cubicBezTo>
                  <a:cubicBezTo>
                    <a:pt x="35" y="10"/>
                    <a:pt x="35" y="10"/>
                    <a:pt x="35" y="10"/>
                  </a:cubicBezTo>
                  <a:cubicBezTo>
                    <a:pt x="34" y="4"/>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87" name="Oval 31">
              <a:extLst>
                <a:ext uri="{FF2B5EF4-FFF2-40B4-BE49-F238E27FC236}">
                  <a16:creationId xmlns:a16="http://schemas.microsoft.com/office/drawing/2014/main" id="{76C7AE3E-6D6C-4011-7577-E0883B86962D}"/>
                </a:ext>
              </a:extLst>
            </p:cNvPr>
            <p:cNvSpPr>
              <a:spLocks noChangeArrowheads="1"/>
            </p:cNvSpPr>
            <p:nvPr/>
          </p:nvSpPr>
          <p:spPr bwMode="auto">
            <a:xfrm>
              <a:off x="912953" y="2788635"/>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88" name="Freeform 32">
              <a:extLst>
                <a:ext uri="{FF2B5EF4-FFF2-40B4-BE49-F238E27FC236}">
                  <a16:creationId xmlns:a16="http://schemas.microsoft.com/office/drawing/2014/main" id="{48CA29E8-948A-6FEE-8B2E-8CD1902FF057}"/>
                </a:ext>
              </a:extLst>
            </p:cNvPr>
            <p:cNvSpPr>
              <a:spLocks/>
            </p:cNvSpPr>
            <p:nvPr/>
          </p:nvSpPr>
          <p:spPr bwMode="auto">
            <a:xfrm>
              <a:off x="864476" y="2937102"/>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5"/>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93" name="Oval 37">
              <a:extLst>
                <a:ext uri="{FF2B5EF4-FFF2-40B4-BE49-F238E27FC236}">
                  <a16:creationId xmlns:a16="http://schemas.microsoft.com/office/drawing/2014/main" id="{BE80F03C-33C2-3A80-7F07-328FA6DB8E52}"/>
                </a:ext>
              </a:extLst>
            </p:cNvPr>
            <p:cNvSpPr>
              <a:spLocks noChangeArrowheads="1"/>
            </p:cNvSpPr>
            <p:nvPr/>
          </p:nvSpPr>
          <p:spPr bwMode="auto">
            <a:xfrm>
              <a:off x="1440167" y="2788635"/>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94" name="Freeform 38">
              <a:extLst>
                <a:ext uri="{FF2B5EF4-FFF2-40B4-BE49-F238E27FC236}">
                  <a16:creationId xmlns:a16="http://schemas.microsoft.com/office/drawing/2014/main" id="{47308FBC-A510-B0F5-78CE-C37BBDEDE3F7}"/>
                </a:ext>
              </a:extLst>
            </p:cNvPr>
            <p:cNvSpPr>
              <a:spLocks/>
            </p:cNvSpPr>
            <p:nvPr/>
          </p:nvSpPr>
          <p:spPr bwMode="auto">
            <a:xfrm>
              <a:off x="1388657" y="2937102"/>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99" name="Oval 43">
              <a:extLst>
                <a:ext uri="{FF2B5EF4-FFF2-40B4-BE49-F238E27FC236}">
                  <a16:creationId xmlns:a16="http://schemas.microsoft.com/office/drawing/2014/main" id="{338332ED-1F6E-26D1-6E56-B5DB9C3D30C1}"/>
                </a:ext>
              </a:extLst>
            </p:cNvPr>
            <p:cNvSpPr>
              <a:spLocks noChangeArrowheads="1"/>
            </p:cNvSpPr>
            <p:nvPr/>
          </p:nvSpPr>
          <p:spPr bwMode="auto">
            <a:xfrm>
              <a:off x="1964348" y="2788635"/>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800" name="Freeform 44">
              <a:extLst>
                <a:ext uri="{FF2B5EF4-FFF2-40B4-BE49-F238E27FC236}">
                  <a16:creationId xmlns:a16="http://schemas.microsoft.com/office/drawing/2014/main" id="{748F9E7D-35DB-2DB0-9F62-1D2B6B2BE91C}"/>
                </a:ext>
              </a:extLst>
            </p:cNvPr>
            <p:cNvSpPr>
              <a:spLocks/>
            </p:cNvSpPr>
            <p:nvPr/>
          </p:nvSpPr>
          <p:spPr bwMode="auto">
            <a:xfrm>
              <a:off x="1912841" y="2937102"/>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805" name="Oval 49">
              <a:extLst>
                <a:ext uri="{FF2B5EF4-FFF2-40B4-BE49-F238E27FC236}">
                  <a16:creationId xmlns:a16="http://schemas.microsoft.com/office/drawing/2014/main" id="{0015FD9E-68A4-5353-E46A-B848F19A0A6A}"/>
                </a:ext>
              </a:extLst>
            </p:cNvPr>
            <p:cNvSpPr>
              <a:spLocks noChangeArrowheads="1"/>
            </p:cNvSpPr>
            <p:nvPr/>
          </p:nvSpPr>
          <p:spPr bwMode="auto">
            <a:xfrm>
              <a:off x="2488533" y="2788635"/>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806" name="Freeform 50">
              <a:extLst>
                <a:ext uri="{FF2B5EF4-FFF2-40B4-BE49-F238E27FC236}">
                  <a16:creationId xmlns:a16="http://schemas.microsoft.com/office/drawing/2014/main" id="{742147B2-0AD9-9234-579A-8964CC252C9B}"/>
                </a:ext>
              </a:extLst>
            </p:cNvPr>
            <p:cNvSpPr>
              <a:spLocks/>
            </p:cNvSpPr>
            <p:nvPr/>
          </p:nvSpPr>
          <p:spPr bwMode="auto">
            <a:xfrm>
              <a:off x="2437024" y="2937102"/>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77" name="Oval 21">
              <a:extLst>
                <a:ext uri="{FF2B5EF4-FFF2-40B4-BE49-F238E27FC236}">
                  <a16:creationId xmlns:a16="http://schemas.microsoft.com/office/drawing/2014/main" id="{565F6D66-F417-C576-9F9B-40C549A5CA30}"/>
                </a:ext>
              </a:extLst>
            </p:cNvPr>
            <p:cNvSpPr>
              <a:spLocks noChangeArrowheads="1"/>
            </p:cNvSpPr>
            <p:nvPr/>
          </p:nvSpPr>
          <p:spPr bwMode="auto">
            <a:xfrm>
              <a:off x="646319" y="3134052"/>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78" name="Freeform 22">
              <a:extLst>
                <a:ext uri="{FF2B5EF4-FFF2-40B4-BE49-F238E27FC236}">
                  <a16:creationId xmlns:a16="http://schemas.microsoft.com/office/drawing/2014/main" id="{1FEE0699-9E51-AA9C-D821-169B83815DE5}"/>
                </a:ext>
              </a:extLst>
            </p:cNvPr>
            <p:cNvSpPr>
              <a:spLocks/>
            </p:cNvSpPr>
            <p:nvPr/>
          </p:nvSpPr>
          <p:spPr bwMode="auto">
            <a:xfrm>
              <a:off x="588749" y="3282519"/>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79" name="Oval 23">
              <a:extLst>
                <a:ext uri="{FF2B5EF4-FFF2-40B4-BE49-F238E27FC236}">
                  <a16:creationId xmlns:a16="http://schemas.microsoft.com/office/drawing/2014/main" id="{48D82A39-7BC5-C0CA-70F8-E423159D6AB9}"/>
                </a:ext>
              </a:extLst>
            </p:cNvPr>
            <p:cNvSpPr>
              <a:spLocks noChangeArrowheads="1"/>
            </p:cNvSpPr>
            <p:nvPr/>
          </p:nvSpPr>
          <p:spPr bwMode="auto">
            <a:xfrm>
              <a:off x="1170502" y="3134052"/>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80" name="Freeform 24">
              <a:extLst>
                <a:ext uri="{FF2B5EF4-FFF2-40B4-BE49-F238E27FC236}">
                  <a16:creationId xmlns:a16="http://schemas.microsoft.com/office/drawing/2014/main" id="{62F47FCB-402C-0BA9-A9F1-015DD437A68F}"/>
                </a:ext>
              </a:extLst>
            </p:cNvPr>
            <p:cNvSpPr>
              <a:spLocks/>
            </p:cNvSpPr>
            <p:nvPr/>
          </p:nvSpPr>
          <p:spPr bwMode="auto">
            <a:xfrm>
              <a:off x="1118993" y="3282519"/>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81" name="Oval 25">
              <a:extLst>
                <a:ext uri="{FF2B5EF4-FFF2-40B4-BE49-F238E27FC236}">
                  <a16:creationId xmlns:a16="http://schemas.microsoft.com/office/drawing/2014/main" id="{380613E5-E04E-82AE-53C6-A4980EB85137}"/>
                </a:ext>
              </a:extLst>
            </p:cNvPr>
            <p:cNvSpPr>
              <a:spLocks noChangeArrowheads="1"/>
            </p:cNvSpPr>
            <p:nvPr/>
          </p:nvSpPr>
          <p:spPr bwMode="auto">
            <a:xfrm>
              <a:off x="1694684" y="3134052"/>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82" name="Freeform 26">
              <a:extLst>
                <a:ext uri="{FF2B5EF4-FFF2-40B4-BE49-F238E27FC236}">
                  <a16:creationId xmlns:a16="http://schemas.microsoft.com/office/drawing/2014/main" id="{30C67D47-53BA-2372-22B9-1914F29DD33B}"/>
                </a:ext>
              </a:extLst>
            </p:cNvPr>
            <p:cNvSpPr>
              <a:spLocks/>
            </p:cNvSpPr>
            <p:nvPr/>
          </p:nvSpPr>
          <p:spPr bwMode="auto">
            <a:xfrm>
              <a:off x="1643174" y="3282519"/>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8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3" y="47"/>
                    <a:pt x="38" y="42"/>
                    <a:pt x="38"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83" name="Oval 27">
              <a:extLst>
                <a:ext uri="{FF2B5EF4-FFF2-40B4-BE49-F238E27FC236}">
                  <a16:creationId xmlns:a16="http://schemas.microsoft.com/office/drawing/2014/main" id="{A1E968BD-D432-198C-D0C9-41093C4081C1}"/>
                </a:ext>
              </a:extLst>
            </p:cNvPr>
            <p:cNvSpPr>
              <a:spLocks noChangeArrowheads="1"/>
            </p:cNvSpPr>
            <p:nvPr/>
          </p:nvSpPr>
          <p:spPr bwMode="auto">
            <a:xfrm>
              <a:off x="2218865" y="3134052"/>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84" name="Freeform 28">
              <a:extLst>
                <a:ext uri="{FF2B5EF4-FFF2-40B4-BE49-F238E27FC236}">
                  <a16:creationId xmlns:a16="http://schemas.microsoft.com/office/drawing/2014/main" id="{C99E3942-E6F2-43B4-A6D9-B866C6052DC6}"/>
                </a:ext>
              </a:extLst>
            </p:cNvPr>
            <p:cNvSpPr>
              <a:spLocks/>
            </p:cNvSpPr>
            <p:nvPr/>
          </p:nvSpPr>
          <p:spPr bwMode="auto">
            <a:xfrm>
              <a:off x="2167357" y="3282519"/>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281" name="Oval 21">
              <a:extLst>
                <a:ext uri="{FF2B5EF4-FFF2-40B4-BE49-F238E27FC236}">
                  <a16:creationId xmlns:a16="http://schemas.microsoft.com/office/drawing/2014/main" id="{A59BA6B9-76B0-8177-D4F6-C72B9F29CBF9}"/>
                </a:ext>
              </a:extLst>
            </p:cNvPr>
            <p:cNvSpPr>
              <a:spLocks noChangeArrowheads="1"/>
            </p:cNvSpPr>
            <p:nvPr/>
          </p:nvSpPr>
          <p:spPr bwMode="auto">
            <a:xfrm>
              <a:off x="2779054" y="3134052"/>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282" name="Freeform 22">
              <a:extLst>
                <a:ext uri="{FF2B5EF4-FFF2-40B4-BE49-F238E27FC236}">
                  <a16:creationId xmlns:a16="http://schemas.microsoft.com/office/drawing/2014/main" id="{4DA39EF2-4ABA-3F1F-46A4-1454D2A8106F}"/>
                </a:ext>
              </a:extLst>
            </p:cNvPr>
            <p:cNvSpPr>
              <a:spLocks/>
            </p:cNvSpPr>
            <p:nvPr/>
          </p:nvSpPr>
          <p:spPr bwMode="auto">
            <a:xfrm>
              <a:off x="2721484" y="3282519"/>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13" name="Oval 31">
              <a:extLst>
                <a:ext uri="{FF2B5EF4-FFF2-40B4-BE49-F238E27FC236}">
                  <a16:creationId xmlns:a16="http://schemas.microsoft.com/office/drawing/2014/main" id="{6635AE36-C9A5-D5DD-CEDF-24519138972E}"/>
                </a:ext>
              </a:extLst>
            </p:cNvPr>
            <p:cNvSpPr>
              <a:spLocks noChangeArrowheads="1"/>
            </p:cNvSpPr>
            <p:nvPr/>
          </p:nvSpPr>
          <p:spPr bwMode="auto">
            <a:xfrm>
              <a:off x="912953" y="3498756"/>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14" name="Freeform 32">
              <a:extLst>
                <a:ext uri="{FF2B5EF4-FFF2-40B4-BE49-F238E27FC236}">
                  <a16:creationId xmlns:a16="http://schemas.microsoft.com/office/drawing/2014/main" id="{96DCA335-8BC9-CC25-7F60-E395DC2BFD89}"/>
                </a:ext>
              </a:extLst>
            </p:cNvPr>
            <p:cNvSpPr>
              <a:spLocks/>
            </p:cNvSpPr>
            <p:nvPr/>
          </p:nvSpPr>
          <p:spPr bwMode="auto">
            <a:xfrm>
              <a:off x="864476" y="3647223"/>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5"/>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15" name="Oval 37">
              <a:extLst>
                <a:ext uri="{FF2B5EF4-FFF2-40B4-BE49-F238E27FC236}">
                  <a16:creationId xmlns:a16="http://schemas.microsoft.com/office/drawing/2014/main" id="{F6807F3C-59D5-5151-6202-E9E52560AC55}"/>
                </a:ext>
              </a:extLst>
            </p:cNvPr>
            <p:cNvSpPr>
              <a:spLocks noChangeArrowheads="1"/>
            </p:cNvSpPr>
            <p:nvPr/>
          </p:nvSpPr>
          <p:spPr bwMode="auto">
            <a:xfrm>
              <a:off x="1440167" y="34987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16" name="Freeform 38">
              <a:extLst>
                <a:ext uri="{FF2B5EF4-FFF2-40B4-BE49-F238E27FC236}">
                  <a16:creationId xmlns:a16="http://schemas.microsoft.com/office/drawing/2014/main" id="{74A66AEB-0725-1C49-EA17-E543A54D2753}"/>
                </a:ext>
              </a:extLst>
            </p:cNvPr>
            <p:cNvSpPr>
              <a:spLocks/>
            </p:cNvSpPr>
            <p:nvPr/>
          </p:nvSpPr>
          <p:spPr bwMode="auto">
            <a:xfrm>
              <a:off x="1388657" y="3647223"/>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17" name="Oval 43">
              <a:extLst>
                <a:ext uri="{FF2B5EF4-FFF2-40B4-BE49-F238E27FC236}">
                  <a16:creationId xmlns:a16="http://schemas.microsoft.com/office/drawing/2014/main" id="{A8F76E20-F1C7-FB89-5692-797A598D9A02}"/>
                </a:ext>
              </a:extLst>
            </p:cNvPr>
            <p:cNvSpPr>
              <a:spLocks noChangeArrowheads="1"/>
            </p:cNvSpPr>
            <p:nvPr/>
          </p:nvSpPr>
          <p:spPr bwMode="auto">
            <a:xfrm>
              <a:off x="1964348" y="34987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18" name="Freeform 44">
              <a:extLst>
                <a:ext uri="{FF2B5EF4-FFF2-40B4-BE49-F238E27FC236}">
                  <a16:creationId xmlns:a16="http://schemas.microsoft.com/office/drawing/2014/main" id="{2DC3B390-26CB-4DD8-4CC4-B3D16817C9DF}"/>
                </a:ext>
              </a:extLst>
            </p:cNvPr>
            <p:cNvSpPr>
              <a:spLocks/>
            </p:cNvSpPr>
            <p:nvPr/>
          </p:nvSpPr>
          <p:spPr bwMode="auto">
            <a:xfrm>
              <a:off x="1912841" y="3647223"/>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19" name="Oval 49">
              <a:extLst>
                <a:ext uri="{FF2B5EF4-FFF2-40B4-BE49-F238E27FC236}">
                  <a16:creationId xmlns:a16="http://schemas.microsoft.com/office/drawing/2014/main" id="{D0FB4BC6-9980-8F09-7138-9656FB03121A}"/>
                </a:ext>
              </a:extLst>
            </p:cNvPr>
            <p:cNvSpPr>
              <a:spLocks noChangeArrowheads="1"/>
            </p:cNvSpPr>
            <p:nvPr/>
          </p:nvSpPr>
          <p:spPr bwMode="auto">
            <a:xfrm>
              <a:off x="2488533" y="34987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20" name="Freeform 50">
              <a:extLst>
                <a:ext uri="{FF2B5EF4-FFF2-40B4-BE49-F238E27FC236}">
                  <a16:creationId xmlns:a16="http://schemas.microsoft.com/office/drawing/2014/main" id="{7019CF66-B76F-1FDD-C40B-7278019EEA67}"/>
                </a:ext>
              </a:extLst>
            </p:cNvPr>
            <p:cNvSpPr>
              <a:spLocks/>
            </p:cNvSpPr>
            <p:nvPr/>
          </p:nvSpPr>
          <p:spPr bwMode="auto">
            <a:xfrm>
              <a:off x="2437024" y="3647223"/>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22" name="Oval 21">
              <a:extLst>
                <a:ext uri="{FF2B5EF4-FFF2-40B4-BE49-F238E27FC236}">
                  <a16:creationId xmlns:a16="http://schemas.microsoft.com/office/drawing/2014/main" id="{CA5F622B-1CD1-69B6-448E-ED98D800AB5E}"/>
                </a:ext>
              </a:extLst>
            </p:cNvPr>
            <p:cNvSpPr>
              <a:spLocks noChangeArrowheads="1"/>
            </p:cNvSpPr>
            <p:nvPr/>
          </p:nvSpPr>
          <p:spPr bwMode="auto">
            <a:xfrm>
              <a:off x="646319" y="3844172"/>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23" name="Freeform 22">
              <a:extLst>
                <a:ext uri="{FF2B5EF4-FFF2-40B4-BE49-F238E27FC236}">
                  <a16:creationId xmlns:a16="http://schemas.microsoft.com/office/drawing/2014/main" id="{BD2E26B9-6C04-7D28-85ED-B6DCB4BB52FE}"/>
                </a:ext>
              </a:extLst>
            </p:cNvPr>
            <p:cNvSpPr>
              <a:spLocks/>
            </p:cNvSpPr>
            <p:nvPr/>
          </p:nvSpPr>
          <p:spPr bwMode="auto">
            <a:xfrm>
              <a:off x="588749" y="3992639"/>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24" name="Oval 23">
              <a:extLst>
                <a:ext uri="{FF2B5EF4-FFF2-40B4-BE49-F238E27FC236}">
                  <a16:creationId xmlns:a16="http://schemas.microsoft.com/office/drawing/2014/main" id="{3F2AB20C-B54B-8ACE-E88F-F52A26EC15F8}"/>
                </a:ext>
              </a:extLst>
            </p:cNvPr>
            <p:cNvSpPr>
              <a:spLocks noChangeArrowheads="1"/>
            </p:cNvSpPr>
            <p:nvPr/>
          </p:nvSpPr>
          <p:spPr bwMode="auto">
            <a:xfrm>
              <a:off x="1170502" y="3844172"/>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25" name="Freeform 24">
              <a:extLst>
                <a:ext uri="{FF2B5EF4-FFF2-40B4-BE49-F238E27FC236}">
                  <a16:creationId xmlns:a16="http://schemas.microsoft.com/office/drawing/2014/main" id="{A579E22B-1B04-6054-1409-831474BA25E7}"/>
                </a:ext>
              </a:extLst>
            </p:cNvPr>
            <p:cNvSpPr>
              <a:spLocks/>
            </p:cNvSpPr>
            <p:nvPr/>
          </p:nvSpPr>
          <p:spPr bwMode="auto">
            <a:xfrm>
              <a:off x="1118993" y="3992639"/>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26" name="Oval 25">
              <a:extLst>
                <a:ext uri="{FF2B5EF4-FFF2-40B4-BE49-F238E27FC236}">
                  <a16:creationId xmlns:a16="http://schemas.microsoft.com/office/drawing/2014/main" id="{906E4EAC-33B9-D261-BC3A-DAA6783EF7BE}"/>
                </a:ext>
              </a:extLst>
            </p:cNvPr>
            <p:cNvSpPr>
              <a:spLocks noChangeArrowheads="1"/>
            </p:cNvSpPr>
            <p:nvPr/>
          </p:nvSpPr>
          <p:spPr bwMode="auto">
            <a:xfrm>
              <a:off x="1694684" y="3844172"/>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27" name="Freeform 26">
              <a:extLst>
                <a:ext uri="{FF2B5EF4-FFF2-40B4-BE49-F238E27FC236}">
                  <a16:creationId xmlns:a16="http://schemas.microsoft.com/office/drawing/2014/main" id="{EE25F9C8-9885-A79F-48D7-6705350963BD}"/>
                </a:ext>
              </a:extLst>
            </p:cNvPr>
            <p:cNvSpPr>
              <a:spLocks/>
            </p:cNvSpPr>
            <p:nvPr/>
          </p:nvSpPr>
          <p:spPr bwMode="auto">
            <a:xfrm>
              <a:off x="1643174" y="3992639"/>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8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3" y="47"/>
                    <a:pt x="38" y="42"/>
                    <a:pt x="38"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28" name="Oval 27">
              <a:extLst>
                <a:ext uri="{FF2B5EF4-FFF2-40B4-BE49-F238E27FC236}">
                  <a16:creationId xmlns:a16="http://schemas.microsoft.com/office/drawing/2014/main" id="{64872D46-5BF9-D432-813C-7B1D7BDCC1FC}"/>
                </a:ext>
              </a:extLst>
            </p:cNvPr>
            <p:cNvSpPr>
              <a:spLocks noChangeArrowheads="1"/>
            </p:cNvSpPr>
            <p:nvPr/>
          </p:nvSpPr>
          <p:spPr bwMode="auto">
            <a:xfrm>
              <a:off x="2218865" y="3844172"/>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29" name="Freeform 28">
              <a:extLst>
                <a:ext uri="{FF2B5EF4-FFF2-40B4-BE49-F238E27FC236}">
                  <a16:creationId xmlns:a16="http://schemas.microsoft.com/office/drawing/2014/main" id="{DB16E641-F204-522A-2B0E-DFEDAB8D9FCC}"/>
                </a:ext>
              </a:extLst>
            </p:cNvPr>
            <p:cNvSpPr>
              <a:spLocks/>
            </p:cNvSpPr>
            <p:nvPr/>
          </p:nvSpPr>
          <p:spPr bwMode="auto">
            <a:xfrm>
              <a:off x="2167357" y="3992639"/>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30" name="Oval 21">
              <a:extLst>
                <a:ext uri="{FF2B5EF4-FFF2-40B4-BE49-F238E27FC236}">
                  <a16:creationId xmlns:a16="http://schemas.microsoft.com/office/drawing/2014/main" id="{7A4863DF-2756-605D-3186-4D60C7A0FBDE}"/>
                </a:ext>
              </a:extLst>
            </p:cNvPr>
            <p:cNvSpPr>
              <a:spLocks noChangeArrowheads="1"/>
            </p:cNvSpPr>
            <p:nvPr/>
          </p:nvSpPr>
          <p:spPr bwMode="auto">
            <a:xfrm>
              <a:off x="2779054" y="3844172"/>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31" name="Freeform 22">
              <a:extLst>
                <a:ext uri="{FF2B5EF4-FFF2-40B4-BE49-F238E27FC236}">
                  <a16:creationId xmlns:a16="http://schemas.microsoft.com/office/drawing/2014/main" id="{842D3C8F-1FE3-205A-0AF1-8F364FD93261}"/>
                </a:ext>
              </a:extLst>
            </p:cNvPr>
            <p:cNvSpPr>
              <a:spLocks/>
            </p:cNvSpPr>
            <p:nvPr/>
          </p:nvSpPr>
          <p:spPr bwMode="auto">
            <a:xfrm>
              <a:off x="2721484" y="3992639"/>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33" name="Oval 31">
              <a:extLst>
                <a:ext uri="{FF2B5EF4-FFF2-40B4-BE49-F238E27FC236}">
                  <a16:creationId xmlns:a16="http://schemas.microsoft.com/office/drawing/2014/main" id="{F53370DF-7827-94DF-8EC6-F8E163CBF3ED}"/>
                </a:ext>
              </a:extLst>
            </p:cNvPr>
            <p:cNvSpPr>
              <a:spLocks noChangeArrowheads="1"/>
            </p:cNvSpPr>
            <p:nvPr/>
          </p:nvSpPr>
          <p:spPr bwMode="auto">
            <a:xfrm>
              <a:off x="912953" y="4238060"/>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34" name="Freeform 32">
              <a:extLst>
                <a:ext uri="{FF2B5EF4-FFF2-40B4-BE49-F238E27FC236}">
                  <a16:creationId xmlns:a16="http://schemas.microsoft.com/office/drawing/2014/main" id="{73A02574-1ED2-AF5E-6B1D-86544ED986CD}"/>
                </a:ext>
              </a:extLst>
            </p:cNvPr>
            <p:cNvSpPr>
              <a:spLocks/>
            </p:cNvSpPr>
            <p:nvPr/>
          </p:nvSpPr>
          <p:spPr bwMode="auto">
            <a:xfrm>
              <a:off x="864476" y="4386526"/>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5"/>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35" name="Oval 37">
              <a:extLst>
                <a:ext uri="{FF2B5EF4-FFF2-40B4-BE49-F238E27FC236}">
                  <a16:creationId xmlns:a16="http://schemas.microsoft.com/office/drawing/2014/main" id="{E7A62B8C-0141-8BF2-545A-EF6246BD78C5}"/>
                </a:ext>
              </a:extLst>
            </p:cNvPr>
            <p:cNvSpPr>
              <a:spLocks noChangeArrowheads="1"/>
            </p:cNvSpPr>
            <p:nvPr/>
          </p:nvSpPr>
          <p:spPr bwMode="auto">
            <a:xfrm>
              <a:off x="1440167" y="423806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36" name="Freeform 38">
              <a:extLst>
                <a:ext uri="{FF2B5EF4-FFF2-40B4-BE49-F238E27FC236}">
                  <a16:creationId xmlns:a16="http://schemas.microsoft.com/office/drawing/2014/main" id="{165AEDA0-5C41-7422-FA47-1A2D92505896}"/>
                </a:ext>
              </a:extLst>
            </p:cNvPr>
            <p:cNvSpPr>
              <a:spLocks/>
            </p:cNvSpPr>
            <p:nvPr/>
          </p:nvSpPr>
          <p:spPr bwMode="auto">
            <a:xfrm>
              <a:off x="1388657" y="4386526"/>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37" name="Oval 43">
              <a:extLst>
                <a:ext uri="{FF2B5EF4-FFF2-40B4-BE49-F238E27FC236}">
                  <a16:creationId xmlns:a16="http://schemas.microsoft.com/office/drawing/2014/main" id="{8AB374C7-0FB9-28BA-5A1E-55E449B0B7C5}"/>
                </a:ext>
              </a:extLst>
            </p:cNvPr>
            <p:cNvSpPr>
              <a:spLocks noChangeArrowheads="1"/>
            </p:cNvSpPr>
            <p:nvPr/>
          </p:nvSpPr>
          <p:spPr bwMode="auto">
            <a:xfrm>
              <a:off x="1964348" y="423806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38" name="Freeform 44">
              <a:extLst>
                <a:ext uri="{FF2B5EF4-FFF2-40B4-BE49-F238E27FC236}">
                  <a16:creationId xmlns:a16="http://schemas.microsoft.com/office/drawing/2014/main" id="{5D82ABEF-ED9F-DDC4-263D-F49F619349BB}"/>
                </a:ext>
              </a:extLst>
            </p:cNvPr>
            <p:cNvSpPr>
              <a:spLocks/>
            </p:cNvSpPr>
            <p:nvPr/>
          </p:nvSpPr>
          <p:spPr bwMode="auto">
            <a:xfrm>
              <a:off x="1912841" y="4386526"/>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39" name="Oval 49">
              <a:extLst>
                <a:ext uri="{FF2B5EF4-FFF2-40B4-BE49-F238E27FC236}">
                  <a16:creationId xmlns:a16="http://schemas.microsoft.com/office/drawing/2014/main" id="{279E1B48-32C5-9C38-E596-62CCF9874374}"/>
                </a:ext>
              </a:extLst>
            </p:cNvPr>
            <p:cNvSpPr>
              <a:spLocks noChangeArrowheads="1"/>
            </p:cNvSpPr>
            <p:nvPr/>
          </p:nvSpPr>
          <p:spPr bwMode="auto">
            <a:xfrm>
              <a:off x="2488533" y="423806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40" name="Freeform 50">
              <a:extLst>
                <a:ext uri="{FF2B5EF4-FFF2-40B4-BE49-F238E27FC236}">
                  <a16:creationId xmlns:a16="http://schemas.microsoft.com/office/drawing/2014/main" id="{02CE6E10-9E7F-62AD-B13F-05BDF5F94256}"/>
                </a:ext>
              </a:extLst>
            </p:cNvPr>
            <p:cNvSpPr>
              <a:spLocks/>
            </p:cNvSpPr>
            <p:nvPr/>
          </p:nvSpPr>
          <p:spPr bwMode="auto">
            <a:xfrm>
              <a:off x="2437024" y="4386526"/>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42" name="Oval 21">
              <a:extLst>
                <a:ext uri="{FF2B5EF4-FFF2-40B4-BE49-F238E27FC236}">
                  <a16:creationId xmlns:a16="http://schemas.microsoft.com/office/drawing/2014/main" id="{43BF1FAC-36E6-2E60-5A0D-B2F5E33EA8E1}"/>
                </a:ext>
              </a:extLst>
            </p:cNvPr>
            <p:cNvSpPr>
              <a:spLocks noChangeArrowheads="1"/>
            </p:cNvSpPr>
            <p:nvPr/>
          </p:nvSpPr>
          <p:spPr bwMode="auto">
            <a:xfrm>
              <a:off x="646319" y="458347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43" name="Freeform 22">
              <a:extLst>
                <a:ext uri="{FF2B5EF4-FFF2-40B4-BE49-F238E27FC236}">
                  <a16:creationId xmlns:a16="http://schemas.microsoft.com/office/drawing/2014/main" id="{3BACE875-B0B6-CF83-7371-195C0B5CBFE8}"/>
                </a:ext>
              </a:extLst>
            </p:cNvPr>
            <p:cNvSpPr>
              <a:spLocks/>
            </p:cNvSpPr>
            <p:nvPr/>
          </p:nvSpPr>
          <p:spPr bwMode="auto">
            <a:xfrm>
              <a:off x="588749" y="4731943"/>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44" name="Oval 23">
              <a:extLst>
                <a:ext uri="{FF2B5EF4-FFF2-40B4-BE49-F238E27FC236}">
                  <a16:creationId xmlns:a16="http://schemas.microsoft.com/office/drawing/2014/main" id="{17D389E5-54C2-9B08-4E3D-C13324BC93DC}"/>
                </a:ext>
              </a:extLst>
            </p:cNvPr>
            <p:cNvSpPr>
              <a:spLocks noChangeArrowheads="1"/>
            </p:cNvSpPr>
            <p:nvPr/>
          </p:nvSpPr>
          <p:spPr bwMode="auto">
            <a:xfrm>
              <a:off x="1170502" y="458347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45" name="Freeform 24">
              <a:extLst>
                <a:ext uri="{FF2B5EF4-FFF2-40B4-BE49-F238E27FC236}">
                  <a16:creationId xmlns:a16="http://schemas.microsoft.com/office/drawing/2014/main" id="{1B452E48-4673-13A5-D8A8-73CB0CAC26E1}"/>
                </a:ext>
              </a:extLst>
            </p:cNvPr>
            <p:cNvSpPr>
              <a:spLocks/>
            </p:cNvSpPr>
            <p:nvPr/>
          </p:nvSpPr>
          <p:spPr bwMode="auto">
            <a:xfrm>
              <a:off x="1118993" y="4731943"/>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46" name="Oval 25">
              <a:extLst>
                <a:ext uri="{FF2B5EF4-FFF2-40B4-BE49-F238E27FC236}">
                  <a16:creationId xmlns:a16="http://schemas.microsoft.com/office/drawing/2014/main" id="{44DED426-EAF7-401B-2332-8839DD9C80F3}"/>
                </a:ext>
              </a:extLst>
            </p:cNvPr>
            <p:cNvSpPr>
              <a:spLocks noChangeArrowheads="1"/>
            </p:cNvSpPr>
            <p:nvPr/>
          </p:nvSpPr>
          <p:spPr bwMode="auto">
            <a:xfrm>
              <a:off x="1694684" y="458347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47" name="Freeform 26">
              <a:extLst>
                <a:ext uri="{FF2B5EF4-FFF2-40B4-BE49-F238E27FC236}">
                  <a16:creationId xmlns:a16="http://schemas.microsoft.com/office/drawing/2014/main" id="{69118CD5-9C83-92FB-C406-313380D2DF28}"/>
                </a:ext>
              </a:extLst>
            </p:cNvPr>
            <p:cNvSpPr>
              <a:spLocks/>
            </p:cNvSpPr>
            <p:nvPr/>
          </p:nvSpPr>
          <p:spPr bwMode="auto">
            <a:xfrm>
              <a:off x="1643174" y="4731943"/>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8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3" y="47"/>
                    <a:pt x="38" y="42"/>
                    <a:pt x="38"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48" name="Oval 27">
              <a:extLst>
                <a:ext uri="{FF2B5EF4-FFF2-40B4-BE49-F238E27FC236}">
                  <a16:creationId xmlns:a16="http://schemas.microsoft.com/office/drawing/2014/main" id="{DCCF61DD-9EC1-8154-6448-2260A11E4F89}"/>
                </a:ext>
              </a:extLst>
            </p:cNvPr>
            <p:cNvSpPr>
              <a:spLocks noChangeArrowheads="1"/>
            </p:cNvSpPr>
            <p:nvPr/>
          </p:nvSpPr>
          <p:spPr bwMode="auto">
            <a:xfrm>
              <a:off x="2218865" y="458347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49" name="Freeform 28">
              <a:extLst>
                <a:ext uri="{FF2B5EF4-FFF2-40B4-BE49-F238E27FC236}">
                  <a16:creationId xmlns:a16="http://schemas.microsoft.com/office/drawing/2014/main" id="{9247443B-E8F4-10FB-D56F-78BD8A4950EF}"/>
                </a:ext>
              </a:extLst>
            </p:cNvPr>
            <p:cNvSpPr>
              <a:spLocks/>
            </p:cNvSpPr>
            <p:nvPr/>
          </p:nvSpPr>
          <p:spPr bwMode="auto">
            <a:xfrm>
              <a:off x="2167357" y="4731943"/>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50" name="Oval 21">
              <a:extLst>
                <a:ext uri="{FF2B5EF4-FFF2-40B4-BE49-F238E27FC236}">
                  <a16:creationId xmlns:a16="http://schemas.microsoft.com/office/drawing/2014/main" id="{B6FA2F09-5D10-A051-7849-3C0E74F8BBB5}"/>
                </a:ext>
              </a:extLst>
            </p:cNvPr>
            <p:cNvSpPr>
              <a:spLocks noChangeArrowheads="1"/>
            </p:cNvSpPr>
            <p:nvPr/>
          </p:nvSpPr>
          <p:spPr bwMode="auto">
            <a:xfrm>
              <a:off x="2779054" y="458347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51" name="Freeform 22">
              <a:extLst>
                <a:ext uri="{FF2B5EF4-FFF2-40B4-BE49-F238E27FC236}">
                  <a16:creationId xmlns:a16="http://schemas.microsoft.com/office/drawing/2014/main" id="{1D834193-2306-34FC-4960-9030E5179082}"/>
                </a:ext>
              </a:extLst>
            </p:cNvPr>
            <p:cNvSpPr>
              <a:spLocks/>
            </p:cNvSpPr>
            <p:nvPr/>
          </p:nvSpPr>
          <p:spPr bwMode="auto">
            <a:xfrm>
              <a:off x="2721484" y="4731943"/>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53" name="Oval 31">
              <a:extLst>
                <a:ext uri="{FF2B5EF4-FFF2-40B4-BE49-F238E27FC236}">
                  <a16:creationId xmlns:a16="http://schemas.microsoft.com/office/drawing/2014/main" id="{468A5AD2-71FC-691C-E7F3-00C6D76B6D22}"/>
                </a:ext>
              </a:extLst>
            </p:cNvPr>
            <p:cNvSpPr>
              <a:spLocks noChangeArrowheads="1"/>
            </p:cNvSpPr>
            <p:nvPr/>
          </p:nvSpPr>
          <p:spPr bwMode="auto">
            <a:xfrm>
              <a:off x="912953" y="4987091"/>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54" name="Freeform 32">
              <a:extLst>
                <a:ext uri="{FF2B5EF4-FFF2-40B4-BE49-F238E27FC236}">
                  <a16:creationId xmlns:a16="http://schemas.microsoft.com/office/drawing/2014/main" id="{188027A5-48F7-0458-EA52-3FAE24F53C90}"/>
                </a:ext>
              </a:extLst>
            </p:cNvPr>
            <p:cNvSpPr>
              <a:spLocks/>
            </p:cNvSpPr>
            <p:nvPr/>
          </p:nvSpPr>
          <p:spPr bwMode="auto">
            <a:xfrm>
              <a:off x="864476" y="5135557"/>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5"/>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55" name="Oval 37">
              <a:extLst>
                <a:ext uri="{FF2B5EF4-FFF2-40B4-BE49-F238E27FC236}">
                  <a16:creationId xmlns:a16="http://schemas.microsoft.com/office/drawing/2014/main" id="{877179FD-029A-5534-1345-56823A79074A}"/>
                </a:ext>
              </a:extLst>
            </p:cNvPr>
            <p:cNvSpPr>
              <a:spLocks noChangeArrowheads="1"/>
            </p:cNvSpPr>
            <p:nvPr/>
          </p:nvSpPr>
          <p:spPr bwMode="auto">
            <a:xfrm>
              <a:off x="1440167" y="4987091"/>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56" name="Freeform 38">
              <a:extLst>
                <a:ext uri="{FF2B5EF4-FFF2-40B4-BE49-F238E27FC236}">
                  <a16:creationId xmlns:a16="http://schemas.microsoft.com/office/drawing/2014/main" id="{EF50A075-F568-A8FB-107E-751F7EBC3691}"/>
                </a:ext>
              </a:extLst>
            </p:cNvPr>
            <p:cNvSpPr>
              <a:spLocks/>
            </p:cNvSpPr>
            <p:nvPr/>
          </p:nvSpPr>
          <p:spPr bwMode="auto">
            <a:xfrm>
              <a:off x="1388657" y="5135557"/>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57" name="Oval 43">
              <a:extLst>
                <a:ext uri="{FF2B5EF4-FFF2-40B4-BE49-F238E27FC236}">
                  <a16:creationId xmlns:a16="http://schemas.microsoft.com/office/drawing/2014/main" id="{6BCF72CA-A63E-4ABC-5359-40C03F6B8CE6}"/>
                </a:ext>
              </a:extLst>
            </p:cNvPr>
            <p:cNvSpPr>
              <a:spLocks noChangeArrowheads="1"/>
            </p:cNvSpPr>
            <p:nvPr/>
          </p:nvSpPr>
          <p:spPr bwMode="auto">
            <a:xfrm>
              <a:off x="1964348" y="4987091"/>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58" name="Freeform 44">
              <a:extLst>
                <a:ext uri="{FF2B5EF4-FFF2-40B4-BE49-F238E27FC236}">
                  <a16:creationId xmlns:a16="http://schemas.microsoft.com/office/drawing/2014/main" id="{34C64FB3-6827-FB17-40C2-B005E144D8EE}"/>
                </a:ext>
              </a:extLst>
            </p:cNvPr>
            <p:cNvSpPr>
              <a:spLocks/>
            </p:cNvSpPr>
            <p:nvPr/>
          </p:nvSpPr>
          <p:spPr bwMode="auto">
            <a:xfrm>
              <a:off x="1912841" y="5135557"/>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59" name="Oval 49">
              <a:extLst>
                <a:ext uri="{FF2B5EF4-FFF2-40B4-BE49-F238E27FC236}">
                  <a16:creationId xmlns:a16="http://schemas.microsoft.com/office/drawing/2014/main" id="{8051844B-4CD6-C8D1-3636-787011DE0C2A}"/>
                </a:ext>
              </a:extLst>
            </p:cNvPr>
            <p:cNvSpPr>
              <a:spLocks noChangeArrowheads="1"/>
            </p:cNvSpPr>
            <p:nvPr/>
          </p:nvSpPr>
          <p:spPr bwMode="auto">
            <a:xfrm>
              <a:off x="2488533" y="4987091"/>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60" name="Freeform 50">
              <a:extLst>
                <a:ext uri="{FF2B5EF4-FFF2-40B4-BE49-F238E27FC236}">
                  <a16:creationId xmlns:a16="http://schemas.microsoft.com/office/drawing/2014/main" id="{354C2647-EAF5-BDBC-3E95-F7B8D76CE8F8}"/>
                </a:ext>
              </a:extLst>
            </p:cNvPr>
            <p:cNvSpPr>
              <a:spLocks/>
            </p:cNvSpPr>
            <p:nvPr/>
          </p:nvSpPr>
          <p:spPr bwMode="auto">
            <a:xfrm>
              <a:off x="2437024" y="5135557"/>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62" name="Oval 21">
              <a:extLst>
                <a:ext uri="{FF2B5EF4-FFF2-40B4-BE49-F238E27FC236}">
                  <a16:creationId xmlns:a16="http://schemas.microsoft.com/office/drawing/2014/main" id="{33B5BF78-86F6-E4F4-9E76-FA6D3868FF80}"/>
                </a:ext>
              </a:extLst>
            </p:cNvPr>
            <p:cNvSpPr>
              <a:spLocks noChangeArrowheads="1"/>
            </p:cNvSpPr>
            <p:nvPr/>
          </p:nvSpPr>
          <p:spPr bwMode="auto">
            <a:xfrm>
              <a:off x="646319" y="5332507"/>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63" name="Freeform 22">
              <a:extLst>
                <a:ext uri="{FF2B5EF4-FFF2-40B4-BE49-F238E27FC236}">
                  <a16:creationId xmlns:a16="http://schemas.microsoft.com/office/drawing/2014/main" id="{3FFCA459-A95D-0034-F53F-D3FCBF82ECAB}"/>
                </a:ext>
              </a:extLst>
            </p:cNvPr>
            <p:cNvSpPr>
              <a:spLocks/>
            </p:cNvSpPr>
            <p:nvPr/>
          </p:nvSpPr>
          <p:spPr bwMode="auto">
            <a:xfrm>
              <a:off x="588749" y="5480974"/>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64" name="Oval 23">
              <a:extLst>
                <a:ext uri="{FF2B5EF4-FFF2-40B4-BE49-F238E27FC236}">
                  <a16:creationId xmlns:a16="http://schemas.microsoft.com/office/drawing/2014/main" id="{9FB5BD6B-EF81-555D-AAB6-EF17CCCA0DE6}"/>
                </a:ext>
              </a:extLst>
            </p:cNvPr>
            <p:cNvSpPr>
              <a:spLocks noChangeArrowheads="1"/>
            </p:cNvSpPr>
            <p:nvPr/>
          </p:nvSpPr>
          <p:spPr bwMode="auto">
            <a:xfrm>
              <a:off x="1170502" y="5332507"/>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65" name="Freeform 24">
              <a:extLst>
                <a:ext uri="{FF2B5EF4-FFF2-40B4-BE49-F238E27FC236}">
                  <a16:creationId xmlns:a16="http://schemas.microsoft.com/office/drawing/2014/main" id="{D4459F7F-4CFE-0616-EEDE-643F6E97F3F1}"/>
                </a:ext>
              </a:extLst>
            </p:cNvPr>
            <p:cNvSpPr>
              <a:spLocks/>
            </p:cNvSpPr>
            <p:nvPr/>
          </p:nvSpPr>
          <p:spPr bwMode="auto">
            <a:xfrm>
              <a:off x="1118993" y="5480974"/>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66" name="Oval 25">
              <a:extLst>
                <a:ext uri="{FF2B5EF4-FFF2-40B4-BE49-F238E27FC236}">
                  <a16:creationId xmlns:a16="http://schemas.microsoft.com/office/drawing/2014/main" id="{0A1F800A-77C5-FCAB-3F99-552580C3ADC5}"/>
                </a:ext>
              </a:extLst>
            </p:cNvPr>
            <p:cNvSpPr>
              <a:spLocks noChangeArrowheads="1"/>
            </p:cNvSpPr>
            <p:nvPr/>
          </p:nvSpPr>
          <p:spPr bwMode="auto">
            <a:xfrm>
              <a:off x="1694684" y="5332507"/>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67" name="Freeform 26">
              <a:extLst>
                <a:ext uri="{FF2B5EF4-FFF2-40B4-BE49-F238E27FC236}">
                  <a16:creationId xmlns:a16="http://schemas.microsoft.com/office/drawing/2014/main" id="{8708D6E1-8A49-1919-E7A0-F0D8E86DBC9A}"/>
                </a:ext>
              </a:extLst>
            </p:cNvPr>
            <p:cNvSpPr>
              <a:spLocks/>
            </p:cNvSpPr>
            <p:nvPr/>
          </p:nvSpPr>
          <p:spPr bwMode="auto">
            <a:xfrm>
              <a:off x="1643174" y="5480974"/>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8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3" y="47"/>
                    <a:pt x="38" y="42"/>
                    <a:pt x="38"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68" name="Oval 27">
              <a:extLst>
                <a:ext uri="{FF2B5EF4-FFF2-40B4-BE49-F238E27FC236}">
                  <a16:creationId xmlns:a16="http://schemas.microsoft.com/office/drawing/2014/main" id="{198CEC81-5C0C-77AE-46F5-0024E2C2233D}"/>
                </a:ext>
              </a:extLst>
            </p:cNvPr>
            <p:cNvSpPr>
              <a:spLocks noChangeArrowheads="1"/>
            </p:cNvSpPr>
            <p:nvPr/>
          </p:nvSpPr>
          <p:spPr bwMode="auto">
            <a:xfrm>
              <a:off x="2218865" y="5332507"/>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69" name="Freeform 28">
              <a:extLst>
                <a:ext uri="{FF2B5EF4-FFF2-40B4-BE49-F238E27FC236}">
                  <a16:creationId xmlns:a16="http://schemas.microsoft.com/office/drawing/2014/main" id="{4ECE88BA-F139-D1B7-C5C4-3DB186C5472E}"/>
                </a:ext>
              </a:extLst>
            </p:cNvPr>
            <p:cNvSpPr>
              <a:spLocks/>
            </p:cNvSpPr>
            <p:nvPr/>
          </p:nvSpPr>
          <p:spPr bwMode="auto">
            <a:xfrm>
              <a:off x="2167357" y="5480974"/>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70" name="Oval 21">
              <a:extLst>
                <a:ext uri="{FF2B5EF4-FFF2-40B4-BE49-F238E27FC236}">
                  <a16:creationId xmlns:a16="http://schemas.microsoft.com/office/drawing/2014/main" id="{E5E6394F-570E-46A6-467F-BB9EC1FF4033}"/>
                </a:ext>
              </a:extLst>
            </p:cNvPr>
            <p:cNvSpPr>
              <a:spLocks noChangeArrowheads="1"/>
            </p:cNvSpPr>
            <p:nvPr/>
          </p:nvSpPr>
          <p:spPr bwMode="auto">
            <a:xfrm>
              <a:off x="2779054" y="5332507"/>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671" name="Freeform 22">
              <a:extLst>
                <a:ext uri="{FF2B5EF4-FFF2-40B4-BE49-F238E27FC236}">
                  <a16:creationId xmlns:a16="http://schemas.microsoft.com/office/drawing/2014/main" id="{7C75977F-4427-D262-323C-1205D0FDDFCA}"/>
                </a:ext>
              </a:extLst>
            </p:cNvPr>
            <p:cNvSpPr>
              <a:spLocks/>
            </p:cNvSpPr>
            <p:nvPr/>
          </p:nvSpPr>
          <p:spPr bwMode="auto">
            <a:xfrm>
              <a:off x="2721484" y="5480974"/>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63" name="Oval 31">
              <a:extLst>
                <a:ext uri="{FF2B5EF4-FFF2-40B4-BE49-F238E27FC236}">
                  <a16:creationId xmlns:a16="http://schemas.microsoft.com/office/drawing/2014/main" id="{C81CCA64-2E0E-3033-428C-E23F143DA6FF}"/>
                </a:ext>
              </a:extLst>
            </p:cNvPr>
            <p:cNvSpPr>
              <a:spLocks noChangeArrowheads="1"/>
            </p:cNvSpPr>
            <p:nvPr/>
          </p:nvSpPr>
          <p:spPr bwMode="auto">
            <a:xfrm>
              <a:off x="3080259" y="2129483"/>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64" name="Freeform 32">
              <a:extLst>
                <a:ext uri="{FF2B5EF4-FFF2-40B4-BE49-F238E27FC236}">
                  <a16:creationId xmlns:a16="http://schemas.microsoft.com/office/drawing/2014/main" id="{87C8A727-21F4-C071-B048-EDC7E03A578C}"/>
                </a:ext>
              </a:extLst>
            </p:cNvPr>
            <p:cNvSpPr>
              <a:spLocks/>
            </p:cNvSpPr>
            <p:nvPr/>
          </p:nvSpPr>
          <p:spPr bwMode="auto">
            <a:xfrm>
              <a:off x="3031779" y="2277950"/>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5"/>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65" name="Oval 37">
              <a:extLst>
                <a:ext uri="{FF2B5EF4-FFF2-40B4-BE49-F238E27FC236}">
                  <a16:creationId xmlns:a16="http://schemas.microsoft.com/office/drawing/2014/main" id="{DDD65D61-DCEC-0C12-DB3A-E7B4E2715D9E}"/>
                </a:ext>
              </a:extLst>
            </p:cNvPr>
            <p:cNvSpPr>
              <a:spLocks noChangeArrowheads="1"/>
            </p:cNvSpPr>
            <p:nvPr/>
          </p:nvSpPr>
          <p:spPr bwMode="auto">
            <a:xfrm>
              <a:off x="3607471" y="2129483"/>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66" name="Freeform 38">
              <a:extLst>
                <a:ext uri="{FF2B5EF4-FFF2-40B4-BE49-F238E27FC236}">
                  <a16:creationId xmlns:a16="http://schemas.microsoft.com/office/drawing/2014/main" id="{A1D44858-B4A7-A151-0C51-17668D919D47}"/>
                </a:ext>
              </a:extLst>
            </p:cNvPr>
            <p:cNvSpPr>
              <a:spLocks/>
            </p:cNvSpPr>
            <p:nvPr/>
          </p:nvSpPr>
          <p:spPr bwMode="auto">
            <a:xfrm>
              <a:off x="3555961" y="2277950"/>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67" name="Oval 43">
              <a:extLst>
                <a:ext uri="{FF2B5EF4-FFF2-40B4-BE49-F238E27FC236}">
                  <a16:creationId xmlns:a16="http://schemas.microsoft.com/office/drawing/2014/main" id="{4B3C9321-3885-024B-B7AB-1554B1D05125}"/>
                </a:ext>
              </a:extLst>
            </p:cNvPr>
            <p:cNvSpPr>
              <a:spLocks noChangeArrowheads="1"/>
            </p:cNvSpPr>
            <p:nvPr/>
          </p:nvSpPr>
          <p:spPr bwMode="auto">
            <a:xfrm>
              <a:off x="4131652" y="2129483"/>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68" name="Freeform 44">
              <a:extLst>
                <a:ext uri="{FF2B5EF4-FFF2-40B4-BE49-F238E27FC236}">
                  <a16:creationId xmlns:a16="http://schemas.microsoft.com/office/drawing/2014/main" id="{FAD1EAC4-8EF2-8BF5-490F-ECE59F9AC76C}"/>
                </a:ext>
              </a:extLst>
            </p:cNvPr>
            <p:cNvSpPr>
              <a:spLocks/>
            </p:cNvSpPr>
            <p:nvPr/>
          </p:nvSpPr>
          <p:spPr bwMode="auto">
            <a:xfrm>
              <a:off x="4080146" y="2277950"/>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69" name="Oval 49">
              <a:extLst>
                <a:ext uri="{FF2B5EF4-FFF2-40B4-BE49-F238E27FC236}">
                  <a16:creationId xmlns:a16="http://schemas.microsoft.com/office/drawing/2014/main" id="{D90BBACC-5348-6A10-329B-FAE64A316E4F}"/>
                </a:ext>
              </a:extLst>
            </p:cNvPr>
            <p:cNvSpPr>
              <a:spLocks noChangeArrowheads="1"/>
            </p:cNvSpPr>
            <p:nvPr/>
          </p:nvSpPr>
          <p:spPr bwMode="auto">
            <a:xfrm>
              <a:off x="4655837" y="2129483"/>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70" name="Freeform 50">
              <a:extLst>
                <a:ext uri="{FF2B5EF4-FFF2-40B4-BE49-F238E27FC236}">
                  <a16:creationId xmlns:a16="http://schemas.microsoft.com/office/drawing/2014/main" id="{F1E82FB1-CD28-E2C3-7343-5D50A406823A}"/>
                </a:ext>
              </a:extLst>
            </p:cNvPr>
            <p:cNvSpPr>
              <a:spLocks/>
            </p:cNvSpPr>
            <p:nvPr/>
          </p:nvSpPr>
          <p:spPr bwMode="auto">
            <a:xfrm>
              <a:off x="4604327" y="2277950"/>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74" name="Oval 23">
              <a:extLst>
                <a:ext uri="{FF2B5EF4-FFF2-40B4-BE49-F238E27FC236}">
                  <a16:creationId xmlns:a16="http://schemas.microsoft.com/office/drawing/2014/main" id="{15D29CED-1BB9-786A-4F45-63EA1241CBA5}"/>
                </a:ext>
              </a:extLst>
            </p:cNvPr>
            <p:cNvSpPr>
              <a:spLocks noChangeArrowheads="1"/>
            </p:cNvSpPr>
            <p:nvPr/>
          </p:nvSpPr>
          <p:spPr bwMode="auto">
            <a:xfrm>
              <a:off x="3337805" y="247490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75" name="Freeform 24">
              <a:extLst>
                <a:ext uri="{FF2B5EF4-FFF2-40B4-BE49-F238E27FC236}">
                  <a16:creationId xmlns:a16="http://schemas.microsoft.com/office/drawing/2014/main" id="{633DB091-FF64-4329-F689-D4CBC3D28378}"/>
                </a:ext>
              </a:extLst>
            </p:cNvPr>
            <p:cNvSpPr>
              <a:spLocks/>
            </p:cNvSpPr>
            <p:nvPr/>
          </p:nvSpPr>
          <p:spPr bwMode="auto">
            <a:xfrm>
              <a:off x="3286296" y="2623367"/>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76" name="Oval 25">
              <a:extLst>
                <a:ext uri="{FF2B5EF4-FFF2-40B4-BE49-F238E27FC236}">
                  <a16:creationId xmlns:a16="http://schemas.microsoft.com/office/drawing/2014/main" id="{1815FD1A-E567-24C2-5AA2-69E76DFAA94A}"/>
                </a:ext>
              </a:extLst>
            </p:cNvPr>
            <p:cNvSpPr>
              <a:spLocks noChangeArrowheads="1"/>
            </p:cNvSpPr>
            <p:nvPr/>
          </p:nvSpPr>
          <p:spPr bwMode="auto">
            <a:xfrm>
              <a:off x="3861988" y="247490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77" name="Freeform 26">
              <a:extLst>
                <a:ext uri="{FF2B5EF4-FFF2-40B4-BE49-F238E27FC236}">
                  <a16:creationId xmlns:a16="http://schemas.microsoft.com/office/drawing/2014/main" id="{4D419849-6EB8-EE43-4464-746605230714}"/>
                </a:ext>
              </a:extLst>
            </p:cNvPr>
            <p:cNvSpPr>
              <a:spLocks/>
            </p:cNvSpPr>
            <p:nvPr/>
          </p:nvSpPr>
          <p:spPr bwMode="auto">
            <a:xfrm>
              <a:off x="3810478" y="2623367"/>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8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3" y="47"/>
                    <a:pt x="38" y="42"/>
                    <a:pt x="38"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78" name="Oval 27">
              <a:extLst>
                <a:ext uri="{FF2B5EF4-FFF2-40B4-BE49-F238E27FC236}">
                  <a16:creationId xmlns:a16="http://schemas.microsoft.com/office/drawing/2014/main" id="{A1C0AE26-F414-BECA-E494-879D7A96B24E}"/>
                </a:ext>
              </a:extLst>
            </p:cNvPr>
            <p:cNvSpPr>
              <a:spLocks noChangeArrowheads="1"/>
            </p:cNvSpPr>
            <p:nvPr/>
          </p:nvSpPr>
          <p:spPr bwMode="auto">
            <a:xfrm>
              <a:off x="4386169" y="247490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79" name="Freeform 28">
              <a:extLst>
                <a:ext uri="{FF2B5EF4-FFF2-40B4-BE49-F238E27FC236}">
                  <a16:creationId xmlns:a16="http://schemas.microsoft.com/office/drawing/2014/main" id="{2A5ACC4F-5025-8BA1-49EB-3050F639A97A}"/>
                </a:ext>
              </a:extLst>
            </p:cNvPr>
            <p:cNvSpPr>
              <a:spLocks/>
            </p:cNvSpPr>
            <p:nvPr/>
          </p:nvSpPr>
          <p:spPr bwMode="auto">
            <a:xfrm>
              <a:off x="4334662" y="2623367"/>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80" name="Oval 21">
              <a:extLst>
                <a:ext uri="{FF2B5EF4-FFF2-40B4-BE49-F238E27FC236}">
                  <a16:creationId xmlns:a16="http://schemas.microsoft.com/office/drawing/2014/main" id="{B9B973DA-F7FF-53DD-EDB4-0F27360217AF}"/>
                </a:ext>
              </a:extLst>
            </p:cNvPr>
            <p:cNvSpPr>
              <a:spLocks noChangeArrowheads="1"/>
            </p:cNvSpPr>
            <p:nvPr/>
          </p:nvSpPr>
          <p:spPr bwMode="auto">
            <a:xfrm>
              <a:off x="4946359" y="247490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81" name="Freeform 22">
              <a:extLst>
                <a:ext uri="{FF2B5EF4-FFF2-40B4-BE49-F238E27FC236}">
                  <a16:creationId xmlns:a16="http://schemas.microsoft.com/office/drawing/2014/main" id="{7ED775F3-62C4-2E0F-20DF-E988CDE9DCD9}"/>
                </a:ext>
              </a:extLst>
            </p:cNvPr>
            <p:cNvSpPr>
              <a:spLocks/>
            </p:cNvSpPr>
            <p:nvPr/>
          </p:nvSpPr>
          <p:spPr bwMode="auto">
            <a:xfrm>
              <a:off x="4888788" y="2623367"/>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44" name="Oval 31">
              <a:extLst>
                <a:ext uri="{FF2B5EF4-FFF2-40B4-BE49-F238E27FC236}">
                  <a16:creationId xmlns:a16="http://schemas.microsoft.com/office/drawing/2014/main" id="{5AB06726-6490-0E62-3842-92B7428A2C6C}"/>
                </a:ext>
              </a:extLst>
            </p:cNvPr>
            <p:cNvSpPr>
              <a:spLocks noChangeArrowheads="1"/>
            </p:cNvSpPr>
            <p:nvPr/>
          </p:nvSpPr>
          <p:spPr bwMode="auto">
            <a:xfrm>
              <a:off x="3080259" y="2839604"/>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45" name="Freeform 32">
              <a:extLst>
                <a:ext uri="{FF2B5EF4-FFF2-40B4-BE49-F238E27FC236}">
                  <a16:creationId xmlns:a16="http://schemas.microsoft.com/office/drawing/2014/main" id="{4B7B8A9C-FB90-4F12-3BD8-479E90324982}"/>
                </a:ext>
              </a:extLst>
            </p:cNvPr>
            <p:cNvSpPr>
              <a:spLocks/>
            </p:cNvSpPr>
            <p:nvPr/>
          </p:nvSpPr>
          <p:spPr bwMode="auto">
            <a:xfrm>
              <a:off x="3031779" y="2988071"/>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5"/>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46" name="Oval 37">
              <a:extLst>
                <a:ext uri="{FF2B5EF4-FFF2-40B4-BE49-F238E27FC236}">
                  <a16:creationId xmlns:a16="http://schemas.microsoft.com/office/drawing/2014/main" id="{2E856594-F479-A2D1-14D2-A70DD9A7A404}"/>
                </a:ext>
              </a:extLst>
            </p:cNvPr>
            <p:cNvSpPr>
              <a:spLocks noChangeArrowheads="1"/>
            </p:cNvSpPr>
            <p:nvPr/>
          </p:nvSpPr>
          <p:spPr bwMode="auto">
            <a:xfrm>
              <a:off x="3607471" y="2839604"/>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47" name="Freeform 38">
              <a:extLst>
                <a:ext uri="{FF2B5EF4-FFF2-40B4-BE49-F238E27FC236}">
                  <a16:creationId xmlns:a16="http://schemas.microsoft.com/office/drawing/2014/main" id="{971FDC12-A5E8-4D05-5516-D1C29E28CB5D}"/>
                </a:ext>
              </a:extLst>
            </p:cNvPr>
            <p:cNvSpPr>
              <a:spLocks/>
            </p:cNvSpPr>
            <p:nvPr/>
          </p:nvSpPr>
          <p:spPr bwMode="auto">
            <a:xfrm>
              <a:off x="3555961" y="2988071"/>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48" name="Oval 43">
              <a:extLst>
                <a:ext uri="{FF2B5EF4-FFF2-40B4-BE49-F238E27FC236}">
                  <a16:creationId xmlns:a16="http://schemas.microsoft.com/office/drawing/2014/main" id="{C640337A-AA3C-089A-F991-2E96847E2DF9}"/>
                </a:ext>
              </a:extLst>
            </p:cNvPr>
            <p:cNvSpPr>
              <a:spLocks noChangeArrowheads="1"/>
            </p:cNvSpPr>
            <p:nvPr/>
          </p:nvSpPr>
          <p:spPr bwMode="auto">
            <a:xfrm>
              <a:off x="4131652" y="2839604"/>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49" name="Freeform 44">
              <a:extLst>
                <a:ext uri="{FF2B5EF4-FFF2-40B4-BE49-F238E27FC236}">
                  <a16:creationId xmlns:a16="http://schemas.microsoft.com/office/drawing/2014/main" id="{C42D47D0-51FE-AEA5-34E9-78BD5187F348}"/>
                </a:ext>
              </a:extLst>
            </p:cNvPr>
            <p:cNvSpPr>
              <a:spLocks/>
            </p:cNvSpPr>
            <p:nvPr/>
          </p:nvSpPr>
          <p:spPr bwMode="auto">
            <a:xfrm>
              <a:off x="4080146" y="2988071"/>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50" name="Oval 49">
              <a:extLst>
                <a:ext uri="{FF2B5EF4-FFF2-40B4-BE49-F238E27FC236}">
                  <a16:creationId xmlns:a16="http://schemas.microsoft.com/office/drawing/2014/main" id="{9CBC30DF-98C1-C485-5074-E3F74105BA94}"/>
                </a:ext>
              </a:extLst>
            </p:cNvPr>
            <p:cNvSpPr>
              <a:spLocks noChangeArrowheads="1"/>
            </p:cNvSpPr>
            <p:nvPr/>
          </p:nvSpPr>
          <p:spPr bwMode="auto">
            <a:xfrm>
              <a:off x="4655837" y="2839604"/>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51" name="Freeform 50">
              <a:extLst>
                <a:ext uri="{FF2B5EF4-FFF2-40B4-BE49-F238E27FC236}">
                  <a16:creationId xmlns:a16="http://schemas.microsoft.com/office/drawing/2014/main" id="{C4D688DF-6B0F-0C6D-BD7D-D568CE96DB5C}"/>
                </a:ext>
              </a:extLst>
            </p:cNvPr>
            <p:cNvSpPr>
              <a:spLocks/>
            </p:cNvSpPr>
            <p:nvPr/>
          </p:nvSpPr>
          <p:spPr bwMode="auto">
            <a:xfrm>
              <a:off x="4604327" y="2988071"/>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55" name="Oval 23">
              <a:extLst>
                <a:ext uri="{FF2B5EF4-FFF2-40B4-BE49-F238E27FC236}">
                  <a16:creationId xmlns:a16="http://schemas.microsoft.com/office/drawing/2014/main" id="{AA3F6B51-7634-E8C6-4DF4-51247714758A}"/>
                </a:ext>
              </a:extLst>
            </p:cNvPr>
            <p:cNvSpPr>
              <a:spLocks noChangeArrowheads="1"/>
            </p:cNvSpPr>
            <p:nvPr/>
          </p:nvSpPr>
          <p:spPr bwMode="auto">
            <a:xfrm>
              <a:off x="3337805" y="318502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56" name="Freeform 24">
              <a:extLst>
                <a:ext uri="{FF2B5EF4-FFF2-40B4-BE49-F238E27FC236}">
                  <a16:creationId xmlns:a16="http://schemas.microsoft.com/office/drawing/2014/main" id="{8ED84740-672D-F1D0-236B-6F6FA4EF492D}"/>
                </a:ext>
              </a:extLst>
            </p:cNvPr>
            <p:cNvSpPr>
              <a:spLocks/>
            </p:cNvSpPr>
            <p:nvPr/>
          </p:nvSpPr>
          <p:spPr bwMode="auto">
            <a:xfrm>
              <a:off x="3286296" y="3333487"/>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57" name="Oval 25">
              <a:extLst>
                <a:ext uri="{FF2B5EF4-FFF2-40B4-BE49-F238E27FC236}">
                  <a16:creationId xmlns:a16="http://schemas.microsoft.com/office/drawing/2014/main" id="{24E98B9A-9035-7809-88E4-CE2A65FB1618}"/>
                </a:ext>
              </a:extLst>
            </p:cNvPr>
            <p:cNvSpPr>
              <a:spLocks noChangeArrowheads="1"/>
            </p:cNvSpPr>
            <p:nvPr/>
          </p:nvSpPr>
          <p:spPr bwMode="auto">
            <a:xfrm>
              <a:off x="3861988" y="318502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58" name="Freeform 26">
              <a:extLst>
                <a:ext uri="{FF2B5EF4-FFF2-40B4-BE49-F238E27FC236}">
                  <a16:creationId xmlns:a16="http://schemas.microsoft.com/office/drawing/2014/main" id="{5EB80E8A-C37D-26B6-90F6-8D60233B6F59}"/>
                </a:ext>
              </a:extLst>
            </p:cNvPr>
            <p:cNvSpPr>
              <a:spLocks/>
            </p:cNvSpPr>
            <p:nvPr/>
          </p:nvSpPr>
          <p:spPr bwMode="auto">
            <a:xfrm>
              <a:off x="3810478" y="3333487"/>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8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3" y="47"/>
                    <a:pt x="38" y="42"/>
                    <a:pt x="38"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59" name="Oval 27">
              <a:extLst>
                <a:ext uri="{FF2B5EF4-FFF2-40B4-BE49-F238E27FC236}">
                  <a16:creationId xmlns:a16="http://schemas.microsoft.com/office/drawing/2014/main" id="{32260BE5-A80F-E916-474F-6E02BF95466F}"/>
                </a:ext>
              </a:extLst>
            </p:cNvPr>
            <p:cNvSpPr>
              <a:spLocks noChangeArrowheads="1"/>
            </p:cNvSpPr>
            <p:nvPr/>
          </p:nvSpPr>
          <p:spPr bwMode="auto">
            <a:xfrm>
              <a:off x="4386169" y="318502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60" name="Freeform 28">
              <a:extLst>
                <a:ext uri="{FF2B5EF4-FFF2-40B4-BE49-F238E27FC236}">
                  <a16:creationId xmlns:a16="http://schemas.microsoft.com/office/drawing/2014/main" id="{93349A45-1C75-D3A3-DB5E-18737147DF9C}"/>
                </a:ext>
              </a:extLst>
            </p:cNvPr>
            <p:cNvSpPr>
              <a:spLocks/>
            </p:cNvSpPr>
            <p:nvPr/>
          </p:nvSpPr>
          <p:spPr bwMode="auto">
            <a:xfrm>
              <a:off x="4334662" y="3333487"/>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61" name="Oval 21">
              <a:extLst>
                <a:ext uri="{FF2B5EF4-FFF2-40B4-BE49-F238E27FC236}">
                  <a16:creationId xmlns:a16="http://schemas.microsoft.com/office/drawing/2014/main" id="{A4466FCD-8D33-70B1-0E39-8B2900E0E712}"/>
                </a:ext>
              </a:extLst>
            </p:cNvPr>
            <p:cNvSpPr>
              <a:spLocks noChangeArrowheads="1"/>
            </p:cNvSpPr>
            <p:nvPr/>
          </p:nvSpPr>
          <p:spPr bwMode="auto">
            <a:xfrm>
              <a:off x="4946359" y="318502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62" name="Freeform 22">
              <a:extLst>
                <a:ext uri="{FF2B5EF4-FFF2-40B4-BE49-F238E27FC236}">
                  <a16:creationId xmlns:a16="http://schemas.microsoft.com/office/drawing/2014/main" id="{B965BABF-CF59-C485-4E51-A5E38D4F3C1D}"/>
                </a:ext>
              </a:extLst>
            </p:cNvPr>
            <p:cNvSpPr>
              <a:spLocks/>
            </p:cNvSpPr>
            <p:nvPr/>
          </p:nvSpPr>
          <p:spPr bwMode="auto">
            <a:xfrm>
              <a:off x="4888788" y="3333487"/>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25" name="Oval 31">
              <a:extLst>
                <a:ext uri="{FF2B5EF4-FFF2-40B4-BE49-F238E27FC236}">
                  <a16:creationId xmlns:a16="http://schemas.microsoft.com/office/drawing/2014/main" id="{0FA0F9F1-1200-55F3-E72A-478D86D97B00}"/>
                </a:ext>
              </a:extLst>
            </p:cNvPr>
            <p:cNvSpPr>
              <a:spLocks noChangeArrowheads="1"/>
            </p:cNvSpPr>
            <p:nvPr/>
          </p:nvSpPr>
          <p:spPr bwMode="auto">
            <a:xfrm>
              <a:off x="3080259" y="3578908"/>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26" name="Freeform 32">
              <a:extLst>
                <a:ext uri="{FF2B5EF4-FFF2-40B4-BE49-F238E27FC236}">
                  <a16:creationId xmlns:a16="http://schemas.microsoft.com/office/drawing/2014/main" id="{C3B8EF67-2D47-7FAA-CE99-6E23D70561BE}"/>
                </a:ext>
              </a:extLst>
            </p:cNvPr>
            <p:cNvSpPr>
              <a:spLocks/>
            </p:cNvSpPr>
            <p:nvPr/>
          </p:nvSpPr>
          <p:spPr bwMode="auto">
            <a:xfrm>
              <a:off x="3031779" y="3727374"/>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5"/>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27" name="Oval 37">
              <a:extLst>
                <a:ext uri="{FF2B5EF4-FFF2-40B4-BE49-F238E27FC236}">
                  <a16:creationId xmlns:a16="http://schemas.microsoft.com/office/drawing/2014/main" id="{9C658E15-58FB-4D12-8C9E-C69AA4CF241B}"/>
                </a:ext>
              </a:extLst>
            </p:cNvPr>
            <p:cNvSpPr>
              <a:spLocks noChangeArrowheads="1"/>
            </p:cNvSpPr>
            <p:nvPr/>
          </p:nvSpPr>
          <p:spPr bwMode="auto">
            <a:xfrm>
              <a:off x="3607471" y="3578908"/>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28" name="Freeform 38">
              <a:extLst>
                <a:ext uri="{FF2B5EF4-FFF2-40B4-BE49-F238E27FC236}">
                  <a16:creationId xmlns:a16="http://schemas.microsoft.com/office/drawing/2014/main" id="{DE53E799-DABC-76FC-F9A7-462D53F7F023}"/>
                </a:ext>
              </a:extLst>
            </p:cNvPr>
            <p:cNvSpPr>
              <a:spLocks/>
            </p:cNvSpPr>
            <p:nvPr/>
          </p:nvSpPr>
          <p:spPr bwMode="auto">
            <a:xfrm>
              <a:off x="3555961" y="3727374"/>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29" name="Oval 43">
              <a:extLst>
                <a:ext uri="{FF2B5EF4-FFF2-40B4-BE49-F238E27FC236}">
                  <a16:creationId xmlns:a16="http://schemas.microsoft.com/office/drawing/2014/main" id="{FB6398C3-2E47-E070-343E-868AF9ACDAF6}"/>
                </a:ext>
              </a:extLst>
            </p:cNvPr>
            <p:cNvSpPr>
              <a:spLocks noChangeArrowheads="1"/>
            </p:cNvSpPr>
            <p:nvPr/>
          </p:nvSpPr>
          <p:spPr bwMode="auto">
            <a:xfrm>
              <a:off x="4131652" y="3578908"/>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30" name="Freeform 44">
              <a:extLst>
                <a:ext uri="{FF2B5EF4-FFF2-40B4-BE49-F238E27FC236}">
                  <a16:creationId xmlns:a16="http://schemas.microsoft.com/office/drawing/2014/main" id="{411DD39E-268E-5B77-BB69-FCDB5AE30E85}"/>
                </a:ext>
              </a:extLst>
            </p:cNvPr>
            <p:cNvSpPr>
              <a:spLocks/>
            </p:cNvSpPr>
            <p:nvPr/>
          </p:nvSpPr>
          <p:spPr bwMode="auto">
            <a:xfrm>
              <a:off x="4080146" y="3727374"/>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31" name="Oval 49">
              <a:extLst>
                <a:ext uri="{FF2B5EF4-FFF2-40B4-BE49-F238E27FC236}">
                  <a16:creationId xmlns:a16="http://schemas.microsoft.com/office/drawing/2014/main" id="{9D78A693-EC23-1F1C-201E-BE8B647C7366}"/>
                </a:ext>
              </a:extLst>
            </p:cNvPr>
            <p:cNvSpPr>
              <a:spLocks noChangeArrowheads="1"/>
            </p:cNvSpPr>
            <p:nvPr/>
          </p:nvSpPr>
          <p:spPr bwMode="auto">
            <a:xfrm>
              <a:off x="4655837" y="3578908"/>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32" name="Freeform 50">
              <a:extLst>
                <a:ext uri="{FF2B5EF4-FFF2-40B4-BE49-F238E27FC236}">
                  <a16:creationId xmlns:a16="http://schemas.microsoft.com/office/drawing/2014/main" id="{3E90BD4D-193B-4142-A4EB-C362F94BA9B6}"/>
                </a:ext>
              </a:extLst>
            </p:cNvPr>
            <p:cNvSpPr>
              <a:spLocks/>
            </p:cNvSpPr>
            <p:nvPr/>
          </p:nvSpPr>
          <p:spPr bwMode="auto">
            <a:xfrm>
              <a:off x="4604327" y="3727374"/>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36" name="Oval 23">
              <a:extLst>
                <a:ext uri="{FF2B5EF4-FFF2-40B4-BE49-F238E27FC236}">
                  <a16:creationId xmlns:a16="http://schemas.microsoft.com/office/drawing/2014/main" id="{34EF80EC-F1EC-31C8-D993-74243A79650A}"/>
                </a:ext>
              </a:extLst>
            </p:cNvPr>
            <p:cNvSpPr>
              <a:spLocks noChangeArrowheads="1"/>
            </p:cNvSpPr>
            <p:nvPr/>
          </p:nvSpPr>
          <p:spPr bwMode="auto">
            <a:xfrm>
              <a:off x="3337805" y="3924324"/>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37" name="Freeform 24">
              <a:extLst>
                <a:ext uri="{FF2B5EF4-FFF2-40B4-BE49-F238E27FC236}">
                  <a16:creationId xmlns:a16="http://schemas.microsoft.com/office/drawing/2014/main" id="{016B2357-984E-C183-5671-3B91AF8E4738}"/>
                </a:ext>
              </a:extLst>
            </p:cNvPr>
            <p:cNvSpPr>
              <a:spLocks/>
            </p:cNvSpPr>
            <p:nvPr/>
          </p:nvSpPr>
          <p:spPr bwMode="auto">
            <a:xfrm>
              <a:off x="3286296" y="4072791"/>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38" name="Oval 25">
              <a:extLst>
                <a:ext uri="{FF2B5EF4-FFF2-40B4-BE49-F238E27FC236}">
                  <a16:creationId xmlns:a16="http://schemas.microsoft.com/office/drawing/2014/main" id="{20A872A6-AC08-5D4B-85EA-7CAE7F8DDDD6}"/>
                </a:ext>
              </a:extLst>
            </p:cNvPr>
            <p:cNvSpPr>
              <a:spLocks noChangeArrowheads="1"/>
            </p:cNvSpPr>
            <p:nvPr/>
          </p:nvSpPr>
          <p:spPr bwMode="auto">
            <a:xfrm>
              <a:off x="3861988" y="3924324"/>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39" name="Freeform 26">
              <a:extLst>
                <a:ext uri="{FF2B5EF4-FFF2-40B4-BE49-F238E27FC236}">
                  <a16:creationId xmlns:a16="http://schemas.microsoft.com/office/drawing/2014/main" id="{4C100651-0F27-B060-5C3D-4AE439FB772A}"/>
                </a:ext>
              </a:extLst>
            </p:cNvPr>
            <p:cNvSpPr>
              <a:spLocks/>
            </p:cNvSpPr>
            <p:nvPr/>
          </p:nvSpPr>
          <p:spPr bwMode="auto">
            <a:xfrm>
              <a:off x="3810478" y="4072791"/>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8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3" y="47"/>
                    <a:pt x="38" y="42"/>
                    <a:pt x="38"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40" name="Oval 27">
              <a:extLst>
                <a:ext uri="{FF2B5EF4-FFF2-40B4-BE49-F238E27FC236}">
                  <a16:creationId xmlns:a16="http://schemas.microsoft.com/office/drawing/2014/main" id="{8638AEB2-770F-C419-1096-F0619996527F}"/>
                </a:ext>
              </a:extLst>
            </p:cNvPr>
            <p:cNvSpPr>
              <a:spLocks noChangeArrowheads="1"/>
            </p:cNvSpPr>
            <p:nvPr/>
          </p:nvSpPr>
          <p:spPr bwMode="auto">
            <a:xfrm>
              <a:off x="4386169" y="3924324"/>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41" name="Freeform 28">
              <a:extLst>
                <a:ext uri="{FF2B5EF4-FFF2-40B4-BE49-F238E27FC236}">
                  <a16:creationId xmlns:a16="http://schemas.microsoft.com/office/drawing/2014/main" id="{94F524C4-E93A-5E99-E3DB-65BF3C13227D}"/>
                </a:ext>
              </a:extLst>
            </p:cNvPr>
            <p:cNvSpPr>
              <a:spLocks/>
            </p:cNvSpPr>
            <p:nvPr/>
          </p:nvSpPr>
          <p:spPr bwMode="auto">
            <a:xfrm>
              <a:off x="4334662" y="4072791"/>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42" name="Oval 21">
              <a:extLst>
                <a:ext uri="{FF2B5EF4-FFF2-40B4-BE49-F238E27FC236}">
                  <a16:creationId xmlns:a16="http://schemas.microsoft.com/office/drawing/2014/main" id="{8A9D28DC-C50D-CD1B-515A-D4E3B4804239}"/>
                </a:ext>
              </a:extLst>
            </p:cNvPr>
            <p:cNvSpPr>
              <a:spLocks noChangeArrowheads="1"/>
            </p:cNvSpPr>
            <p:nvPr/>
          </p:nvSpPr>
          <p:spPr bwMode="auto">
            <a:xfrm>
              <a:off x="4946359" y="3924324"/>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43" name="Freeform 22">
              <a:extLst>
                <a:ext uri="{FF2B5EF4-FFF2-40B4-BE49-F238E27FC236}">
                  <a16:creationId xmlns:a16="http://schemas.microsoft.com/office/drawing/2014/main" id="{AED9E9D7-B37F-E1C6-0210-85D63063BFB5}"/>
                </a:ext>
              </a:extLst>
            </p:cNvPr>
            <p:cNvSpPr>
              <a:spLocks/>
            </p:cNvSpPr>
            <p:nvPr/>
          </p:nvSpPr>
          <p:spPr bwMode="auto">
            <a:xfrm>
              <a:off x="4888788" y="4072791"/>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06" name="Oval 31">
              <a:extLst>
                <a:ext uri="{FF2B5EF4-FFF2-40B4-BE49-F238E27FC236}">
                  <a16:creationId xmlns:a16="http://schemas.microsoft.com/office/drawing/2014/main" id="{D5938FBF-7B2C-B64E-AA07-53229630AB02}"/>
                </a:ext>
              </a:extLst>
            </p:cNvPr>
            <p:cNvSpPr>
              <a:spLocks noChangeArrowheads="1"/>
            </p:cNvSpPr>
            <p:nvPr/>
          </p:nvSpPr>
          <p:spPr bwMode="auto">
            <a:xfrm>
              <a:off x="3080259" y="4327939"/>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07" name="Freeform 32">
              <a:extLst>
                <a:ext uri="{FF2B5EF4-FFF2-40B4-BE49-F238E27FC236}">
                  <a16:creationId xmlns:a16="http://schemas.microsoft.com/office/drawing/2014/main" id="{48F5816C-965C-C98A-82F1-FD39916071A1}"/>
                </a:ext>
              </a:extLst>
            </p:cNvPr>
            <p:cNvSpPr>
              <a:spLocks/>
            </p:cNvSpPr>
            <p:nvPr/>
          </p:nvSpPr>
          <p:spPr bwMode="auto">
            <a:xfrm>
              <a:off x="3031779" y="4476406"/>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5"/>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08" name="Oval 37">
              <a:extLst>
                <a:ext uri="{FF2B5EF4-FFF2-40B4-BE49-F238E27FC236}">
                  <a16:creationId xmlns:a16="http://schemas.microsoft.com/office/drawing/2014/main" id="{D7288E17-54C2-1D48-6222-042BF487E9EE}"/>
                </a:ext>
              </a:extLst>
            </p:cNvPr>
            <p:cNvSpPr>
              <a:spLocks noChangeArrowheads="1"/>
            </p:cNvSpPr>
            <p:nvPr/>
          </p:nvSpPr>
          <p:spPr bwMode="auto">
            <a:xfrm>
              <a:off x="3607471" y="4327939"/>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09" name="Freeform 38">
              <a:extLst>
                <a:ext uri="{FF2B5EF4-FFF2-40B4-BE49-F238E27FC236}">
                  <a16:creationId xmlns:a16="http://schemas.microsoft.com/office/drawing/2014/main" id="{7F3F03B5-A921-1A40-DA7F-19DCE088F4BC}"/>
                </a:ext>
              </a:extLst>
            </p:cNvPr>
            <p:cNvSpPr>
              <a:spLocks/>
            </p:cNvSpPr>
            <p:nvPr/>
          </p:nvSpPr>
          <p:spPr bwMode="auto">
            <a:xfrm>
              <a:off x="3555961" y="4476406"/>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10" name="Oval 43">
              <a:extLst>
                <a:ext uri="{FF2B5EF4-FFF2-40B4-BE49-F238E27FC236}">
                  <a16:creationId xmlns:a16="http://schemas.microsoft.com/office/drawing/2014/main" id="{979D2AA6-0925-33DF-1854-A262EA9CCFA1}"/>
                </a:ext>
              </a:extLst>
            </p:cNvPr>
            <p:cNvSpPr>
              <a:spLocks noChangeArrowheads="1"/>
            </p:cNvSpPr>
            <p:nvPr/>
          </p:nvSpPr>
          <p:spPr bwMode="auto">
            <a:xfrm>
              <a:off x="4131652" y="4327939"/>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11" name="Freeform 44">
              <a:extLst>
                <a:ext uri="{FF2B5EF4-FFF2-40B4-BE49-F238E27FC236}">
                  <a16:creationId xmlns:a16="http://schemas.microsoft.com/office/drawing/2014/main" id="{4EB467EC-281F-5F42-0434-1E19FDDF1DD9}"/>
                </a:ext>
              </a:extLst>
            </p:cNvPr>
            <p:cNvSpPr>
              <a:spLocks/>
            </p:cNvSpPr>
            <p:nvPr/>
          </p:nvSpPr>
          <p:spPr bwMode="auto">
            <a:xfrm>
              <a:off x="4080146" y="4476406"/>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12" name="Oval 49">
              <a:extLst>
                <a:ext uri="{FF2B5EF4-FFF2-40B4-BE49-F238E27FC236}">
                  <a16:creationId xmlns:a16="http://schemas.microsoft.com/office/drawing/2014/main" id="{13FCA94D-D768-95A2-E5E7-2EB36FE817E4}"/>
                </a:ext>
              </a:extLst>
            </p:cNvPr>
            <p:cNvSpPr>
              <a:spLocks noChangeArrowheads="1"/>
            </p:cNvSpPr>
            <p:nvPr/>
          </p:nvSpPr>
          <p:spPr bwMode="auto">
            <a:xfrm>
              <a:off x="4655837" y="4327939"/>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13" name="Freeform 50">
              <a:extLst>
                <a:ext uri="{FF2B5EF4-FFF2-40B4-BE49-F238E27FC236}">
                  <a16:creationId xmlns:a16="http://schemas.microsoft.com/office/drawing/2014/main" id="{AC8819D6-C9C1-EC21-A3C7-0F25ADABAF8E}"/>
                </a:ext>
              </a:extLst>
            </p:cNvPr>
            <p:cNvSpPr>
              <a:spLocks/>
            </p:cNvSpPr>
            <p:nvPr/>
          </p:nvSpPr>
          <p:spPr bwMode="auto">
            <a:xfrm>
              <a:off x="4604327" y="4476406"/>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17" name="Oval 23">
              <a:extLst>
                <a:ext uri="{FF2B5EF4-FFF2-40B4-BE49-F238E27FC236}">
                  <a16:creationId xmlns:a16="http://schemas.microsoft.com/office/drawing/2014/main" id="{0CD5B48F-4434-B73B-40CE-9708F49AFBF0}"/>
                </a:ext>
              </a:extLst>
            </p:cNvPr>
            <p:cNvSpPr>
              <a:spLocks noChangeArrowheads="1"/>
            </p:cNvSpPr>
            <p:nvPr/>
          </p:nvSpPr>
          <p:spPr bwMode="auto">
            <a:xfrm>
              <a:off x="3337805" y="4673355"/>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18" name="Freeform 24">
              <a:extLst>
                <a:ext uri="{FF2B5EF4-FFF2-40B4-BE49-F238E27FC236}">
                  <a16:creationId xmlns:a16="http://schemas.microsoft.com/office/drawing/2014/main" id="{25A03AC0-069D-0752-1FF3-9D4840EC8B73}"/>
                </a:ext>
              </a:extLst>
            </p:cNvPr>
            <p:cNvSpPr>
              <a:spLocks/>
            </p:cNvSpPr>
            <p:nvPr/>
          </p:nvSpPr>
          <p:spPr bwMode="auto">
            <a:xfrm>
              <a:off x="3286296" y="4821822"/>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19" name="Oval 25">
              <a:extLst>
                <a:ext uri="{FF2B5EF4-FFF2-40B4-BE49-F238E27FC236}">
                  <a16:creationId xmlns:a16="http://schemas.microsoft.com/office/drawing/2014/main" id="{0322B066-37F7-638B-E665-A2877A9723AA}"/>
                </a:ext>
              </a:extLst>
            </p:cNvPr>
            <p:cNvSpPr>
              <a:spLocks noChangeArrowheads="1"/>
            </p:cNvSpPr>
            <p:nvPr/>
          </p:nvSpPr>
          <p:spPr bwMode="auto">
            <a:xfrm>
              <a:off x="3861988" y="4673355"/>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20" name="Freeform 26">
              <a:extLst>
                <a:ext uri="{FF2B5EF4-FFF2-40B4-BE49-F238E27FC236}">
                  <a16:creationId xmlns:a16="http://schemas.microsoft.com/office/drawing/2014/main" id="{73C158C5-6BFD-6826-4DA1-A9671A4235CA}"/>
                </a:ext>
              </a:extLst>
            </p:cNvPr>
            <p:cNvSpPr>
              <a:spLocks/>
            </p:cNvSpPr>
            <p:nvPr/>
          </p:nvSpPr>
          <p:spPr bwMode="auto">
            <a:xfrm>
              <a:off x="3810478" y="4821822"/>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8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3" y="47"/>
                    <a:pt x="38" y="42"/>
                    <a:pt x="38"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21" name="Oval 27">
              <a:extLst>
                <a:ext uri="{FF2B5EF4-FFF2-40B4-BE49-F238E27FC236}">
                  <a16:creationId xmlns:a16="http://schemas.microsoft.com/office/drawing/2014/main" id="{C4B0AD2D-ECC7-9962-9D3C-6621F5E613C3}"/>
                </a:ext>
              </a:extLst>
            </p:cNvPr>
            <p:cNvSpPr>
              <a:spLocks noChangeArrowheads="1"/>
            </p:cNvSpPr>
            <p:nvPr/>
          </p:nvSpPr>
          <p:spPr bwMode="auto">
            <a:xfrm>
              <a:off x="4386169" y="4673355"/>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22" name="Freeform 28">
              <a:extLst>
                <a:ext uri="{FF2B5EF4-FFF2-40B4-BE49-F238E27FC236}">
                  <a16:creationId xmlns:a16="http://schemas.microsoft.com/office/drawing/2014/main" id="{5ACB2BBA-3C28-A6E2-C338-53262834A9EF}"/>
                </a:ext>
              </a:extLst>
            </p:cNvPr>
            <p:cNvSpPr>
              <a:spLocks/>
            </p:cNvSpPr>
            <p:nvPr/>
          </p:nvSpPr>
          <p:spPr bwMode="auto">
            <a:xfrm>
              <a:off x="4334662" y="4821822"/>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23" name="Oval 21">
              <a:extLst>
                <a:ext uri="{FF2B5EF4-FFF2-40B4-BE49-F238E27FC236}">
                  <a16:creationId xmlns:a16="http://schemas.microsoft.com/office/drawing/2014/main" id="{0299F834-800D-2B80-8624-FFF7CAB5068C}"/>
                </a:ext>
              </a:extLst>
            </p:cNvPr>
            <p:cNvSpPr>
              <a:spLocks noChangeArrowheads="1"/>
            </p:cNvSpPr>
            <p:nvPr/>
          </p:nvSpPr>
          <p:spPr bwMode="auto">
            <a:xfrm>
              <a:off x="4946359" y="4673355"/>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24" name="Freeform 22">
              <a:extLst>
                <a:ext uri="{FF2B5EF4-FFF2-40B4-BE49-F238E27FC236}">
                  <a16:creationId xmlns:a16="http://schemas.microsoft.com/office/drawing/2014/main" id="{1ADADE53-1428-1641-2F6E-2ECF55544235}"/>
                </a:ext>
              </a:extLst>
            </p:cNvPr>
            <p:cNvSpPr>
              <a:spLocks/>
            </p:cNvSpPr>
            <p:nvPr/>
          </p:nvSpPr>
          <p:spPr bwMode="auto">
            <a:xfrm>
              <a:off x="4888788" y="4821822"/>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85" name="Oval 7">
              <a:extLst>
                <a:ext uri="{FF2B5EF4-FFF2-40B4-BE49-F238E27FC236}">
                  <a16:creationId xmlns:a16="http://schemas.microsoft.com/office/drawing/2014/main" id="{94F3BCA5-B533-1AD5-E451-79735F557262}"/>
                </a:ext>
              </a:extLst>
            </p:cNvPr>
            <p:cNvSpPr>
              <a:spLocks noChangeArrowheads="1"/>
            </p:cNvSpPr>
            <p:nvPr/>
          </p:nvSpPr>
          <p:spPr bwMode="auto">
            <a:xfrm>
              <a:off x="3884516" y="18099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86" name="Freeform 8">
              <a:extLst>
                <a:ext uri="{FF2B5EF4-FFF2-40B4-BE49-F238E27FC236}">
                  <a16:creationId xmlns:a16="http://schemas.microsoft.com/office/drawing/2014/main" id="{14B509C5-675D-E409-81B6-370D511D6E9B}"/>
                </a:ext>
              </a:extLst>
            </p:cNvPr>
            <p:cNvSpPr>
              <a:spLocks/>
            </p:cNvSpPr>
            <p:nvPr/>
          </p:nvSpPr>
          <p:spPr bwMode="auto">
            <a:xfrm>
              <a:off x="3833007" y="1958425"/>
              <a:ext cx="242397" cy="451466"/>
            </a:xfrm>
            <a:custGeom>
              <a:avLst/>
              <a:gdLst>
                <a:gd name="T0" fmla="*/ 24 w 38"/>
                <a:gd name="T1" fmla="*/ 0 h 71"/>
                <a:gd name="T2" fmla="*/ 13 w 38"/>
                <a:gd name="T3" fmla="*/ 0 h 71"/>
                <a:gd name="T4" fmla="*/ 3 w 38"/>
                <a:gd name="T5" fmla="*/ 10 h 71"/>
                <a:gd name="T6" fmla="*/ 0 w 38"/>
                <a:gd name="T7" fmla="*/ 38 h 71"/>
                <a:gd name="T8" fmla="*/ 10 w 38"/>
                <a:gd name="T9" fmla="*/ 48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8 h 71"/>
                <a:gd name="T24" fmla="*/ 37 w 38"/>
                <a:gd name="T25" fmla="*/ 38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8"/>
                    <a:pt x="0" y="38"/>
                    <a:pt x="0" y="38"/>
                  </a:cubicBezTo>
                  <a:cubicBezTo>
                    <a:pt x="0" y="42"/>
                    <a:pt x="5" y="47"/>
                    <a:pt x="10" y="48"/>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8"/>
                    <a:pt x="28" y="63"/>
                  </a:cubicBezTo>
                  <a:cubicBezTo>
                    <a:pt x="28" y="63"/>
                    <a:pt x="28" y="63"/>
                    <a:pt x="28" y="63"/>
                  </a:cubicBezTo>
                  <a:cubicBezTo>
                    <a:pt x="28" y="48"/>
                    <a:pt x="28" y="48"/>
                    <a:pt x="28" y="48"/>
                  </a:cubicBezTo>
                  <a:cubicBezTo>
                    <a:pt x="32" y="47"/>
                    <a:pt x="38" y="42"/>
                    <a:pt x="37" y="38"/>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87" name="Oval 9">
              <a:extLst>
                <a:ext uri="{FF2B5EF4-FFF2-40B4-BE49-F238E27FC236}">
                  <a16:creationId xmlns:a16="http://schemas.microsoft.com/office/drawing/2014/main" id="{7A901204-C4FE-ADC1-2C07-D037DEC7E970}"/>
                </a:ext>
              </a:extLst>
            </p:cNvPr>
            <p:cNvSpPr>
              <a:spLocks noChangeArrowheads="1"/>
            </p:cNvSpPr>
            <p:nvPr/>
          </p:nvSpPr>
          <p:spPr bwMode="auto">
            <a:xfrm>
              <a:off x="4408699" y="18099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88" name="Freeform 10">
              <a:extLst>
                <a:ext uri="{FF2B5EF4-FFF2-40B4-BE49-F238E27FC236}">
                  <a16:creationId xmlns:a16="http://schemas.microsoft.com/office/drawing/2014/main" id="{39D024C6-05DE-63FD-B6F9-E8FCF984D3A5}"/>
                </a:ext>
              </a:extLst>
            </p:cNvPr>
            <p:cNvSpPr>
              <a:spLocks/>
            </p:cNvSpPr>
            <p:nvPr/>
          </p:nvSpPr>
          <p:spPr bwMode="auto">
            <a:xfrm>
              <a:off x="4357189" y="1958425"/>
              <a:ext cx="242397" cy="451466"/>
            </a:xfrm>
            <a:custGeom>
              <a:avLst/>
              <a:gdLst>
                <a:gd name="T0" fmla="*/ 24 w 38"/>
                <a:gd name="T1" fmla="*/ 0 h 71"/>
                <a:gd name="T2" fmla="*/ 13 w 38"/>
                <a:gd name="T3" fmla="*/ 0 h 71"/>
                <a:gd name="T4" fmla="*/ 3 w 38"/>
                <a:gd name="T5" fmla="*/ 10 h 71"/>
                <a:gd name="T6" fmla="*/ 0 w 38"/>
                <a:gd name="T7" fmla="*/ 38 h 71"/>
                <a:gd name="T8" fmla="*/ 10 w 38"/>
                <a:gd name="T9" fmla="*/ 48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8 h 71"/>
                <a:gd name="T24" fmla="*/ 38 w 38"/>
                <a:gd name="T25" fmla="*/ 38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8"/>
                    <a:pt x="0" y="38"/>
                    <a:pt x="0" y="38"/>
                  </a:cubicBezTo>
                  <a:cubicBezTo>
                    <a:pt x="0" y="42"/>
                    <a:pt x="5" y="47"/>
                    <a:pt x="10" y="48"/>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8"/>
                    <a:pt x="28" y="63"/>
                  </a:cubicBezTo>
                  <a:cubicBezTo>
                    <a:pt x="28" y="63"/>
                    <a:pt x="28" y="63"/>
                    <a:pt x="28" y="63"/>
                  </a:cubicBezTo>
                  <a:cubicBezTo>
                    <a:pt x="28" y="48"/>
                    <a:pt x="28" y="48"/>
                    <a:pt x="28" y="48"/>
                  </a:cubicBezTo>
                  <a:cubicBezTo>
                    <a:pt x="33" y="47"/>
                    <a:pt x="38" y="42"/>
                    <a:pt x="38" y="38"/>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89" name="Oval 11">
              <a:extLst>
                <a:ext uri="{FF2B5EF4-FFF2-40B4-BE49-F238E27FC236}">
                  <a16:creationId xmlns:a16="http://schemas.microsoft.com/office/drawing/2014/main" id="{45C4FC1F-DB96-C21D-BCD3-F7CC1D33B671}"/>
                </a:ext>
              </a:extLst>
            </p:cNvPr>
            <p:cNvSpPr>
              <a:spLocks noChangeArrowheads="1"/>
            </p:cNvSpPr>
            <p:nvPr/>
          </p:nvSpPr>
          <p:spPr bwMode="auto">
            <a:xfrm>
              <a:off x="4932880" y="18099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90" name="Freeform 12">
              <a:extLst>
                <a:ext uri="{FF2B5EF4-FFF2-40B4-BE49-F238E27FC236}">
                  <a16:creationId xmlns:a16="http://schemas.microsoft.com/office/drawing/2014/main" id="{FCD72E26-9779-4681-874D-46AC2694A003}"/>
                </a:ext>
              </a:extLst>
            </p:cNvPr>
            <p:cNvSpPr>
              <a:spLocks/>
            </p:cNvSpPr>
            <p:nvPr/>
          </p:nvSpPr>
          <p:spPr bwMode="auto">
            <a:xfrm>
              <a:off x="4881372" y="1958425"/>
              <a:ext cx="242397" cy="451466"/>
            </a:xfrm>
            <a:custGeom>
              <a:avLst/>
              <a:gdLst>
                <a:gd name="T0" fmla="*/ 24 w 38"/>
                <a:gd name="T1" fmla="*/ 0 h 71"/>
                <a:gd name="T2" fmla="*/ 13 w 38"/>
                <a:gd name="T3" fmla="*/ 0 h 71"/>
                <a:gd name="T4" fmla="*/ 3 w 38"/>
                <a:gd name="T5" fmla="*/ 10 h 71"/>
                <a:gd name="T6" fmla="*/ 0 w 38"/>
                <a:gd name="T7" fmla="*/ 38 h 71"/>
                <a:gd name="T8" fmla="*/ 10 w 38"/>
                <a:gd name="T9" fmla="*/ 48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8 h 71"/>
                <a:gd name="T24" fmla="*/ 37 w 38"/>
                <a:gd name="T25" fmla="*/ 38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8"/>
                    <a:pt x="0" y="38"/>
                    <a:pt x="0" y="38"/>
                  </a:cubicBezTo>
                  <a:cubicBezTo>
                    <a:pt x="0" y="42"/>
                    <a:pt x="5" y="47"/>
                    <a:pt x="10" y="48"/>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8"/>
                    <a:pt x="28" y="63"/>
                  </a:cubicBezTo>
                  <a:cubicBezTo>
                    <a:pt x="28" y="63"/>
                    <a:pt x="28" y="63"/>
                    <a:pt x="28" y="63"/>
                  </a:cubicBezTo>
                  <a:cubicBezTo>
                    <a:pt x="28" y="48"/>
                    <a:pt x="28" y="48"/>
                    <a:pt x="28" y="48"/>
                  </a:cubicBezTo>
                  <a:cubicBezTo>
                    <a:pt x="32" y="47"/>
                    <a:pt x="38" y="42"/>
                    <a:pt x="37" y="38"/>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91" name="Oval 5">
              <a:extLst>
                <a:ext uri="{FF2B5EF4-FFF2-40B4-BE49-F238E27FC236}">
                  <a16:creationId xmlns:a16="http://schemas.microsoft.com/office/drawing/2014/main" id="{F01D0CA4-4154-06F4-2C5D-2DA6FF08EFD3}"/>
                </a:ext>
              </a:extLst>
            </p:cNvPr>
            <p:cNvSpPr>
              <a:spLocks noChangeArrowheads="1"/>
            </p:cNvSpPr>
            <p:nvPr/>
          </p:nvSpPr>
          <p:spPr bwMode="auto">
            <a:xfrm>
              <a:off x="3360334" y="180995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92" name="Freeform 6">
              <a:extLst>
                <a:ext uri="{FF2B5EF4-FFF2-40B4-BE49-F238E27FC236}">
                  <a16:creationId xmlns:a16="http://schemas.microsoft.com/office/drawing/2014/main" id="{A94F03E1-6CE1-FF13-B7F8-DEFDAE3FD628}"/>
                </a:ext>
              </a:extLst>
            </p:cNvPr>
            <p:cNvSpPr>
              <a:spLocks/>
            </p:cNvSpPr>
            <p:nvPr/>
          </p:nvSpPr>
          <p:spPr bwMode="auto">
            <a:xfrm>
              <a:off x="3302764" y="1958426"/>
              <a:ext cx="248457" cy="451466"/>
            </a:xfrm>
            <a:custGeom>
              <a:avLst/>
              <a:gdLst>
                <a:gd name="T0" fmla="*/ 25 w 39"/>
                <a:gd name="T1" fmla="*/ 0 h 71"/>
                <a:gd name="T2" fmla="*/ 14 w 39"/>
                <a:gd name="T3" fmla="*/ 0 h 71"/>
                <a:gd name="T4" fmla="*/ 4 w 39"/>
                <a:gd name="T5" fmla="*/ 10 h 71"/>
                <a:gd name="T6" fmla="*/ 1 w 39"/>
                <a:gd name="T7" fmla="*/ 38 h 71"/>
                <a:gd name="T8" fmla="*/ 10 w 39"/>
                <a:gd name="T9" fmla="*/ 48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8 h 71"/>
                <a:gd name="T24" fmla="*/ 38 w 39"/>
                <a:gd name="T25" fmla="*/ 38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8"/>
                    <a:pt x="1" y="38"/>
                    <a:pt x="1" y="38"/>
                  </a:cubicBezTo>
                  <a:cubicBezTo>
                    <a:pt x="0" y="42"/>
                    <a:pt x="5" y="47"/>
                    <a:pt x="10" y="48"/>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8"/>
                    <a:pt x="29" y="63"/>
                  </a:cubicBezTo>
                  <a:cubicBezTo>
                    <a:pt x="29" y="63"/>
                    <a:pt x="29" y="63"/>
                    <a:pt x="29" y="63"/>
                  </a:cubicBezTo>
                  <a:cubicBezTo>
                    <a:pt x="29" y="48"/>
                    <a:pt x="29" y="48"/>
                    <a:pt x="29" y="48"/>
                  </a:cubicBezTo>
                  <a:cubicBezTo>
                    <a:pt x="33" y="47"/>
                    <a:pt x="39" y="42"/>
                    <a:pt x="38" y="38"/>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07" name="Oval 31">
              <a:extLst>
                <a:ext uri="{FF2B5EF4-FFF2-40B4-BE49-F238E27FC236}">
                  <a16:creationId xmlns:a16="http://schemas.microsoft.com/office/drawing/2014/main" id="{BC74C50B-74A6-61F0-859D-59DD1BA2C4BA}"/>
                </a:ext>
              </a:extLst>
            </p:cNvPr>
            <p:cNvSpPr>
              <a:spLocks noChangeArrowheads="1"/>
            </p:cNvSpPr>
            <p:nvPr/>
          </p:nvSpPr>
          <p:spPr bwMode="auto">
            <a:xfrm>
              <a:off x="3617241" y="5006546"/>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08" name="Freeform 32">
              <a:extLst>
                <a:ext uri="{FF2B5EF4-FFF2-40B4-BE49-F238E27FC236}">
                  <a16:creationId xmlns:a16="http://schemas.microsoft.com/office/drawing/2014/main" id="{1997023F-CE6D-1BB9-990C-F5BA4F5E79D8}"/>
                </a:ext>
              </a:extLst>
            </p:cNvPr>
            <p:cNvSpPr>
              <a:spLocks/>
            </p:cNvSpPr>
            <p:nvPr/>
          </p:nvSpPr>
          <p:spPr bwMode="auto">
            <a:xfrm>
              <a:off x="3568762" y="5155014"/>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5"/>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09" name="Oval 37">
              <a:extLst>
                <a:ext uri="{FF2B5EF4-FFF2-40B4-BE49-F238E27FC236}">
                  <a16:creationId xmlns:a16="http://schemas.microsoft.com/office/drawing/2014/main" id="{19D3733B-C89E-F4CE-5EB0-1FFD828B3E6C}"/>
                </a:ext>
              </a:extLst>
            </p:cNvPr>
            <p:cNvSpPr>
              <a:spLocks noChangeArrowheads="1"/>
            </p:cNvSpPr>
            <p:nvPr/>
          </p:nvSpPr>
          <p:spPr bwMode="auto">
            <a:xfrm>
              <a:off x="4144454" y="500654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10" name="Freeform 38">
              <a:extLst>
                <a:ext uri="{FF2B5EF4-FFF2-40B4-BE49-F238E27FC236}">
                  <a16:creationId xmlns:a16="http://schemas.microsoft.com/office/drawing/2014/main" id="{5DA08A4C-A96C-A5C7-DBDA-3E564B99D506}"/>
                </a:ext>
              </a:extLst>
            </p:cNvPr>
            <p:cNvSpPr>
              <a:spLocks/>
            </p:cNvSpPr>
            <p:nvPr/>
          </p:nvSpPr>
          <p:spPr bwMode="auto">
            <a:xfrm>
              <a:off x="4092944" y="5155014"/>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11" name="Oval 43">
              <a:extLst>
                <a:ext uri="{FF2B5EF4-FFF2-40B4-BE49-F238E27FC236}">
                  <a16:creationId xmlns:a16="http://schemas.microsoft.com/office/drawing/2014/main" id="{1E238235-7EB8-508F-DC6D-95E66678AC11}"/>
                </a:ext>
              </a:extLst>
            </p:cNvPr>
            <p:cNvSpPr>
              <a:spLocks noChangeArrowheads="1"/>
            </p:cNvSpPr>
            <p:nvPr/>
          </p:nvSpPr>
          <p:spPr bwMode="auto">
            <a:xfrm>
              <a:off x="4668635" y="500654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12" name="Freeform 44">
              <a:extLst>
                <a:ext uri="{FF2B5EF4-FFF2-40B4-BE49-F238E27FC236}">
                  <a16:creationId xmlns:a16="http://schemas.microsoft.com/office/drawing/2014/main" id="{7315E3B4-80C8-067D-0000-E560436BA949}"/>
                </a:ext>
              </a:extLst>
            </p:cNvPr>
            <p:cNvSpPr>
              <a:spLocks/>
            </p:cNvSpPr>
            <p:nvPr/>
          </p:nvSpPr>
          <p:spPr bwMode="auto">
            <a:xfrm>
              <a:off x="4617129" y="5155014"/>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13" name="Oval 49">
              <a:extLst>
                <a:ext uri="{FF2B5EF4-FFF2-40B4-BE49-F238E27FC236}">
                  <a16:creationId xmlns:a16="http://schemas.microsoft.com/office/drawing/2014/main" id="{1F4E2F75-8F1D-5541-075C-C0405EBA87E0}"/>
                </a:ext>
              </a:extLst>
            </p:cNvPr>
            <p:cNvSpPr>
              <a:spLocks noChangeArrowheads="1"/>
            </p:cNvSpPr>
            <p:nvPr/>
          </p:nvSpPr>
          <p:spPr bwMode="auto">
            <a:xfrm>
              <a:off x="5192820" y="5006546"/>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14" name="Freeform 50">
              <a:extLst>
                <a:ext uri="{FF2B5EF4-FFF2-40B4-BE49-F238E27FC236}">
                  <a16:creationId xmlns:a16="http://schemas.microsoft.com/office/drawing/2014/main" id="{A58FD38E-79B7-7E56-AE5D-D24BF615AF36}"/>
                </a:ext>
              </a:extLst>
            </p:cNvPr>
            <p:cNvSpPr>
              <a:spLocks/>
            </p:cNvSpPr>
            <p:nvPr/>
          </p:nvSpPr>
          <p:spPr bwMode="auto">
            <a:xfrm>
              <a:off x="5141310" y="5155014"/>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16" name="Oval 21">
              <a:extLst>
                <a:ext uri="{FF2B5EF4-FFF2-40B4-BE49-F238E27FC236}">
                  <a16:creationId xmlns:a16="http://schemas.microsoft.com/office/drawing/2014/main" id="{67D19D1C-2FAB-0926-BD5F-041B2E9AE7FA}"/>
                </a:ext>
              </a:extLst>
            </p:cNvPr>
            <p:cNvSpPr>
              <a:spLocks noChangeArrowheads="1"/>
            </p:cNvSpPr>
            <p:nvPr/>
          </p:nvSpPr>
          <p:spPr bwMode="auto">
            <a:xfrm>
              <a:off x="3350605" y="5351963"/>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17" name="Freeform 22">
              <a:extLst>
                <a:ext uri="{FF2B5EF4-FFF2-40B4-BE49-F238E27FC236}">
                  <a16:creationId xmlns:a16="http://schemas.microsoft.com/office/drawing/2014/main" id="{1543CC06-4FDB-E92F-AC5E-9EDFC648A32B}"/>
                </a:ext>
              </a:extLst>
            </p:cNvPr>
            <p:cNvSpPr>
              <a:spLocks/>
            </p:cNvSpPr>
            <p:nvPr/>
          </p:nvSpPr>
          <p:spPr bwMode="auto">
            <a:xfrm>
              <a:off x="3293035" y="5500431"/>
              <a:ext cx="248457" cy="454494"/>
            </a:xfrm>
            <a:custGeom>
              <a:avLst/>
              <a:gdLst>
                <a:gd name="T0" fmla="*/ 25 w 39"/>
                <a:gd name="T1" fmla="*/ 0 h 71"/>
                <a:gd name="T2" fmla="*/ 14 w 39"/>
                <a:gd name="T3" fmla="*/ 0 h 71"/>
                <a:gd name="T4" fmla="*/ 4 w 39"/>
                <a:gd name="T5" fmla="*/ 10 h 71"/>
                <a:gd name="T6" fmla="*/ 1 w 39"/>
                <a:gd name="T7" fmla="*/ 37 h 71"/>
                <a:gd name="T8" fmla="*/ 10 w 39"/>
                <a:gd name="T9" fmla="*/ 47 h 71"/>
                <a:gd name="T10" fmla="*/ 10 w 39"/>
                <a:gd name="T11" fmla="*/ 63 h 71"/>
                <a:gd name="T12" fmla="*/ 18 w 39"/>
                <a:gd name="T13" fmla="*/ 71 h 71"/>
                <a:gd name="T14" fmla="*/ 18 w 39"/>
                <a:gd name="T15" fmla="*/ 71 h 71"/>
                <a:gd name="T16" fmla="*/ 21 w 39"/>
                <a:gd name="T17" fmla="*/ 71 h 71"/>
                <a:gd name="T18" fmla="*/ 29 w 39"/>
                <a:gd name="T19" fmla="*/ 63 h 71"/>
                <a:gd name="T20" fmla="*/ 29 w 39"/>
                <a:gd name="T21" fmla="*/ 63 h 71"/>
                <a:gd name="T22" fmla="*/ 29 w 39"/>
                <a:gd name="T23" fmla="*/ 47 h 71"/>
                <a:gd name="T24" fmla="*/ 38 w 39"/>
                <a:gd name="T25" fmla="*/ 37 h 71"/>
                <a:gd name="T26" fmla="*/ 35 w 39"/>
                <a:gd name="T27" fmla="*/ 10 h 71"/>
                <a:gd name="T28" fmla="*/ 25 w 39"/>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71">
                  <a:moveTo>
                    <a:pt x="25" y="0"/>
                  </a:moveTo>
                  <a:cubicBezTo>
                    <a:pt x="14" y="0"/>
                    <a:pt x="14" y="0"/>
                    <a:pt x="14" y="0"/>
                  </a:cubicBezTo>
                  <a:cubicBezTo>
                    <a:pt x="9" y="0"/>
                    <a:pt x="5" y="4"/>
                    <a:pt x="4" y="10"/>
                  </a:cubicBezTo>
                  <a:cubicBezTo>
                    <a:pt x="1" y="37"/>
                    <a:pt x="1" y="37"/>
                    <a:pt x="1" y="37"/>
                  </a:cubicBezTo>
                  <a:cubicBezTo>
                    <a:pt x="0" y="42"/>
                    <a:pt x="5" y="47"/>
                    <a:pt x="10" y="47"/>
                  </a:cubicBezTo>
                  <a:cubicBezTo>
                    <a:pt x="10" y="63"/>
                    <a:pt x="10" y="63"/>
                    <a:pt x="10" y="63"/>
                  </a:cubicBezTo>
                  <a:cubicBezTo>
                    <a:pt x="10" y="67"/>
                    <a:pt x="13" y="71"/>
                    <a:pt x="18" y="71"/>
                  </a:cubicBezTo>
                  <a:cubicBezTo>
                    <a:pt x="18" y="71"/>
                    <a:pt x="18" y="71"/>
                    <a:pt x="18" y="71"/>
                  </a:cubicBezTo>
                  <a:cubicBezTo>
                    <a:pt x="21" y="71"/>
                    <a:pt x="21" y="71"/>
                    <a:pt x="21" y="71"/>
                  </a:cubicBezTo>
                  <a:cubicBezTo>
                    <a:pt x="25" y="71"/>
                    <a:pt x="29" y="67"/>
                    <a:pt x="29" y="63"/>
                  </a:cubicBezTo>
                  <a:cubicBezTo>
                    <a:pt x="29" y="63"/>
                    <a:pt x="29" y="63"/>
                    <a:pt x="29" y="63"/>
                  </a:cubicBezTo>
                  <a:cubicBezTo>
                    <a:pt x="29" y="47"/>
                    <a:pt x="29" y="47"/>
                    <a:pt x="29" y="47"/>
                  </a:cubicBezTo>
                  <a:cubicBezTo>
                    <a:pt x="33" y="47"/>
                    <a:pt x="39" y="42"/>
                    <a:pt x="38" y="37"/>
                  </a:cubicBezTo>
                  <a:cubicBezTo>
                    <a:pt x="35" y="10"/>
                    <a:pt x="35" y="10"/>
                    <a:pt x="35" y="10"/>
                  </a:cubicBezTo>
                  <a:cubicBezTo>
                    <a:pt x="34"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18" name="Oval 23">
              <a:extLst>
                <a:ext uri="{FF2B5EF4-FFF2-40B4-BE49-F238E27FC236}">
                  <a16:creationId xmlns:a16="http://schemas.microsoft.com/office/drawing/2014/main" id="{6E4EE3B8-5D59-004C-10C5-C37D1E2BA284}"/>
                </a:ext>
              </a:extLst>
            </p:cNvPr>
            <p:cNvSpPr>
              <a:spLocks noChangeArrowheads="1"/>
            </p:cNvSpPr>
            <p:nvPr/>
          </p:nvSpPr>
          <p:spPr bwMode="auto">
            <a:xfrm>
              <a:off x="3874787" y="5351963"/>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19" name="Freeform 24">
              <a:extLst>
                <a:ext uri="{FF2B5EF4-FFF2-40B4-BE49-F238E27FC236}">
                  <a16:creationId xmlns:a16="http://schemas.microsoft.com/office/drawing/2014/main" id="{FD693158-2304-D760-12A8-E608884B9CD0}"/>
                </a:ext>
              </a:extLst>
            </p:cNvPr>
            <p:cNvSpPr>
              <a:spLocks/>
            </p:cNvSpPr>
            <p:nvPr/>
          </p:nvSpPr>
          <p:spPr bwMode="auto">
            <a:xfrm>
              <a:off x="3823279" y="5500431"/>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20" name="Oval 25">
              <a:extLst>
                <a:ext uri="{FF2B5EF4-FFF2-40B4-BE49-F238E27FC236}">
                  <a16:creationId xmlns:a16="http://schemas.microsoft.com/office/drawing/2014/main" id="{A48539B6-3012-B342-496F-D4B2D9267F5C}"/>
                </a:ext>
              </a:extLst>
            </p:cNvPr>
            <p:cNvSpPr>
              <a:spLocks noChangeArrowheads="1"/>
            </p:cNvSpPr>
            <p:nvPr/>
          </p:nvSpPr>
          <p:spPr bwMode="auto">
            <a:xfrm>
              <a:off x="4398971" y="5351963"/>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21" name="Freeform 26">
              <a:extLst>
                <a:ext uri="{FF2B5EF4-FFF2-40B4-BE49-F238E27FC236}">
                  <a16:creationId xmlns:a16="http://schemas.microsoft.com/office/drawing/2014/main" id="{B463AD03-B9F6-2954-DECA-90AD88337D4A}"/>
                </a:ext>
              </a:extLst>
            </p:cNvPr>
            <p:cNvSpPr>
              <a:spLocks/>
            </p:cNvSpPr>
            <p:nvPr/>
          </p:nvSpPr>
          <p:spPr bwMode="auto">
            <a:xfrm>
              <a:off x="4347461" y="5500431"/>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8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3" y="47"/>
                    <a:pt x="38" y="42"/>
                    <a:pt x="38"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22" name="Oval 27">
              <a:extLst>
                <a:ext uri="{FF2B5EF4-FFF2-40B4-BE49-F238E27FC236}">
                  <a16:creationId xmlns:a16="http://schemas.microsoft.com/office/drawing/2014/main" id="{6F576249-0CCE-2952-0D98-E12FEF6C26CB}"/>
                </a:ext>
              </a:extLst>
            </p:cNvPr>
            <p:cNvSpPr>
              <a:spLocks noChangeArrowheads="1"/>
            </p:cNvSpPr>
            <p:nvPr/>
          </p:nvSpPr>
          <p:spPr bwMode="auto">
            <a:xfrm>
              <a:off x="4923152" y="5351963"/>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23" name="Freeform 28">
              <a:extLst>
                <a:ext uri="{FF2B5EF4-FFF2-40B4-BE49-F238E27FC236}">
                  <a16:creationId xmlns:a16="http://schemas.microsoft.com/office/drawing/2014/main" id="{354190AA-BA37-D4FF-C9E6-396C1C05017F}"/>
                </a:ext>
              </a:extLst>
            </p:cNvPr>
            <p:cNvSpPr>
              <a:spLocks/>
            </p:cNvSpPr>
            <p:nvPr/>
          </p:nvSpPr>
          <p:spPr bwMode="auto">
            <a:xfrm>
              <a:off x="4871644" y="5500431"/>
              <a:ext cx="242397" cy="454494"/>
            </a:xfrm>
            <a:custGeom>
              <a:avLst/>
              <a:gdLst>
                <a:gd name="T0" fmla="*/ 24 w 38"/>
                <a:gd name="T1" fmla="*/ 0 h 71"/>
                <a:gd name="T2" fmla="*/ 13 w 38"/>
                <a:gd name="T3" fmla="*/ 0 h 71"/>
                <a:gd name="T4" fmla="*/ 3 w 38"/>
                <a:gd name="T5" fmla="*/ 10 h 71"/>
                <a:gd name="T6" fmla="*/ 0 w 38"/>
                <a:gd name="T7" fmla="*/ 37 h 71"/>
                <a:gd name="T8" fmla="*/ 10 w 38"/>
                <a:gd name="T9" fmla="*/ 47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7 h 71"/>
                <a:gd name="T24" fmla="*/ 37 w 38"/>
                <a:gd name="T25" fmla="*/ 37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7"/>
                    <a:pt x="0" y="37"/>
                    <a:pt x="0" y="37"/>
                  </a:cubicBezTo>
                  <a:cubicBezTo>
                    <a:pt x="0" y="42"/>
                    <a:pt x="5" y="47"/>
                    <a:pt x="10" y="47"/>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7"/>
                    <a:pt x="28" y="63"/>
                  </a:cubicBezTo>
                  <a:cubicBezTo>
                    <a:pt x="28" y="63"/>
                    <a:pt x="28" y="63"/>
                    <a:pt x="28" y="63"/>
                  </a:cubicBezTo>
                  <a:cubicBezTo>
                    <a:pt x="28" y="47"/>
                    <a:pt x="28" y="47"/>
                    <a:pt x="28" y="47"/>
                  </a:cubicBezTo>
                  <a:cubicBezTo>
                    <a:pt x="32" y="47"/>
                    <a:pt x="38" y="42"/>
                    <a:pt x="37" y="37"/>
                  </a:cubicBezTo>
                  <a:cubicBezTo>
                    <a:pt x="34" y="10"/>
                    <a:pt x="34" y="10"/>
                    <a:pt x="34" y="10"/>
                  </a:cubicBezTo>
                  <a:cubicBezTo>
                    <a:pt x="33" y="5"/>
                    <a:pt x="2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27" name="Oval 31">
              <a:extLst>
                <a:ext uri="{FF2B5EF4-FFF2-40B4-BE49-F238E27FC236}">
                  <a16:creationId xmlns:a16="http://schemas.microsoft.com/office/drawing/2014/main" id="{9A806FC6-8348-5996-1225-06A7AC775973}"/>
                </a:ext>
              </a:extLst>
            </p:cNvPr>
            <p:cNvSpPr>
              <a:spLocks noChangeArrowheads="1"/>
            </p:cNvSpPr>
            <p:nvPr/>
          </p:nvSpPr>
          <p:spPr bwMode="auto">
            <a:xfrm>
              <a:off x="3053037" y="5006547"/>
              <a:ext cx="13028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28" name="Freeform 32">
              <a:extLst>
                <a:ext uri="{FF2B5EF4-FFF2-40B4-BE49-F238E27FC236}">
                  <a16:creationId xmlns:a16="http://schemas.microsoft.com/office/drawing/2014/main" id="{50AC142F-65C7-0A72-5435-CB1BFE42B043}"/>
                </a:ext>
              </a:extLst>
            </p:cNvPr>
            <p:cNvSpPr>
              <a:spLocks/>
            </p:cNvSpPr>
            <p:nvPr/>
          </p:nvSpPr>
          <p:spPr bwMode="auto">
            <a:xfrm>
              <a:off x="3004560" y="5155015"/>
              <a:ext cx="221188" cy="454494"/>
            </a:xfrm>
            <a:custGeom>
              <a:avLst/>
              <a:gdLst>
                <a:gd name="T0" fmla="*/ 25 w 35"/>
                <a:gd name="T1" fmla="*/ 0 h 71"/>
                <a:gd name="T2" fmla="*/ 10 w 35"/>
                <a:gd name="T3" fmla="*/ 0 h 71"/>
                <a:gd name="T4" fmla="*/ 0 w 35"/>
                <a:gd name="T5" fmla="*/ 10 h 71"/>
                <a:gd name="T6" fmla="*/ 0 w 35"/>
                <a:gd name="T7" fmla="*/ 31 h 71"/>
                <a:gd name="T8" fmla="*/ 8 w 35"/>
                <a:gd name="T9" fmla="*/ 41 h 71"/>
                <a:gd name="T10" fmla="*/ 8 w 35"/>
                <a:gd name="T11" fmla="*/ 63 h 71"/>
                <a:gd name="T12" fmla="*/ 16 w 35"/>
                <a:gd name="T13" fmla="*/ 71 h 71"/>
                <a:gd name="T14" fmla="*/ 16 w 35"/>
                <a:gd name="T15" fmla="*/ 71 h 71"/>
                <a:gd name="T16" fmla="*/ 19 w 35"/>
                <a:gd name="T17" fmla="*/ 71 h 71"/>
                <a:gd name="T18" fmla="*/ 27 w 35"/>
                <a:gd name="T19" fmla="*/ 63 h 71"/>
                <a:gd name="T20" fmla="*/ 27 w 35"/>
                <a:gd name="T21" fmla="*/ 63 h 71"/>
                <a:gd name="T22" fmla="*/ 27 w 35"/>
                <a:gd name="T23" fmla="*/ 41 h 71"/>
                <a:gd name="T24" fmla="*/ 35 w 35"/>
                <a:gd name="T25" fmla="*/ 31 h 71"/>
                <a:gd name="T26" fmla="*/ 35 w 35"/>
                <a:gd name="T27" fmla="*/ 10 h 71"/>
                <a:gd name="T28" fmla="*/ 25 w 35"/>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71">
                  <a:moveTo>
                    <a:pt x="25" y="0"/>
                  </a:moveTo>
                  <a:cubicBezTo>
                    <a:pt x="10" y="0"/>
                    <a:pt x="10" y="0"/>
                    <a:pt x="10" y="0"/>
                  </a:cubicBezTo>
                  <a:cubicBezTo>
                    <a:pt x="5" y="0"/>
                    <a:pt x="0" y="5"/>
                    <a:pt x="0" y="10"/>
                  </a:cubicBezTo>
                  <a:cubicBezTo>
                    <a:pt x="0" y="31"/>
                    <a:pt x="0" y="31"/>
                    <a:pt x="0" y="31"/>
                  </a:cubicBezTo>
                  <a:cubicBezTo>
                    <a:pt x="0" y="36"/>
                    <a:pt x="4" y="40"/>
                    <a:pt x="8" y="41"/>
                  </a:cubicBezTo>
                  <a:cubicBezTo>
                    <a:pt x="8" y="63"/>
                    <a:pt x="8" y="63"/>
                    <a:pt x="8" y="63"/>
                  </a:cubicBezTo>
                  <a:cubicBezTo>
                    <a:pt x="8" y="67"/>
                    <a:pt x="12" y="71"/>
                    <a:pt x="16" y="71"/>
                  </a:cubicBezTo>
                  <a:cubicBezTo>
                    <a:pt x="16" y="71"/>
                    <a:pt x="16" y="71"/>
                    <a:pt x="16" y="71"/>
                  </a:cubicBezTo>
                  <a:cubicBezTo>
                    <a:pt x="19" y="71"/>
                    <a:pt x="19" y="71"/>
                    <a:pt x="19" y="71"/>
                  </a:cubicBezTo>
                  <a:cubicBezTo>
                    <a:pt x="23" y="71"/>
                    <a:pt x="27" y="68"/>
                    <a:pt x="27" y="63"/>
                  </a:cubicBezTo>
                  <a:cubicBezTo>
                    <a:pt x="27" y="63"/>
                    <a:pt x="27" y="63"/>
                    <a:pt x="27" y="63"/>
                  </a:cubicBezTo>
                  <a:cubicBezTo>
                    <a:pt x="27" y="41"/>
                    <a:pt x="27" y="41"/>
                    <a:pt x="27" y="41"/>
                  </a:cubicBezTo>
                  <a:cubicBezTo>
                    <a:pt x="32" y="40"/>
                    <a:pt x="35" y="36"/>
                    <a:pt x="35" y="31"/>
                  </a:cubicBezTo>
                  <a:cubicBezTo>
                    <a:pt x="35" y="10"/>
                    <a:pt x="35" y="10"/>
                    <a:pt x="35"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30" name="Oval 49">
              <a:extLst>
                <a:ext uri="{FF2B5EF4-FFF2-40B4-BE49-F238E27FC236}">
                  <a16:creationId xmlns:a16="http://schemas.microsoft.com/office/drawing/2014/main" id="{31400D1A-321D-6404-CA6F-CDB062315F9B}"/>
                </a:ext>
              </a:extLst>
            </p:cNvPr>
            <p:cNvSpPr>
              <a:spLocks noChangeArrowheads="1"/>
            </p:cNvSpPr>
            <p:nvPr/>
          </p:nvSpPr>
          <p:spPr bwMode="auto">
            <a:xfrm>
              <a:off x="5220042" y="2129484"/>
              <a:ext cx="12725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31" name="Freeform 50">
              <a:extLst>
                <a:ext uri="{FF2B5EF4-FFF2-40B4-BE49-F238E27FC236}">
                  <a16:creationId xmlns:a16="http://schemas.microsoft.com/office/drawing/2014/main" id="{2FD147B1-3F97-E45C-3263-3D68E6E6D09A}"/>
                </a:ext>
              </a:extLst>
            </p:cNvPr>
            <p:cNvSpPr>
              <a:spLocks/>
            </p:cNvSpPr>
            <p:nvPr/>
          </p:nvSpPr>
          <p:spPr bwMode="auto">
            <a:xfrm>
              <a:off x="5168532" y="2277952"/>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32" name="Oval 49">
              <a:extLst>
                <a:ext uri="{FF2B5EF4-FFF2-40B4-BE49-F238E27FC236}">
                  <a16:creationId xmlns:a16="http://schemas.microsoft.com/office/drawing/2014/main" id="{38518F33-5E0E-9A8A-2143-66321A0095F9}"/>
                </a:ext>
              </a:extLst>
            </p:cNvPr>
            <p:cNvSpPr>
              <a:spLocks noChangeArrowheads="1"/>
            </p:cNvSpPr>
            <p:nvPr/>
          </p:nvSpPr>
          <p:spPr bwMode="auto">
            <a:xfrm>
              <a:off x="5220042" y="2829876"/>
              <a:ext cx="12725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33" name="Freeform 50">
              <a:extLst>
                <a:ext uri="{FF2B5EF4-FFF2-40B4-BE49-F238E27FC236}">
                  <a16:creationId xmlns:a16="http://schemas.microsoft.com/office/drawing/2014/main" id="{A79239D7-6BF3-F400-CFD6-A57BE9BCB1BB}"/>
                </a:ext>
              </a:extLst>
            </p:cNvPr>
            <p:cNvSpPr>
              <a:spLocks/>
            </p:cNvSpPr>
            <p:nvPr/>
          </p:nvSpPr>
          <p:spPr bwMode="auto">
            <a:xfrm>
              <a:off x="5168524" y="2978343"/>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34" name="Oval 49">
              <a:extLst>
                <a:ext uri="{FF2B5EF4-FFF2-40B4-BE49-F238E27FC236}">
                  <a16:creationId xmlns:a16="http://schemas.microsoft.com/office/drawing/2014/main" id="{ED37FC9F-50AC-3945-FE04-EB0168A353CB}"/>
                </a:ext>
              </a:extLst>
            </p:cNvPr>
            <p:cNvSpPr>
              <a:spLocks noChangeArrowheads="1"/>
            </p:cNvSpPr>
            <p:nvPr/>
          </p:nvSpPr>
          <p:spPr bwMode="auto">
            <a:xfrm>
              <a:off x="5220034" y="3578905"/>
              <a:ext cx="127259"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35" name="Freeform 50">
              <a:extLst>
                <a:ext uri="{FF2B5EF4-FFF2-40B4-BE49-F238E27FC236}">
                  <a16:creationId xmlns:a16="http://schemas.microsoft.com/office/drawing/2014/main" id="{E36BE3A3-A8F4-9286-4514-5F81DC098D08}"/>
                </a:ext>
              </a:extLst>
            </p:cNvPr>
            <p:cNvSpPr>
              <a:spLocks/>
            </p:cNvSpPr>
            <p:nvPr/>
          </p:nvSpPr>
          <p:spPr bwMode="auto">
            <a:xfrm>
              <a:off x="5168525" y="3727370"/>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36" name="Oval 49">
              <a:extLst>
                <a:ext uri="{FF2B5EF4-FFF2-40B4-BE49-F238E27FC236}">
                  <a16:creationId xmlns:a16="http://schemas.microsoft.com/office/drawing/2014/main" id="{C28AA587-3426-EC7F-5207-1798118216A6}"/>
                </a:ext>
              </a:extLst>
            </p:cNvPr>
            <p:cNvSpPr>
              <a:spLocks noChangeArrowheads="1"/>
            </p:cNvSpPr>
            <p:nvPr/>
          </p:nvSpPr>
          <p:spPr bwMode="auto">
            <a:xfrm>
              <a:off x="5220035" y="4298750"/>
              <a:ext cx="127258" cy="127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37" name="Freeform 50">
              <a:extLst>
                <a:ext uri="{FF2B5EF4-FFF2-40B4-BE49-F238E27FC236}">
                  <a16:creationId xmlns:a16="http://schemas.microsoft.com/office/drawing/2014/main" id="{D9AEFFF2-FAB9-67D3-E95A-84856C46AC53}"/>
                </a:ext>
              </a:extLst>
            </p:cNvPr>
            <p:cNvSpPr>
              <a:spLocks/>
            </p:cNvSpPr>
            <p:nvPr/>
          </p:nvSpPr>
          <p:spPr bwMode="auto">
            <a:xfrm>
              <a:off x="5168534" y="4447214"/>
              <a:ext cx="230276" cy="454494"/>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5"/>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sp>
        <p:nvSpPr>
          <p:cNvPr id="1840" name="Freeform: Shape 1839">
            <a:extLst>
              <a:ext uri="{FF2B5EF4-FFF2-40B4-BE49-F238E27FC236}">
                <a16:creationId xmlns:a16="http://schemas.microsoft.com/office/drawing/2014/main" id="{02BECB39-6956-C531-0E3C-84AB6E2C9444}"/>
              </a:ext>
            </a:extLst>
          </p:cNvPr>
          <p:cNvSpPr/>
          <p:nvPr/>
        </p:nvSpPr>
        <p:spPr>
          <a:xfrm>
            <a:off x="3872658" y="1976824"/>
            <a:ext cx="1237775" cy="1407550"/>
          </a:xfrm>
          <a:custGeom>
            <a:avLst/>
            <a:gdLst>
              <a:gd name="connsiteX0" fmla="*/ 0 w 1343031"/>
              <a:gd name="connsiteY0" fmla="*/ 145915 h 1527243"/>
              <a:gd name="connsiteX1" fmla="*/ 0 w 1343031"/>
              <a:gd name="connsiteY1" fmla="*/ 145915 h 1527243"/>
              <a:gd name="connsiteX2" fmla="*/ 58366 w 1343031"/>
              <a:gd name="connsiteY2" fmla="*/ 651754 h 1527243"/>
              <a:gd name="connsiteX3" fmla="*/ 116732 w 1343031"/>
              <a:gd name="connsiteY3" fmla="*/ 758758 h 1527243"/>
              <a:gd name="connsiteX4" fmla="*/ 145915 w 1343031"/>
              <a:gd name="connsiteY4" fmla="*/ 778213 h 1527243"/>
              <a:gd name="connsiteX5" fmla="*/ 165370 w 1343031"/>
              <a:gd name="connsiteY5" fmla="*/ 817124 h 1527243"/>
              <a:gd name="connsiteX6" fmla="*/ 175098 w 1343031"/>
              <a:gd name="connsiteY6" fmla="*/ 846307 h 1527243"/>
              <a:gd name="connsiteX7" fmla="*/ 233464 w 1343031"/>
              <a:gd name="connsiteY7" fmla="*/ 875490 h 1527243"/>
              <a:gd name="connsiteX8" fmla="*/ 291830 w 1343031"/>
              <a:gd name="connsiteY8" fmla="*/ 953311 h 1527243"/>
              <a:gd name="connsiteX9" fmla="*/ 321013 w 1343031"/>
              <a:gd name="connsiteY9" fmla="*/ 1021405 h 1527243"/>
              <a:gd name="connsiteX10" fmla="*/ 340468 w 1343031"/>
              <a:gd name="connsiteY10" fmla="*/ 1070043 h 1527243"/>
              <a:gd name="connsiteX11" fmla="*/ 359923 w 1343031"/>
              <a:gd name="connsiteY11" fmla="*/ 1099226 h 1527243"/>
              <a:gd name="connsiteX12" fmla="*/ 369651 w 1343031"/>
              <a:gd name="connsiteY12" fmla="*/ 1128409 h 1527243"/>
              <a:gd name="connsiteX13" fmla="*/ 408562 w 1343031"/>
              <a:gd name="connsiteY13" fmla="*/ 1196503 h 1527243"/>
              <a:gd name="connsiteX14" fmla="*/ 447472 w 1343031"/>
              <a:gd name="connsiteY14" fmla="*/ 1225686 h 1527243"/>
              <a:gd name="connsiteX15" fmla="*/ 583659 w 1343031"/>
              <a:gd name="connsiteY15" fmla="*/ 1235413 h 1527243"/>
              <a:gd name="connsiteX16" fmla="*/ 612842 w 1343031"/>
              <a:gd name="connsiteY16" fmla="*/ 1313235 h 1527243"/>
              <a:gd name="connsiteX17" fmla="*/ 622570 w 1343031"/>
              <a:gd name="connsiteY17" fmla="*/ 1342418 h 1527243"/>
              <a:gd name="connsiteX18" fmla="*/ 651753 w 1343031"/>
              <a:gd name="connsiteY18" fmla="*/ 1420239 h 1527243"/>
              <a:gd name="connsiteX19" fmla="*/ 661481 w 1343031"/>
              <a:gd name="connsiteY19" fmla="*/ 1459149 h 1527243"/>
              <a:gd name="connsiteX20" fmla="*/ 700391 w 1343031"/>
              <a:gd name="connsiteY20" fmla="*/ 1488332 h 1527243"/>
              <a:gd name="connsiteX21" fmla="*/ 729574 w 1343031"/>
              <a:gd name="connsiteY21" fmla="*/ 1517515 h 1527243"/>
              <a:gd name="connsiteX22" fmla="*/ 787940 w 1343031"/>
              <a:gd name="connsiteY22" fmla="*/ 1527243 h 1527243"/>
              <a:gd name="connsiteX23" fmla="*/ 846306 w 1343031"/>
              <a:gd name="connsiteY23" fmla="*/ 1468877 h 1527243"/>
              <a:gd name="connsiteX24" fmla="*/ 885217 w 1343031"/>
              <a:gd name="connsiteY24" fmla="*/ 1439694 h 1527243"/>
              <a:gd name="connsiteX25" fmla="*/ 904672 w 1343031"/>
              <a:gd name="connsiteY25" fmla="*/ 1410511 h 1527243"/>
              <a:gd name="connsiteX26" fmla="*/ 924128 w 1343031"/>
              <a:gd name="connsiteY26" fmla="*/ 1332690 h 1527243"/>
              <a:gd name="connsiteX27" fmla="*/ 943583 w 1343031"/>
              <a:gd name="connsiteY27" fmla="*/ 1293779 h 1527243"/>
              <a:gd name="connsiteX28" fmla="*/ 953311 w 1343031"/>
              <a:gd name="connsiteY28" fmla="*/ 1264596 h 1527243"/>
              <a:gd name="connsiteX29" fmla="*/ 1001949 w 1343031"/>
              <a:gd name="connsiteY29" fmla="*/ 1215958 h 1527243"/>
              <a:gd name="connsiteX30" fmla="*/ 1040859 w 1343031"/>
              <a:gd name="connsiteY30" fmla="*/ 1138137 h 1527243"/>
              <a:gd name="connsiteX31" fmla="*/ 1070042 w 1343031"/>
              <a:gd name="connsiteY31" fmla="*/ 1128409 h 1527243"/>
              <a:gd name="connsiteX32" fmla="*/ 1186774 w 1343031"/>
              <a:gd name="connsiteY32" fmla="*/ 1099226 h 1527243"/>
              <a:gd name="connsiteX33" fmla="*/ 1264596 w 1343031"/>
              <a:gd name="connsiteY33" fmla="*/ 1031132 h 1527243"/>
              <a:gd name="connsiteX34" fmla="*/ 1303506 w 1343031"/>
              <a:gd name="connsiteY34" fmla="*/ 972766 h 1527243"/>
              <a:gd name="connsiteX35" fmla="*/ 1342417 w 1343031"/>
              <a:gd name="connsiteY35" fmla="*/ 797669 h 1527243"/>
              <a:gd name="connsiteX36" fmla="*/ 1332689 w 1343031"/>
              <a:gd name="connsiteY36" fmla="*/ 525294 h 1527243"/>
              <a:gd name="connsiteX37" fmla="*/ 1313234 w 1343031"/>
              <a:gd name="connsiteY37" fmla="*/ 447473 h 1527243"/>
              <a:gd name="connsiteX38" fmla="*/ 1186774 w 1343031"/>
              <a:gd name="connsiteY38" fmla="*/ 233464 h 1527243"/>
              <a:gd name="connsiteX39" fmla="*/ 1079770 w 1343031"/>
              <a:gd name="connsiteY39" fmla="*/ 126460 h 1527243"/>
              <a:gd name="connsiteX40" fmla="*/ 992221 w 1343031"/>
              <a:gd name="connsiteY40" fmla="*/ 77822 h 1527243"/>
              <a:gd name="connsiteX41" fmla="*/ 943583 w 1343031"/>
              <a:gd name="connsiteY41" fmla="*/ 38911 h 1527243"/>
              <a:gd name="connsiteX42" fmla="*/ 836579 w 1343031"/>
              <a:gd name="connsiteY42" fmla="*/ 0 h 1527243"/>
              <a:gd name="connsiteX43" fmla="*/ 612842 w 1343031"/>
              <a:gd name="connsiteY43" fmla="*/ 19456 h 1527243"/>
              <a:gd name="connsiteX44" fmla="*/ 496111 w 1343031"/>
              <a:gd name="connsiteY44" fmla="*/ 48639 h 1527243"/>
              <a:gd name="connsiteX45" fmla="*/ 389106 w 1343031"/>
              <a:gd name="connsiteY45" fmla="*/ 58366 h 1527243"/>
              <a:gd name="connsiteX46" fmla="*/ 330740 w 1343031"/>
              <a:gd name="connsiteY46" fmla="*/ 77822 h 1527243"/>
              <a:gd name="connsiteX47" fmla="*/ 204281 w 1343031"/>
              <a:gd name="connsiteY47" fmla="*/ 116732 h 1527243"/>
              <a:gd name="connsiteX48" fmla="*/ 0 w 1343031"/>
              <a:gd name="connsiteY48" fmla="*/ 145915 h 1527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43031" h="1527243">
                <a:moveTo>
                  <a:pt x="0" y="145915"/>
                </a:moveTo>
                <a:lnTo>
                  <a:pt x="0" y="145915"/>
                </a:lnTo>
                <a:cubicBezTo>
                  <a:pt x="19455" y="314528"/>
                  <a:pt x="37313" y="483333"/>
                  <a:pt x="58366" y="651754"/>
                </a:cubicBezTo>
                <a:cubicBezTo>
                  <a:pt x="64181" y="698276"/>
                  <a:pt x="82602" y="720362"/>
                  <a:pt x="116732" y="758758"/>
                </a:cubicBezTo>
                <a:cubicBezTo>
                  <a:pt x="124499" y="767496"/>
                  <a:pt x="136187" y="771728"/>
                  <a:pt x="145915" y="778213"/>
                </a:cubicBezTo>
                <a:cubicBezTo>
                  <a:pt x="152400" y="791183"/>
                  <a:pt x="159658" y="803795"/>
                  <a:pt x="165370" y="817124"/>
                </a:cubicBezTo>
                <a:cubicBezTo>
                  <a:pt x="169409" y="826549"/>
                  <a:pt x="167313" y="839634"/>
                  <a:pt x="175098" y="846307"/>
                </a:cubicBezTo>
                <a:cubicBezTo>
                  <a:pt x="191613" y="860463"/>
                  <a:pt x="214009" y="865762"/>
                  <a:pt x="233464" y="875490"/>
                </a:cubicBezTo>
                <a:cubicBezTo>
                  <a:pt x="252919" y="901430"/>
                  <a:pt x="281577" y="922549"/>
                  <a:pt x="291830" y="953311"/>
                </a:cubicBezTo>
                <a:cubicBezTo>
                  <a:pt x="311808" y="1013249"/>
                  <a:pt x="288959" y="949284"/>
                  <a:pt x="321013" y="1021405"/>
                </a:cubicBezTo>
                <a:cubicBezTo>
                  <a:pt x="328105" y="1037362"/>
                  <a:pt x="332659" y="1054425"/>
                  <a:pt x="340468" y="1070043"/>
                </a:cubicBezTo>
                <a:cubicBezTo>
                  <a:pt x="345696" y="1080500"/>
                  <a:pt x="354695" y="1088769"/>
                  <a:pt x="359923" y="1099226"/>
                </a:cubicBezTo>
                <a:cubicBezTo>
                  <a:pt x="364509" y="1108397"/>
                  <a:pt x="365612" y="1118984"/>
                  <a:pt x="369651" y="1128409"/>
                </a:cubicBezTo>
                <a:cubicBezTo>
                  <a:pt x="375375" y="1141765"/>
                  <a:pt x="396348" y="1184289"/>
                  <a:pt x="408562" y="1196503"/>
                </a:cubicBezTo>
                <a:cubicBezTo>
                  <a:pt x="420026" y="1207967"/>
                  <a:pt x="431645" y="1222169"/>
                  <a:pt x="447472" y="1225686"/>
                </a:cubicBezTo>
                <a:cubicBezTo>
                  <a:pt x="491900" y="1235559"/>
                  <a:pt x="538263" y="1232171"/>
                  <a:pt x="583659" y="1235413"/>
                </a:cubicBezTo>
                <a:cubicBezTo>
                  <a:pt x="615687" y="1283454"/>
                  <a:pt x="596013" y="1245918"/>
                  <a:pt x="612842" y="1313235"/>
                </a:cubicBezTo>
                <a:cubicBezTo>
                  <a:pt x="615329" y="1323183"/>
                  <a:pt x="619066" y="1332781"/>
                  <a:pt x="622570" y="1342418"/>
                </a:cubicBezTo>
                <a:cubicBezTo>
                  <a:pt x="632038" y="1368454"/>
                  <a:pt x="642992" y="1393956"/>
                  <a:pt x="651753" y="1420239"/>
                </a:cubicBezTo>
                <a:cubicBezTo>
                  <a:pt x="655981" y="1432922"/>
                  <a:pt x="653710" y="1448270"/>
                  <a:pt x="661481" y="1459149"/>
                </a:cubicBezTo>
                <a:cubicBezTo>
                  <a:pt x="670904" y="1472342"/>
                  <a:pt x="688082" y="1477781"/>
                  <a:pt x="700391" y="1488332"/>
                </a:cubicBezTo>
                <a:cubicBezTo>
                  <a:pt x="710836" y="1497285"/>
                  <a:pt x="717003" y="1511928"/>
                  <a:pt x="729574" y="1517515"/>
                </a:cubicBezTo>
                <a:cubicBezTo>
                  <a:pt x="747598" y="1525526"/>
                  <a:pt x="768485" y="1524000"/>
                  <a:pt x="787940" y="1527243"/>
                </a:cubicBezTo>
                <a:cubicBezTo>
                  <a:pt x="856715" y="1481394"/>
                  <a:pt x="773911" y="1541272"/>
                  <a:pt x="846306" y="1468877"/>
                </a:cubicBezTo>
                <a:cubicBezTo>
                  <a:pt x="857770" y="1457413"/>
                  <a:pt x="872247" y="1449422"/>
                  <a:pt x="885217" y="1439694"/>
                </a:cubicBezTo>
                <a:cubicBezTo>
                  <a:pt x="891702" y="1429966"/>
                  <a:pt x="899444" y="1420968"/>
                  <a:pt x="904672" y="1410511"/>
                </a:cubicBezTo>
                <a:cubicBezTo>
                  <a:pt x="919233" y="1381390"/>
                  <a:pt x="913027" y="1365992"/>
                  <a:pt x="924128" y="1332690"/>
                </a:cubicBezTo>
                <a:cubicBezTo>
                  <a:pt x="928714" y="1318933"/>
                  <a:pt x="937871" y="1307108"/>
                  <a:pt x="943583" y="1293779"/>
                </a:cubicBezTo>
                <a:cubicBezTo>
                  <a:pt x="947622" y="1284354"/>
                  <a:pt x="947159" y="1272799"/>
                  <a:pt x="953311" y="1264596"/>
                </a:cubicBezTo>
                <a:cubicBezTo>
                  <a:pt x="967068" y="1246253"/>
                  <a:pt x="985736" y="1232171"/>
                  <a:pt x="1001949" y="1215958"/>
                </a:cubicBezTo>
                <a:cubicBezTo>
                  <a:pt x="1007824" y="1201270"/>
                  <a:pt x="1023717" y="1151850"/>
                  <a:pt x="1040859" y="1138137"/>
                </a:cubicBezTo>
                <a:cubicBezTo>
                  <a:pt x="1048866" y="1131731"/>
                  <a:pt x="1060094" y="1130896"/>
                  <a:pt x="1070042" y="1128409"/>
                </a:cubicBezTo>
                <a:cubicBezTo>
                  <a:pt x="1200120" y="1095889"/>
                  <a:pt x="1118076" y="1122126"/>
                  <a:pt x="1186774" y="1099226"/>
                </a:cubicBezTo>
                <a:cubicBezTo>
                  <a:pt x="1218096" y="1075734"/>
                  <a:pt x="1239409" y="1062617"/>
                  <a:pt x="1264596" y="1031132"/>
                </a:cubicBezTo>
                <a:cubicBezTo>
                  <a:pt x="1279203" y="1012873"/>
                  <a:pt x="1290536" y="992221"/>
                  <a:pt x="1303506" y="972766"/>
                </a:cubicBezTo>
                <a:cubicBezTo>
                  <a:pt x="1318373" y="920735"/>
                  <a:pt x="1341083" y="849699"/>
                  <a:pt x="1342417" y="797669"/>
                </a:cubicBezTo>
                <a:cubicBezTo>
                  <a:pt x="1344746" y="706849"/>
                  <a:pt x="1340234" y="615830"/>
                  <a:pt x="1332689" y="525294"/>
                </a:cubicBezTo>
                <a:cubicBezTo>
                  <a:pt x="1330468" y="498648"/>
                  <a:pt x="1322478" y="472563"/>
                  <a:pt x="1313234" y="447473"/>
                </a:cubicBezTo>
                <a:cubicBezTo>
                  <a:pt x="1280947" y="359836"/>
                  <a:pt x="1248691" y="305157"/>
                  <a:pt x="1186774" y="233464"/>
                </a:cubicBezTo>
                <a:cubicBezTo>
                  <a:pt x="1153804" y="195288"/>
                  <a:pt x="1119159" y="157971"/>
                  <a:pt x="1079770" y="126460"/>
                </a:cubicBezTo>
                <a:cubicBezTo>
                  <a:pt x="1053701" y="105605"/>
                  <a:pt x="1020303" y="95875"/>
                  <a:pt x="992221" y="77822"/>
                </a:cubicBezTo>
                <a:cubicBezTo>
                  <a:pt x="974756" y="66595"/>
                  <a:pt x="961387" y="49593"/>
                  <a:pt x="943583" y="38911"/>
                </a:cubicBezTo>
                <a:cubicBezTo>
                  <a:pt x="926667" y="28761"/>
                  <a:pt x="851892" y="5104"/>
                  <a:pt x="836579" y="0"/>
                </a:cubicBezTo>
                <a:cubicBezTo>
                  <a:pt x="762000" y="6485"/>
                  <a:pt x="686950" y="8869"/>
                  <a:pt x="612842" y="19456"/>
                </a:cubicBezTo>
                <a:cubicBezTo>
                  <a:pt x="573137" y="25128"/>
                  <a:pt x="536054" y="45008"/>
                  <a:pt x="496111" y="48639"/>
                </a:cubicBezTo>
                <a:lnTo>
                  <a:pt x="389106" y="58366"/>
                </a:lnTo>
                <a:cubicBezTo>
                  <a:pt x="369651" y="64851"/>
                  <a:pt x="349881" y="70460"/>
                  <a:pt x="330740" y="77822"/>
                </a:cubicBezTo>
                <a:cubicBezTo>
                  <a:pt x="272526" y="100212"/>
                  <a:pt x="264635" y="114577"/>
                  <a:pt x="204281" y="116732"/>
                </a:cubicBezTo>
                <a:cubicBezTo>
                  <a:pt x="132990" y="119278"/>
                  <a:pt x="34047" y="141051"/>
                  <a:pt x="0" y="145915"/>
                </a:cubicBezTo>
                <a:close/>
              </a:path>
            </a:pathLst>
          </a:custGeom>
          <a:solidFill>
            <a:srgbClr val="F6F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endParaRPr>
          </a:p>
        </p:txBody>
      </p:sp>
      <p:sp>
        <p:nvSpPr>
          <p:cNvPr id="1845" name="Rectangle: Rounded Corners 1844">
            <a:extLst>
              <a:ext uri="{FF2B5EF4-FFF2-40B4-BE49-F238E27FC236}">
                <a16:creationId xmlns:a16="http://schemas.microsoft.com/office/drawing/2014/main" id="{53D641A5-9D68-165D-2407-D06338A0F4D9}"/>
              </a:ext>
            </a:extLst>
          </p:cNvPr>
          <p:cNvSpPr/>
          <p:nvPr/>
        </p:nvSpPr>
        <p:spPr>
          <a:xfrm>
            <a:off x="5574801" y="2791537"/>
            <a:ext cx="1385286" cy="309600"/>
          </a:xfrm>
          <a:prstGeom prst="roundRect">
            <a:avLst>
              <a:gd name="adj" fmla="val 50000"/>
            </a:avLst>
          </a:prstGeom>
          <a:solidFill>
            <a:schemeClr val="tx2">
              <a:lumMod val="5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Age ≥65 years</a:t>
            </a:r>
            <a:endParaRPr kumimoji="0" lang="it-IT" sz="1400" b="1" i="0" u="none" strike="noStrike" kern="1200" cap="none" spc="0" normalizeH="0" baseline="30000" noProof="0" dirty="0">
              <a:ln>
                <a:noFill/>
              </a:ln>
              <a:solidFill>
                <a:srgbClr val="FFFFFF"/>
              </a:solidFill>
              <a:effectLst/>
              <a:uLnTx/>
              <a:uFillTx/>
              <a:latin typeface="Arial "/>
              <a:ea typeface="+mn-ea"/>
              <a:cs typeface="Arial" panose="020B0604020202020204" pitchFamily="34" charset="0"/>
            </a:endParaRPr>
          </a:p>
        </p:txBody>
      </p:sp>
      <p:sp>
        <p:nvSpPr>
          <p:cNvPr id="1846" name="Oval 1845">
            <a:extLst>
              <a:ext uri="{FF2B5EF4-FFF2-40B4-BE49-F238E27FC236}">
                <a16:creationId xmlns:a16="http://schemas.microsoft.com/office/drawing/2014/main" id="{14487925-E28B-49CD-D3AD-2CC0859A97C8}"/>
              </a:ext>
            </a:extLst>
          </p:cNvPr>
          <p:cNvSpPr/>
          <p:nvPr/>
        </p:nvSpPr>
        <p:spPr>
          <a:xfrm>
            <a:off x="6006514" y="1852447"/>
            <a:ext cx="565315" cy="565315"/>
          </a:xfrm>
          <a:prstGeom prst="ellipse">
            <a:avLst/>
          </a:prstGeom>
          <a:solidFill>
            <a:srgbClr val="FFFFFF">
              <a:hueOff val="0"/>
              <a:satOff val="0"/>
              <a:lumOff val="0"/>
              <a:alphaOff val="0"/>
            </a:srgbClr>
          </a:solidFill>
          <a:ln w="12700" cap="flat" cmpd="sng" algn="ctr">
            <a:solidFill>
              <a:srgbClr val="000000"/>
            </a:solidFill>
            <a:prstDash val="solid"/>
            <a:miter lim="800000"/>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hueOff val="0"/>
                  <a:satOff val="0"/>
                  <a:lumOff val="0"/>
                  <a:alphaOff val="0"/>
                </a:srgbClr>
              </a:solidFill>
              <a:effectLst/>
              <a:uLnTx/>
              <a:uFillTx/>
              <a:latin typeface="Arial "/>
              <a:ea typeface="+mn-ea"/>
              <a:cs typeface="Arial" panose="020B0604020202020204" pitchFamily="34" charset="0"/>
            </a:endParaRPr>
          </a:p>
        </p:txBody>
      </p:sp>
      <p:pic>
        <p:nvPicPr>
          <p:cNvPr id="1847" name="Elemento grafico 324" descr="Uomo con bastone contorno">
            <a:extLst>
              <a:ext uri="{FF2B5EF4-FFF2-40B4-BE49-F238E27FC236}">
                <a16:creationId xmlns:a16="http://schemas.microsoft.com/office/drawing/2014/main" id="{972F8B38-D678-FFAB-4B81-53695820B147}"/>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6078530" y="1901886"/>
            <a:ext cx="428862" cy="428862"/>
          </a:xfrm>
          <a:prstGeom prst="rect">
            <a:avLst/>
          </a:prstGeom>
        </p:spPr>
      </p:pic>
      <p:sp>
        <p:nvSpPr>
          <p:cNvPr id="1848" name="Rectangle: Rounded Corners 1847">
            <a:extLst>
              <a:ext uri="{FF2B5EF4-FFF2-40B4-BE49-F238E27FC236}">
                <a16:creationId xmlns:a16="http://schemas.microsoft.com/office/drawing/2014/main" id="{2A73C3C9-8F58-C591-F7C1-1B7387D40E7A}"/>
              </a:ext>
            </a:extLst>
          </p:cNvPr>
          <p:cNvSpPr/>
          <p:nvPr/>
        </p:nvSpPr>
        <p:spPr>
          <a:xfrm>
            <a:off x="7508058" y="2791537"/>
            <a:ext cx="2047197" cy="309600"/>
          </a:xfrm>
          <a:prstGeom prst="roundRect">
            <a:avLst>
              <a:gd name="adj" fmla="val 50000"/>
            </a:avLst>
          </a:prstGeom>
          <a:solidFill>
            <a:schemeClr val="accent4">
              <a:lumMod val="75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48260" rIns="0" bIns="4826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400" b="1" i="1"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EGFR</a:t>
            </a:r>
            <a:r>
              <a:rPr kumimoji="0" lang="it-IT" sz="14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 L858R mutation</a:t>
            </a:r>
            <a:endParaRPr kumimoji="0" lang="it-IT" sz="1400" b="1" i="0" u="none" strike="noStrike" kern="1200" cap="none" spc="0" normalizeH="0" baseline="30000" noProof="0" dirty="0">
              <a:ln>
                <a:noFill/>
              </a:ln>
              <a:solidFill>
                <a:srgbClr val="FFFFFF"/>
              </a:solidFill>
              <a:effectLst/>
              <a:uLnTx/>
              <a:uFillTx/>
              <a:latin typeface="Arial "/>
              <a:ea typeface="+mn-ea"/>
              <a:cs typeface="Arial" panose="020B0604020202020204" pitchFamily="34" charset="0"/>
            </a:endParaRPr>
          </a:p>
        </p:txBody>
      </p:sp>
      <p:sp>
        <p:nvSpPr>
          <p:cNvPr id="1856" name="Oval 1855">
            <a:extLst>
              <a:ext uri="{FF2B5EF4-FFF2-40B4-BE49-F238E27FC236}">
                <a16:creationId xmlns:a16="http://schemas.microsoft.com/office/drawing/2014/main" id="{BE66B496-B7EE-4FAE-38B4-9DD06A01A51C}"/>
              </a:ext>
            </a:extLst>
          </p:cNvPr>
          <p:cNvSpPr/>
          <p:nvPr/>
        </p:nvSpPr>
        <p:spPr>
          <a:xfrm>
            <a:off x="9380077" y="3551713"/>
            <a:ext cx="565315" cy="565315"/>
          </a:xfrm>
          <a:prstGeom prst="ellipse">
            <a:avLst/>
          </a:prstGeom>
          <a:solidFill>
            <a:srgbClr val="FFFFFF">
              <a:hueOff val="0"/>
              <a:satOff val="0"/>
              <a:lumOff val="0"/>
              <a:alphaOff val="0"/>
            </a:srgbClr>
          </a:solidFill>
          <a:ln w="12700" cap="flat" cmpd="sng" algn="ctr">
            <a:solidFill>
              <a:srgbClr val="000000"/>
            </a:solidFill>
            <a:prstDash val="solid"/>
            <a:miter lim="800000"/>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hueOff val="0"/>
                  <a:satOff val="0"/>
                  <a:lumOff val="0"/>
                  <a:alphaOff val="0"/>
                </a:srgbClr>
              </a:solidFill>
              <a:effectLst/>
              <a:uLnTx/>
              <a:uFillTx/>
              <a:latin typeface="Arial "/>
              <a:ea typeface="+mn-ea"/>
              <a:cs typeface="Arial" panose="020B0604020202020204" pitchFamily="34" charset="0"/>
            </a:endParaRPr>
          </a:p>
        </p:txBody>
      </p:sp>
      <p:sp>
        <p:nvSpPr>
          <p:cNvPr id="1864" name="Freeform: Shape 1863">
            <a:extLst>
              <a:ext uri="{FF2B5EF4-FFF2-40B4-BE49-F238E27FC236}">
                <a16:creationId xmlns:a16="http://schemas.microsoft.com/office/drawing/2014/main" id="{5D95064C-DEBE-764F-926E-8B7CB21DF4AD}"/>
              </a:ext>
            </a:extLst>
          </p:cNvPr>
          <p:cNvSpPr/>
          <p:nvPr/>
        </p:nvSpPr>
        <p:spPr>
          <a:xfrm>
            <a:off x="6556875" y="1505139"/>
            <a:ext cx="678076" cy="288000"/>
          </a:xfrm>
          <a:custGeom>
            <a:avLst/>
            <a:gdLst>
              <a:gd name="connsiteX0" fmla="*/ 0 w 4004587"/>
              <a:gd name="connsiteY0" fmla="*/ 0 h 432000"/>
              <a:gd name="connsiteX1" fmla="*/ 4004587 w 4004587"/>
              <a:gd name="connsiteY1" fmla="*/ 0 h 432000"/>
              <a:gd name="connsiteX2" fmla="*/ 4004587 w 4004587"/>
              <a:gd name="connsiteY2" fmla="*/ 432000 h 432000"/>
              <a:gd name="connsiteX3" fmla="*/ 0 w 4004587"/>
              <a:gd name="connsiteY3" fmla="*/ 432000 h 432000"/>
              <a:gd name="connsiteX4" fmla="*/ 0 w 4004587"/>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4587" h="432000">
                <a:moveTo>
                  <a:pt x="0" y="0"/>
                </a:moveTo>
                <a:lnTo>
                  <a:pt x="4004587" y="0"/>
                </a:lnTo>
                <a:lnTo>
                  <a:pt x="4004587" y="432000"/>
                </a:lnTo>
                <a:lnTo>
                  <a:pt x="0" y="432000"/>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66%</a:t>
            </a:r>
            <a:r>
              <a:rPr kumimoji="0" lang="it-IT" sz="1800" b="1" i="0" u="none" strike="noStrike" kern="1200" cap="none" spc="0" normalizeH="0" baseline="30000" noProof="0" dirty="0">
                <a:ln>
                  <a:noFill/>
                </a:ln>
                <a:solidFill>
                  <a:srgbClr val="000000"/>
                </a:solidFill>
                <a:effectLst/>
                <a:uLnTx/>
                <a:uFillTx/>
                <a:latin typeface="Arial "/>
                <a:ea typeface="+mn-ea"/>
                <a:cs typeface="Arial" panose="020B0604020202020204" pitchFamily="34" charset="0"/>
              </a:rPr>
              <a:t>2</a:t>
            </a:r>
          </a:p>
        </p:txBody>
      </p:sp>
      <p:sp>
        <p:nvSpPr>
          <p:cNvPr id="1865" name="Freeform: Shape 1864">
            <a:extLst>
              <a:ext uri="{FF2B5EF4-FFF2-40B4-BE49-F238E27FC236}">
                <a16:creationId xmlns:a16="http://schemas.microsoft.com/office/drawing/2014/main" id="{A0288E2C-9061-FC7E-6A18-CD39C763D9F7}"/>
              </a:ext>
            </a:extLst>
          </p:cNvPr>
          <p:cNvSpPr/>
          <p:nvPr/>
        </p:nvSpPr>
        <p:spPr>
          <a:xfrm>
            <a:off x="8730911" y="1505139"/>
            <a:ext cx="678076" cy="288000"/>
          </a:xfrm>
          <a:custGeom>
            <a:avLst/>
            <a:gdLst>
              <a:gd name="connsiteX0" fmla="*/ 0 w 4004587"/>
              <a:gd name="connsiteY0" fmla="*/ 0 h 432000"/>
              <a:gd name="connsiteX1" fmla="*/ 4004587 w 4004587"/>
              <a:gd name="connsiteY1" fmla="*/ 0 h 432000"/>
              <a:gd name="connsiteX2" fmla="*/ 4004587 w 4004587"/>
              <a:gd name="connsiteY2" fmla="*/ 432000 h 432000"/>
              <a:gd name="connsiteX3" fmla="*/ 0 w 4004587"/>
              <a:gd name="connsiteY3" fmla="*/ 432000 h 432000"/>
              <a:gd name="connsiteX4" fmla="*/ 0 w 4004587"/>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4587" h="432000">
                <a:moveTo>
                  <a:pt x="0" y="0"/>
                </a:moveTo>
                <a:lnTo>
                  <a:pt x="4004587" y="0"/>
                </a:lnTo>
                <a:lnTo>
                  <a:pt x="4004587" y="432000"/>
                </a:lnTo>
                <a:lnTo>
                  <a:pt x="0" y="432000"/>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48%</a:t>
            </a:r>
            <a:r>
              <a:rPr kumimoji="0" lang="it-IT" sz="1800" b="1" i="0" u="none" strike="noStrike" kern="1200" cap="none" spc="0" normalizeH="0" baseline="30000" noProof="0" dirty="0">
                <a:ln>
                  <a:noFill/>
                </a:ln>
                <a:solidFill>
                  <a:srgbClr val="000000"/>
                </a:solidFill>
                <a:effectLst/>
                <a:uLnTx/>
                <a:uFillTx/>
                <a:latin typeface="Arial "/>
                <a:ea typeface="+mn-ea"/>
                <a:cs typeface="Arial" panose="020B0604020202020204" pitchFamily="34" charset="0"/>
              </a:rPr>
              <a:t>2</a:t>
            </a:r>
          </a:p>
        </p:txBody>
      </p:sp>
      <p:pic>
        <p:nvPicPr>
          <p:cNvPr id="316" name="Picture 4" descr="DNA Icon 6973924">
            <a:extLst>
              <a:ext uri="{FF2B5EF4-FFF2-40B4-BE49-F238E27FC236}">
                <a16:creationId xmlns:a16="http://schemas.microsoft.com/office/drawing/2014/main" id="{52BBC408-D79A-6575-9DFD-3E171A2588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4202" y="1763225"/>
            <a:ext cx="711735" cy="74375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849" name="Oval 1848">
            <a:extLst>
              <a:ext uri="{FF2B5EF4-FFF2-40B4-BE49-F238E27FC236}">
                <a16:creationId xmlns:a16="http://schemas.microsoft.com/office/drawing/2014/main" id="{691EF6A2-1146-198C-3F6A-DB4FB3785F76}"/>
              </a:ext>
            </a:extLst>
          </p:cNvPr>
          <p:cNvSpPr/>
          <p:nvPr/>
        </p:nvSpPr>
        <p:spPr>
          <a:xfrm>
            <a:off x="8167412" y="1852447"/>
            <a:ext cx="565315" cy="565315"/>
          </a:xfrm>
          <a:prstGeom prst="ellipse">
            <a:avLst/>
          </a:prstGeom>
          <a:solidFill>
            <a:srgbClr val="FFFFFF">
              <a:hueOff val="0"/>
              <a:satOff val="0"/>
              <a:lumOff val="0"/>
              <a:alphaOff val="0"/>
            </a:srgbClr>
          </a:solidFill>
          <a:ln w="12700" cap="flat" cmpd="sng" algn="ctr">
            <a:solidFill>
              <a:srgbClr val="000000"/>
            </a:solidFill>
            <a:prstDash val="solid"/>
            <a:miter lim="800000"/>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hueOff val="0"/>
                  <a:satOff val="0"/>
                  <a:lumOff val="0"/>
                  <a:alphaOff val="0"/>
                </a:srgbClr>
              </a:solidFill>
              <a:effectLst/>
              <a:uLnTx/>
              <a:uFillTx/>
              <a:latin typeface="Arial "/>
              <a:ea typeface="+mn-ea"/>
              <a:cs typeface="Arial" panose="020B0604020202020204" pitchFamily="34" charset="0"/>
            </a:endParaRPr>
          </a:p>
        </p:txBody>
      </p:sp>
      <p:pic>
        <p:nvPicPr>
          <p:cNvPr id="1852" name="Picture 4" descr="DNA Icon 6973924">
            <a:extLst>
              <a:ext uri="{FF2B5EF4-FFF2-40B4-BE49-F238E27FC236}">
                <a16:creationId xmlns:a16="http://schemas.microsoft.com/office/drawing/2014/main" id="{F6AEDFEE-537E-64DC-7B72-7BA68F60C6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4202" y="1763225"/>
            <a:ext cx="711735" cy="743759"/>
          </a:xfrm>
          <a:prstGeom prst="rect">
            <a:avLst/>
          </a:prstGeom>
          <a:noFill/>
          <a:effectLst/>
          <a:extLst>
            <a:ext uri="{909E8E84-426E-40DD-AFC4-6F175D3DCCD1}">
              <a14:hiddenFill xmlns:a14="http://schemas.microsoft.com/office/drawing/2010/main">
                <a:solidFill>
                  <a:srgbClr val="FFFFFF"/>
                </a:solidFill>
              </a14:hiddenFill>
            </a:ext>
          </a:extLst>
        </p:spPr>
      </p:pic>
      <p:sp>
        <p:nvSpPr>
          <p:cNvPr id="1869" name="Freeform: Shape 1868">
            <a:extLst>
              <a:ext uri="{FF2B5EF4-FFF2-40B4-BE49-F238E27FC236}">
                <a16:creationId xmlns:a16="http://schemas.microsoft.com/office/drawing/2014/main" id="{2122D24C-3314-51CF-1339-B4208C15A16C}"/>
              </a:ext>
            </a:extLst>
          </p:cNvPr>
          <p:cNvSpPr/>
          <p:nvPr/>
        </p:nvSpPr>
        <p:spPr>
          <a:xfrm>
            <a:off x="11059166" y="1505139"/>
            <a:ext cx="678076" cy="288000"/>
          </a:xfrm>
          <a:custGeom>
            <a:avLst/>
            <a:gdLst>
              <a:gd name="connsiteX0" fmla="*/ 0 w 4004587"/>
              <a:gd name="connsiteY0" fmla="*/ 0 h 432000"/>
              <a:gd name="connsiteX1" fmla="*/ 4004587 w 4004587"/>
              <a:gd name="connsiteY1" fmla="*/ 0 h 432000"/>
              <a:gd name="connsiteX2" fmla="*/ 4004587 w 4004587"/>
              <a:gd name="connsiteY2" fmla="*/ 432000 h 432000"/>
              <a:gd name="connsiteX3" fmla="*/ 0 w 4004587"/>
              <a:gd name="connsiteY3" fmla="*/ 432000 h 432000"/>
              <a:gd name="connsiteX4" fmla="*/ 0 w 4004587"/>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4587" h="432000">
                <a:moveTo>
                  <a:pt x="0" y="0"/>
                </a:moveTo>
                <a:lnTo>
                  <a:pt x="4004587" y="0"/>
                </a:lnTo>
                <a:lnTo>
                  <a:pt x="4004587" y="432000"/>
                </a:lnTo>
                <a:lnTo>
                  <a:pt x="0" y="432000"/>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17%</a:t>
            </a:r>
            <a:r>
              <a:rPr kumimoji="0" lang="it-IT" sz="1800" b="1" i="0" u="none" strike="noStrike" kern="1200" cap="none" spc="0" normalizeH="0" baseline="30000" noProof="0" dirty="0">
                <a:ln>
                  <a:noFill/>
                </a:ln>
                <a:solidFill>
                  <a:srgbClr val="000000"/>
                </a:solidFill>
                <a:effectLst/>
                <a:uLnTx/>
                <a:uFillTx/>
                <a:latin typeface="Arial "/>
                <a:ea typeface="+mn-ea"/>
                <a:cs typeface="Arial" panose="020B0604020202020204" pitchFamily="34" charset="0"/>
              </a:rPr>
              <a:t>2</a:t>
            </a:r>
          </a:p>
        </p:txBody>
      </p:sp>
      <p:sp>
        <p:nvSpPr>
          <p:cNvPr id="1873" name="Freeform: Shape 1872">
            <a:extLst>
              <a:ext uri="{FF2B5EF4-FFF2-40B4-BE49-F238E27FC236}">
                <a16:creationId xmlns:a16="http://schemas.microsoft.com/office/drawing/2014/main" id="{791B8D4A-2E78-6672-E447-53BC7E9C5684}"/>
              </a:ext>
            </a:extLst>
          </p:cNvPr>
          <p:cNvSpPr/>
          <p:nvPr/>
        </p:nvSpPr>
        <p:spPr>
          <a:xfrm>
            <a:off x="7527291" y="3304258"/>
            <a:ext cx="678076" cy="288000"/>
          </a:xfrm>
          <a:custGeom>
            <a:avLst/>
            <a:gdLst>
              <a:gd name="connsiteX0" fmla="*/ 0 w 4004587"/>
              <a:gd name="connsiteY0" fmla="*/ 0 h 432000"/>
              <a:gd name="connsiteX1" fmla="*/ 4004587 w 4004587"/>
              <a:gd name="connsiteY1" fmla="*/ 0 h 432000"/>
              <a:gd name="connsiteX2" fmla="*/ 4004587 w 4004587"/>
              <a:gd name="connsiteY2" fmla="*/ 432000 h 432000"/>
              <a:gd name="connsiteX3" fmla="*/ 0 w 4004587"/>
              <a:gd name="connsiteY3" fmla="*/ 432000 h 432000"/>
              <a:gd name="connsiteX4" fmla="*/ 0 w 4004587"/>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4587" h="432000">
                <a:moveTo>
                  <a:pt x="0" y="0"/>
                </a:moveTo>
                <a:lnTo>
                  <a:pt x="4004587" y="0"/>
                </a:lnTo>
                <a:lnTo>
                  <a:pt x="4004587" y="432000"/>
                </a:lnTo>
                <a:lnTo>
                  <a:pt x="0" y="432000"/>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36%</a:t>
            </a:r>
            <a:r>
              <a:rPr kumimoji="0" lang="it-IT" sz="1800" b="1" i="0" u="none" strike="noStrike" kern="1200" cap="none" spc="0" normalizeH="0" baseline="30000" noProof="0" dirty="0">
                <a:ln>
                  <a:noFill/>
                </a:ln>
                <a:solidFill>
                  <a:srgbClr val="000000"/>
                </a:solidFill>
                <a:effectLst/>
                <a:uLnTx/>
                <a:uFillTx/>
                <a:latin typeface="Arial "/>
                <a:ea typeface="+mn-ea"/>
                <a:cs typeface="Arial" panose="020B0604020202020204" pitchFamily="34" charset="0"/>
              </a:rPr>
              <a:t>2</a:t>
            </a:r>
          </a:p>
        </p:txBody>
      </p:sp>
      <p:pic>
        <p:nvPicPr>
          <p:cNvPr id="1875" name="Picture 6" descr="Liver Icon 3241902">
            <a:extLst>
              <a:ext uri="{FF2B5EF4-FFF2-40B4-BE49-F238E27FC236}">
                <a16:creationId xmlns:a16="http://schemas.microsoft.com/office/drawing/2014/main" id="{13360321-F7B3-2330-45A5-51ED35B4F9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51769" y="3510917"/>
            <a:ext cx="647546" cy="676683"/>
          </a:xfrm>
          <a:prstGeom prst="rect">
            <a:avLst/>
          </a:prstGeom>
          <a:noFill/>
          <a:extLst>
            <a:ext uri="{909E8E84-426E-40DD-AFC4-6F175D3DCCD1}">
              <a14:hiddenFill xmlns:a14="http://schemas.microsoft.com/office/drawing/2010/main">
                <a:solidFill>
                  <a:srgbClr val="FFFFFF"/>
                </a:solidFill>
              </a14:hiddenFill>
            </a:ext>
          </a:extLst>
        </p:spPr>
      </p:pic>
      <p:sp>
        <p:nvSpPr>
          <p:cNvPr id="1877" name="Freeform: Shape 1876">
            <a:extLst>
              <a:ext uri="{FF2B5EF4-FFF2-40B4-BE49-F238E27FC236}">
                <a16:creationId xmlns:a16="http://schemas.microsoft.com/office/drawing/2014/main" id="{ECA2B6F2-88C6-EBC4-AF8D-EA56F43A028C}"/>
              </a:ext>
            </a:extLst>
          </p:cNvPr>
          <p:cNvSpPr/>
          <p:nvPr/>
        </p:nvSpPr>
        <p:spPr>
          <a:xfrm>
            <a:off x="10000064" y="3304258"/>
            <a:ext cx="678076" cy="288000"/>
          </a:xfrm>
          <a:custGeom>
            <a:avLst/>
            <a:gdLst>
              <a:gd name="connsiteX0" fmla="*/ 0 w 4004587"/>
              <a:gd name="connsiteY0" fmla="*/ 0 h 432000"/>
              <a:gd name="connsiteX1" fmla="*/ 4004587 w 4004587"/>
              <a:gd name="connsiteY1" fmla="*/ 0 h 432000"/>
              <a:gd name="connsiteX2" fmla="*/ 4004587 w 4004587"/>
              <a:gd name="connsiteY2" fmla="*/ 432000 h 432000"/>
              <a:gd name="connsiteX3" fmla="*/ 0 w 4004587"/>
              <a:gd name="connsiteY3" fmla="*/ 432000 h 432000"/>
              <a:gd name="connsiteX4" fmla="*/ 0 w 4004587"/>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4587" h="432000">
                <a:moveTo>
                  <a:pt x="0" y="0"/>
                </a:moveTo>
                <a:lnTo>
                  <a:pt x="4004587" y="0"/>
                </a:lnTo>
                <a:lnTo>
                  <a:pt x="4004587" y="432000"/>
                </a:lnTo>
                <a:lnTo>
                  <a:pt x="0" y="432000"/>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15%</a:t>
            </a:r>
            <a:r>
              <a:rPr kumimoji="0" lang="it-IT" sz="1800" b="1" i="0" u="none" strike="noStrike" kern="1200" cap="none" spc="0" normalizeH="0" baseline="30000" noProof="0" dirty="0">
                <a:ln>
                  <a:noFill/>
                </a:ln>
                <a:solidFill>
                  <a:srgbClr val="000000"/>
                </a:solidFill>
                <a:effectLst/>
                <a:uLnTx/>
                <a:uFillTx/>
                <a:latin typeface="Arial "/>
                <a:ea typeface="+mn-ea"/>
                <a:cs typeface="Arial" panose="020B0604020202020204" pitchFamily="34" charset="0"/>
              </a:rPr>
              <a:t>2</a:t>
            </a:r>
          </a:p>
        </p:txBody>
      </p:sp>
      <p:sp>
        <p:nvSpPr>
          <p:cNvPr id="1883" name="Freeform: Shape 1882">
            <a:extLst>
              <a:ext uri="{FF2B5EF4-FFF2-40B4-BE49-F238E27FC236}">
                <a16:creationId xmlns:a16="http://schemas.microsoft.com/office/drawing/2014/main" id="{FDB4A5D6-3616-CD92-BC96-AB89D2B4600C}"/>
              </a:ext>
            </a:extLst>
          </p:cNvPr>
          <p:cNvSpPr/>
          <p:nvPr/>
        </p:nvSpPr>
        <p:spPr>
          <a:xfrm>
            <a:off x="7527291" y="4872782"/>
            <a:ext cx="678076" cy="288000"/>
          </a:xfrm>
          <a:custGeom>
            <a:avLst/>
            <a:gdLst>
              <a:gd name="connsiteX0" fmla="*/ 0 w 4004587"/>
              <a:gd name="connsiteY0" fmla="*/ 0 h 432000"/>
              <a:gd name="connsiteX1" fmla="*/ 4004587 w 4004587"/>
              <a:gd name="connsiteY1" fmla="*/ 0 h 432000"/>
              <a:gd name="connsiteX2" fmla="*/ 4004587 w 4004587"/>
              <a:gd name="connsiteY2" fmla="*/ 432000 h 432000"/>
              <a:gd name="connsiteX3" fmla="*/ 0 w 4004587"/>
              <a:gd name="connsiteY3" fmla="*/ 432000 h 432000"/>
              <a:gd name="connsiteX4" fmla="*/ 0 w 4004587"/>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4587" h="432000">
                <a:moveTo>
                  <a:pt x="0" y="0"/>
                </a:moveTo>
                <a:lnTo>
                  <a:pt x="4004587" y="0"/>
                </a:lnTo>
                <a:lnTo>
                  <a:pt x="4004587" y="432000"/>
                </a:lnTo>
                <a:lnTo>
                  <a:pt x="0" y="432000"/>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63%</a:t>
            </a:r>
            <a:r>
              <a:rPr kumimoji="0" lang="it-IT" sz="1800" b="1" i="0" u="none" strike="noStrike" kern="1200" cap="none" spc="0" normalizeH="0" baseline="30000" noProof="0" dirty="0">
                <a:ln>
                  <a:noFill/>
                </a:ln>
                <a:solidFill>
                  <a:srgbClr val="000000"/>
                </a:solidFill>
                <a:effectLst/>
                <a:uLnTx/>
                <a:uFillTx/>
                <a:latin typeface="Arial "/>
                <a:ea typeface="+mn-ea"/>
                <a:cs typeface="Arial" panose="020B0604020202020204" pitchFamily="34" charset="0"/>
              </a:rPr>
              <a:t>2</a:t>
            </a:r>
          </a:p>
        </p:txBody>
      </p:sp>
      <p:sp>
        <p:nvSpPr>
          <p:cNvPr id="1884" name="Oval 1883">
            <a:extLst>
              <a:ext uri="{FF2B5EF4-FFF2-40B4-BE49-F238E27FC236}">
                <a16:creationId xmlns:a16="http://schemas.microsoft.com/office/drawing/2014/main" id="{456EED78-612F-DD10-BF78-BC974B81F589}"/>
              </a:ext>
            </a:extLst>
          </p:cNvPr>
          <p:cNvSpPr/>
          <p:nvPr/>
        </p:nvSpPr>
        <p:spPr>
          <a:xfrm>
            <a:off x="9199878" y="4984323"/>
            <a:ext cx="897053" cy="89705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endParaRPr>
          </a:p>
        </p:txBody>
      </p:sp>
      <p:graphicFrame>
        <p:nvGraphicFramePr>
          <p:cNvPr id="1888" name="Chart 1887">
            <a:extLst>
              <a:ext uri="{FF2B5EF4-FFF2-40B4-BE49-F238E27FC236}">
                <a16:creationId xmlns:a16="http://schemas.microsoft.com/office/drawing/2014/main" id="{9FE663B9-2708-C2F2-AA10-2CEA2E39FA9E}"/>
              </a:ext>
            </a:extLst>
          </p:cNvPr>
          <p:cNvGraphicFramePr/>
          <p:nvPr/>
        </p:nvGraphicFramePr>
        <p:xfrm>
          <a:off x="8685593" y="4782120"/>
          <a:ext cx="1952189" cy="1301459"/>
        </p:xfrm>
        <a:graphic>
          <a:graphicData uri="http://schemas.openxmlformats.org/drawingml/2006/chart">
            <c:chart xmlns:c="http://schemas.openxmlformats.org/drawingml/2006/chart" xmlns:r="http://schemas.openxmlformats.org/officeDocument/2006/relationships" r:id="rId12"/>
          </a:graphicData>
        </a:graphic>
      </p:graphicFrame>
      <p:grpSp>
        <p:nvGrpSpPr>
          <p:cNvPr id="1893" name="Group 1892">
            <a:extLst>
              <a:ext uri="{FF2B5EF4-FFF2-40B4-BE49-F238E27FC236}">
                <a16:creationId xmlns:a16="http://schemas.microsoft.com/office/drawing/2014/main" id="{BEF6B78C-B0BA-99BA-D884-95B63E1D7FD5}"/>
              </a:ext>
            </a:extLst>
          </p:cNvPr>
          <p:cNvGrpSpPr/>
          <p:nvPr/>
        </p:nvGrpSpPr>
        <p:grpSpPr>
          <a:xfrm>
            <a:off x="4563464" y="3565883"/>
            <a:ext cx="1230996" cy="897320"/>
            <a:chOff x="2892683" y="2396069"/>
            <a:chExt cx="4083581" cy="2976679"/>
          </a:xfrm>
          <a:gradFill flip="none" rotWithShape="1">
            <a:gsLst>
              <a:gs pos="0">
                <a:schemeClr val="tx2"/>
              </a:gs>
              <a:gs pos="88000">
                <a:schemeClr val="accent1">
                  <a:alpha val="19000"/>
                </a:schemeClr>
              </a:gs>
            </a:gsLst>
            <a:lin ang="0" scaled="1"/>
            <a:tileRect/>
          </a:gradFill>
        </p:grpSpPr>
        <p:sp>
          <p:nvSpPr>
            <p:cNvPr id="1890" name="Half Frame 1889">
              <a:extLst>
                <a:ext uri="{FF2B5EF4-FFF2-40B4-BE49-F238E27FC236}">
                  <a16:creationId xmlns:a16="http://schemas.microsoft.com/office/drawing/2014/main" id="{0FDCA23C-CFEA-2A60-9E37-9B2EB86573B0}"/>
                </a:ext>
              </a:extLst>
            </p:cNvPr>
            <p:cNvSpPr/>
            <p:nvPr/>
          </p:nvSpPr>
          <p:spPr>
            <a:xfrm rot="8100000">
              <a:off x="3999587" y="2396069"/>
              <a:ext cx="2976677" cy="2976677"/>
            </a:xfrm>
            <a:prstGeom prst="halfFrame">
              <a:avLst>
                <a:gd name="adj1" fmla="val 6656"/>
                <a:gd name="adj2" fmla="val 584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
                <a:ea typeface="+mn-ea"/>
                <a:cs typeface="Arial" panose="020B0604020202020204" pitchFamily="34" charset="0"/>
              </a:endParaRPr>
            </a:p>
          </p:txBody>
        </p:sp>
        <p:sp>
          <p:nvSpPr>
            <p:cNvPr id="1891" name="Half Frame 1890">
              <a:extLst>
                <a:ext uri="{FF2B5EF4-FFF2-40B4-BE49-F238E27FC236}">
                  <a16:creationId xmlns:a16="http://schemas.microsoft.com/office/drawing/2014/main" id="{8C2851CE-2C5A-963D-417F-E4C586FAFFF9}"/>
                </a:ext>
              </a:extLst>
            </p:cNvPr>
            <p:cNvSpPr/>
            <p:nvPr/>
          </p:nvSpPr>
          <p:spPr>
            <a:xfrm rot="8100000">
              <a:off x="3446135" y="2396070"/>
              <a:ext cx="2976677" cy="2976677"/>
            </a:xfrm>
            <a:prstGeom prst="halfFrame">
              <a:avLst>
                <a:gd name="adj1" fmla="val 6656"/>
                <a:gd name="adj2" fmla="val 584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
                <a:ea typeface="+mn-ea"/>
                <a:cs typeface="Arial" panose="020B0604020202020204" pitchFamily="34" charset="0"/>
              </a:endParaRPr>
            </a:p>
          </p:txBody>
        </p:sp>
        <p:sp>
          <p:nvSpPr>
            <p:cNvPr id="1892" name="Half Frame 1891">
              <a:extLst>
                <a:ext uri="{FF2B5EF4-FFF2-40B4-BE49-F238E27FC236}">
                  <a16:creationId xmlns:a16="http://schemas.microsoft.com/office/drawing/2014/main" id="{8A2EE0F9-7F71-BCEB-4FF0-CE497C979257}"/>
                </a:ext>
              </a:extLst>
            </p:cNvPr>
            <p:cNvSpPr/>
            <p:nvPr/>
          </p:nvSpPr>
          <p:spPr>
            <a:xfrm rot="8100000">
              <a:off x="2892683" y="2396071"/>
              <a:ext cx="2976677" cy="2976677"/>
            </a:xfrm>
            <a:prstGeom prst="halfFrame">
              <a:avLst>
                <a:gd name="adj1" fmla="val 6656"/>
                <a:gd name="adj2" fmla="val 584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
                <a:ea typeface="+mn-ea"/>
                <a:cs typeface="Arial" panose="020B0604020202020204" pitchFamily="34" charset="0"/>
              </a:endParaRPr>
            </a:p>
          </p:txBody>
        </p:sp>
      </p:grpSp>
      <p:grpSp>
        <p:nvGrpSpPr>
          <p:cNvPr id="1842" name="Group 1841">
            <a:extLst>
              <a:ext uri="{FF2B5EF4-FFF2-40B4-BE49-F238E27FC236}">
                <a16:creationId xmlns:a16="http://schemas.microsoft.com/office/drawing/2014/main" id="{F81F8CFE-755A-DC67-458A-4503CEA72B90}"/>
              </a:ext>
            </a:extLst>
          </p:cNvPr>
          <p:cNvGrpSpPr/>
          <p:nvPr/>
        </p:nvGrpSpPr>
        <p:grpSpPr>
          <a:xfrm>
            <a:off x="4141937" y="2229048"/>
            <a:ext cx="278316" cy="725087"/>
            <a:chOff x="4552892" y="1888463"/>
            <a:chExt cx="301983" cy="786746"/>
          </a:xfrm>
        </p:grpSpPr>
        <p:sp>
          <p:nvSpPr>
            <p:cNvPr id="749" name="Oval 41">
              <a:extLst>
                <a:ext uri="{FF2B5EF4-FFF2-40B4-BE49-F238E27FC236}">
                  <a16:creationId xmlns:a16="http://schemas.microsoft.com/office/drawing/2014/main" id="{FCD55072-5A0E-78C0-D785-1E2BD7D5C2BB}"/>
                </a:ext>
              </a:extLst>
            </p:cNvPr>
            <p:cNvSpPr>
              <a:spLocks noChangeArrowheads="1"/>
            </p:cNvSpPr>
            <p:nvPr/>
          </p:nvSpPr>
          <p:spPr bwMode="auto">
            <a:xfrm>
              <a:off x="4620439" y="1888463"/>
              <a:ext cx="166886" cy="166886"/>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50" name="Freeform 42">
              <a:extLst>
                <a:ext uri="{FF2B5EF4-FFF2-40B4-BE49-F238E27FC236}">
                  <a16:creationId xmlns:a16="http://schemas.microsoft.com/office/drawing/2014/main" id="{6074A846-E69B-965E-6F72-C124AF041D4C}"/>
                </a:ext>
              </a:extLst>
            </p:cNvPr>
            <p:cNvSpPr>
              <a:spLocks/>
            </p:cNvSpPr>
            <p:nvPr/>
          </p:nvSpPr>
          <p:spPr bwMode="auto">
            <a:xfrm>
              <a:off x="4552892" y="2079189"/>
              <a:ext cx="301983" cy="596020"/>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4"/>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843" name="Group 1842">
            <a:extLst>
              <a:ext uri="{FF2B5EF4-FFF2-40B4-BE49-F238E27FC236}">
                <a16:creationId xmlns:a16="http://schemas.microsoft.com/office/drawing/2014/main" id="{A0A6EC01-FA01-306B-76F9-3D40197936F5}"/>
              </a:ext>
            </a:extLst>
          </p:cNvPr>
          <p:cNvGrpSpPr/>
          <p:nvPr/>
        </p:nvGrpSpPr>
        <p:grpSpPr>
          <a:xfrm>
            <a:off x="4421897" y="1840870"/>
            <a:ext cx="604237" cy="1523415"/>
            <a:chOff x="4846929" y="1467276"/>
            <a:chExt cx="655619" cy="1652961"/>
          </a:xfrm>
        </p:grpSpPr>
        <p:sp>
          <p:nvSpPr>
            <p:cNvPr id="719" name="Oval 11">
              <a:extLst>
                <a:ext uri="{FF2B5EF4-FFF2-40B4-BE49-F238E27FC236}">
                  <a16:creationId xmlns:a16="http://schemas.microsoft.com/office/drawing/2014/main" id="{7B73A926-25A4-6515-C54C-DEC08B9E1CD0}"/>
                </a:ext>
              </a:extLst>
            </p:cNvPr>
            <p:cNvSpPr>
              <a:spLocks noChangeArrowheads="1"/>
            </p:cNvSpPr>
            <p:nvPr/>
          </p:nvSpPr>
          <p:spPr bwMode="auto">
            <a:xfrm>
              <a:off x="4914475" y="1467276"/>
              <a:ext cx="166886" cy="166886"/>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20" name="Freeform 12">
              <a:extLst>
                <a:ext uri="{FF2B5EF4-FFF2-40B4-BE49-F238E27FC236}">
                  <a16:creationId xmlns:a16="http://schemas.microsoft.com/office/drawing/2014/main" id="{94230B20-9B5F-78CB-5011-17138D1DFCBD}"/>
                </a:ext>
              </a:extLst>
            </p:cNvPr>
            <p:cNvSpPr>
              <a:spLocks/>
            </p:cNvSpPr>
            <p:nvPr/>
          </p:nvSpPr>
          <p:spPr bwMode="auto">
            <a:xfrm>
              <a:off x="4846929" y="1661978"/>
              <a:ext cx="317877" cy="592047"/>
            </a:xfrm>
            <a:custGeom>
              <a:avLst/>
              <a:gdLst>
                <a:gd name="T0" fmla="*/ 24 w 38"/>
                <a:gd name="T1" fmla="*/ 0 h 71"/>
                <a:gd name="T2" fmla="*/ 13 w 38"/>
                <a:gd name="T3" fmla="*/ 0 h 71"/>
                <a:gd name="T4" fmla="*/ 3 w 38"/>
                <a:gd name="T5" fmla="*/ 10 h 71"/>
                <a:gd name="T6" fmla="*/ 0 w 38"/>
                <a:gd name="T7" fmla="*/ 38 h 71"/>
                <a:gd name="T8" fmla="*/ 10 w 38"/>
                <a:gd name="T9" fmla="*/ 48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8 h 71"/>
                <a:gd name="T24" fmla="*/ 37 w 38"/>
                <a:gd name="T25" fmla="*/ 38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8"/>
                    <a:pt x="0" y="38"/>
                    <a:pt x="0" y="38"/>
                  </a:cubicBezTo>
                  <a:cubicBezTo>
                    <a:pt x="0" y="42"/>
                    <a:pt x="5" y="47"/>
                    <a:pt x="10" y="48"/>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8"/>
                    <a:pt x="28" y="63"/>
                  </a:cubicBezTo>
                  <a:cubicBezTo>
                    <a:pt x="28" y="63"/>
                    <a:pt x="28" y="63"/>
                    <a:pt x="28" y="63"/>
                  </a:cubicBezTo>
                  <a:cubicBezTo>
                    <a:pt x="28" y="48"/>
                    <a:pt x="28" y="48"/>
                    <a:pt x="28" y="48"/>
                  </a:cubicBezTo>
                  <a:cubicBezTo>
                    <a:pt x="32" y="47"/>
                    <a:pt x="38" y="42"/>
                    <a:pt x="37" y="38"/>
                  </a:cubicBezTo>
                  <a:cubicBezTo>
                    <a:pt x="34" y="10"/>
                    <a:pt x="34" y="10"/>
                    <a:pt x="34" y="10"/>
                  </a:cubicBezTo>
                  <a:cubicBezTo>
                    <a:pt x="33" y="5"/>
                    <a:pt x="29" y="0"/>
                    <a:pt x="24" y="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27" name="Oval 19">
              <a:extLst>
                <a:ext uri="{FF2B5EF4-FFF2-40B4-BE49-F238E27FC236}">
                  <a16:creationId xmlns:a16="http://schemas.microsoft.com/office/drawing/2014/main" id="{278BE528-D62A-BC89-7A79-D3C22D2C1A84}"/>
                </a:ext>
              </a:extLst>
            </p:cNvPr>
            <p:cNvSpPr>
              <a:spLocks noChangeArrowheads="1"/>
            </p:cNvSpPr>
            <p:nvPr/>
          </p:nvSpPr>
          <p:spPr bwMode="auto">
            <a:xfrm>
              <a:off x="4914475" y="2329519"/>
              <a:ext cx="166886" cy="17086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28" name="Freeform 20">
              <a:extLst>
                <a:ext uri="{FF2B5EF4-FFF2-40B4-BE49-F238E27FC236}">
                  <a16:creationId xmlns:a16="http://schemas.microsoft.com/office/drawing/2014/main" id="{CE6CCF70-CD0E-6F60-9032-F38BCEC15ABC}"/>
                </a:ext>
              </a:extLst>
            </p:cNvPr>
            <p:cNvSpPr>
              <a:spLocks/>
            </p:cNvSpPr>
            <p:nvPr/>
          </p:nvSpPr>
          <p:spPr bwMode="auto">
            <a:xfrm>
              <a:off x="4846929" y="2532164"/>
              <a:ext cx="317877" cy="588073"/>
            </a:xfrm>
            <a:custGeom>
              <a:avLst/>
              <a:gdLst>
                <a:gd name="T0" fmla="*/ 24 w 38"/>
                <a:gd name="T1" fmla="*/ 0 h 70"/>
                <a:gd name="T2" fmla="*/ 13 w 38"/>
                <a:gd name="T3" fmla="*/ 0 h 70"/>
                <a:gd name="T4" fmla="*/ 3 w 38"/>
                <a:gd name="T5" fmla="*/ 10 h 70"/>
                <a:gd name="T6" fmla="*/ 0 w 38"/>
                <a:gd name="T7" fmla="*/ 37 h 70"/>
                <a:gd name="T8" fmla="*/ 10 w 38"/>
                <a:gd name="T9" fmla="*/ 47 h 70"/>
                <a:gd name="T10" fmla="*/ 10 w 38"/>
                <a:gd name="T11" fmla="*/ 63 h 70"/>
                <a:gd name="T12" fmla="*/ 17 w 38"/>
                <a:gd name="T13" fmla="*/ 70 h 70"/>
                <a:gd name="T14" fmla="*/ 17 w 38"/>
                <a:gd name="T15" fmla="*/ 70 h 70"/>
                <a:gd name="T16" fmla="*/ 20 w 38"/>
                <a:gd name="T17" fmla="*/ 70 h 70"/>
                <a:gd name="T18" fmla="*/ 28 w 38"/>
                <a:gd name="T19" fmla="*/ 63 h 70"/>
                <a:gd name="T20" fmla="*/ 28 w 38"/>
                <a:gd name="T21" fmla="*/ 63 h 70"/>
                <a:gd name="T22" fmla="*/ 28 w 38"/>
                <a:gd name="T23" fmla="*/ 47 h 70"/>
                <a:gd name="T24" fmla="*/ 37 w 38"/>
                <a:gd name="T25" fmla="*/ 37 h 70"/>
                <a:gd name="T26" fmla="*/ 34 w 38"/>
                <a:gd name="T27" fmla="*/ 10 h 70"/>
                <a:gd name="T28" fmla="*/ 24 w 38"/>
                <a:gd name="T2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0">
                  <a:moveTo>
                    <a:pt x="24" y="0"/>
                  </a:moveTo>
                  <a:cubicBezTo>
                    <a:pt x="13" y="0"/>
                    <a:pt x="13" y="0"/>
                    <a:pt x="13" y="0"/>
                  </a:cubicBezTo>
                  <a:cubicBezTo>
                    <a:pt x="8" y="0"/>
                    <a:pt x="4" y="4"/>
                    <a:pt x="3" y="10"/>
                  </a:cubicBezTo>
                  <a:cubicBezTo>
                    <a:pt x="0" y="37"/>
                    <a:pt x="0" y="37"/>
                    <a:pt x="0" y="37"/>
                  </a:cubicBezTo>
                  <a:cubicBezTo>
                    <a:pt x="0" y="42"/>
                    <a:pt x="5" y="46"/>
                    <a:pt x="10" y="47"/>
                  </a:cubicBezTo>
                  <a:cubicBezTo>
                    <a:pt x="10" y="63"/>
                    <a:pt x="10" y="63"/>
                    <a:pt x="10" y="63"/>
                  </a:cubicBezTo>
                  <a:cubicBezTo>
                    <a:pt x="10" y="67"/>
                    <a:pt x="13" y="70"/>
                    <a:pt x="17" y="70"/>
                  </a:cubicBezTo>
                  <a:cubicBezTo>
                    <a:pt x="17" y="70"/>
                    <a:pt x="17" y="70"/>
                    <a:pt x="17" y="70"/>
                  </a:cubicBezTo>
                  <a:cubicBezTo>
                    <a:pt x="20" y="70"/>
                    <a:pt x="20" y="70"/>
                    <a:pt x="20" y="70"/>
                  </a:cubicBezTo>
                  <a:cubicBezTo>
                    <a:pt x="24" y="70"/>
                    <a:pt x="28" y="67"/>
                    <a:pt x="28" y="63"/>
                  </a:cubicBezTo>
                  <a:cubicBezTo>
                    <a:pt x="28" y="63"/>
                    <a:pt x="28" y="63"/>
                    <a:pt x="28" y="63"/>
                  </a:cubicBezTo>
                  <a:cubicBezTo>
                    <a:pt x="28" y="47"/>
                    <a:pt x="28" y="47"/>
                    <a:pt x="28" y="47"/>
                  </a:cubicBezTo>
                  <a:cubicBezTo>
                    <a:pt x="32" y="46"/>
                    <a:pt x="38" y="42"/>
                    <a:pt x="37" y="37"/>
                  </a:cubicBezTo>
                  <a:cubicBezTo>
                    <a:pt x="34" y="10"/>
                    <a:pt x="34" y="10"/>
                    <a:pt x="34" y="10"/>
                  </a:cubicBezTo>
                  <a:cubicBezTo>
                    <a:pt x="33" y="4"/>
                    <a:pt x="29" y="0"/>
                    <a:pt x="24" y="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55" name="Oval 47">
              <a:extLst>
                <a:ext uri="{FF2B5EF4-FFF2-40B4-BE49-F238E27FC236}">
                  <a16:creationId xmlns:a16="http://schemas.microsoft.com/office/drawing/2014/main" id="{310DC524-D916-AA16-3DC1-C772401B7D89}"/>
                </a:ext>
              </a:extLst>
            </p:cNvPr>
            <p:cNvSpPr>
              <a:spLocks noChangeArrowheads="1"/>
            </p:cNvSpPr>
            <p:nvPr/>
          </p:nvSpPr>
          <p:spPr bwMode="auto">
            <a:xfrm>
              <a:off x="5268115" y="1888463"/>
              <a:ext cx="166886" cy="166886"/>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56" name="Freeform 48">
              <a:extLst>
                <a:ext uri="{FF2B5EF4-FFF2-40B4-BE49-F238E27FC236}">
                  <a16:creationId xmlns:a16="http://schemas.microsoft.com/office/drawing/2014/main" id="{7142AA6E-9B34-60D0-8EED-0C8CF7F5DB0A}"/>
                </a:ext>
              </a:extLst>
            </p:cNvPr>
            <p:cNvSpPr>
              <a:spLocks/>
            </p:cNvSpPr>
            <p:nvPr/>
          </p:nvSpPr>
          <p:spPr bwMode="auto">
            <a:xfrm>
              <a:off x="5200565" y="2079189"/>
              <a:ext cx="301983" cy="596020"/>
            </a:xfrm>
            <a:custGeom>
              <a:avLst/>
              <a:gdLst>
                <a:gd name="T0" fmla="*/ 25 w 36"/>
                <a:gd name="T1" fmla="*/ 0 h 71"/>
                <a:gd name="T2" fmla="*/ 10 w 36"/>
                <a:gd name="T3" fmla="*/ 0 h 71"/>
                <a:gd name="T4" fmla="*/ 0 w 36"/>
                <a:gd name="T5" fmla="*/ 10 h 71"/>
                <a:gd name="T6" fmla="*/ 0 w 36"/>
                <a:gd name="T7" fmla="*/ 31 h 71"/>
                <a:gd name="T8" fmla="*/ 9 w 36"/>
                <a:gd name="T9" fmla="*/ 41 h 71"/>
                <a:gd name="T10" fmla="*/ 9 w 36"/>
                <a:gd name="T11" fmla="*/ 63 h 71"/>
                <a:gd name="T12" fmla="*/ 16 w 36"/>
                <a:gd name="T13" fmla="*/ 71 h 71"/>
                <a:gd name="T14" fmla="*/ 16 w 36"/>
                <a:gd name="T15" fmla="*/ 71 h 71"/>
                <a:gd name="T16" fmla="*/ 20 w 36"/>
                <a:gd name="T17" fmla="*/ 71 h 71"/>
                <a:gd name="T18" fmla="*/ 27 w 36"/>
                <a:gd name="T19" fmla="*/ 63 h 71"/>
                <a:gd name="T20" fmla="*/ 27 w 36"/>
                <a:gd name="T21" fmla="*/ 63 h 71"/>
                <a:gd name="T22" fmla="*/ 27 w 36"/>
                <a:gd name="T23" fmla="*/ 41 h 71"/>
                <a:gd name="T24" fmla="*/ 36 w 36"/>
                <a:gd name="T25" fmla="*/ 31 h 71"/>
                <a:gd name="T26" fmla="*/ 36 w 36"/>
                <a:gd name="T27" fmla="*/ 10 h 71"/>
                <a:gd name="T28" fmla="*/ 25 w 36"/>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1">
                  <a:moveTo>
                    <a:pt x="25" y="0"/>
                  </a:moveTo>
                  <a:cubicBezTo>
                    <a:pt x="10" y="0"/>
                    <a:pt x="10" y="0"/>
                    <a:pt x="10" y="0"/>
                  </a:cubicBezTo>
                  <a:cubicBezTo>
                    <a:pt x="5" y="0"/>
                    <a:pt x="0" y="4"/>
                    <a:pt x="0" y="10"/>
                  </a:cubicBezTo>
                  <a:cubicBezTo>
                    <a:pt x="0" y="31"/>
                    <a:pt x="0" y="31"/>
                    <a:pt x="0" y="31"/>
                  </a:cubicBezTo>
                  <a:cubicBezTo>
                    <a:pt x="0" y="36"/>
                    <a:pt x="4" y="40"/>
                    <a:pt x="9" y="41"/>
                  </a:cubicBezTo>
                  <a:cubicBezTo>
                    <a:pt x="9" y="63"/>
                    <a:pt x="9" y="63"/>
                    <a:pt x="9" y="63"/>
                  </a:cubicBezTo>
                  <a:cubicBezTo>
                    <a:pt x="9" y="67"/>
                    <a:pt x="12" y="71"/>
                    <a:pt x="16" y="71"/>
                  </a:cubicBezTo>
                  <a:cubicBezTo>
                    <a:pt x="16" y="71"/>
                    <a:pt x="16" y="71"/>
                    <a:pt x="16" y="71"/>
                  </a:cubicBezTo>
                  <a:cubicBezTo>
                    <a:pt x="20" y="71"/>
                    <a:pt x="20" y="71"/>
                    <a:pt x="20" y="71"/>
                  </a:cubicBezTo>
                  <a:cubicBezTo>
                    <a:pt x="24" y="71"/>
                    <a:pt x="27" y="68"/>
                    <a:pt x="27" y="63"/>
                  </a:cubicBezTo>
                  <a:cubicBezTo>
                    <a:pt x="27" y="63"/>
                    <a:pt x="27" y="63"/>
                    <a:pt x="27" y="63"/>
                  </a:cubicBezTo>
                  <a:cubicBezTo>
                    <a:pt x="27" y="41"/>
                    <a:pt x="27" y="41"/>
                    <a:pt x="27" y="41"/>
                  </a:cubicBezTo>
                  <a:cubicBezTo>
                    <a:pt x="32" y="40"/>
                    <a:pt x="36" y="36"/>
                    <a:pt x="36" y="31"/>
                  </a:cubicBezTo>
                  <a:cubicBezTo>
                    <a:pt x="36" y="10"/>
                    <a:pt x="36" y="10"/>
                    <a:pt x="36" y="10"/>
                  </a:cubicBezTo>
                  <a:cubicBezTo>
                    <a:pt x="35" y="5"/>
                    <a:pt x="30" y="0"/>
                    <a:pt x="25" y="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841" name="Group 1840">
            <a:extLst>
              <a:ext uri="{FF2B5EF4-FFF2-40B4-BE49-F238E27FC236}">
                <a16:creationId xmlns:a16="http://schemas.microsoft.com/office/drawing/2014/main" id="{B1DAAB2F-8EFC-D3DC-9BAC-99C67705C8EB}"/>
              </a:ext>
            </a:extLst>
          </p:cNvPr>
          <p:cNvGrpSpPr/>
          <p:nvPr/>
        </p:nvGrpSpPr>
        <p:grpSpPr>
          <a:xfrm>
            <a:off x="3841649" y="1840870"/>
            <a:ext cx="292964" cy="725090"/>
            <a:chOff x="4227067" y="1467276"/>
            <a:chExt cx="317877" cy="786749"/>
          </a:xfrm>
        </p:grpSpPr>
        <p:sp>
          <p:nvSpPr>
            <p:cNvPr id="717" name="Oval 9">
              <a:extLst>
                <a:ext uri="{FF2B5EF4-FFF2-40B4-BE49-F238E27FC236}">
                  <a16:creationId xmlns:a16="http://schemas.microsoft.com/office/drawing/2014/main" id="{B5190E79-E050-A037-45FA-2A5E650528BA}"/>
                </a:ext>
              </a:extLst>
            </p:cNvPr>
            <p:cNvSpPr>
              <a:spLocks noChangeArrowheads="1"/>
            </p:cNvSpPr>
            <p:nvPr/>
          </p:nvSpPr>
          <p:spPr bwMode="auto">
            <a:xfrm>
              <a:off x="4294617" y="1467276"/>
              <a:ext cx="166886" cy="166886"/>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18" name="Freeform 10">
              <a:extLst>
                <a:ext uri="{FF2B5EF4-FFF2-40B4-BE49-F238E27FC236}">
                  <a16:creationId xmlns:a16="http://schemas.microsoft.com/office/drawing/2014/main" id="{48F24163-E7A2-C4A7-04CE-61ED967E9142}"/>
                </a:ext>
              </a:extLst>
            </p:cNvPr>
            <p:cNvSpPr>
              <a:spLocks/>
            </p:cNvSpPr>
            <p:nvPr/>
          </p:nvSpPr>
          <p:spPr bwMode="auto">
            <a:xfrm>
              <a:off x="4227067" y="1661978"/>
              <a:ext cx="317877" cy="592047"/>
            </a:xfrm>
            <a:custGeom>
              <a:avLst/>
              <a:gdLst>
                <a:gd name="T0" fmla="*/ 24 w 38"/>
                <a:gd name="T1" fmla="*/ 0 h 71"/>
                <a:gd name="T2" fmla="*/ 13 w 38"/>
                <a:gd name="T3" fmla="*/ 0 h 71"/>
                <a:gd name="T4" fmla="*/ 3 w 38"/>
                <a:gd name="T5" fmla="*/ 10 h 71"/>
                <a:gd name="T6" fmla="*/ 0 w 38"/>
                <a:gd name="T7" fmla="*/ 38 h 71"/>
                <a:gd name="T8" fmla="*/ 10 w 38"/>
                <a:gd name="T9" fmla="*/ 48 h 71"/>
                <a:gd name="T10" fmla="*/ 10 w 38"/>
                <a:gd name="T11" fmla="*/ 63 h 71"/>
                <a:gd name="T12" fmla="*/ 17 w 38"/>
                <a:gd name="T13" fmla="*/ 71 h 71"/>
                <a:gd name="T14" fmla="*/ 17 w 38"/>
                <a:gd name="T15" fmla="*/ 71 h 71"/>
                <a:gd name="T16" fmla="*/ 20 w 38"/>
                <a:gd name="T17" fmla="*/ 71 h 71"/>
                <a:gd name="T18" fmla="*/ 28 w 38"/>
                <a:gd name="T19" fmla="*/ 63 h 71"/>
                <a:gd name="T20" fmla="*/ 28 w 38"/>
                <a:gd name="T21" fmla="*/ 63 h 71"/>
                <a:gd name="T22" fmla="*/ 28 w 38"/>
                <a:gd name="T23" fmla="*/ 48 h 71"/>
                <a:gd name="T24" fmla="*/ 38 w 38"/>
                <a:gd name="T25" fmla="*/ 38 h 71"/>
                <a:gd name="T26" fmla="*/ 34 w 38"/>
                <a:gd name="T27" fmla="*/ 10 h 71"/>
                <a:gd name="T28" fmla="*/ 24 w 38"/>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1">
                  <a:moveTo>
                    <a:pt x="24" y="0"/>
                  </a:moveTo>
                  <a:cubicBezTo>
                    <a:pt x="13" y="0"/>
                    <a:pt x="13" y="0"/>
                    <a:pt x="13" y="0"/>
                  </a:cubicBezTo>
                  <a:cubicBezTo>
                    <a:pt x="8" y="0"/>
                    <a:pt x="4" y="4"/>
                    <a:pt x="3" y="10"/>
                  </a:cubicBezTo>
                  <a:cubicBezTo>
                    <a:pt x="0" y="38"/>
                    <a:pt x="0" y="38"/>
                    <a:pt x="0" y="38"/>
                  </a:cubicBezTo>
                  <a:cubicBezTo>
                    <a:pt x="0" y="42"/>
                    <a:pt x="5" y="47"/>
                    <a:pt x="10" y="48"/>
                  </a:cubicBezTo>
                  <a:cubicBezTo>
                    <a:pt x="10" y="63"/>
                    <a:pt x="10" y="63"/>
                    <a:pt x="10" y="63"/>
                  </a:cubicBezTo>
                  <a:cubicBezTo>
                    <a:pt x="10" y="67"/>
                    <a:pt x="13" y="71"/>
                    <a:pt x="17" y="71"/>
                  </a:cubicBezTo>
                  <a:cubicBezTo>
                    <a:pt x="17" y="71"/>
                    <a:pt x="17" y="71"/>
                    <a:pt x="17" y="71"/>
                  </a:cubicBezTo>
                  <a:cubicBezTo>
                    <a:pt x="20" y="71"/>
                    <a:pt x="20" y="71"/>
                    <a:pt x="20" y="71"/>
                  </a:cubicBezTo>
                  <a:cubicBezTo>
                    <a:pt x="24" y="71"/>
                    <a:pt x="28" y="68"/>
                    <a:pt x="28" y="63"/>
                  </a:cubicBezTo>
                  <a:cubicBezTo>
                    <a:pt x="28" y="63"/>
                    <a:pt x="28" y="63"/>
                    <a:pt x="28" y="63"/>
                  </a:cubicBezTo>
                  <a:cubicBezTo>
                    <a:pt x="28" y="48"/>
                    <a:pt x="28" y="48"/>
                    <a:pt x="28" y="48"/>
                  </a:cubicBezTo>
                  <a:cubicBezTo>
                    <a:pt x="33" y="47"/>
                    <a:pt x="38" y="42"/>
                    <a:pt x="38" y="38"/>
                  </a:cubicBezTo>
                  <a:cubicBezTo>
                    <a:pt x="34" y="10"/>
                    <a:pt x="34" y="10"/>
                    <a:pt x="34" y="10"/>
                  </a:cubicBezTo>
                  <a:cubicBezTo>
                    <a:pt x="33" y="5"/>
                    <a:pt x="29" y="0"/>
                    <a:pt x="24" y="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sp>
        <p:nvSpPr>
          <p:cNvPr id="1887" name="Freeform: Shape 1886">
            <a:extLst>
              <a:ext uri="{FF2B5EF4-FFF2-40B4-BE49-F238E27FC236}">
                <a16:creationId xmlns:a16="http://schemas.microsoft.com/office/drawing/2014/main" id="{66B26DCA-3370-EC82-B9A2-0B7196A5D324}"/>
              </a:ext>
            </a:extLst>
          </p:cNvPr>
          <p:cNvSpPr/>
          <p:nvPr/>
        </p:nvSpPr>
        <p:spPr>
          <a:xfrm>
            <a:off x="10041390" y="4872782"/>
            <a:ext cx="678076" cy="288000"/>
          </a:xfrm>
          <a:custGeom>
            <a:avLst/>
            <a:gdLst>
              <a:gd name="connsiteX0" fmla="*/ 0 w 4004587"/>
              <a:gd name="connsiteY0" fmla="*/ 0 h 432000"/>
              <a:gd name="connsiteX1" fmla="*/ 4004587 w 4004587"/>
              <a:gd name="connsiteY1" fmla="*/ 0 h 432000"/>
              <a:gd name="connsiteX2" fmla="*/ 4004587 w 4004587"/>
              <a:gd name="connsiteY2" fmla="*/ 432000 h 432000"/>
              <a:gd name="connsiteX3" fmla="*/ 0 w 4004587"/>
              <a:gd name="connsiteY3" fmla="*/ 432000 h 432000"/>
              <a:gd name="connsiteX4" fmla="*/ 0 w 4004587"/>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4587" h="432000">
                <a:moveTo>
                  <a:pt x="0" y="0"/>
                </a:moveTo>
                <a:lnTo>
                  <a:pt x="4004587" y="0"/>
                </a:lnTo>
                <a:lnTo>
                  <a:pt x="4004587" y="432000"/>
                </a:lnTo>
                <a:lnTo>
                  <a:pt x="0" y="432000"/>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85%</a:t>
            </a:r>
            <a:r>
              <a:rPr kumimoji="0" lang="it-IT" sz="1800" b="1" i="0" u="none" strike="noStrike" kern="1200" cap="none" spc="0" normalizeH="0" baseline="30000" noProof="0" dirty="0">
                <a:ln>
                  <a:noFill/>
                </a:ln>
                <a:solidFill>
                  <a:srgbClr val="000000"/>
                </a:solidFill>
                <a:effectLst/>
                <a:uLnTx/>
                <a:uFillTx/>
                <a:latin typeface="Arial "/>
                <a:ea typeface="+mn-ea"/>
                <a:cs typeface="Arial" panose="020B0604020202020204" pitchFamily="34" charset="0"/>
              </a:rPr>
              <a:t>1</a:t>
            </a:r>
          </a:p>
        </p:txBody>
      </p:sp>
      <p:sp>
        <p:nvSpPr>
          <p:cNvPr id="1885" name="Oval 1884">
            <a:extLst>
              <a:ext uri="{FF2B5EF4-FFF2-40B4-BE49-F238E27FC236}">
                <a16:creationId xmlns:a16="http://schemas.microsoft.com/office/drawing/2014/main" id="{5F7B3B39-1BF7-31F7-6BDC-E12350DE7E4A}"/>
              </a:ext>
            </a:extLst>
          </p:cNvPr>
          <p:cNvSpPr/>
          <p:nvPr/>
        </p:nvSpPr>
        <p:spPr>
          <a:xfrm>
            <a:off x="9365747" y="5150192"/>
            <a:ext cx="565315" cy="565315"/>
          </a:xfrm>
          <a:prstGeom prst="ellipse">
            <a:avLst/>
          </a:prstGeom>
          <a:solidFill>
            <a:srgbClr val="FFFFFF">
              <a:hueOff val="0"/>
              <a:satOff val="0"/>
              <a:lumOff val="0"/>
              <a:alphaOff val="0"/>
            </a:srgbClr>
          </a:solidFill>
          <a:ln w="12700" cap="flat" cmpd="sng" algn="ctr">
            <a:solidFill>
              <a:srgbClr val="000000"/>
            </a:solidFill>
            <a:prstDash val="solid"/>
            <a:miter lim="800000"/>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hueOff val="0"/>
                  <a:satOff val="0"/>
                  <a:lumOff val="0"/>
                  <a:alphaOff val="0"/>
                </a:srgbClr>
              </a:solidFill>
              <a:effectLst/>
              <a:uLnTx/>
              <a:uFillTx/>
              <a:latin typeface="Arial "/>
              <a:ea typeface="+mn-ea"/>
              <a:cs typeface="Arial" panose="020B0604020202020204" pitchFamily="34" charset="0"/>
            </a:endParaRPr>
          </a:p>
        </p:txBody>
      </p:sp>
      <p:pic>
        <p:nvPicPr>
          <p:cNvPr id="3" name="Graphic 2">
            <a:extLst>
              <a:ext uri="{FF2B5EF4-FFF2-40B4-BE49-F238E27FC236}">
                <a16:creationId xmlns:a16="http://schemas.microsoft.com/office/drawing/2014/main" id="{BBB054E2-B926-7025-0ADB-4CF0F475931B}"/>
              </a:ext>
            </a:extLst>
          </p:cNvPr>
          <p:cNvPicPr>
            <a:picLocks/>
          </p:cNvPicPr>
          <p:nvPr/>
        </p:nvPicPr>
        <p:blipFill>
          <a:blip>
            <a:extLst>
              <a:ext uri="{96DAC541-7B7A-43D3-8B79-37D633B846F1}">
                <asvg:svgBlip xmlns:asvg="http://schemas.microsoft.com/office/drawing/2016/SVG/main" r:embed="rId13"/>
              </a:ext>
            </a:extLst>
          </a:blip>
          <a:stretch>
            <a:fillRect/>
          </a:stretch>
        </p:blipFill>
        <p:spPr>
          <a:xfrm>
            <a:off x="9457153" y="5230165"/>
            <a:ext cx="396000" cy="396000"/>
          </a:xfrm>
          <a:prstGeom prst="rect">
            <a:avLst/>
          </a:prstGeom>
        </p:spPr>
      </p:pic>
      <p:sp>
        <p:nvSpPr>
          <p:cNvPr id="4" name="TextBox 3">
            <a:extLst>
              <a:ext uri="{FF2B5EF4-FFF2-40B4-BE49-F238E27FC236}">
                <a16:creationId xmlns:a16="http://schemas.microsoft.com/office/drawing/2014/main" id="{3DBE360A-0CC0-10DC-6839-0E2A2716FE47}"/>
              </a:ext>
            </a:extLst>
          </p:cNvPr>
          <p:cNvSpPr txBox="1"/>
          <p:nvPr/>
        </p:nvSpPr>
        <p:spPr>
          <a:xfrm>
            <a:off x="499252" y="6128828"/>
            <a:ext cx="3657976"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dirty="0">
                <a:ln>
                  <a:noFill/>
                </a:ln>
                <a:solidFill>
                  <a:srgbClr val="564C47"/>
                </a:solidFill>
                <a:effectLst/>
                <a:uLnTx/>
                <a:uFillTx/>
                <a:latin typeface="Arial "/>
                <a:ea typeface="+mn-ea"/>
                <a:cs typeface="Arial" panose="020B0604020202020204" pitchFamily="34" charset="0"/>
              </a:rPr>
              <a:t>Adapted from Passaro A. ELCC 2025.</a:t>
            </a:r>
            <a:endParaRPr kumimoji="0" lang="en-GB" sz="700" b="0" i="1" u="none" strike="noStrike" kern="1200" cap="none" spc="0" normalizeH="0" baseline="30000" noProof="0" dirty="0">
              <a:ln>
                <a:noFill/>
              </a:ln>
              <a:solidFill>
                <a:srgbClr val="564C47"/>
              </a:solidFill>
              <a:effectLst/>
              <a:uLnTx/>
              <a:uFillTx/>
              <a:latin typeface="Arial "/>
              <a:ea typeface="+mn-ea"/>
              <a:cs typeface="Arial" panose="020B0604020202020204" pitchFamily="34" charset="0"/>
            </a:endParaRPr>
          </a:p>
        </p:txBody>
      </p:sp>
    </p:spTree>
    <p:extLst>
      <p:ext uri="{BB962C8B-B14F-4D97-AF65-F5344CB8AC3E}">
        <p14:creationId xmlns:p14="http://schemas.microsoft.com/office/powerpoint/2010/main" val="2099639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12DDC-48BB-481B-B2BA-033BF32E9F3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F48A89D-9425-783F-BDA2-31E3F2735D1E}"/>
              </a:ext>
            </a:extLst>
          </p:cNvPr>
          <p:cNvSpPr>
            <a:spLocks noGrp="1"/>
          </p:cNvSpPr>
          <p:nvPr>
            <p:ph type="title"/>
          </p:nvPr>
        </p:nvSpPr>
        <p:spPr>
          <a:xfrm>
            <a:off x="442800" y="262800"/>
            <a:ext cx="11306174" cy="769441"/>
          </a:xfrm>
        </p:spPr>
        <p:txBody>
          <a:bodyPr/>
          <a:lstStyle/>
          <a:p>
            <a:r>
              <a:rPr lang="en-GB" dirty="0">
                <a:latin typeface="Arial "/>
              </a:rPr>
              <a:t>Despite advances in EGFR TKI monotherapy, long-term survival </a:t>
            </a:r>
            <a:br>
              <a:rPr lang="en-GB" dirty="0">
                <a:latin typeface="Arial "/>
              </a:rPr>
            </a:br>
            <a:r>
              <a:rPr lang="en-GB" dirty="0">
                <a:latin typeface="Arial "/>
              </a:rPr>
              <a:t>of patients remains poor</a:t>
            </a:r>
            <a:endParaRPr lang="en-GB" baseline="30000" dirty="0">
              <a:latin typeface="Arial "/>
            </a:endParaRPr>
          </a:p>
        </p:txBody>
      </p:sp>
      <p:sp>
        <p:nvSpPr>
          <p:cNvPr id="4" name="Text Placeholder 3">
            <a:extLst>
              <a:ext uri="{FF2B5EF4-FFF2-40B4-BE49-F238E27FC236}">
                <a16:creationId xmlns:a16="http://schemas.microsoft.com/office/drawing/2014/main" id="{73C54826-BD35-4968-65B4-DC8CE6A4B4B2}"/>
              </a:ext>
            </a:extLst>
          </p:cNvPr>
          <p:cNvSpPr>
            <a:spLocks noGrp="1"/>
          </p:cNvSpPr>
          <p:nvPr>
            <p:ph type="body" sz="quarter" idx="15"/>
          </p:nvPr>
        </p:nvSpPr>
        <p:spPr/>
        <p:txBody>
          <a:bodyPr/>
          <a:lstStyle/>
          <a:p>
            <a:r>
              <a:rPr lang="en-GB" dirty="0">
                <a:latin typeface="Arial "/>
              </a:rPr>
              <a:t>1. </a:t>
            </a:r>
            <a:r>
              <a:rPr lang="en-GB" dirty="0"/>
              <a:t>Sabari JK, et al. </a:t>
            </a:r>
            <a:r>
              <a:rPr lang="en-GB" i="1" dirty="0"/>
              <a:t>J </a:t>
            </a:r>
            <a:r>
              <a:rPr lang="en-GB" i="1" dirty="0" err="1"/>
              <a:t>Thorac</a:t>
            </a:r>
            <a:r>
              <a:rPr lang="en-GB" i="1" dirty="0"/>
              <a:t> Oncol</a:t>
            </a:r>
            <a:r>
              <a:rPr lang="en-GB" dirty="0"/>
              <a:t>. 2025;20:1268</a:t>
            </a:r>
            <a:r>
              <a:rPr lang="en-GB" dirty="0">
                <a:ea typeface="Calibri" panose="020F0502020204030204" pitchFamily="34" charset="0"/>
              </a:rPr>
              <a:t>–</a:t>
            </a:r>
            <a:r>
              <a:rPr lang="en-GB" dirty="0"/>
              <a:t>78</a:t>
            </a:r>
            <a:r>
              <a:rPr lang="en-GB" dirty="0">
                <a:latin typeface="Arial "/>
              </a:rPr>
              <a:t>; </a:t>
            </a:r>
            <a:r>
              <a:rPr lang="en-GB" dirty="0">
                <a:latin typeface="Arial "/>
                <a:ea typeface="Verdana" panose="020B0604030504040204" pitchFamily="34" charset="0"/>
              </a:rPr>
              <a:t>2</a:t>
            </a:r>
            <a:r>
              <a:rPr lang="en-GB" dirty="0">
                <a:latin typeface="Arial "/>
              </a:rPr>
              <a:t>. </a:t>
            </a:r>
            <a:r>
              <a:rPr lang="en-GB" dirty="0">
                <a:latin typeface="Arial "/>
                <a:ea typeface="Verdana" panose="020B0604030504040204" pitchFamily="34" charset="0"/>
              </a:rPr>
              <a:t>Girard N, et al. Presented at ELCC 2023: 19P; </a:t>
            </a:r>
            <a:br>
              <a:rPr lang="en-GB" dirty="0">
                <a:latin typeface="Arial "/>
                <a:ea typeface="Verdana" panose="020B0604030504040204" pitchFamily="34" charset="0"/>
              </a:rPr>
            </a:br>
            <a:r>
              <a:rPr lang="en-GB" dirty="0">
                <a:latin typeface="Arial "/>
                <a:ea typeface="Verdana" panose="020B0604030504040204" pitchFamily="34" charset="0"/>
              </a:rPr>
              <a:t>3. Nieva J, et al. Presented at ESMO 2023: 1344P; 4. Lee JY, et al. </a:t>
            </a:r>
            <a:r>
              <a:rPr lang="en-GB" i="1" dirty="0">
                <a:latin typeface="Arial "/>
                <a:ea typeface="Verdana" panose="020B0604030504040204" pitchFamily="34" charset="0"/>
              </a:rPr>
              <a:t>J </a:t>
            </a:r>
            <a:r>
              <a:rPr lang="en-GB" i="1" dirty="0" err="1">
                <a:latin typeface="Arial "/>
                <a:ea typeface="Verdana" panose="020B0604030504040204" pitchFamily="34" charset="0"/>
              </a:rPr>
              <a:t>Thorac</a:t>
            </a:r>
            <a:r>
              <a:rPr lang="en-GB" i="1" dirty="0">
                <a:latin typeface="Arial "/>
                <a:ea typeface="Verdana" panose="020B0604030504040204" pitchFamily="34" charset="0"/>
              </a:rPr>
              <a:t> Oncol</a:t>
            </a:r>
            <a:r>
              <a:rPr lang="en-GB" dirty="0">
                <a:latin typeface="Arial "/>
                <a:ea typeface="Verdana" panose="020B0604030504040204" pitchFamily="34" charset="0"/>
              </a:rPr>
              <a:t>. 2022;17:S440. </a:t>
            </a:r>
            <a:endParaRPr lang="en-GB" dirty="0">
              <a:latin typeface="Arial "/>
            </a:endParaRPr>
          </a:p>
        </p:txBody>
      </p:sp>
      <p:sp>
        <p:nvSpPr>
          <p:cNvPr id="11" name="Rectangle 10">
            <a:extLst>
              <a:ext uri="{FF2B5EF4-FFF2-40B4-BE49-F238E27FC236}">
                <a16:creationId xmlns:a16="http://schemas.microsoft.com/office/drawing/2014/main" id="{99B5296A-9BEF-BEE6-5AAC-3ADA1391ACE8}"/>
              </a:ext>
            </a:extLst>
          </p:cNvPr>
          <p:cNvSpPr/>
          <p:nvPr/>
        </p:nvSpPr>
        <p:spPr>
          <a:xfrm>
            <a:off x="442800" y="1499176"/>
            <a:ext cx="11118172" cy="4716000"/>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endParaRPr>
          </a:p>
        </p:txBody>
      </p:sp>
      <p:sp>
        <p:nvSpPr>
          <p:cNvPr id="89" name="TextBox 88">
            <a:extLst>
              <a:ext uri="{FF2B5EF4-FFF2-40B4-BE49-F238E27FC236}">
                <a16:creationId xmlns:a16="http://schemas.microsoft.com/office/drawing/2014/main" id="{8087F357-9209-1266-05DF-C50F043AD9FB}"/>
              </a:ext>
            </a:extLst>
          </p:cNvPr>
          <p:cNvSpPr txBox="1"/>
          <p:nvPr/>
        </p:nvSpPr>
        <p:spPr>
          <a:xfrm>
            <a:off x="1079646" y="5757371"/>
            <a:ext cx="1126097" cy="153888"/>
          </a:xfrm>
          <a:prstGeom prst="rect">
            <a:avLst/>
          </a:prstGeom>
          <a:noFill/>
        </p:spPr>
        <p:txBody>
          <a:bodyPr wrap="square" lIns="0" tIns="0" rIns="36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No. at risk:</a:t>
            </a:r>
          </a:p>
        </p:txBody>
      </p:sp>
      <p:cxnSp>
        <p:nvCxnSpPr>
          <p:cNvPr id="13" name="Straight Connector 12">
            <a:extLst>
              <a:ext uri="{FF2B5EF4-FFF2-40B4-BE49-F238E27FC236}">
                <a16:creationId xmlns:a16="http://schemas.microsoft.com/office/drawing/2014/main" id="{D81CDC6A-BB9F-B425-FE26-14FBC47200BB}"/>
              </a:ext>
            </a:extLst>
          </p:cNvPr>
          <p:cNvCxnSpPr>
            <a:cxnSpLocks/>
          </p:cNvCxnSpPr>
          <p:nvPr/>
        </p:nvCxnSpPr>
        <p:spPr>
          <a:xfrm>
            <a:off x="1328835" y="2207769"/>
            <a:ext cx="0" cy="3083790"/>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C9898C-B466-9655-68CF-BAC8CE18D4F7}"/>
              </a:ext>
            </a:extLst>
          </p:cNvPr>
          <p:cNvCxnSpPr>
            <a:cxnSpLocks/>
          </p:cNvCxnSpPr>
          <p:nvPr/>
        </p:nvCxnSpPr>
        <p:spPr>
          <a:xfrm>
            <a:off x="1323475" y="5292037"/>
            <a:ext cx="7988708" cy="0"/>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A96FBD6-429B-F094-0B66-A216213FEE52}"/>
              </a:ext>
            </a:extLst>
          </p:cNvPr>
          <p:cNvCxnSpPr/>
          <p:nvPr/>
        </p:nvCxnSpPr>
        <p:spPr>
          <a:xfrm>
            <a:off x="1269643" y="2207769"/>
            <a:ext cx="53833" cy="0"/>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80D895E-2169-740A-BC11-6292C13B2C88}"/>
              </a:ext>
            </a:extLst>
          </p:cNvPr>
          <p:cNvCxnSpPr/>
          <p:nvPr/>
        </p:nvCxnSpPr>
        <p:spPr>
          <a:xfrm>
            <a:off x="1269643" y="2833473"/>
            <a:ext cx="53833" cy="0"/>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4B84F4D-1D29-6B25-0E72-11F52AFC157C}"/>
              </a:ext>
            </a:extLst>
          </p:cNvPr>
          <p:cNvCxnSpPr/>
          <p:nvPr/>
        </p:nvCxnSpPr>
        <p:spPr>
          <a:xfrm>
            <a:off x="1269643" y="3449451"/>
            <a:ext cx="53833" cy="0"/>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0FC740B-9E50-7D97-C26D-9E18D3B95496}"/>
              </a:ext>
            </a:extLst>
          </p:cNvPr>
          <p:cNvCxnSpPr/>
          <p:nvPr/>
        </p:nvCxnSpPr>
        <p:spPr>
          <a:xfrm>
            <a:off x="1269643" y="4055703"/>
            <a:ext cx="53833" cy="0"/>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5637CEA-1FB8-8960-63F6-D7536A76DB0F}"/>
              </a:ext>
            </a:extLst>
          </p:cNvPr>
          <p:cNvCxnSpPr/>
          <p:nvPr/>
        </p:nvCxnSpPr>
        <p:spPr>
          <a:xfrm>
            <a:off x="1269643" y="4678165"/>
            <a:ext cx="53833" cy="0"/>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A5A423-61D6-5EEA-8373-4DA4297FAFE9}"/>
              </a:ext>
            </a:extLst>
          </p:cNvPr>
          <p:cNvCxnSpPr>
            <a:cxnSpLocks/>
          </p:cNvCxnSpPr>
          <p:nvPr/>
        </p:nvCxnSpPr>
        <p:spPr>
          <a:xfrm>
            <a:off x="1269643" y="5292037"/>
            <a:ext cx="53833" cy="0"/>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E7F7311-7EAA-E5EB-7D76-93D88B9233ED}"/>
              </a:ext>
            </a:extLst>
          </p:cNvPr>
          <p:cNvCxnSpPr>
            <a:cxnSpLocks/>
          </p:cNvCxnSpPr>
          <p:nvPr/>
        </p:nvCxnSpPr>
        <p:spPr>
          <a:xfrm>
            <a:off x="2869952" y="2894983"/>
            <a:ext cx="0" cy="2396576"/>
          </a:xfrm>
          <a:prstGeom prst="line">
            <a:avLst/>
          </a:prstGeom>
          <a:ln w="6350">
            <a:solidFill>
              <a:schemeClr val="tx1"/>
            </a:solidFill>
            <a:prstDash val="dash"/>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CE59EF5-3C35-AF87-F9DD-6776801B76C0}"/>
              </a:ext>
            </a:extLst>
          </p:cNvPr>
          <p:cNvCxnSpPr>
            <a:cxnSpLocks/>
          </p:cNvCxnSpPr>
          <p:nvPr/>
        </p:nvCxnSpPr>
        <p:spPr>
          <a:xfrm>
            <a:off x="4423101" y="3488342"/>
            <a:ext cx="0" cy="1803217"/>
          </a:xfrm>
          <a:prstGeom prst="line">
            <a:avLst/>
          </a:prstGeom>
          <a:ln w="6350">
            <a:solidFill>
              <a:schemeClr val="tx1"/>
            </a:solidFill>
            <a:prstDash val="dash"/>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0AAF5C9-12C2-5E1E-05E8-7C76F7B42B63}"/>
              </a:ext>
            </a:extLst>
          </p:cNvPr>
          <p:cNvCxnSpPr>
            <a:cxnSpLocks/>
          </p:cNvCxnSpPr>
          <p:nvPr/>
        </p:nvCxnSpPr>
        <p:spPr>
          <a:xfrm>
            <a:off x="5971486" y="4055703"/>
            <a:ext cx="0" cy="1235856"/>
          </a:xfrm>
          <a:prstGeom prst="line">
            <a:avLst/>
          </a:prstGeom>
          <a:ln w="6350">
            <a:solidFill>
              <a:schemeClr val="tx1"/>
            </a:solidFill>
            <a:prstDash val="dash"/>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5EAE87-7D92-91A8-9D6E-17DEFE7006E8}"/>
              </a:ext>
            </a:extLst>
          </p:cNvPr>
          <p:cNvCxnSpPr>
            <a:cxnSpLocks/>
          </p:cNvCxnSpPr>
          <p:nvPr/>
        </p:nvCxnSpPr>
        <p:spPr>
          <a:xfrm>
            <a:off x="7519872" y="4463017"/>
            <a:ext cx="0" cy="828542"/>
          </a:xfrm>
          <a:prstGeom prst="line">
            <a:avLst/>
          </a:prstGeom>
          <a:ln w="6350">
            <a:solidFill>
              <a:schemeClr val="tx1"/>
            </a:solidFill>
            <a:prstDash val="dash"/>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734B833-8C36-C31C-9DB4-901A451C168A}"/>
              </a:ext>
            </a:extLst>
          </p:cNvPr>
          <p:cNvCxnSpPr>
            <a:cxnSpLocks/>
          </p:cNvCxnSpPr>
          <p:nvPr/>
        </p:nvCxnSpPr>
        <p:spPr>
          <a:xfrm>
            <a:off x="9063495" y="4748114"/>
            <a:ext cx="0" cy="543445"/>
          </a:xfrm>
          <a:prstGeom prst="line">
            <a:avLst/>
          </a:prstGeom>
          <a:ln w="6350">
            <a:solidFill>
              <a:schemeClr val="tx1"/>
            </a:solidFill>
            <a:prstDash val="dash"/>
            <a:tailEnd type="none" w="lg"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0E0188D-28A8-F735-0A02-13EA59566DAC}"/>
              </a:ext>
            </a:extLst>
          </p:cNvPr>
          <p:cNvSpPr txBox="1"/>
          <p:nvPr/>
        </p:nvSpPr>
        <p:spPr>
          <a:xfrm>
            <a:off x="588536" y="2129202"/>
            <a:ext cx="675747" cy="157135"/>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1.0</a:t>
            </a:r>
          </a:p>
        </p:txBody>
      </p:sp>
      <p:sp>
        <p:nvSpPr>
          <p:cNvPr id="27" name="TextBox 26">
            <a:extLst>
              <a:ext uri="{FF2B5EF4-FFF2-40B4-BE49-F238E27FC236}">
                <a16:creationId xmlns:a16="http://schemas.microsoft.com/office/drawing/2014/main" id="{B12BF456-2E63-EC78-A08B-B350AE4F9AEE}"/>
              </a:ext>
            </a:extLst>
          </p:cNvPr>
          <p:cNvSpPr txBox="1"/>
          <p:nvPr/>
        </p:nvSpPr>
        <p:spPr>
          <a:xfrm>
            <a:off x="588536" y="2748422"/>
            <a:ext cx="675747" cy="157135"/>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0.8</a:t>
            </a:r>
          </a:p>
        </p:txBody>
      </p:sp>
      <p:sp>
        <p:nvSpPr>
          <p:cNvPr id="28" name="TextBox 27">
            <a:extLst>
              <a:ext uri="{FF2B5EF4-FFF2-40B4-BE49-F238E27FC236}">
                <a16:creationId xmlns:a16="http://schemas.microsoft.com/office/drawing/2014/main" id="{DA131CCE-1232-ADCC-900E-E4E0B90F01B6}"/>
              </a:ext>
            </a:extLst>
          </p:cNvPr>
          <p:cNvSpPr txBox="1"/>
          <p:nvPr/>
        </p:nvSpPr>
        <p:spPr>
          <a:xfrm>
            <a:off x="588536" y="3374126"/>
            <a:ext cx="675747" cy="157135"/>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0.6</a:t>
            </a:r>
          </a:p>
        </p:txBody>
      </p:sp>
      <p:sp>
        <p:nvSpPr>
          <p:cNvPr id="29" name="TextBox 28">
            <a:extLst>
              <a:ext uri="{FF2B5EF4-FFF2-40B4-BE49-F238E27FC236}">
                <a16:creationId xmlns:a16="http://schemas.microsoft.com/office/drawing/2014/main" id="{41DA9993-2A14-2E1D-AE4E-D00A79824A34}"/>
              </a:ext>
            </a:extLst>
          </p:cNvPr>
          <p:cNvSpPr txBox="1"/>
          <p:nvPr/>
        </p:nvSpPr>
        <p:spPr>
          <a:xfrm>
            <a:off x="588536" y="3978271"/>
            <a:ext cx="675747" cy="157135"/>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0.4</a:t>
            </a:r>
          </a:p>
        </p:txBody>
      </p:sp>
      <p:sp>
        <p:nvSpPr>
          <p:cNvPr id="30" name="TextBox 29">
            <a:extLst>
              <a:ext uri="{FF2B5EF4-FFF2-40B4-BE49-F238E27FC236}">
                <a16:creationId xmlns:a16="http://schemas.microsoft.com/office/drawing/2014/main" id="{CAE8DD62-BCB7-90F5-268A-280BFEF6985F}"/>
              </a:ext>
            </a:extLst>
          </p:cNvPr>
          <p:cNvSpPr txBox="1"/>
          <p:nvPr/>
        </p:nvSpPr>
        <p:spPr>
          <a:xfrm>
            <a:off x="588536" y="4598265"/>
            <a:ext cx="675747" cy="157135"/>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0.2</a:t>
            </a:r>
          </a:p>
        </p:txBody>
      </p:sp>
      <p:sp>
        <p:nvSpPr>
          <p:cNvPr id="31" name="TextBox 30">
            <a:extLst>
              <a:ext uri="{FF2B5EF4-FFF2-40B4-BE49-F238E27FC236}">
                <a16:creationId xmlns:a16="http://schemas.microsoft.com/office/drawing/2014/main" id="{C2066806-EF37-2D73-8545-564A03B5691D}"/>
              </a:ext>
            </a:extLst>
          </p:cNvPr>
          <p:cNvSpPr txBox="1"/>
          <p:nvPr/>
        </p:nvSpPr>
        <p:spPr>
          <a:xfrm>
            <a:off x="588536" y="5218258"/>
            <a:ext cx="675747" cy="157135"/>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0</a:t>
            </a:r>
          </a:p>
        </p:txBody>
      </p:sp>
      <p:sp>
        <p:nvSpPr>
          <p:cNvPr id="32" name="TextBox 31">
            <a:extLst>
              <a:ext uri="{FF2B5EF4-FFF2-40B4-BE49-F238E27FC236}">
                <a16:creationId xmlns:a16="http://schemas.microsoft.com/office/drawing/2014/main" id="{02BC01A6-783B-6674-0C4D-B17B8C653FDA}"/>
              </a:ext>
            </a:extLst>
          </p:cNvPr>
          <p:cNvSpPr txBox="1"/>
          <p:nvPr/>
        </p:nvSpPr>
        <p:spPr>
          <a:xfrm rot="16200000">
            <a:off x="-535185" y="3557636"/>
            <a:ext cx="2571221" cy="18466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Probability of OS</a:t>
            </a:r>
          </a:p>
        </p:txBody>
      </p:sp>
      <p:grpSp>
        <p:nvGrpSpPr>
          <p:cNvPr id="33" name="Group 32">
            <a:extLst>
              <a:ext uri="{FF2B5EF4-FFF2-40B4-BE49-F238E27FC236}">
                <a16:creationId xmlns:a16="http://schemas.microsoft.com/office/drawing/2014/main" id="{A456CF40-F5A7-E698-D462-3A7D25A6858F}"/>
              </a:ext>
            </a:extLst>
          </p:cNvPr>
          <p:cNvGrpSpPr/>
          <p:nvPr/>
        </p:nvGrpSpPr>
        <p:grpSpPr>
          <a:xfrm>
            <a:off x="2884241" y="2310814"/>
            <a:ext cx="1652571" cy="409798"/>
            <a:chOff x="1988319" y="1928387"/>
            <a:chExt cx="978938" cy="354224"/>
          </a:xfrm>
        </p:grpSpPr>
        <p:sp>
          <p:nvSpPr>
            <p:cNvPr id="34" name="TextBox 33">
              <a:extLst>
                <a:ext uri="{FF2B5EF4-FFF2-40B4-BE49-F238E27FC236}">
                  <a16:creationId xmlns:a16="http://schemas.microsoft.com/office/drawing/2014/main" id="{38CABD06-80E1-BAC2-A2C6-C46E76DC16C6}"/>
                </a:ext>
              </a:extLst>
            </p:cNvPr>
            <p:cNvSpPr txBox="1"/>
            <p:nvPr/>
          </p:nvSpPr>
          <p:spPr>
            <a:xfrm>
              <a:off x="1988319" y="1928387"/>
              <a:ext cx="978938" cy="180000"/>
            </a:xfrm>
            <a:prstGeom prst="rect">
              <a:avLst/>
            </a:prstGeom>
            <a:solidFill>
              <a:srgbClr val="002060"/>
            </a:solidFill>
          </p:spPr>
          <p:txBody>
            <a:bodyPr wrap="square" lIns="3600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1-year survival</a:t>
              </a:r>
            </a:p>
          </p:txBody>
        </p:sp>
        <p:sp>
          <p:nvSpPr>
            <p:cNvPr id="35" name="TextBox 34">
              <a:extLst>
                <a:ext uri="{FF2B5EF4-FFF2-40B4-BE49-F238E27FC236}">
                  <a16:creationId xmlns:a16="http://schemas.microsoft.com/office/drawing/2014/main" id="{CE7363AD-63B0-BC2E-396F-BFDCF1E4CBD9}"/>
                </a:ext>
              </a:extLst>
            </p:cNvPr>
            <p:cNvSpPr txBox="1"/>
            <p:nvPr/>
          </p:nvSpPr>
          <p:spPr>
            <a:xfrm>
              <a:off x="1988319" y="2102611"/>
              <a:ext cx="978938" cy="180000"/>
            </a:xfrm>
            <a:prstGeom prst="rect">
              <a:avLst/>
            </a:prstGeom>
            <a:solidFill>
              <a:schemeClr val="accent2"/>
            </a:solidFill>
          </p:spPr>
          <p:txBody>
            <a:bodyPr wrap="square" lIns="36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20" normalizeH="0" baseline="0" noProof="0" dirty="0">
                  <a:ln>
                    <a:noFill/>
                  </a:ln>
                  <a:solidFill>
                    <a:srgbClr val="FFFFFF"/>
                  </a:solidFill>
                  <a:effectLst/>
                  <a:uLnTx/>
                  <a:uFillTx/>
                  <a:latin typeface="Arial "/>
                  <a:ea typeface="+mn-ea"/>
                  <a:cs typeface="Arial" panose="020B0604020202020204" pitchFamily="34" charset="0"/>
                </a:rPr>
                <a:t>79% (95% CI, 76–81)</a:t>
              </a:r>
            </a:p>
          </p:txBody>
        </p:sp>
      </p:grpSp>
      <p:grpSp>
        <p:nvGrpSpPr>
          <p:cNvPr id="36" name="Group 35">
            <a:extLst>
              <a:ext uri="{FF2B5EF4-FFF2-40B4-BE49-F238E27FC236}">
                <a16:creationId xmlns:a16="http://schemas.microsoft.com/office/drawing/2014/main" id="{5E169776-FA57-F6B2-AB54-1289969376FD}"/>
              </a:ext>
            </a:extLst>
          </p:cNvPr>
          <p:cNvGrpSpPr/>
          <p:nvPr/>
        </p:nvGrpSpPr>
        <p:grpSpPr>
          <a:xfrm>
            <a:off x="4422700" y="2780326"/>
            <a:ext cx="1652571" cy="411912"/>
            <a:chOff x="1988319" y="1928387"/>
            <a:chExt cx="978938" cy="356052"/>
          </a:xfrm>
        </p:grpSpPr>
        <p:sp>
          <p:nvSpPr>
            <p:cNvPr id="37" name="TextBox 36">
              <a:extLst>
                <a:ext uri="{FF2B5EF4-FFF2-40B4-BE49-F238E27FC236}">
                  <a16:creationId xmlns:a16="http://schemas.microsoft.com/office/drawing/2014/main" id="{EF850185-E8BD-E33C-CA0F-87152DEBD10C}"/>
                </a:ext>
              </a:extLst>
            </p:cNvPr>
            <p:cNvSpPr txBox="1"/>
            <p:nvPr/>
          </p:nvSpPr>
          <p:spPr>
            <a:xfrm>
              <a:off x="1988319" y="1928387"/>
              <a:ext cx="978938" cy="180000"/>
            </a:xfrm>
            <a:prstGeom prst="rect">
              <a:avLst/>
            </a:prstGeom>
            <a:solidFill>
              <a:srgbClr val="002060"/>
            </a:solidFill>
          </p:spPr>
          <p:txBody>
            <a:bodyPr wrap="square" lIns="36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2-year survival</a:t>
              </a:r>
            </a:p>
          </p:txBody>
        </p:sp>
        <p:sp>
          <p:nvSpPr>
            <p:cNvPr id="38" name="TextBox 37">
              <a:extLst>
                <a:ext uri="{FF2B5EF4-FFF2-40B4-BE49-F238E27FC236}">
                  <a16:creationId xmlns:a16="http://schemas.microsoft.com/office/drawing/2014/main" id="{292F3326-3CF9-A264-7878-849CFF0A807A}"/>
                </a:ext>
              </a:extLst>
            </p:cNvPr>
            <p:cNvSpPr txBox="1"/>
            <p:nvPr/>
          </p:nvSpPr>
          <p:spPr>
            <a:xfrm>
              <a:off x="1988319" y="2104439"/>
              <a:ext cx="978938" cy="180000"/>
            </a:xfrm>
            <a:prstGeom prst="rect">
              <a:avLst/>
            </a:prstGeom>
            <a:solidFill>
              <a:schemeClr val="tx1"/>
            </a:solidFill>
          </p:spPr>
          <p:txBody>
            <a:bodyPr wrap="square" lIns="36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20" normalizeH="0" baseline="0" noProof="0" dirty="0">
                  <a:ln>
                    <a:noFill/>
                  </a:ln>
                  <a:solidFill>
                    <a:srgbClr val="FFFFFF"/>
                  </a:solidFill>
                  <a:effectLst/>
                  <a:uLnTx/>
                  <a:uFillTx/>
                  <a:latin typeface="Arial "/>
                  <a:ea typeface="+mn-ea"/>
                  <a:cs typeface="Arial" panose="020B0604020202020204" pitchFamily="34" charset="0"/>
                </a:rPr>
                <a:t>58% (95% CI, 55</a:t>
              </a:r>
              <a:r>
                <a:rPr kumimoji="0" lang="en-US" sz="1100" b="0" i="0" u="none" strike="noStrike" kern="1200" cap="none" spc="-20" normalizeH="0" baseline="0" noProof="0" dirty="0">
                  <a:ln>
                    <a:noFill/>
                  </a:ln>
                  <a:solidFill>
                    <a:srgbClr val="FFFFFF"/>
                  </a:solidFill>
                  <a:effectLst/>
                  <a:uLnTx/>
                  <a:uFillTx/>
                  <a:latin typeface="Arial "/>
                  <a:ea typeface="Calibri" panose="020F0502020204030204" pitchFamily="34" charset="0"/>
                  <a:cs typeface="Arial" panose="020B0604020202020204" pitchFamily="34" charset="0"/>
                </a:rPr>
                <a:t>–</a:t>
              </a:r>
              <a:r>
                <a:rPr kumimoji="0" lang="en-US" sz="1100" b="0" i="0" u="none" strike="noStrike" kern="1200" cap="none" spc="-20" normalizeH="0" baseline="0" noProof="0" dirty="0">
                  <a:ln>
                    <a:noFill/>
                  </a:ln>
                  <a:solidFill>
                    <a:srgbClr val="FFFFFF"/>
                  </a:solidFill>
                  <a:effectLst/>
                  <a:uLnTx/>
                  <a:uFillTx/>
                  <a:latin typeface="Arial "/>
                  <a:ea typeface="+mn-ea"/>
                  <a:cs typeface="Arial" panose="020B0604020202020204" pitchFamily="34" charset="0"/>
                </a:rPr>
                <a:t>61)</a:t>
              </a:r>
            </a:p>
          </p:txBody>
        </p:sp>
      </p:grpSp>
      <p:grpSp>
        <p:nvGrpSpPr>
          <p:cNvPr id="39" name="Group 38">
            <a:extLst>
              <a:ext uri="{FF2B5EF4-FFF2-40B4-BE49-F238E27FC236}">
                <a16:creationId xmlns:a16="http://schemas.microsoft.com/office/drawing/2014/main" id="{F39C6720-DADA-72F6-B83F-FE7F9EA04A41}"/>
              </a:ext>
            </a:extLst>
          </p:cNvPr>
          <p:cNvGrpSpPr/>
          <p:nvPr/>
        </p:nvGrpSpPr>
        <p:grpSpPr>
          <a:xfrm>
            <a:off x="5971486" y="3251704"/>
            <a:ext cx="1652571" cy="416454"/>
            <a:chOff x="1988319" y="1956830"/>
            <a:chExt cx="978938" cy="359978"/>
          </a:xfrm>
        </p:grpSpPr>
        <p:sp>
          <p:nvSpPr>
            <p:cNvPr id="40" name="TextBox 39">
              <a:extLst>
                <a:ext uri="{FF2B5EF4-FFF2-40B4-BE49-F238E27FC236}">
                  <a16:creationId xmlns:a16="http://schemas.microsoft.com/office/drawing/2014/main" id="{B3E060E5-7320-2DE9-C4D3-898F73686548}"/>
                </a:ext>
              </a:extLst>
            </p:cNvPr>
            <p:cNvSpPr txBox="1"/>
            <p:nvPr/>
          </p:nvSpPr>
          <p:spPr>
            <a:xfrm>
              <a:off x="1988319" y="1956830"/>
              <a:ext cx="978938" cy="180000"/>
            </a:xfrm>
            <a:prstGeom prst="rect">
              <a:avLst/>
            </a:prstGeom>
            <a:solidFill>
              <a:srgbClr val="002060"/>
            </a:solidFill>
          </p:spPr>
          <p:txBody>
            <a:bodyPr wrap="square" lIns="36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3-year survival</a:t>
              </a:r>
            </a:p>
          </p:txBody>
        </p:sp>
        <p:sp>
          <p:nvSpPr>
            <p:cNvPr id="41" name="TextBox 40">
              <a:extLst>
                <a:ext uri="{FF2B5EF4-FFF2-40B4-BE49-F238E27FC236}">
                  <a16:creationId xmlns:a16="http://schemas.microsoft.com/office/drawing/2014/main" id="{48D2AE18-FC17-E499-E4DB-D837436C3B26}"/>
                </a:ext>
              </a:extLst>
            </p:cNvPr>
            <p:cNvSpPr txBox="1"/>
            <p:nvPr/>
          </p:nvSpPr>
          <p:spPr>
            <a:xfrm>
              <a:off x="1988319" y="2136808"/>
              <a:ext cx="978938" cy="180000"/>
            </a:xfrm>
            <a:prstGeom prst="rect">
              <a:avLst/>
            </a:prstGeom>
            <a:solidFill>
              <a:schemeClr val="tx1"/>
            </a:solidFill>
          </p:spPr>
          <p:txBody>
            <a:bodyPr wrap="square" lIns="36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20" normalizeH="0" baseline="0" noProof="0">
                  <a:ln>
                    <a:noFill/>
                  </a:ln>
                  <a:solidFill>
                    <a:srgbClr val="FFFFFF"/>
                  </a:solidFill>
                  <a:effectLst/>
                  <a:uLnTx/>
                  <a:uFillTx/>
                  <a:latin typeface="Arial "/>
                  <a:ea typeface="+mn-ea"/>
                  <a:cs typeface="Arial" panose="020B0604020202020204" pitchFamily="34" charset="0"/>
                </a:rPr>
                <a:t>41% (95% CI, 38</a:t>
              </a:r>
              <a:r>
                <a:rPr kumimoji="0" lang="en-US" sz="1100" b="0" i="0" u="none" strike="noStrike" kern="1200" cap="none" spc="-20" normalizeH="0" baseline="0" noProof="0">
                  <a:ln>
                    <a:noFill/>
                  </a:ln>
                  <a:solidFill>
                    <a:srgbClr val="FFFFFF"/>
                  </a:solidFill>
                  <a:effectLst/>
                  <a:uLnTx/>
                  <a:uFillTx/>
                  <a:latin typeface="Arial "/>
                  <a:ea typeface="Calibri" panose="020F0502020204030204" pitchFamily="34" charset="0"/>
                  <a:cs typeface="Arial" panose="020B0604020202020204" pitchFamily="34" charset="0"/>
                </a:rPr>
                <a:t>–</a:t>
              </a:r>
              <a:r>
                <a:rPr kumimoji="0" lang="en-US" sz="1100" b="0" i="0" u="none" strike="noStrike" kern="1200" cap="none" spc="-20" normalizeH="0" baseline="0" noProof="0">
                  <a:ln>
                    <a:noFill/>
                  </a:ln>
                  <a:solidFill>
                    <a:srgbClr val="FFFFFF"/>
                  </a:solidFill>
                  <a:effectLst/>
                  <a:uLnTx/>
                  <a:uFillTx/>
                  <a:latin typeface="Arial "/>
                  <a:ea typeface="+mn-ea"/>
                  <a:cs typeface="Arial" panose="020B0604020202020204" pitchFamily="34" charset="0"/>
                </a:rPr>
                <a:t>44)</a:t>
              </a:r>
            </a:p>
          </p:txBody>
        </p:sp>
      </p:grpSp>
      <p:sp>
        <p:nvSpPr>
          <p:cNvPr id="42" name="TextBox 41">
            <a:extLst>
              <a:ext uri="{FF2B5EF4-FFF2-40B4-BE49-F238E27FC236}">
                <a16:creationId xmlns:a16="http://schemas.microsoft.com/office/drawing/2014/main" id="{383F9A09-D5F6-B6CA-BD5F-E7483F47DCFC}"/>
              </a:ext>
            </a:extLst>
          </p:cNvPr>
          <p:cNvSpPr txBox="1"/>
          <p:nvPr/>
        </p:nvSpPr>
        <p:spPr>
          <a:xfrm>
            <a:off x="3264252" y="5622093"/>
            <a:ext cx="4250857" cy="18856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
                <a:ea typeface="+mn-ea"/>
                <a:cs typeface="Arial" panose="020B0604020202020204" pitchFamily="34" charset="0"/>
              </a:rPr>
              <a:t>Months since 1L osimertinib</a:t>
            </a:r>
          </a:p>
        </p:txBody>
      </p:sp>
      <p:grpSp>
        <p:nvGrpSpPr>
          <p:cNvPr id="43" name="Group 42">
            <a:extLst>
              <a:ext uri="{FF2B5EF4-FFF2-40B4-BE49-F238E27FC236}">
                <a16:creationId xmlns:a16="http://schemas.microsoft.com/office/drawing/2014/main" id="{3CD38E20-1D6F-E56A-5F48-6C2F417768B8}"/>
              </a:ext>
            </a:extLst>
          </p:cNvPr>
          <p:cNvGrpSpPr/>
          <p:nvPr/>
        </p:nvGrpSpPr>
        <p:grpSpPr>
          <a:xfrm>
            <a:off x="7515109" y="3727089"/>
            <a:ext cx="1652571" cy="416571"/>
            <a:chOff x="1988319" y="1985273"/>
            <a:chExt cx="978938" cy="360079"/>
          </a:xfrm>
        </p:grpSpPr>
        <p:sp>
          <p:nvSpPr>
            <p:cNvPr id="44" name="TextBox 43">
              <a:extLst>
                <a:ext uri="{FF2B5EF4-FFF2-40B4-BE49-F238E27FC236}">
                  <a16:creationId xmlns:a16="http://schemas.microsoft.com/office/drawing/2014/main" id="{B79FEA51-FDFD-8050-32A5-08EE8E5ECB95}"/>
                </a:ext>
              </a:extLst>
            </p:cNvPr>
            <p:cNvSpPr txBox="1"/>
            <p:nvPr/>
          </p:nvSpPr>
          <p:spPr>
            <a:xfrm>
              <a:off x="1988319" y="1985273"/>
              <a:ext cx="978938" cy="180000"/>
            </a:xfrm>
            <a:prstGeom prst="rect">
              <a:avLst/>
            </a:prstGeom>
            <a:solidFill>
              <a:srgbClr val="002060"/>
            </a:solidFill>
          </p:spPr>
          <p:txBody>
            <a:bodyPr wrap="square" lIns="36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4-year survival</a:t>
              </a:r>
            </a:p>
          </p:txBody>
        </p:sp>
        <p:sp>
          <p:nvSpPr>
            <p:cNvPr id="45" name="TextBox 44">
              <a:extLst>
                <a:ext uri="{FF2B5EF4-FFF2-40B4-BE49-F238E27FC236}">
                  <a16:creationId xmlns:a16="http://schemas.microsoft.com/office/drawing/2014/main" id="{6E9E1D7D-C4B5-3D5F-F10A-28BD22664AFD}"/>
                </a:ext>
              </a:extLst>
            </p:cNvPr>
            <p:cNvSpPr txBox="1"/>
            <p:nvPr/>
          </p:nvSpPr>
          <p:spPr>
            <a:xfrm>
              <a:off x="1988319" y="2165352"/>
              <a:ext cx="978938" cy="180000"/>
            </a:xfrm>
            <a:prstGeom prst="rect">
              <a:avLst/>
            </a:prstGeom>
            <a:solidFill>
              <a:schemeClr val="tx1"/>
            </a:solidFill>
          </p:spPr>
          <p:txBody>
            <a:bodyPr wrap="square" lIns="36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20" normalizeH="0" baseline="0" noProof="0" dirty="0">
                  <a:ln>
                    <a:noFill/>
                  </a:ln>
                  <a:solidFill>
                    <a:srgbClr val="FFFFFF"/>
                  </a:solidFill>
                  <a:effectLst/>
                  <a:uLnTx/>
                  <a:uFillTx/>
                  <a:latin typeface="Arial "/>
                  <a:ea typeface="+mn-ea"/>
                  <a:cs typeface="Arial" panose="020B0604020202020204" pitchFamily="34" charset="0"/>
                </a:rPr>
                <a:t>28% (95% CI, 24</a:t>
              </a:r>
              <a:r>
                <a:rPr kumimoji="0" lang="en-US" sz="1100" b="0" i="0" u="none" strike="noStrike" kern="1200" cap="none" spc="-20" normalizeH="0" baseline="0" noProof="0" dirty="0">
                  <a:ln>
                    <a:noFill/>
                  </a:ln>
                  <a:solidFill>
                    <a:srgbClr val="FFFFFF"/>
                  </a:solidFill>
                  <a:effectLst/>
                  <a:uLnTx/>
                  <a:uFillTx/>
                  <a:latin typeface="Arial "/>
                  <a:ea typeface="Calibri" panose="020F0502020204030204" pitchFamily="34" charset="0"/>
                  <a:cs typeface="Arial" panose="020B0604020202020204" pitchFamily="34" charset="0"/>
                </a:rPr>
                <a:t>–</a:t>
              </a:r>
              <a:r>
                <a:rPr kumimoji="0" lang="en-US" sz="1100" b="0" i="0" u="none" strike="noStrike" kern="1200" cap="none" spc="-20" normalizeH="0" baseline="0" noProof="0" dirty="0">
                  <a:ln>
                    <a:noFill/>
                  </a:ln>
                  <a:solidFill>
                    <a:srgbClr val="FFFFFF"/>
                  </a:solidFill>
                  <a:effectLst/>
                  <a:uLnTx/>
                  <a:uFillTx/>
                  <a:latin typeface="Arial "/>
                  <a:ea typeface="+mn-ea"/>
                  <a:cs typeface="Arial" panose="020B0604020202020204" pitchFamily="34" charset="0"/>
                </a:rPr>
                <a:t>32)</a:t>
              </a:r>
            </a:p>
          </p:txBody>
        </p:sp>
      </p:grpSp>
      <p:cxnSp>
        <p:nvCxnSpPr>
          <p:cNvPr id="46" name="Straight Connector 45">
            <a:extLst>
              <a:ext uri="{FF2B5EF4-FFF2-40B4-BE49-F238E27FC236}">
                <a16:creationId xmlns:a16="http://schemas.microsoft.com/office/drawing/2014/main" id="{1F2BFF69-8D68-DBEB-02AD-2499ECBD113E}"/>
              </a:ext>
            </a:extLst>
          </p:cNvPr>
          <p:cNvCxnSpPr/>
          <p:nvPr/>
        </p:nvCxnSpPr>
        <p:spPr>
          <a:xfrm>
            <a:off x="1715578"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6A1D935-F34B-3B26-BF70-AAFCFC24787E}"/>
              </a:ext>
            </a:extLst>
          </p:cNvPr>
          <p:cNvCxnSpPr/>
          <p:nvPr/>
        </p:nvCxnSpPr>
        <p:spPr>
          <a:xfrm>
            <a:off x="1328600"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5BC4785-DB1A-2EAD-BF7C-305B78E9B44B}"/>
              </a:ext>
            </a:extLst>
          </p:cNvPr>
          <p:cNvCxnSpPr/>
          <p:nvPr/>
        </p:nvCxnSpPr>
        <p:spPr>
          <a:xfrm>
            <a:off x="2102556"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964E464-BFB8-234C-BCD1-350CA3982E9C}"/>
              </a:ext>
            </a:extLst>
          </p:cNvPr>
          <p:cNvCxnSpPr/>
          <p:nvPr/>
        </p:nvCxnSpPr>
        <p:spPr>
          <a:xfrm>
            <a:off x="2489533"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4CB7237-253E-4A4F-9003-D9E57566D039}"/>
              </a:ext>
            </a:extLst>
          </p:cNvPr>
          <p:cNvCxnSpPr/>
          <p:nvPr/>
        </p:nvCxnSpPr>
        <p:spPr>
          <a:xfrm>
            <a:off x="2876511"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0EACFE7-6A3C-C1B7-FD59-21A81E5ADBF0}"/>
              </a:ext>
            </a:extLst>
          </p:cNvPr>
          <p:cNvCxnSpPr/>
          <p:nvPr/>
        </p:nvCxnSpPr>
        <p:spPr>
          <a:xfrm>
            <a:off x="3263489"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56A581F-7597-0CAB-9532-7A671233B26F}"/>
              </a:ext>
            </a:extLst>
          </p:cNvPr>
          <p:cNvCxnSpPr/>
          <p:nvPr/>
        </p:nvCxnSpPr>
        <p:spPr>
          <a:xfrm>
            <a:off x="3650466"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DF79631-40E2-214C-23F3-7450D3BDC4C2}"/>
              </a:ext>
            </a:extLst>
          </p:cNvPr>
          <p:cNvCxnSpPr/>
          <p:nvPr/>
        </p:nvCxnSpPr>
        <p:spPr>
          <a:xfrm>
            <a:off x="4037444"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BD410CB-ED3F-DC11-1FBB-3DA398EC5252}"/>
              </a:ext>
            </a:extLst>
          </p:cNvPr>
          <p:cNvCxnSpPr/>
          <p:nvPr/>
        </p:nvCxnSpPr>
        <p:spPr>
          <a:xfrm>
            <a:off x="4424422"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2F903C-6CC8-66B3-981D-1DD24E003064}"/>
              </a:ext>
            </a:extLst>
          </p:cNvPr>
          <p:cNvCxnSpPr/>
          <p:nvPr/>
        </p:nvCxnSpPr>
        <p:spPr>
          <a:xfrm>
            <a:off x="4811399"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7EA5DB0-57BA-0ED0-46BB-88BF43C2BEF1}"/>
              </a:ext>
            </a:extLst>
          </p:cNvPr>
          <p:cNvCxnSpPr/>
          <p:nvPr/>
        </p:nvCxnSpPr>
        <p:spPr>
          <a:xfrm>
            <a:off x="5198377"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4F73A5B-5F02-D51E-527A-D658B491CB40}"/>
              </a:ext>
            </a:extLst>
          </p:cNvPr>
          <p:cNvCxnSpPr/>
          <p:nvPr/>
        </p:nvCxnSpPr>
        <p:spPr>
          <a:xfrm>
            <a:off x="5585354"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C780EC2-3E8B-14CB-03EA-FA60714658DB}"/>
              </a:ext>
            </a:extLst>
          </p:cNvPr>
          <p:cNvCxnSpPr/>
          <p:nvPr/>
        </p:nvCxnSpPr>
        <p:spPr>
          <a:xfrm>
            <a:off x="5972332"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F7F48E4-A446-A680-9769-7DF8AB0BE0E6}"/>
              </a:ext>
            </a:extLst>
          </p:cNvPr>
          <p:cNvCxnSpPr/>
          <p:nvPr/>
        </p:nvCxnSpPr>
        <p:spPr>
          <a:xfrm>
            <a:off x="6359310"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D9E699A-2B16-9010-7E47-53EE66B8C17D}"/>
              </a:ext>
            </a:extLst>
          </p:cNvPr>
          <p:cNvCxnSpPr/>
          <p:nvPr/>
        </p:nvCxnSpPr>
        <p:spPr>
          <a:xfrm>
            <a:off x="6746287"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01C27E7-8A29-9FD3-D702-9A80BB0DF162}"/>
              </a:ext>
            </a:extLst>
          </p:cNvPr>
          <p:cNvCxnSpPr/>
          <p:nvPr/>
        </p:nvCxnSpPr>
        <p:spPr>
          <a:xfrm>
            <a:off x="7133265"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42E861-1DE0-F3A9-84CE-DFD5DD3599D7}"/>
              </a:ext>
            </a:extLst>
          </p:cNvPr>
          <p:cNvCxnSpPr/>
          <p:nvPr/>
        </p:nvCxnSpPr>
        <p:spPr>
          <a:xfrm>
            <a:off x="7520243"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EE05F8B-C3D8-97B5-D82A-93E254698EAD}"/>
              </a:ext>
            </a:extLst>
          </p:cNvPr>
          <p:cNvCxnSpPr/>
          <p:nvPr/>
        </p:nvCxnSpPr>
        <p:spPr>
          <a:xfrm>
            <a:off x="7907220"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7B0C1C8-D66D-F496-5871-0B771F517BE1}"/>
              </a:ext>
            </a:extLst>
          </p:cNvPr>
          <p:cNvCxnSpPr/>
          <p:nvPr/>
        </p:nvCxnSpPr>
        <p:spPr>
          <a:xfrm>
            <a:off x="8294198"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DEB1D3-3883-09F5-E25C-1616B84EE7D9}"/>
              </a:ext>
            </a:extLst>
          </p:cNvPr>
          <p:cNvCxnSpPr/>
          <p:nvPr/>
        </p:nvCxnSpPr>
        <p:spPr>
          <a:xfrm>
            <a:off x="8681176"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9D039A3-A03A-37EC-7E8F-F4069C6837D8}"/>
              </a:ext>
            </a:extLst>
          </p:cNvPr>
          <p:cNvCxnSpPr/>
          <p:nvPr/>
        </p:nvCxnSpPr>
        <p:spPr>
          <a:xfrm>
            <a:off x="9068153" y="5291559"/>
            <a:ext cx="0" cy="51821"/>
          </a:xfrm>
          <a:prstGeom prst="line">
            <a:avLst/>
          </a:prstGeom>
          <a:ln w="9525">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E85D17D2-3013-DAC4-DBC6-F7165A3888F2}"/>
              </a:ext>
            </a:extLst>
          </p:cNvPr>
          <p:cNvGrpSpPr/>
          <p:nvPr/>
        </p:nvGrpSpPr>
        <p:grpSpPr>
          <a:xfrm>
            <a:off x="1168534" y="5320031"/>
            <a:ext cx="8071860" cy="194254"/>
            <a:chOff x="971981" y="5222842"/>
            <a:chExt cx="4781550" cy="190240"/>
          </a:xfrm>
        </p:grpSpPr>
        <p:sp>
          <p:nvSpPr>
            <p:cNvPr id="68" name="TextBox 67">
              <a:extLst>
                <a:ext uri="{FF2B5EF4-FFF2-40B4-BE49-F238E27FC236}">
                  <a16:creationId xmlns:a16="http://schemas.microsoft.com/office/drawing/2014/main" id="{7F235E5C-6F55-E197-D5CB-CE21A336AD2C}"/>
                </a:ext>
              </a:extLst>
            </p:cNvPr>
            <p:cNvSpPr txBox="1"/>
            <p:nvPr/>
          </p:nvSpPr>
          <p:spPr>
            <a:xfrm>
              <a:off x="971981"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0</a:t>
              </a:r>
            </a:p>
          </p:txBody>
        </p:sp>
        <p:sp>
          <p:nvSpPr>
            <p:cNvPr id="69" name="TextBox 68">
              <a:extLst>
                <a:ext uri="{FF2B5EF4-FFF2-40B4-BE49-F238E27FC236}">
                  <a16:creationId xmlns:a16="http://schemas.microsoft.com/office/drawing/2014/main" id="{388B9888-F1EF-B2E1-3E71-FBB894008E68}"/>
                </a:ext>
              </a:extLst>
            </p:cNvPr>
            <p:cNvSpPr txBox="1"/>
            <p:nvPr/>
          </p:nvSpPr>
          <p:spPr>
            <a:xfrm>
              <a:off x="1194231"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3</a:t>
              </a:r>
            </a:p>
          </p:txBody>
        </p:sp>
        <p:sp>
          <p:nvSpPr>
            <p:cNvPr id="70" name="TextBox 69">
              <a:extLst>
                <a:ext uri="{FF2B5EF4-FFF2-40B4-BE49-F238E27FC236}">
                  <a16:creationId xmlns:a16="http://schemas.microsoft.com/office/drawing/2014/main" id="{B7CAF432-2E50-6299-ED3C-16F709C6EF06}"/>
                </a:ext>
              </a:extLst>
            </p:cNvPr>
            <p:cNvSpPr txBox="1"/>
            <p:nvPr/>
          </p:nvSpPr>
          <p:spPr>
            <a:xfrm>
              <a:off x="1429181"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6</a:t>
              </a:r>
            </a:p>
          </p:txBody>
        </p:sp>
        <p:sp>
          <p:nvSpPr>
            <p:cNvPr id="71" name="TextBox 70">
              <a:extLst>
                <a:ext uri="{FF2B5EF4-FFF2-40B4-BE49-F238E27FC236}">
                  <a16:creationId xmlns:a16="http://schemas.microsoft.com/office/drawing/2014/main" id="{14893027-3DC7-F3E8-A3E4-435E8D0A3CBE}"/>
                </a:ext>
              </a:extLst>
            </p:cNvPr>
            <p:cNvSpPr txBox="1"/>
            <p:nvPr/>
          </p:nvSpPr>
          <p:spPr>
            <a:xfrm>
              <a:off x="165460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9</a:t>
              </a:r>
            </a:p>
          </p:txBody>
        </p:sp>
        <p:sp>
          <p:nvSpPr>
            <p:cNvPr id="72" name="TextBox 71">
              <a:extLst>
                <a:ext uri="{FF2B5EF4-FFF2-40B4-BE49-F238E27FC236}">
                  <a16:creationId xmlns:a16="http://schemas.microsoft.com/office/drawing/2014/main" id="{AA0F66C9-135A-66B3-21F2-11EF73315EA5}"/>
                </a:ext>
              </a:extLst>
            </p:cNvPr>
            <p:cNvSpPr txBox="1"/>
            <p:nvPr/>
          </p:nvSpPr>
          <p:spPr>
            <a:xfrm>
              <a:off x="188955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12</a:t>
              </a:r>
            </a:p>
          </p:txBody>
        </p:sp>
        <p:sp>
          <p:nvSpPr>
            <p:cNvPr id="73" name="TextBox 72">
              <a:extLst>
                <a:ext uri="{FF2B5EF4-FFF2-40B4-BE49-F238E27FC236}">
                  <a16:creationId xmlns:a16="http://schemas.microsoft.com/office/drawing/2014/main" id="{EF2FB1B8-E652-6A61-5B19-34CBBB127009}"/>
                </a:ext>
              </a:extLst>
            </p:cNvPr>
            <p:cNvSpPr txBox="1"/>
            <p:nvPr/>
          </p:nvSpPr>
          <p:spPr>
            <a:xfrm>
              <a:off x="2114981"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15</a:t>
              </a:r>
            </a:p>
          </p:txBody>
        </p:sp>
        <p:sp>
          <p:nvSpPr>
            <p:cNvPr id="74" name="TextBox 73">
              <a:extLst>
                <a:ext uri="{FF2B5EF4-FFF2-40B4-BE49-F238E27FC236}">
                  <a16:creationId xmlns:a16="http://schemas.microsoft.com/office/drawing/2014/main" id="{345B824D-58D7-0DCF-43C2-C5732C22E95D}"/>
                </a:ext>
              </a:extLst>
            </p:cNvPr>
            <p:cNvSpPr txBox="1"/>
            <p:nvPr/>
          </p:nvSpPr>
          <p:spPr>
            <a:xfrm>
              <a:off x="234675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18</a:t>
              </a:r>
            </a:p>
          </p:txBody>
        </p:sp>
        <p:sp>
          <p:nvSpPr>
            <p:cNvPr id="75" name="TextBox 74">
              <a:extLst>
                <a:ext uri="{FF2B5EF4-FFF2-40B4-BE49-F238E27FC236}">
                  <a16:creationId xmlns:a16="http://schemas.microsoft.com/office/drawing/2014/main" id="{8BC35183-06CB-FC0C-6F92-E4FCC977648F}"/>
                </a:ext>
              </a:extLst>
            </p:cNvPr>
            <p:cNvSpPr txBox="1"/>
            <p:nvPr/>
          </p:nvSpPr>
          <p:spPr>
            <a:xfrm>
              <a:off x="2572181"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21</a:t>
              </a:r>
            </a:p>
          </p:txBody>
        </p:sp>
        <p:sp>
          <p:nvSpPr>
            <p:cNvPr id="76" name="TextBox 75">
              <a:extLst>
                <a:ext uri="{FF2B5EF4-FFF2-40B4-BE49-F238E27FC236}">
                  <a16:creationId xmlns:a16="http://schemas.microsoft.com/office/drawing/2014/main" id="{550E50C7-CD8D-C81B-F8AA-19F3E729CF30}"/>
                </a:ext>
              </a:extLst>
            </p:cNvPr>
            <p:cNvSpPr txBox="1"/>
            <p:nvPr/>
          </p:nvSpPr>
          <p:spPr>
            <a:xfrm>
              <a:off x="279760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24</a:t>
              </a:r>
            </a:p>
          </p:txBody>
        </p:sp>
        <p:sp>
          <p:nvSpPr>
            <p:cNvPr id="77" name="TextBox 76">
              <a:extLst>
                <a:ext uri="{FF2B5EF4-FFF2-40B4-BE49-F238E27FC236}">
                  <a16:creationId xmlns:a16="http://schemas.microsoft.com/office/drawing/2014/main" id="{671A00CF-E70C-AD01-A680-620A18485EA8}"/>
                </a:ext>
              </a:extLst>
            </p:cNvPr>
            <p:cNvSpPr txBox="1"/>
            <p:nvPr/>
          </p:nvSpPr>
          <p:spPr>
            <a:xfrm>
              <a:off x="303255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27</a:t>
              </a:r>
            </a:p>
          </p:txBody>
        </p:sp>
        <p:sp>
          <p:nvSpPr>
            <p:cNvPr id="78" name="TextBox 77">
              <a:extLst>
                <a:ext uri="{FF2B5EF4-FFF2-40B4-BE49-F238E27FC236}">
                  <a16:creationId xmlns:a16="http://schemas.microsoft.com/office/drawing/2014/main" id="{1126D52F-102A-F157-6BDB-C8EF5A45FD81}"/>
                </a:ext>
              </a:extLst>
            </p:cNvPr>
            <p:cNvSpPr txBox="1"/>
            <p:nvPr/>
          </p:nvSpPr>
          <p:spPr>
            <a:xfrm>
              <a:off x="3257981"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30</a:t>
              </a:r>
            </a:p>
          </p:txBody>
        </p:sp>
        <p:sp>
          <p:nvSpPr>
            <p:cNvPr id="79" name="TextBox 78">
              <a:extLst>
                <a:ext uri="{FF2B5EF4-FFF2-40B4-BE49-F238E27FC236}">
                  <a16:creationId xmlns:a16="http://schemas.microsoft.com/office/drawing/2014/main" id="{DE6BB23F-6282-DAC0-9949-FCF880B9D15C}"/>
                </a:ext>
              </a:extLst>
            </p:cNvPr>
            <p:cNvSpPr txBox="1"/>
            <p:nvPr/>
          </p:nvSpPr>
          <p:spPr>
            <a:xfrm>
              <a:off x="3486581"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33</a:t>
              </a:r>
            </a:p>
          </p:txBody>
        </p:sp>
        <p:sp>
          <p:nvSpPr>
            <p:cNvPr id="80" name="TextBox 79">
              <a:extLst>
                <a:ext uri="{FF2B5EF4-FFF2-40B4-BE49-F238E27FC236}">
                  <a16:creationId xmlns:a16="http://schemas.microsoft.com/office/drawing/2014/main" id="{264462FA-3116-00B6-79E7-51F3B29DE854}"/>
                </a:ext>
              </a:extLst>
            </p:cNvPr>
            <p:cNvSpPr txBox="1"/>
            <p:nvPr/>
          </p:nvSpPr>
          <p:spPr>
            <a:xfrm>
              <a:off x="372470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36</a:t>
              </a:r>
            </a:p>
          </p:txBody>
        </p:sp>
        <p:sp>
          <p:nvSpPr>
            <p:cNvPr id="81" name="TextBox 80">
              <a:extLst>
                <a:ext uri="{FF2B5EF4-FFF2-40B4-BE49-F238E27FC236}">
                  <a16:creationId xmlns:a16="http://schemas.microsoft.com/office/drawing/2014/main" id="{0EA19C34-EA94-617D-2C98-5D74DDF1985C}"/>
                </a:ext>
              </a:extLst>
            </p:cNvPr>
            <p:cNvSpPr txBox="1"/>
            <p:nvPr/>
          </p:nvSpPr>
          <p:spPr>
            <a:xfrm>
              <a:off x="3943781"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39</a:t>
              </a:r>
            </a:p>
          </p:txBody>
        </p:sp>
        <p:sp>
          <p:nvSpPr>
            <p:cNvPr id="82" name="TextBox 81">
              <a:extLst>
                <a:ext uri="{FF2B5EF4-FFF2-40B4-BE49-F238E27FC236}">
                  <a16:creationId xmlns:a16="http://schemas.microsoft.com/office/drawing/2014/main" id="{AE992FC6-0C03-EAF8-9A9A-525C41969AC0}"/>
                </a:ext>
              </a:extLst>
            </p:cNvPr>
            <p:cNvSpPr txBox="1"/>
            <p:nvPr/>
          </p:nvSpPr>
          <p:spPr>
            <a:xfrm>
              <a:off x="417555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42</a:t>
              </a:r>
            </a:p>
          </p:txBody>
        </p:sp>
        <p:sp>
          <p:nvSpPr>
            <p:cNvPr id="83" name="TextBox 82">
              <a:extLst>
                <a:ext uri="{FF2B5EF4-FFF2-40B4-BE49-F238E27FC236}">
                  <a16:creationId xmlns:a16="http://schemas.microsoft.com/office/drawing/2014/main" id="{8AD168E1-A0A0-79C7-AAF0-9CC657F9490B}"/>
                </a:ext>
              </a:extLst>
            </p:cNvPr>
            <p:cNvSpPr txBox="1"/>
            <p:nvPr/>
          </p:nvSpPr>
          <p:spPr>
            <a:xfrm>
              <a:off x="440415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45</a:t>
              </a:r>
            </a:p>
          </p:txBody>
        </p:sp>
        <p:sp>
          <p:nvSpPr>
            <p:cNvPr id="84" name="TextBox 83">
              <a:extLst>
                <a:ext uri="{FF2B5EF4-FFF2-40B4-BE49-F238E27FC236}">
                  <a16:creationId xmlns:a16="http://schemas.microsoft.com/office/drawing/2014/main" id="{9809E082-1FC3-3F02-9159-A45F02346CB1}"/>
                </a:ext>
              </a:extLst>
            </p:cNvPr>
            <p:cNvSpPr txBox="1"/>
            <p:nvPr/>
          </p:nvSpPr>
          <p:spPr>
            <a:xfrm>
              <a:off x="463275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48</a:t>
              </a:r>
            </a:p>
          </p:txBody>
        </p:sp>
        <p:sp>
          <p:nvSpPr>
            <p:cNvPr id="85" name="TextBox 84">
              <a:extLst>
                <a:ext uri="{FF2B5EF4-FFF2-40B4-BE49-F238E27FC236}">
                  <a16:creationId xmlns:a16="http://schemas.microsoft.com/office/drawing/2014/main" id="{5BEF4D70-CE41-116C-9D1D-5B029DA1C358}"/>
                </a:ext>
              </a:extLst>
            </p:cNvPr>
            <p:cNvSpPr txBox="1"/>
            <p:nvPr/>
          </p:nvSpPr>
          <p:spPr>
            <a:xfrm>
              <a:off x="486135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51</a:t>
              </a:r>
            </a:p>
          </p:txBody>
        </p:sp>
        <p:sp>
          <p:nvSpPr>
            <p:cNvPr id="86" name="TextBox 85">
              <a:extLst>
                <a:ext uri="{FF2B5EF4-FFF2-40B4-BE49-F238E27FC236}">
                  <a16:creationId xmlns:a16="http://schemas.microsoft.com/office/drawing/2014/main" id="{60654FED-704A-5828-741E-A3958CD4AE00}"/>
                </a:ext>
              </a:extLst>
            </p:cNvPr>
            <p:cNvSpPr txBox="1"/>
            <p:nvPr/>
          </p:nvSpPr>
          <p:spPr>
            <a:xfrm>
              <a:off x="5096306"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54</a:t>
              </a:r>
            </a:p>
          </p:txBody>
        </p:sp>
        <p:sp>
          <p:nvSpPr>
            <p:cNvPr id="87" name="TextBox 86">
              <a:extLst>
                <a:ext uri="{FF2B5EF4-FFF2-40B4-BE49-F238E27FC236}">
                  <a16:creationId xmlns:a16="http://schemas.microsoft.com/office/drawing/2014/main" id="{119D1C8D-69B9-9E12-B961-633594D863DC}"/>
                </a:ext>
              </a:extLst>
            </p:cNvPr>
            <p:cNvSpPr txBox="1"/>
            <p:nvPr/>
          </p:nvSpPr>
          <p:spPr>
            <a:xfrm>
              <a:off x="5321731"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57</a:t>
              </a:r>
            </a:p>
          </p:txBody>
        </p:sp>
        <p:sp>
          <p:nvSpPr>
            <p:cNvPr id="88" name="TextBox 87">
              <a:extLst>
                <a:ext uri="{FF2B5EF4-FFF2-40B4-BE49-F238E27FC236}">
                  <a16:creationId xmlns:a16="http://schemas.microsoft.com/office/drawing/2014/main" id="{86E732B1-5F97-3BB9-2BDD-F412F2FF6899}"/>
                </a:ext>
              </a:extLst>
            </p:cNvPr>
            <p:cNvSpPr txBox="1"/>
            <p:nvPr/>
          </p:nvSpPr>
          <p:spPr>
            <a:xfrm>
              <a:off x="5556681" y="5222842"/>
              <a:ext cx="196850" cy="190240"/>
            </a:xfrm>
            <a:prstGeom prst="rect">
              <a:avLst/>
            </a:prstGeom>
            <a:noFill/>
          </p:spPr>
          <p:txBody>
            <a:bodyPr wrap="square" lIns="0" tIns="3600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
                  <a:ea typeface="+mn-ea"/>
                  <a:cs typeface="Arial" panose="020B0604020202020204" pitchFamily="34" charset="0"/>
                </a:rPr>
                <a:t>60</a:t>
              </a:r>
            </a:p>
          </p:txBody>
        </p:sp>
      </p:grpSp>
      <p:grpSp>
        <p:nvGrpSpPr>
          <p:cNvPr id="92" name="Group 91">
            <a:extLst>
              <a:ext uri="{FF2B5EF4-FFF2-40B4-BE49-F238E27FC236}">
                <a16:creationId xmlns:a16="http://schemas.microsoft.com/office/drawing/2014/main" id="{07BA973E-F31B-9837-9182-95949A0E4887}"/>
              </a:ext>
            </a:extLst>
          </p:cNvPr>
          <p:cNvGrpSpPr/>
          <p:nvPr/>
        </p:nvGrpSpPr>
        <p:grpSpPr>
          <a:xfrm>
            <a:off x="9346077" y="4176012"/>
            <a:ext cx="1653015" cy="438634"/>
            <a:chOff x="1988318" y="2075665"/>
            <a:chExt cx="978939" cy="333741"/>
          </a:xfrm>
        </p:grpSpPr>
        <p:sp>
          <p:nvSpPr>
            <p:cNvPr id="95" name="TextBox 94">
              <a:extLst>
                <a:ext uri="{FF2B5EF4-FFF2-40B4-BE49-F238E27FC236}">
                  <a16:creationId xmlns:a16="http://schemas.microsoft.com/office/drawing/2014/main" id="{216D985F-EB82-A9C3-15BA-F7F81FF1DA4C}"/>
                </a:ext>
              </a:extLst>
            </p:cNvPr>
            <p:cNvSpPr txBox="1"/>
            <p:nvPr/>
          </p:nvSpPr>
          <p:spPr>
            <a:xfrm>
              <a:off x="1988319" y="2075665"/>
              <a:ext cx="978938" cy="158869"/>
            </a:xfrm>
            <a:prstGeom prst="rect">
              <a:avLst/>
            </a:prstGeom>
            <a:solidFill>
              <a:srgbClr val="002060"/>
            </a:solidFill>
          </p:spPr>
          <p:txBody>
            <a:bodyPr wrap="square" lIns="36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5-year survival</a:t>
              </a:r>
            </a:p>
          </p:txBody>
        </p:sp>
        <p:sp>
          <p:nvSpPr>
            <p:cNvPr id="96" name="TextBox 95">
              <a:extLst>
                <a:ext uri="{FF2B5EF4-FFF2-40B4-BE49-F238E27FC236}">
                  <a16:creationId xmlns:a16="http://schemas.microsoft.com/office/drawing/2014/main" id="{B076876C-4DEC-6FF1-C91C-30E36F8890E8}"/>
                </a:ext>
              </a:extLst>
            </p:cNvPr>
            <p:cNvSpPr txBox="1"/>
            <p:nvPr/>
          </p:nvSpPr>
          <p:spPr>
            <a:xfrm>
              <a:off x="1988318" y="2229406"/>
              <a:ext cx="978938" cy="180000"/>
            </a:xfrm>
            <a:prstGeom prst="rect">
              <a:avLst/>
            </a:prstGeom>
            <a:solidFill>
              <a:schemeClr val="tx1"/>
            </a:solidFill>
          </p:spPr>
          <p:txBody>
            <a:bodyPr wrap="square" lIns="36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20" normalizeH="0" baseline="0" noProof="0">
                  <a:ln>
                    <a:noFill/>
                  </a:ln>
                  <a:solidFill>
                    <a:srgbClr val="FFFFFF"/>
                  </a:solidFill>
                  <a:effectLst/>
                  <a:uLnTx/>
                  <a:uFillTx/>
                  <a:latin typeface="Arial "/>
                  <a:ea typeface="+mn-ea"/>
                  <a:cs typeface="Arial" panose="020B0604020202020204" pitchFamily="34" charset="0"/>
                </a:rPr>
                <a:t>18% (95% CI, 14</a:t>
              </a:r>
              <a:r>
                <a:rPr kumimoji="0" lang="en-US" sz="1100" b="0" i="0" u="none" strike="noStrike" kern="1200" cap="none" spc="-20" normalizeH="0" baseline="0" noProof="0">
                  <a:ln>
                    <a:noFill/>
                  </a:ln>
                  <a:solidFill>
                    <a:srgbClr val="FFFFFF"/>
                  </a:solidFill>
                  <a:effectLst/>
                  <a:uLnTx/>
                  <a:uFillTx/>
                  <a:latin typeface="Arial "/>
                  <a:ea typeface="Calibri" panose="020F0502020204030204" pitchFamily="34" charset="0"/>
                  <a:cs typeface="Arial" panose="020B0604020202020204" pitchFamily="34" charset="0"/>
                </a:rPr>
                <a:t>–</a:t>
              </a:r>
              <a:r>
                <a:rPr kumimoji="0" lang="en-US" sz="1100" b="0" i="0" u="none" strike="noStrike" kern="1200" cap="none" spc="-20" normalizeH="0" baseline="0" noProof="0">
                  <a:ln>
                    <a:noFill/>
                  </a:ln>
                  <a:solidFill>
                    <a:srgbClr val="FFFFFF"/>
                  </a:solidFill>
                  <a:effectLst/>
                  <a:uLnTx/>
                  <a:uFillTx/>
                  <a:latin typeface="Arial "/>
                  <a:ea typeface="+mn-ea"/>
                  <a:cs typeface="Arial" panose="020B0604020202020204" pitchFamily="34" charset="0"/>
                </a:rPr>
                <a:t>24)</a:t>
              </a:r>
            </a:p>
          </p:txBody>
        </p:sp>
      </p:grpSp>
      <p:sp>
        <p:nvSpPr>
          <p:cNvPr id="93" name="Rectangle 92">
            <a:extLst>
              <a:ext uri="{FF2B5EF4-FFF2-40B4-BE49-F238E27FC236}">
                <a16:creationId xmlns:a16="http://schemas.microsoft.com/office/drawing/2014/main" id="{F11D18DE-3EE3-287F-269B-B14008520006}"/>
              </a:ext>
            </a:extLst>
          </p:cNvPr>
          <p:cNvSpPr>
            <a:spLocks/>
          </p:cNvSpPr>
          <p:nvPr/>
        </p:nvSpPr>
        <p:spPr>
          <a:xfrm>
            <a:off x="9291382" y="4151020"/>
            <a:ext cx="1762404" cy="486000"/>
          </a:xfrm>
          <a:prstGeom prst="rect">
            <a:avLst/>
          </a:prstGeom>
          <a:no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
              <a:ea typeface="+mn-ea"/>
              <a:cs typeface="Arial" panose="020B0604020202020204" pitchFamily="34" charset="0"/>
            </a:endParaRPr>
          </a:p>
        </p:txBody>
      </p:sp>
      <p:sp>
        <p:nvSpPr>
          <p:cNvPr id="94" name="Rectangle 93">
            <a:extLst>
              <a:ext uri="{FF2B5EF4-FFF2-40B4-BE49-F238E27FC236}">
                <a16:creationId xmlns:a16="http://schemas.microsoft.com/office/drawing/2014/main" id="{6BC54180-C753-EC18-6CB3-04A9FA50710A}"/>
              </a:ext>
            </a:extLst>
          </p:cNvPr>
          <p:cNvSpPr>
            <a:spLocks/>
          </p:cNvSpPr>
          <p:nvPr/>
        </p:nvSpPr>
        <p:spPr>
          <a:xfrm>
            <a:off x="9242381" y="4110274"/>
            <a:ext cx="1860406" cy="567312"/>
          </a:xfrm>
          <a:prstGeom prst="rect">
            <a:avLst/>
          </a:prstGeom>
          <a:no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endParaRPr>
          </a:p>
        </p:txBody>
      </p:sp>
      <p:grpSp>
        <p:nvGrpSpPr>
          <p:cNvPr id="97" name="Group 96">
            <a:extLst>
              <a:ext uri="{FF2B5EF4-FFF2-40B4-BE49-F238E27FC236}">
                <a16:creationId xmlns:a16="http://schemas.microsoft.com/office/drawing/2014/main" id="{1A4DD17F-089C-5B31-6E1D-A861799F99F8}"/>
              </a:ext>
            </a:extLst>
          </p:cNvPr>
          <p:cNvGrpSpPr/>
          <p:nvPr/>
        </p:nvGrpSpPr>
        <p:grpSpPr>
          <a:xfrm>
            <a:off x="1331036" y="2215389"/>
            <a:ext cx="7938791" cy="2575869"/>
            <a:chOff x="1151351" y="2054450"/>
            <a:chExt cx="4702723" cy="2522644"/>
          </a:xfrm>
        </p:grpSpPr>
        <p:sp>
          <p:nvSpPr>
            <p:cNvPr id="98" name="Freeform 128">
              <a:extLst>
                <a:ext uri="{FF2B5EF4-FFF2-40B4-BE49-F238E27FC236}">
                  <a16:creationId xmlns:a16="http://schemas.microsoft.com/office/drawing/2014/main" id="{BBFF3B85-9F5D-D444-BAA3-E8AE98787637}"/>
                </a:ext>
              </a:extLst>
            </p:cNvPr>
            <p:cNvSpPr/>
            <p:nvPr/>
          </p:nvSpPr>
          <p:spPr>
            <a:xfrm>
              <a:off x="1151351" y="2067013"/>
              <a:ext cx="4702723" cy="2463118"/>
            </a:xfrm>
            <a:custGeom>
              <a:avLst/>
              <a:gdLst>
                <a:gd name="connsiteX0" fmla="*/ 0 w 4702723"/>
                <a:gd name="connsiteY0" fmla="*/ 0 h 2463118"/>
                <a:gd name="connsiteX1" fmla="*/ 57052 w 4702723"/>
                <a:gd name="connsiteY1" fmla="*/ 46727 h 2463118"/>
                <a:gd name="connsiteX2" fmla="*/ 290474 w 4702723"/>
                <a:gd name="connsiteY2" fmla="*/ 262947 h 2463118"/>
                <a:gd name="connsiteX3" fmla="*/ 364781 w 4702723"/>
                <a:gd name="connsiteY3" fmla="*/ 295788 h 2463118"/>
                <a:gd name="connsiteX4" fmla="*/ 589538 w 4702723"/>
                <a:gd name="connsiteY4" fmla="*/ 441110 h 2463118"/>
                <a:gd name="connsiteX5" fmla="*/ 727873 w 4702723"/>
                <a:gd name="connsiteY5" fmla="*/ 486074 h 2463118"/>
                <a:gd name="connsiteX6" fmla="*/ 790139 w 4702723"/>
                <a:gd name="connsiteY6" fmla="*/ 551829 h 2463118"/>
                <a:gd name="connsiteX7" fmla="*/ 1025249 w 4702723"/>
                <a:gd name="connsiteY7" fmla="*/ 726539 h 2463118"/>
                <a:gd name="connsiteX8" fmla="*/ 1167035 w 4702723"/>
                <a:gd name="connsiteY8" fmla="*/ 833804 h 2463118"/>
                <a:gd name="connsiteX9" fmla="*/ 1224087 w 4702723"/>
                <a:gd name="connsiteY9" fmla="*/ 854596 h 2463118"/>
                <a:gd name="connsiteX10" fmla="*/ 1476526 w 4702723"/>
                <a:gd name="connsiteY10" fmla="*/ 1039665 h 2463118"/>
                <a:gd name="connsiteX11" fmla="*/ 1585417 w 4702723"/>
                <a:gd name="connsiteY11" fmla="*/ 1110563 h 2463118"/>
                <a:gd name="connsiteX12" fmla="*/ 1656273 w 4702723"/>
                <a:gd name="connsiteY12" fmla="*/ 1183225 h 2463118"/>
                <a:gd name="connsiteX13" fmla="*/ 1784182 w 4702723"/>
                <a:gd name="connsiteY13" fmla="*/ 1242074 h 2463118"/>
                <a:gd name="connsiteX14" fmla="*/ 1953649 w 4702723"/>
                <a:gd name="connsiteY14" fmla="*/ 1364914 h 2463118"/>
                <a:gd name="connsiteX15" fmla="*/ 2043523 w 4702723"/>
                <a:gd name="connsiteY15" fmla="*/ 1447935 h 2463118"/>
                <a:gd name="connsiteX16" fmla="*/ 2105788 w 4702723"/>
                <a:gd name="connsiteY16" fmla="*/ 1491208 h 2463118"/>
                <a:gd name="connsiteX17" fmla="*/ 2197424 w 4702723"/>
                <a:gd name="connsiteY17" fmla="*/ 1531029 h 2463118"/>
                <a:gd name="connsiteX18" fmla="*/ 2358227 w 4702723"/>
                <a:gd name="connsiteY18" fmla="*/ 1627935 h 2463118"/>
                <a:gd name="connsiteX19" fmla="*/ 2472331 w 4702723"/>
                <a:gd name="connsiteY19" fmla="*/ 1671208 h 2463118"/>
                <a:gd name="connsiteX20" fmla="*/ 2569180 w 4702723"/>
                <a:gd name="connsiteY20" fmla="*/ 1717935 h 2463118"/>
                <a:gd name="connsiteX21" fmla="*/ 2688498 w 4702723"/>
                <a:gd name="connsiteY21" fmla="*/ 1750776 h 2463118"/>
                <a:gd name="connsiteX22" fmla="*/ 2781896 w 4702723"/>
                <a:gd name="connsiteY22" fmla="*/ 1806098 h 2463118"/>
                <a:gd name="connsiteX23" fmla="*/ 2899451 w 4702723"/>
                <a:gd name="connsiteY23" fmla="*/ 1847608 h 2463118"/>
                <a:gd name="connsiteX24" fmla="*/ 3048139 w 4702723"/>
                <a:gd name="connsiteY24" fmla="*/ 1870090 h 2463118"/>
                <a:gd name="connsiteX25" fmla="*/ 3155341 w 4702723"/>
                <a:gd name="connsiteY25" fmla="*/ 1928939 h 2463118"/>
                <a:gd name="connsiteX26" fmla="*/ 3293676 w 4702723"/>
                <a:gd name="connsiteY26" fmla="*/ 1975665 h 2463118"/>
                <a:gd name="connsiteX27" fmla="*/ 3369746 w 4702723"/>
                <a:gd name="connsiteY27" fmla="*/ 2027535 h 2463118"/>
                <a:gd name="connsiteX28" fmla="*/ 3520196 w 4702723"/>
                <a:gd name="connsiteY28" fmla="*/ 2127894 h 2463118"/>
                <a:gd name="connsiteX29" fmla="*/ 3679237 w 4702723"/>
                <a:gd name="connsiteY29" fmla="*/ 2202245 h 2463118"/>
                <a:gd name="connsiteX30" fmla="*/ 3776086 w 4702723"/>
                <a:gd name="connsiteY30" fmla="*/ 2236849 h 2463118"/>
                <a:gd name="connsiteX31" fmla="*/ 3874624 w 4702723"/>
                <a:gd name="connsiteY31" fmla="*/ 2280123 h 2463118"/>
                <a:gd name="connsiteX32" fmla="*/ 4109734 w 4702723"/>
                <a:gd name="connsiteY32" fmla="*/ 2295698 h 2463118"/>
                <a:gd name="connsiteX33" fmla="*/ 4220387 w 4702723"/>
                <a:gd name="connsiteY33" fmla="*/ 2325086 h 2463118"/>
                <a:gd name="connsiteX34" fmla="*/ 4291244 w 4702723"/>
                <a:gd name="connsiteY34" fmla="*/ 2340661 h 2463118"/>
                <a:gd name="connsiteX35" fmla="*/ 4381117 w 4702723"/>
                <a:gd name="connsiteY35" fmla="*/ 2380482 h 2463118"/>
                <a:gd name="connsiteX36" fmla="*/ 4483106 w 4702723"/>
                <a:gd name="connsiteY36" fmla="*/ 2423755 h 2463118"/>
                <a:gd name="connsiteX37" fmla="*/ 4514239 w 4702723"/>
                <a:gd name="connsiteY37" fmla="*/ 2460049 h 2463118"/>
                <a:gd name="connsiteX38" fmla="*/ 4702724 w 4702723"/>
                <a:gd name="connsiteY38" fmla="*/ 2460049 h 246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02723" h="2463118">
                  <a:moveTo>
                    <a:pt x="0" y="0"/>
                  </a:moveTo>
                  <a:lnTo>
                    <a:pt x="57052" y="46727"/>
                  </a:lnTo>
                  <a:cubicBezTo>
                    <a:pt x="57052" y="46727"/>
                    <a:pt x="264554" y="259494"/>
                    <a:pt x="290474" y="262947"/>
                  </a:cubicBezTo>
                  <a:cubicBezTo>
                    <a:pt x="316393" y="266400"/>
                    <a:pt x="333722" y="269853"/>
                    <a:pt x="364781" y="295788"/>
                  </a:cubicBezTo>
                  <a:cubicBezTo>
                    <a:pt x="395840" y="321722"/>
                    <a:pt x="549741" y="425535"/>
                    <a:pt x="589538" y="441110"/>
                  </a:cubicBezTo>
                  <a:cubicBezTo>
                    <a:pt x="629335" y="456686"/>
                    <a:pt x="713996" y="482620"/>
                    <a:pt x="727873" y="486074"/>
                  </a:cubicBezTo>
                  <a:cubicBezTo>
                    <a:pt x="741751" y="489527"/>
                    <a:pt x="759006" y="508555"/>
                    <a:pt x="790139" y="551829"/>
                  </a:cubicBezTo>
                  <a:cubicBezTo>
                    <a:pt x="821271" y="595102"/>
                    <a:pt x="997641" y="707510"/>
                    <a:pt x="1025249" y="726539"/>
                  </a:cubicBezTo>
                  <a:cubicBezTo>
                    <a:pt x="1052857" y="745567"/>
                    <a:pt x="1146255" y="825135"/>
                    <a:pt x="1167035" y="833804"/>
                  </a:cubicBezTo>
                  <a:cubicBezTo>
                    <a:pt x="1187815" y="842473"/>
                    <a:pt x="1208521" y="833804"/>
                    <a:pt x="1224087" y="854596"/>
                  </a:cubicBezTo>
                  <a:cubicBezTo>
                    <a:pt x="1239653" y="875388"/>
                    <a:pt x="1452296" y="1018947"/>
                    <a:pt x="1476526" y="1039665"/>
                  </a:cubicBezTo>
                  <a:cubicBezTo>
                    <a:pt x="1500757" y="1060384"/>
                    <a:pt x="1561260" y="1096751"/>
                    <a:pt x="1585417" y="1110563"/>
                  </a:cubicBezTo>
                  <a:cubicBezTo>
                    <a:pt x="1609574" y="1124376"/>
                    <a:pt x="1628665" y="1165886"/>
                    <a:pt x="1656273" y="1183225"/>
                  </a:cubicBezTo>
                  <a:cubicBezTo>
                    <a:pt x="1683882" y="1200563"/>
                    <a:pt x="1741007" y="1207469"/>
                    <a:pt x="1784182" y="1242074"/>
                  </a:cubicBezTo>
                  <a:cubicBezTo>
                    <a:pt x="1827356" y="1276678"/>
                    <a:pt x="1931107" y="1344123"/>
                    <a:pt x="1953649" y="1364914"/>
                  </a:cubicBezTo>
                  <a:cubicBezTo>
                    <a:pt x="1976191" y="1385706"/>
                    <a:pt x="2036621" y="1434123"/>
                    <a:pt x="2043523" y="1447935"/>
                  </a:cubicBezTo>
                  <a:cubicBezTo>
                    <a:pt x="2050425" y="1461747"/>
                    <a:pt x="2076344" y="1487755"/>
                    <a:pt x="2105788" y="1491208"/>
                  </a:cubicBezTo>
                  <a:cubicBezTo>
                    <a:pt x="2135232" y="1494661"/>
                    <a:pt x="2166291" y="1503331"/>
                    <a:pt x="2197424" y="1531029"/>
                  </a:cubicBezTo>
                  <a:cubicBezTo>
                    <a:pt x="2228557" y="1558727"/>
                    <a:pt x="2337448" y="1615812"/>
                    <a:pt x="2358227" y="1627935"/>
                  </a:cubicBezTo>
                  <a:cubicBezTo>
                    <a:pt x="2379007" y="1640057"/>
                    <a:pt x="2444650" y="1643510"/>
                    <a:pt x="2472331" y="1671208"/>
                  </a:cubicBezTo>
                  <a:cubicBezTo>
                    <a:pt x="2500013" y="1698906"/>
                    <a:pt x="2538048" y="1716172"/>
                    <a:pt x="2569180" y="1717935"/>
                  </a:cubicBezTo>
                  <a:cubicBezTo>
                    <a:pt x="2600313" y="1719698"/>
                    <a:pt x="2648701" y="1726604"/>
                    <a:pt x="2688498" y="1750776"/>
                  </a:cubicBezTo>
                  <a:cubicBezTo>
                    <a:pt x="2728295" y="1774947"/>
                    <a:pt x="2754214" y="1795739"/>
                    <a:pt x="2781896" y="1806098"/>
                  </a:cubicBezTo>
                  <a:cubicBezTo>
                    <a:pt x="2809578" y="1816457"/>
                    <a:pt x="2856203" y="1838939"/>
                    <a:pt x="2899451" y="1847608"/>
                  </a:cubicBezTo>
                  <a:cubicBezTo>
                    <a:pt x="2942699" y="1856278"/>
                    <a:pt x="3017006" y="1863184"/>
                    <a:pt x="3048139" y="1870090"/>
                  </a:cubicBezTo>
                  <a:cubicBezTo>
                    <a:pt x="3079272" y="1876996"/>
                    <a:pt x="3134562" y="1909910"/>
                    <a:pt x="3155341" y="1928939"/>
                  </a:cubicBezTo>
                  <a:cubicBezTo>
                    <a:pt x="3176121" y="1947967"/>
                    <a:pt x="3276348" y="1970449"/>
                    <a:pt x="3293676" y="1975665"/>
                  </a:cubicBezTo>
                  <a:cubicBezTo>
                    <a:pt x="3311005" y="1980882"/>
                    <a:pt x="3338613" y="1998147"/>
                    <a:pt x="3369746" y="2027535"/>
                  </a:cubicBezTo>
                  <a:cubicBezTo>
                    <a:pt x="3400878" y="2056922"/>
                    <a:pt x="3480399" y="2103649"/>
                    <a:pt x="3520196" y="2127894"/>
                  </a:cubicBezTo>
                  <a:cubicBezTo>
                    <a:pt x="3559993" y="2152139"/>
                    <a:pt x="3644653" y="2190196"/>
                    <a:pt x="3679237" y="2202245"/>
                  </a:cubicBezTo>
                  <a:cubicBezTo>
                    <a:pt x="3713820" y="2214294"/>
                    <a:pt x="3755306" y="2207461"/>
                    <a:pt x="3776086" y="2236849"/>
                  </a:cubicBezTo>
                  <a:cubicBezTo>
                    <a:pt x="3796865" y="2266237"/>
                    <a:pt x="3853918" y="2280123"/>
                    <a:pt x="3874624" y="2280123"/>
                  </a:cubicBezTo>
                  <a:cubicBezTo>
                    <a:pt x="3895330" y="2280123"/>
                    <a:pt x="4061346" y="2288792"/>
                    <a:pt x="4109734" y="2295698"/>
                  </a:cubicBezTo>
                  <a:cubicBezTo>
                    <a:pt x="4158122" y="2302604"/>
                    <a:pt x="4206583" y="2316490"/>
                    <a:pt x="4220387" y="2325086"/>
                  </a:cubicBezTo>
                  <a:cubicBezTo>
                    <a:pt x="4234191" y="2333682"/>
                    <a:pt x="4277440" y="2335445"/>
                    <a:pt x="4291244" y="2340661"/>
                  </a:cubicBezTo>
                  <a:cubicBezTo>
                    <a:pt x="4305048" y="2345878"/>
                    <a:pt x="4369075" y="2363143"/>
                    <a:pt x="4381117" y="2380482"/>
                  </a:cubicBezTo>
                  <a:cubicBezTo>
                    <a:pt x="4393159" y="2397820"/>
                    <a:pt x="4467540" y="2416776"/>
                    <a:pt x="4483106" y="2423755"/>
                  </a:cubicBezTo>
                  <a:cubicBezTo>
                    <a:pt x="4498672" y="2430735"/>
                    <a:pt x="4483106" y="2453143"/>
                    <a:pt x="4514239" y="2460049"/>
                  </a:cubicBezTo>
                  <a:cubicBezTo>
                    <a:pt x="4545371" y="2466955"/>
                    <a:pt x="4702724" y="2460049"/>
                    <a:pt x="4702724" y="2460049"/>
                  </a:cubicBezTo>
                </a:path>
              </a:pathLst>
            </a:custGeom>
            <a:noFill/>
            <a:ln w="22022"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nvGrpSpPr>
            <p:cNvPr id="99" name="Graphic 126">
              <a:extLst>
                <a:ext uri="{FF2B5EF4-FFF2-40B4-BE49-F238E27FC236}">
                  <a16:creationId xmlns:a16="http://schemas.microsoft.com/office/drawing/2014/main" id="{8769E1E8-07E9-9EE4-29D0-C7978A9551D2}"/>
                </a:ext>
              </a:extLst>
            </p:cNvPr>
            <p:cNvGrpSpPr/>
            <p:nvPr/>
          </p:nvGrpSpPr>
          <p:grpSpPr>
            <a:xfrm>
              <a:off x="5758033" y="4481952"/>
              <a:ext cx="95086" cy="95142"/>
              <a:chOff x="5758033" y="4481952"/>
              <a:chExt cx="95086" cy="95142"/>
            </a:xfrm>
          </p:grpSpPr>
          <p:sp>
            <p:nvSpPr>
              <p:cNvPr id="716" name="Freeform 130">
                <a:extLst>
                  <a:ext uri="{FF2B5EF4-FFF2-40B4-BE49-F238E27FC236}">
                    <a16:creationId xmlns:a16="http://schemas.microsoft.com/office/drawing/2014/main" id="{2C4491F1-8D71-62B2-85C6-67E58476BC62}"/>
                  </a:ext>
                </a:extLst>
              </p:cNvPr>
              <p:cNvSpPr/>
              <p:nvPr/>
            </p:nvSpPr>
            <p:spPr>
              <a:xfrm>
                <a:off x="5805613" y="448195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17" name="Freeform 131">
                <a:extLst>
                  <a:ext uri="{FF2B5EF4-FFF2-40B4-BE49-F238E27FC236}">
                    <a16:creationId xmlns:a16="http://schemas.microsoft.com/office/drawing/2014/main" id="{9BDB3B04-B1E5-B6A5-B982-BBED0B8CF222}"/>
                  </a:ext>
                </a:extLst>
              </p:cNvPr>
              <p:cNvSpPr/>
              <p:nvPr/>
            </p:nvSpPr>
            <p:spPr>
              <a:xfrm>
                <a:off x="5758033" y="4529560"/>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00" name="Graphic 126">
              <a:extLst>
                <a:ext uri="{FF2B5EF4-FFF2-40B4-BE49-F238E27FC236}">
                  <a16:creationId xmlns:a16="http://schemas.microsoft.com/office/drawing/2014/main" id="{12207098-959C-FDCE-6A05-EAF91538261C}"/>
                </a:ext>
              </a:extLst>
            </p:cNvPr>
            <p:cNvGrpSpPr/>
            <p:nvPr/>
          </p:nvGrpSpPr>
          <p:grpSpPr>
            <a:xfrm>
              <a:off x="5631813" y="4481952"/>
              <a:ext cx="95086" cy="95142"/>
              <a:chOff x="5631813" y="4481952"/>
              <a:chExt cx="95086" cy="95142"/>
            </a:xfrm>
          </p:grpSpPr>
          <p:sp>
            <p:nvSpPr>
              <p:cNvPr id="714" name="Freeform 133">
                <a:extLst>
                  <a:ext uri="{FF2B5EF4-FFF2-40B4-BE49-F238E27FC236}">
                    <a16:creationId xmlns:a16="http://schemas.microsoft.com/office/drawing/2014/main" id="{18C522FD-1019-FA41-65AD-2FEDB32D9947}"/>
                  </a:ext>
                </a:extLst>
              </p:cNvPr>
              <p:cNvSpPr/>
              <p:nvPr/>
            </p:nvSpPr>
            <p:spPr>
              <a:xfrm>
                <a:off x="5679394" y="448195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15" name="Freeform 134">
                <a:extLst>
                  <a:ext uri="{FF2B5EF4-FFF2-40B4-BE49-F238E27FC236}">
                    <a16:creationId xmlns:a16="http://schemas.microsoft.com/office/drawing/2014/main" id="{0B571835-A035-C64F-2967-E6452EF2A4E4}"/>
                  </a:ext>
                </a:extLst>
              </p:cNvPr>
              <p:cNvSpPr/>
              <p:nvPr/>
            </p:nvSpPr>
            <p:spPr>
              <a:xfrm>
                <a:off x="5631813" y="4529560"/>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01" name="Graphic 126">
              <a:extLst>
                <a:ext uri="{FF2B5EF4-FFF2-40B4-BE49-F238E27FC236}">
                  <a16:creationId xmlns:a16="http://schemas.microsoft.com/office/drawing/2014/main" id="{5EC80668-2FAF-1C92-1C3A-C1B13C543C7E}"/>
                </a:ext>
              </a:extLst>
            </p:cNvPr>
            <p:cNvGrpSpPr/>
            <p:nvPr/>
          </p:nvGrpSpPr>
          <p:grpSpPr>
            <a:xfrm>
              <a:off x="5600681" y="4438752"/>
              <a:ext cx="95086" cy="95142"/>
              <a:chOff x="5600681" y="4438752"/>
              <a:chExt cx="95086" cy="95142"/>
            </a:xfrm>
          </p:grpSpPr>
          <p:sp>
            <p:nvSpPr>
              <p:cNvPr id="712" name="Freeform 136">
                <a:extLst>
                  <a:ext uri="{FF2B5EF4-FFF2-40B4-BE49-F238E27FC236}">
                    <a16:creationId xmlns:a16="http://schemas.microsoft.com/office/drawing/2014/main" id="{32CBC6D8-537A-F2B2-1C9A-BA1249060C2A}"/>
                  </a:ext>
                </a:extLst>
              </p:cNvPr>
              <p:cNvSpPr/>
              <p:nvPr/>
            </p:nvSpPr>
            <p:spPr>
              <a:xfrm>
                <a:off x="5648261" y="443875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13" name="Freeform 137">
                <a:extLst>
                  <a:ext uri="{FF2B5EF4-FFF2-40B4-BE49-F238E27FC236}">
                    <a16:creationId xmlns:a16="http://schemas.microsoft.com/office/drawing/2014/main" id="{D81D24D1-7048-84B1-A0B9-8D108B7D45FA}"/>
                  </a:ext>
                </a:extLst>
              </p:cNvPr>
              <p:cNvSpPr/>
              <p:nvPr/>
            </p:nvSpPr>
            <p:spPr>
              <a:xfrm>
                <a:off x="5600681" y="4486286"/>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02" name="Graphic 126">
              <a:extLst>
                <a:ext uri="{FF2B5EF4-FFF2-40B4-BE49-F238E27FC236}">
                  <a16:creationId xmlns:a16="http://schemas.microsoft.com/office/drawing/2014/main" id="{438E16CA-6A8A-2509-640B-2CB31CA60FFC}"/>
                </a:ext>
              </a:extLst>
            </p:cNvPr>
            <p:cNvGrpSpPr/>
            <p:nvPr/>
          </p:nvGrpSpPr>
          <p:grpSpPr>
            <a:xfrm>
              <a:off x="5564408" y="4442205"/>
              <a:ext cx="95086" cy="95142"/>
              <a:chOff x="5564408" y="4442205"/>
              <a:chExt cx="95086" cy="95142"/>
            </a:xfrm>
          </p:grpSpPr>
          <p:sp>
            <p:nvSpPr>
              <p:cNvPr id="710" name="Freeform 139">
                <a:extLst>
                  <a:ext uri="{FF2B5EF4-FFF2-40B4-BE49-F238E27FC236}">
                    <a16:creationId xmlns:a16="http://schemas.microsoft.com/office/drawing/2014/main" id="{113538A8-E6FA-3630-F554-751D421A20F7}"/>
                  </a:ext>
                </a:extLst>
              </p:cNvPr>
              <p:cNvSpPr/>
              <p:nvPr/>
            </p:nvSpPr>
            <p:spPr>
              <a:xfrm>
                <a:off x="5611988" y="444220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11" name="Freeform 140">
                <a:extLst>
                  <a:ext uri="{FF2B5EF4-FFF2-40B4-BE49-F238E27FC236}">
                    <a16:creationId xmlns:a16="http://schemas.microsoft.com/office/drawing/2014/main" id="{2250F819-51FB-67B8-E2C7-8250EB35CC6B}"/>
                  </a:ext>
                </a:extLst>
              </p:cNvPr>
              <p:cNvSpPr/>
              <p:nvPr/>
            </p:nvSpPr>
            <p:spPr>
              <a:xfrm>
                <a:off x="5564408" y="4489739"/>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03" name="Graphic 126">
              <a:extLst>
                <a:ext uri="{FF2B5EF4-FFF2-40B4-BE49-F238E27FC236}">
                  <a16:creationId xmlns:a16="http://schemas.microsoft.com/office/drawing/2014/main" id="{B7CEBB2D-BF8E-DBDA-3AAB-E5C0617C1010}"/>
                </a:ext>
              </a:extLst>
            </p:cNvPr>
            <p:cNvGrpSpPr/>
            <p:nvPr/>
          </p:nvGrpSpPr>
          <p:grpSpPr>
            <a:xfrm>
              <a:off x="5533276" y="4440441"/>
              <a:ext cx="95086" cy="95142"/>
              <a:chOff x="5533276" y="4440441"/>
              <a:chExt cx="95086" cy="95142"/>
            </a:xfrm>
          </p:grpSpPr>
          <p:sp>
            <p:nvSpPr>
              <p:cNvPr id="708" name="Freeform 142">
                <a:extLst>
                  <a:ext uri="{FF2B5EF4-FFF2-40B4-BE49-F238E27FC236}">
                    <a16:creationId xmlns:a16="http://schemas.microsoft.com/office/drawing/2014/main" id="{45ED3888-1B56-E624-25CF-A742DA070477}"/>
                  </a:ext>
                </a:extLst>
              </p:cNvPr>
              <p:cNvSpPr/>
              <p:nvPr/>
            </p:nvSpPr>
            <p:spPr>
              <a:xfrm>
                <a:off x="5580856" y="444044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09" name="Freeform 143">
                <a:extLst>
                  <a:ext uri="{FF2B5EF4-FFF2-40B4-BE49-F238E27FC236}">
                    <a16:creationId xmlns:a16="http://schemas.microsoft.com/office/drawing/2014/main" id="{8F057112-7B91-6CE0-0B77-A49F80404E6B}"/>
                  </a:ext>
                </a:extLst>
              </p:cNvPr>
              <p:cNvSpPr/>
              <p:nvPr/>
            </p:nvSpPr>
            <p:spPr>
              <a:xfrm>
                <a:off x="5533276" y="4488050"/>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04" name="Graphic 126">
              <a:extLst>
                <a:ext uri="{FF2B5EF4-FFF2-40B4-BE49-F238E27FC236}">
                  <a16:creationId xmlns:a16="http://schemas.microsoft.com/office/drawing/2014/main" id="{2334C7E6-0C96-E63B-660B-DB8CE6AF1294}"/>
                </a:ext>
              </a:extLst>
            </p:cNvPr>
            <p:cNvGrpSpPr/>
            <p:nvPr/>
          </p:nvGrpSpPr>
          <p:grpSpPr>
            <a:xfrm>
              <a:off x="5488339" y="4412817"/>
              <a:ext cx="95086" cy="95142"/>
              <a:chOff x="5488339" y="4412817"/>
              <a:chExt cx="95086" cy="95142"/>
            </a:xfrm>
          </p:grpSpPr>
          <p:sp>
            <p:nvSpPr>
              <p:cNvPr id="706" name="Freeform 145">
                <a:extLst>
                  <a:ext uri="{FF2B5EF4-FFF2-40B4-BE49-F238E27FC236}">
                    <a16:creationId xmlns:a16="http://schemas.microsoft.com/office/drawing/2014/main" id="{8C17A57C-0800-B1C9-9AB2-56359990CA3D}"/>
                  </a:ext>
                </a:extLst>
              </p:cNvPr>
              <p:cNvSpPr/>
              <p:nvPr/>
            </p:nvSpPr>
            <p:spPr>
              <a:xfrm>
                <a:off x="5535846" y="44128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07" name="Freeform 146">
                <a:extLst>
                  <a:ext uri="{FF2B5EF4-FFF2-40B4-BE49-F238E27FC236}">
                    <a16:creationId xmlns:a16="http://schemas.microsoft.com/office/drawing/2014/main" id="{22F87423-F9E1-CBCD-D737-494DA78406B2}"/>
                  </a:ext>
                </a:extLst>
              </p:cNvPr>
              <p:cNvSpPr/>
              <p:nvPr/>
            </p:nvSpPr>
            <p:spPr>
              <a:xfrm>
                <a:off x="5488339" y="4460352"/>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05" name="Graphic 126">
              <a:extLst>
                <a:ext uri="{FF2B5EF4-FFF2-40B4-BE49-F238E27FC236}">
                  <a16:creationId xmlns:a16="http://schemas.microsoft.com/office/drawing/2014/main" id="{67478F51-6CE6-F900-6081-A9AD0894FDBC}"/>
                </a:ext>
              </a:extLst>
            </p:cNvPr>
            <p:cNvGrpSpPr/>
            <p:nvPr/>
          </p:nvGrpSpPr>
          <p:grpSpPr>
            <a:xfrm>
              <a:off x="5436500" y="4386809"/>
              <a:ext cx="95086" cy="95142"/>
              <a:chOff x="5436500" y="4386809"/>
              <a:chExt cx="95086" cy="95142"/>
            </a:xfrm>
          </p:grpSpPr>
          <p:sp>
            <p:nvSpPr>
              <p:cNvPr id="704" name="Freeform 148">
                <a:extLst>
                  <a:ext uri="{FF2B5EF4-FFF2-40B4-BE49-F238E27FC236}">
                    <a16:creationId xmlns:a16="http://schemas.microsoft.com/office/drawing/2014/main" id="{16E44F26-B8A7-DFD9-6DA3-10ADB50A5642}"/>
                  </a:ext>
                </a:extLst>
              </p:cNvPr>
              <p:cNvSpPr/>
              <p:nvPr/>
            </p:nvSpPr>
            <p:spPr>
              <a:xfrm>
                <a:off x="5484007" y="438680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05" name="Freeform 149">
                <a:extLst>
                  <a:ext uri="{FF2B5EF4-FFF2-40B4-BE49-F238E27FC236}">
                    <a16:creationId xmlns:a16="http://schemas.microsoft.com/office/drawing/2014/main" id="{AD1E5095-8501-A4EF-BC98-09B48526E7C8}"/>
                  </a:ext>
                </a:extLst>
              </p:cNvPr>
              <p:cNvSpPr/>
              <p:nvPr/>
            </p:nvSpPr>
            <p:spPr>
              <a:xfrm>
                <a:off x="5436500" y="443441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06" name="Graphic 126">
              <a:extLst>
                <a:ext uri="{FF2B5EF4-FFF2-40B4-BE49-F238E27FC236}">
                  <a16:creationId xmlns:a16="http://schemas.microsoft.com/office/drawing/2014/main" id="{7E3E8E2B-1D58-4676-D55D-096902535103}"/>
                </a:ext>
              </a:extLst>
            </p:cNvPr>
            <p:cNvGrpSpPr/>
            <p:nvPr/>
          </p:nvGrpSpPr>
          <p:grpSpPr>
            <a:xfrm>
              <a:off x="5372472" y="4353968"/>
              <a:ext cx="95086" cy="95142"/>
              <a:chOff x="5372472" y="4353968"/>
              <a:chExt cx="95086" cy="95142"/>
            </a:xfrm>
          </p:grpSpPr>
          <p:sp>
            <p:nvSpPr>
              <p:cNvPr id="702" name="Freeform 151">
                <a:extLst>
                  <a:ext uri="{FF2B5EF4-FFF2-40B4-BE49-F238E27FC236}">
                    <a16:creationId xmlns:a16="http://schemas.microsoft.com/office/drawing/2014/main" id="{CA42AB8F-FE08-E987-D341-31769458BE34}"/>
                  </a:ext>
                </a:extLst>
              </p:cNvPr>
              <p:cNvSpPr/>
              <p:nvPr/>
            </p:nvSpPr>
            <p:spPr>
              <a:xfrm>
                <a:off x="5420053" y="435396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03" name="Freeform 152">
                <a:extLst>
                  <a:ext uri="{FF2B5EF4-FFF2-40B4-BE49-F238E27FC236}">
                    <a16:creationId xmlns:a16="http://schemas.microsoft.com/office/drawing/2014/main" id="{48E91422-4B18-2CC5-9124-6C7B1084E83E}"/>
                  </a:ext>
                </a:extLst>
              </p:cNvPr>
              <p:cNvSpPr/>
              <p:nvPr/>
            </p:nvSpPr>
            <p:spPr>
              <a:xfrm>
                <a:off x="5372472" y="4401576"/>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07" name="Graphic 126">
              <a:extLst>
                <a:ext uri="{FF2B5EF4-FFF2-40B4-BE49-F238E27FC236}">
                  <a16:creationId xmlns:a16="http://schemas.microsoft.com/office/drawing/2014/main" id="{891501E3-AE33-BC3D-47F4-072FFE7077DC}"/>
                </a:ext>
              </a:extLst>
            </p:cNvPr>
            <p:cNvGrpSpPr/>
            <p:nvPr/>
          </p:nvGrpSpPr>
          <p:grpSpPr>
            <a:xfrm>
              <a:off x="5329298" y="4355731"/>
              <a:ext cx="95086" cy="95142"/>
              <a:chOff x="5329298" y="4355731"/>
              <a:chExt cx="95086" cy="95142"/>
            </a:xfrm>
          </p:grpSpPr>
          <p:sp>
            <p:nvSpPr>
              <p:cNvPr id="700" name="Freeform 154">
                <a:extLst>
                  <a:ext uri="{FF2B5EF4-FFF2-40B4-BE49-F238E27FC236}">
                    <a16:creationId xmlns:a16="http://schemas.microsoft.com/office/drawing/2014/main" id="{5BD26ADB-2730-06B3-BC37-C9967F8C8E9F}"/>
                  </a:ext>
                </a:extLst>
              </p:cNvPr>
              <p:cNvSpPr/>
              <p:nvPr/>
            </p:nvSpPr>
            <p:spPr>
              <a:xfrm>
                <a:off x="5376805" y="435573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701" name="Freeform 155">
                <a:extLst>
                  <a:ext uri="{FF2B5EF4-FFF2-40B4-BE49-F238E27FC236}">
                    <a16:creationId xmlns:a16="http://schemas.microsoft.com/office/drawing/2014/main" id="{073DC136-F2A4-6828-63B3-5D7247E5989A}"/>
                  </a:ext>
                </a:extLst>
              </p:cNvPr>
              <p:cNvSpPr/>
              <p:nvPr/>
            </p:nvSpPr>
            <p:spPr>
              <a:xfrm>
                <a:off x="5329298" y="4403266"/>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08" name="Graphic 126">
              <a:extLst>
                <a:ext uri="{FF2B5EF4-FFF2-40B4-BE49-F238E27FC236}">
                  <a16:creationId xmlns:a16="http://schemas.microsoft.com/office/drawing/2014/main" id="{B6998E81-850E-B0DB-6917-FFCAA46A8771}"/>
                </a:ext>
              </a:extLst>
            </p:cNvPr>
            <p:cNvGrpSpPr/>
            <p:nvPr/>
          </p:nvGrpSpPr>
          <p:grpSpPr>
            <a:xfrm>
              <a:off x="5279148" y="4334939"/>
              <a:ext cx="95086" cy="95142"/>
              <a:chOff x="5279148" y="4334939"/>
              <a:chExt cx="95086" cy="95142"/>
            </a:xfrm>
          </p:grpSpPr>
          <p:sp>
            <p:nvSpPr>
              <p:cNvPr id="698" name="Freeform 157">
                <a:extLst>
                  <a:ext uri="{FF2B5EF4-FFF2-40B4-BE49-F238E27FC236}">
                    <a16:creationId xmlns:a16="http://schemas.microsoft.com/office/drawing/2014/main" id="{94B29CEA-63EF-53EE-27F4-218A4CEC67B8}"/>
                  </a:ext>
                </a:extLst>
              </p:cNvPr>
              <p:cNvSpPr/>
              <p:nvPr/>
            </p:nvSpPr>
            <p:spPr>
              <a:xfrm>
                <a:off x="5326654" y="433493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99" name="Freeform 158">
                <a:extLst>
                  <a:ext uri="{FF2B5EF4-FFF2-40B4-BE49-F238E27FC236}">
                    <a16:creationId xmlns:a16="http://schemas.microsoft.com/office/drawing/2014/main" id="{90F8AEAF-B8A6-1E22-22A4-9D22D8376B32}"/>
                  </a:ext>
                </a:extLst>
              </p:cNvPr>
              <p:cNvSpPr/>
              <p:nvPr/>
            </p:nvSpPr>
            <p:spPr>
              <a:xfrm>
                <a:off x="5279148" y="4382474"/>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09" name="Graphic 126">
              <a:extLst>
                <a:ext uri="{FF2B5EF4-FFF2-40B4-BE49-F238E27FC236}">
                  <a16:creationId xmlns:a16="http://schemas.microsoft.com/office/drawing/2014/main" id="{00F19C70-2F54-BEA9-9130-BBB7F57C4EFA}"/>
                </a:ext>
              </a:extLst>
            </p:cNvPr>
            <p:cNvGrpSpPr/>
            <p:nvPr/>
          </p:nvGrpSpPr>
          <p:grpSpPr>
            <a:xfrm>
              <a:off x="5254917" y="4333176"/>
              <a:ext cx="95086" cy="95142"/>
              <a:chOff x="5254917" y="4333176"/>
              <a:chExt cx="95086" cy="95142"/>
            </a:xfrm>
          </p:grpSpPr>
          <p:sp>
            <p:nvSpPr>
              <p:cNvPr id="696" name="Freeform 160">
                <a:extLst>
                  <a:ext uri="{FF2B5EF4-FFF2-40B4-BE49-F238E27FC236}">
                    <a16:creationId xmlns:a16="http://schemas.microsoft.com/office/drawing/2014/main" id="{07C44187-4D52-9E34-57CB-BEBAD69F1E39}"/>
                  </a:ext>
                </a:extLst>
              </p:cNvPr>
              <p:cNvSpPr/>
              <p:nvPr/>
            </p:nvSpPr>
            <p:spPr>
              <a:xfrm>
                <a:off x="5302497" y="433317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97" name="Freeform 161">
                <a:extLst>
                  <a:ext uri="{FF2B5EF4-FFF2-40B4-BE49-F238E27FC236}">
                    <a16:creationId xmlns:a16="http://schemas.microsoft.com/office/drawing/2014/main" id="{80601CA4-F299-7C6B-D54D-7BCEBB8E1EDF}"/>
                  </a:ext>
                </a:extLst>
              </p:cNvPr>
              <p:cNvSpPr/>
              <p:nvPr/>
            </p:nvSpPr>
            <p:spPr>
              <a:xfrm>
                <a:off x="5254917" y="4380784"/>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10" name="Graphic 126">
              <a:extLst>
                <a:ext uri="{FF2B5EF4-FFF2-40B4-BE49-F238E27FC236}">
                  <a16:creationId xmlns:a16="http://schemas.microsoft.com/office/drawing/2014/main" id="{613CE866-CF21-CE51-D74F-AC3DEF8DBF5D}"/>
                </a:ext>
              </a:extLst>
            </p:cNvPr>
            <p:cNvGrpSpPr/>
            <p:nvPr/>
          </p:nvGrpSpPr>
          <p:grpSpPr>
            <a:xfrm>
              <a:off x="5275697" y="4321127"/>
              <a:ext cx="95086" cy="95142"/>
              <a:chOff x="5275697" y="4321127"/>
              <a:chExt cx="95086" cy="95142"/>
            </a:xfrm>
          </p:grpSpPr>
          <p:sp>
            <p:nvSpPr>
              <p:cNvPr id="694" name="Freeform 163">
                <a:extLst>
                  <a:ext uri="{FF2B5EF4-FFF2-40B4-BE49-F238E27FC236}">
                    <a16:creationId xmlns:a16="http://schemas.microsoft.com/office/drawing/2014/main" id="{D53AB40D-AC7C-5B40-5816-27B5482E9085}"/>
                  </a:ext>
                </a:extLst>
              </p:cNvPr>
              <p:cNvSpPr/>
              <p:nvPr/>
            </p:nvSpPr>
            <p:spPr>
              <a:xfrm>
                <a:off x="5323203" y="432112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95" name="Freeform 164">
                <a:extLst>
                  <a:ext uri="{FF2B5EF4-FFF2-40B4-BE49-F238E27FC236}">
                    <a16:creationId xmlns:a16="http://schemas.microsoft.com/office/drawing/2014/main" id="{A1D24CB6-C47F-5A16-B154-D3D430AB812A}"/>
                  </a:ext>
                </a:extLst>
              </p:cNvPr>
              <p:cNvSpPr/>
              <p:nvPr/>
            </p:nvSpPr>
            <p:spPr>
              <a:xfrm>
                <a:off x="5275697" y="4368662"/>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11" name="Graphic 126">
              <a:extLst>
                <a:ext uri="{FF2B5EF4-FFF2-40B4-BE49-F238E27FC236}">
                  <a16:creationId xmlns:a16="http://schemas.microsoft.com/office/drawing/2014/main" id="{1356E1A6-BAAC-34A2-853B-198436A7A587}"/>
                </a:ext>
              </a:extLst>
            </p:cNvPr>
            <p:cNvGrpSpPr/>
            <p:nvPr/>
          </p:nvGrpSpPr>
          <p:grpSpPr>
            <a:xfrm>
              <a:off x="5225547" y="4333176"/>
              <a:ext cx="95086" cy="95142"/>
              <a:chOff x="5225547" y="4333176"/>
              <a:chExt cx="95086" cy="95142"/>
            </a:xfrm>
          </p:grpSpPr>
          <p:sp>
            <p:nvSpPr>
              <p:cNvPr id="692" name="Freeform 166">
                <a:extLst>
                  <a:ext uri="{FF2B5EF4-FFF2-40B4-BE49-F238E27FC236}">
                    <a16:creationId xmlns:a16="http://schemas.microsoft.com/office/drawing/2014/main" id="{D64B2DEC-C03C-E36E-CBA8-ADAF503226F4}"/>
                  </a:ext>
                </a:extLst>
              </p:cNvPr>
              <p:cNvSpPr/>
              <p:nvPr/>
            </p:nvSpPr>
            <p:spPr>
              <a:xfrm>
                <a:off x="5273053" y="433317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93" name="Freeform 167">
                <a:extLst>
                  <a:ext uri="{FF2B5EF4-FFF2-40B4-BE49-F238E27FC236}">
                    <a16:creationId xmlns:a16="http://schemas.microsoft.com/office/drawing/2014/main" id="{D078057A-3487-59A3-44DA-6CF6CBEF1CFE}"/>
                  </a:ext>
                </a:extLst>
              </p:cNvPr>
              <p:cNvSpPr/>
              <p:nvPr/>
            </p:nvSpPr>
            <p:spPr>
              <a:xfrm>
                <a:off x="5225547" y="4380784"/>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12" name="Graphic 126">
              <a:extLst>
                <a:ext uri="{FF2B5EF4-FFF2-40B4-BE49-F238E27FC236}">
                  <a16:creationId xmlns:a16="http://schemas.microsoft.com/office/drawing/2014/main" id="{5CDE367B-5A65-48BB-03C8-90E0DFA1E867}"/>
                </a:ext>
              </a:extLst>
            </p:cNvPr>
            <p:cNvGrpSpPr/>
            <p:nvPr/>
          </p:nvGrpSpPr>
          <p:grpSpPr>
            <a:xfrm>
              <a:off x="5201316" y="4310694"/>
              <a:ext cx="95086" cy="95142"/>
              <a:chOff x="5201316" y="4310694"/>
              <a:chExt cx="95086" cy="95142"/>
            </a:xfrm>
          </p:grpSpPr>
          <p:sp>
            <p:nvSpPr>
              <p:cNvPr id="690" name="Freeform 169">
                <a:extLst>
                  <a:ext uri="{FF2B5EF4-FFF2-40B4-BE49-F238E27FC236}">
                    <a16:creationId xmlns:a16="http://schemas.microsoft.com/office/drawing/2014/main" id="{10215FBA-5835-13AB-BD04-530117164880}"/>
                  </a:ext>
                </a:extLst>
              </p:cNvPr>
              <p:cNvSpPr/>
              <p:nvPr/>
            </p:nvSpPr>
            <p:spPr>
              <a:xfrm>
                <a:off x="5248896" y="431069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91" name="Freeform 170">
                <a:extLst>
                  <a:ext uri="{FF2B5EF4-FFF2-40B4-BE49-F238E27FC236}">
                    <a16:creationId xmlns:a16="http://schemas.microsoft.com/office/drawing/2014/main" id="{5A48B931-DC22-16DA-A31D-66DCCE580697}"/>
                  </a:ext>
                </a:extLst>
              </p:cNvPr>
              <p:cNvSpPr/>
              <p:nvPr/>
            </p:nvSpPr>
            <p:spPr>
              <a:xfrm>
                <a:off x="5201316" y="4358303"/>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13" name="Graphic 126">
              <a:extLst>
                <a:ext uri="{FF2B5EF4-FFF2-40B4-BE49-F238E27FC236}">
                  <a16:creationId xmlns:a16="http://schemas.microsoft.com/office/drawing/2014/main" id="{1B8504C7-1AE7-4E10-3607-5198825130ED}"/>
                </a:ext>
              </a:extLst>
            </p:cNvPr>
            <p:cNvGrpSpPr/>
            <p:nvPr/>
          </p:nvGrpSpPr>
          <p:grpSpPr>
            <a:xfrm>
              <a:off x="5180610" y="4312458"/>
              <a:ext cx="95086" cy="95142"/>
              <a:chOff x="5180610" y="4312458"/>
              <a:chExt cx="95086" cy="95142"/>
            </a:xfrm>
          </p:grpSpPr>
          <p:sp>
            <p:nvSpPr>
              <p:cNvPr id="688" name="Freeform 172">
                <a:extLst>
                  <a:ext uri="{FF2B5EF4-FFF2-40B4-BE49-F238E27FC236}">
                    <a16:creationId xmlns:a16="http://schemas.microsoft.com/office/drawing/2014/main" id="{689757EA-4609-0134-1DF7-88B9D0072F60}"/>
                  </a:ext>
                </a:extLst>
              </p:cNvPr>
              <p:cNvSpPr/>
              <p:nvPr/>
            </p:nvSpPr>
            <p:spPr>
              <a:xfrm>
                <a:off x="5228117" y="43124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89" name="Freeform 173">
                <a:extLst>
                  <a:ext uri="{FF2B5EF4-FFF2-40B4-BE49-F238E27FC236}">
                    <a16:creationId xmlns:a16="http://schemas.microsoft.com/office/drawing/2014/main" id="{62109086-3765-021C-51DE-BA57C9306976}"/>
                  </a:ext>
                </a:extLst>
              </p:cNvPr>
              <p:cNvSpPr/>
              <p:nvPr/>
            </p:nvSpPr>
            <p:spPr>
              <a:xfrm>
                <a:off x="5180610" y="4359992"/>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14" name="Graphic 126">
              <a:extLst>
                <a:ext uri="{FF2B5EF4-FFF2-40B4-BE49-F238E27FC236}">
                  <a16:creationId xmlns:a16="http://schemas.microsoft.com/office/drawing/2014/main" id="{2363ED91-F59E-D4E0-FFD1-AD59E8836091}"/>
                </a:ext>
              </a:extLst>
            </p:cNvPr>
            <p:cNvGrpSpPr/>
            <p:nvPr/>
          </p:nvGrpSpPr>
          <p:grpSpPr>
            <a:xfrm>
              <a:off x="5156379" y="4312458"/>
              <a:ext cx="95086" cy="95142"/>
              <a:chOff x="5156379" y="4312458"/>
              <a:chExt cx="95086" cy="95142"/>
            </a:xfrm>
          </p:grpSpPr>
          <p:sp>
            <p:nvSpPr>
              <p:cNvPr id="686" name="Freeform 175">
                <a:extLst>
                  <a:ext uri="{FF2B5EF4-FFF2-40B4-BE49-F238E27FC236}">
                    <a16:creationId xmlns:a16="http://schemas.microsoft.com/office/drawing/2014/main" id="{669BD88A-D134-4DAF-77D9-D68FFEA4656C}"/>
                  </a:ext>
                </a:extLst>
              </p:cNvPr>
              <p:cNvSpPr/>
              <p:nvPr/>
            </p:nvSpPr>
            <p:spPr>
              <a:xfrm>
                <a:off x="5203959" y="43124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87" name="Freeform 176">
                <a:extLst>
                  <a:ext uri="{FF2B5EF4-FFF2-40B4-BE49-F238E27FC236}">
                    <a16:creationId xmlns:a16="http://schemas.microsoft.com/office/drawing/2014/main" id="{12E45833-87D9-0EF0-CBE2-EC003222A3F1}"/>
                  </a:ext>
                </a:extLst>
              </p:cNvPr>
              <p:cNvSpPr/>
              <p:nvPr/>
            </p:nvSpPr>
            <p:spPr>
              <a:xfrm>
                <a:off x="5156379" y="4359992"/>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15" name="Graphic 126">
              <a:extLst>
                <a:ext uri="{FF2B5EF4-FFF2-40B4-BE49-F238E27FC236}">
                  <a16:creationId xmlns:a16="http://schemas.microsoft.com/office/drawing/2014/main" id="{EE3B7F8A-559F-9374-FB77-559CA75E61E1}"/>
                </a:ext>
              </a:extLst>
            </p:cNvPr>
            <p:cNvGrpSpPr/>
            <p:nvPr/>
          </p:nvGrpSpPr>
          <p:grpSpPr>
            <a:xfrm>
              <a:off x="5128698" y="4312458"/>
              <a:ext cx="95086" cy="95142"/>
              <a:chOff x="5128698" y="4312458"/>
              <a:chExt cx="95086" cy="95142"/>
            </a:xfrm>
          </p:grpSpPr>
          <p:sp>
            <p:nvSpPr>
              <p:cNvPr id="684" name="Freeform 178">
                <a:extLst>
                  <a:ext uri="{FF2B5EF4-FFF2-40B4-BE49-F238E27FC236}">
                    <a16:creationId xmlns:a16="http://schemas.microsoft.com/office/drawing/2014/main" id="{75018209-8B42-F9B2-D465-E54EA4172B86}"/>
                  </a:ext>
                </a:extLst>
              </p:cNvPr>
              <p:cNvSpPr/>
              <p:nvPr/>
            </p:nvSpPr>
            <p:spPr>
              <a:xfrm>
                <a:off x="5176278" y="43124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85" name="Freeform 179">
                <a:extLst>
                  <a:ext uri="{FF2B5EF4-FFF2-40B4-BE49-F238E27FC236}">
                    <a16:creationId xmlns:a16="http://schemas.microsoft.com/office/drawing/2014/main" id="{C99396EB-85A7-1F18-3820-1A6AF2D727BF}"/>
                  </a:ext>
                </a:extLst>
              </p:cNvPr>
              <p:cNvSpPr/>
              <p:nvPr/>
            </p:nvSpPr>
            <p:spPr>
              <a:xfrm>
                <a:off x="5128698" y="4359992"/>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16" name="Graphic 126">
              <a:extLst>
                <a:ext uri="{FF2B5EF4-FFF2-40B4-BE49-F238E27FC236}">
                  <a16:creationId xmlns:a16="http://schemas.microsoft.com/office/drawing/2014/main" id="{A908FA87-2B7D-C50E-7811-CB86035F8D72}"/>
                </a:ext>
              </a:extLst>
            </p:cNvPr>
            <p:cNvGrpSpPr/>
            <p:nvPr/>
          </p:nvGrpSpPr>
          <p:grpSpPr>
            <a:xfrm>
              <a:off x="5114894" y="4312458"/>
              <a:ext cx="95086" cy="95142"/>
              <a:chOff x="5114894" y="4312458"/>
              <a:chExt cx="95086" cy="95142"/>
            </a:xfrm>
          </p:grpSpPr>
          <p:sp>
            <p:nvSpPr>
              <p:cNvPr id="682" name="Freeform 181">
                <a:extLst>
                  <a:ext uri="{FF2B5EF4-FFF2-40B4-BE49-F238E27FC236}">
                    <a16:creationId xmlns:a16="http://schemas.microsoft.com/office/drawing/2014/main" id="{79C252EC-D6F4-C72F-23B5-4C314BA418B6}"/>
                  </a:ext>
                </a:extLst>
              </p:cNvPr>
              <p:cNvSpPr/>
              <p:nvPr/>
            </p:nvSpPr>
            <p:spPr>
              <a:xfrm>
                <a:off x="5162400" y="43124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83" name="Freeform 182">
                <a:extLst>
                  <a:ext uri="{FF2B5EF4-FFF2-40B4-BE49-F238E27FC236}">
                    <a16:creationId xmlns:a16="http://schemas.microsoft.com/office/drawing/2014/main" id="{3C96595B-853F-64CF-226C-04A2D108C596}"/>
                  </a:ext>
                </a:extLst>
              </p:cNvPr>
              <p:cNvSpPr/>
              <p:nvPr/>
            </p:nvSpPr>
            <p:spPr>
              <a:xfrm>
                <a:off x="5114894" y="4359992"/>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17" name="Graphic 126">
              <a:extLst>
                <a:ext uri="{FF2B5EF4-FFF2-40B4-BE49-F238E27FC236}">
                  <a16:creationId xmlns:a16="http://schemas.microsoft.com/office/drawing/2014/main" id="{3C7666BE-D55B-229C-11AE-7AA025F26B2F}"/>
                </a:ext>
              </a:extLst>
            </p:cNvPr>
            <p:cNvGrpSpPr/>
            <p:nvPr/>
          </p:nvGrpSpPr>
          <p:grpSpPr>
            <a:xfrm>
              <a:off x="5102778" y="4312458"/>
              <a:ext cx="95086" cy="95142"/>
              <a:chOff x="5102778" y="4312458"/>
              <a:chExt cx="95086" cy="95142"/>
            </a:xfrm>
          </p:grpSpPr>
          <p:sp>
            <p:nvSpPr>
              <p:cNvPr id="680" name="Freeform 184">
                <a:extLst>
                  <a:ext uri="{FF2B5EF4-FFF2-40B4-BE49-F238E27FC236}">
                    <a16:creationId xmlns:a16="http://schemas.microsoft.com/office/drawing/2014/main" id="{2CD380A8-5A81-8F4E-ADDE-5A9B385A3F97}"/>
                  </a:ext>
                </a:extLst>
              </p:cNvPr>
              <p:cNvSpPr/>
              <p:nvPr/>
            </p:nvSpPr>
            <p:spPr>
              <a:xfrm>
                <a:off x="5150358" y="43124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81" name="Freeform 185">
                <a:extLst>
                  <a:ext uri="{FF2B5EF4-FFF2-40B4-BE49-F238E27FC236}">
                    <a16:creationId xmlns:a16="http://schemas.microsoft.com/office/drawing/2014/main" id="{291746DF-0B43-9858-3824-A835471160E2}"/>
                  </a:ext>
                </a:extLst>
              </p:cNvPr>
              <p:cNvSpPr/>
              <p:nvPr/>
            </p:nvSpPr>
            <p:spPr>
              <a:xfrm>
                <a:off x="5102778" y="4359992"/>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18" name="Graphic 126">
              <a:extLst>
                <a:ext uri="{FF2B5EF4-FFF2-40B4-BE49-F238E27FC236}">
                  <a16:creationId xmlns:a16="http://schemas.microsoft.com/office/drawing/2014/main" id="{EFF7F035-3060-0E58-A190-68D14BCB405C}"/>
                </a:ext>
              </a:extLst>
            </p:cNvPr>
            <p:cNvGrpSpPr/>
            <p:nvPr/>
          </p:nvGrpSpPr>
          <p:grpSpPr>
            <a:xfrm>
              <a:off x="5090663" y="4312458"/>
              <a:ext cx="95086" cy="95142"/>
              <a:chOff x="5090663" y="4312458"/>
              <a:chExt cx="95086" cy="95142"/>
            </a:xfrm>
          </p:grpSpPr>
          <p:sp>
            <p:nvSpPr>
              <p:cNvPr id="678" name="Freeform 187">
                <a:extLst>
                  <a:ext uri="{FF2B5EF4-FFF2-40B4-BE49-F238E27FC236}">
                    <a16:creationId xmlns:a16="http://schemas.microsoft.com/office/drawing/2014/main" id="{4C2D6BD7-273D-7032-D9A3-11B9924C2BD5}"/>
                  </a:ext>
                </a:extLst>
              </p:cNvPr>
              <p:cNvSpPr/>
              <p:nvPr/>
            </p:nvSpPr>
            <p:spPr>
              <a:xfrm>
                <a:off x="5138243" y="43124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79" name="Freeform 188">
                <a:extLst>
                  <a:ext uri="{FF2B5EF4-FFF2-40B4-BE49-F238E27FC236}">
                    <a16:creationId xmlns:a16="http://schemas.microsoft.com/office/drawing/2014/main" id="{229EF93B-752E-A4CE-F644-4E1439B5B256}"/>
                  </a:ext>
                </a:extLst>
              </p:cNvPr>
              <p:cNvSpPr/>
              <p:nvPr/>
            </p:nvSpPr>
            <p:spPr>
              <a:xfrm>
                <a:off x="5090663" y="4359992"/>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19" name="Graphic 126">
              <a:extLst>
                <a:ext uri="{FF2B5EF4-FFF2-40B4-BE49-F238E27FC236}">
                  <a16:creationId xmlns:a16="http://schemas.microsoft.com/office/drawing/2014/main" id="{785F145C-F392-3377-E967-6E558B0C03E2}"/>
                </a:ext>
              </a:extLst>
            </p:cNvPr>
            <p:cNvGrpSpPr/>
            <p:nvPr/>
          </p:nvGrpSpPr>
          <p:grpSpPr>
            <a:xfrm>
              <a:off x="5045726" y="4312458"/>
              <a:ext cx="95086" cy="95142"/>
              <a:chOff x="5045726" y="4312458"/>
              <a:chExt cx="95086" cy="95142"/>
            </a:xfrm>
          </p:grpSpPr>
          <p:sp>
            <p:nvSpPr>
              <p:cNvPr id="676" name="Freeform 190">
                <a:extLst>
                  <a:ext uri="{FF2B5EF4-FFF2-40B4-BE49-F238E27FC236}">
                    <a16:creationId xmlns:a16="http://schemas.microsoft.com/office/drawing/2014/main" id="{8942ED4F-C593-5EE4-EF66-0A28C961D907}"/>
                  </a:ext>
                </a:extLst>
              </p:cNvPr>
              <p:cNvSpPr/>
              <p:nvPr/>
            </p:nvSpPr>
            <p:spPr>
              <a:xfrm>
                <a:off x="5093306" y="43124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77" name="Freeform 191">
                <a:extLst>
                  <a:ext uri="{FF2B5EF4-FFF2-40B4-BE49-F238E27FC236}">
                    <a16:creationId xmlns:a16="http://schemas.microsoft.com/office/drawing/2014/main" id="{0E35AC32-7E63-9A55-1F17-989FA5198F96}"/>
                  </a:ext>
                </a:extLst>
              </p:cNvPr>
              <p:cNvSpPr/>
              <p:nvPr/>
            </p:nvSpPr>
            <p:spPr>
              <a:xfrm>
                <a:off x="5045726" y="4359992"/>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20" name="Graphic 126">
              <a:extLst>
                <a:ext uri="{FF2B5EF4-FFF2-40B4-BE49-F238E27FC236}">
                  <a16:creationId xmlns:a16="http://schemas.microsoft.com/office/drawing/2014/main" id="{655D918A-8AD6-AB2B-4C6D-F57962EA0AD6}"/>
                </a:ext>
              </a:extLst>
            </p:cNvPr>
            <p:cNvGrpSpPr/>
            <p:nvPr/>
          </p:nvGrpSpPr>
          <p:grpSpPr>
            <a:xfrm>
              <a:off x="5000789" y="4300335"/>
              <a:ext cx="95086" cy="95142"/>
              <a:chOff x="5000789" y="4300335"/>
              <a:chExt cx="95086" cy="95142"/>
            </a:xfrm>
          </p:grpSpPr>
          <p:sp>
            <p:nvSpPr>
              <p:cNvPr id="674" name="Freeform 193">
                <a:extLst>
                  <a:ext uri="{FF2B5EF4-FFF2-40B4-BE49-F238E27FC236}">
                    <a16:creationId xmlns:a16="http://schemas.microsoft.com/office/drawing/2014/main" id="{0277330F-2157-0C64-AA81-D066D11D5144}"/>
                  </a:ext>
                </a:extLst>
              </p:cNvPr>
              <p:cNvSpPr/>
              <p:nvPr/>
            </p:nvSpPr>
            <p:spPr>
              <a:xfrm>
                <a:off x="5048296" y="430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75" name="Freeform 194">
                <a:extLst>
                  <a:ext uri="{FF2B5EF4-FFF2-40B4-BE49-F238E27FC236}">
                    <a16:creationId xmlns:a16="http://schemas.microsoft.com/office/drawing/2014/main" id="{BDD013E7-F411-2371-15A7-C8ABC132D4B9}"/>
                  </a:ext>
                </a:extLst>
              </p:cNvPr>
              <p:cNvSpPr/>
              <p:nvPr/>
            </p:nvSpPr>
            <p:spPr>
              <a:xfrm>
                <a:off x="5000789" y="4347943"/>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21" name="Graphic 126">
              <a:extLst>
                <a:ext uri="{FF2B5EF4-FFF2-40B4-BE49-F238E27FC236}">
                  <a16:creationId xmlns:a16="http://schemas.microsoft.com/office/drawing/2014/main" id="{F9F799F8-CBA8-B656-D754-C99DD547249C}"/>
                </a:ext>
              </a:extLst>
            </p:cNvPr>
            <p:cNvGrpSpPr/>
            <p:nvPr/>
          </p:nvGrpSpPr>
          <p:grpSpPr>
            <a:xfrm>
              <a:off x="4993887" y="4300335"/>
              <a:ext cx="95086" cy="95142"/>
              <a:chOff x="4993887" y="4300335"/>
              <a:chExt cx="95086" cy="95142"/>
            </a:xfrm>
          </p:grpSpPr>
          <p:sp>
            <p:nvSpPr>
              <p:cNvPr id="672" name="Freeform 196">
                <a:extLst>
                  <a:ext uri="{FF2B5EF4-FFF2-40B4-BE49-F238E27FC236}">
                    <a16:creationId xmlns:a16="http://schemas.microsoft.com/office/drawing/2014/main" id="{4FB3A6ED-03A4-4680-0910-578FFFBD17C9}"/>
                  </a:ext>
                </a:extLst>
              </p:cNvPr>
              <p:cNvSpPr/>
              <p:nvPr/>
            </p:nvSpPr>
            <p:spPr>
              <a:xfrm>
                <a:off x="5041394" y="430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73" name="Freeform 197">
                <a:extLst>
                  <a:ext uri="{FF2B5EF4-FFF2-40B4-BE49-F238E27FC236}">
                    <a16:creationId xmlns:a16="http://schemas.microsoft.com/office/drawing/2014/main" id="{4046E9D4-D4EC-E31B-6E3C-D1F93B02B6DB}"/>
                  </a:ext>
                </a:extLst>
              </p:cNvPr>
              <p:cNvSpPr/>
              <p:nvPr/>
            </p:nvSpPr>
            <p:spPr>
              <a:xfrm>
                <a:off x="4993887" y="4347943"/>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22" name="Graphic 126">
              <a:extLst>
                <a:ext uri="{FF2B5EF4-FFF2-40B4-BE49-F238E27FC236}">
                  <a16:creationId xmlns:a16="http://schemas.microsoft.com/office/drawing/2014/main" id="{49DF19BB-E39C-F474-DE90-AF297AEE6CF9}"/>
                </a:ext>
              </a:extLst>
            </p:cNvPr>
            <p:cNvGrpSpPr/>
            <p:nvPr/>
          </p:nvGrpSpPr>
          <p:grpSpPr>
            <a:xfrm>
              <a:off x="4982653" y="4300335"/>
              <a:ext cx="95086" cy="95142"/>
              <a:chOff x="4982653" y="4300335"/>
              <a:chExt cx="95086" cy="95142"/>
            </a:xfrm>
          </p:grpSpPr>
          <p:sp>
            <p:nvSpPr>
              <p:cNvPr id="670" name="Freeform 199">
                <a:extLst>
                  <a:ext uri="{FF2B5EF4-FFF2-40B4-BE49-F238E27FC236}">
                    <a16:creationId xmlns:a16="http://schemas.microsoft.com/office/drawing/2014/main" id="{9A1CEDFB-E9BA-440F-60F8-36F6596F5917}"/>
                  </a:ext>
                </a:extLst>
              </p:cNvPr>
              <p:cNvSpPr/>
              <p:nvPr/>
            </p:nvSpPr>
            <p:spPr>
              <a:xfrm>
                <a:off x="5030160" y="430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71" name="Freeform 200">
                <a:extLst>
                  <a:ext uri="{FF2B5EF4-FFF2-40B4-BE49-F238E27FC236}">
                    <a16:creationId xmlns:a16="http://schemas.microsoft.com/office/drawing/2014/main" id="{9C9174B1-15DF-0794-F928-456B13AB27EC}"/>
                  </a:ext>
                </a:extLst>
              </p:cNvPr>
              <p:cNvSpPr/>
              <p:nvPr/>
            </p:nvSpPr>
            <p:spPr>
              <a:xfrm>
                <a:off x="4982653" y="4347943"/>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23" name="Graphic 126">
              <a:extLst>
                <a:ext uri="{FF2B5EF4-FFF2-40B4-BE49-F238E27FC236}">
                  <a16:creationId xmlns:a16="http://schemas.microsoft.com/office/drawing/2014/main" id="{5E4CA0A4-DE94-D839-4F22-0CD085C6DD91}"/>
                </a:ext>
              </a:extLst>
            </p:cNvPr>
            <p:cNvGrpSpPr/>
            <p:nvPr/>
          </p:nvGrpSpPr>
          <p:grpSpPr>
            <a:xfrm>
              <a:off x="4966206" y="4300335"/>
              <a:ext cx="95086" cy="95142"/>
              <a:chOff x="4966206" y="4300335"/>
              <a:chExt cx="95086" cy="95142"/>
            </a:xfrm>
          </p:grpSpPr>
          <p:sp>
            <p:nvSpPr>
              <p:cNvPr id="668" name="Freeform 202">
                <a:extLst>
                  <a:ext uri="{FF2B5EF4-FFF2-40B4-BE49-F238E27FC236}">
                    <a16:creationId xmlns:a16="http://schemas.microsoft.com/office/drawing/2014/main" id="{4123A66A-AA5C-CA52-92B5-2CB97F3A4A2A}"/>
                  </a:ext>
                </a:extLst>
              </p:cNvPr>
              <p:cNvSpPr/>
              <p:nvPr/>
            </p:nvSpPr>
            <p:spPr>
              <a:xfrm>
                <a:off x="5013712" y="430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69" name="Freeform 203">
                <a:extLst>
                  <a:ext uri="{FF2B5EF4-FFF2-40B4-BE49-F238E27FC236}">
                    <a16:creationId xmlns:a16="http://schemas.microsoft.com/office/drawing/2014/main" id="{2B4D9648-5064-2D1F-89EE-25D46ACB40E4}"/>
                  </a:ext>
                </a:extLst>
              </p:cNvPr>
              <p:cNvSpPr/>
              <p:nvPr/>
            </p:nvSpPr>
            <p:spPr>
              <a:xfrm>
                <a:off x="4966206" y="4347943"/>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24" name="Graphic 126">
              <a:extLst>
                <a:ext uri="{FF2B5EF4-FFF2-40B4-BE49-F238E27FC236}">
                  <a16:creationId xmlns:a16="http://schemas.microsoft.com/office/drawing/2014/main" id="{E3AEBF49-AC30-F2D7-B130-C1E987943E4E}"/>
                </a:ext>
              </a:extLst>
            </p:cNvPr>
            <p:cNvGrpSpPr/>
            <p:nvPr/>
          </p:nvGrpSpPr>
          <p:grpSpPr>
            <a:xfrm>
              <a:off x="4948069" y="4285641"/>
              <a:ext cx="95086" cy="95142"/>
              <a:chOff x="4948069" y="4285641"/>
              <a:chExt cx="95086" cy="95142"/>
            </a:xfrm>
          </p:grpSpPr>
          <p:sp>
            <p:nvSpPr>
              <p:cNvPr id="666" name="Freeform 205">
                <a:extLst>
                  <a:ext uri="{FF2B5EF4-FFF2-40B4-BE49-F238E27FC236}">
                    <a16:creationId xmlns:a16="http://schemas.microsoft.com/office/drawing/2014/main" id="{CC4BA19A-FB70-4C54-C97F-83A37A473A14}"/>
                  </a:ext>
                </a:extLst>
              </p:cNvPr>
              <p:cNvSpPr/>
              <p:nvPr/>
            </p:nvSpPr>
            <p:spPr>
              <a:xfrm>
                <a:off x="4995576" y="428564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67" name="Freeform 206">
                <a:extLst>
                  <a:ext uri="{FF2B5EF4-FFF2-40B4-BE49-F238E27FC236}">
                    <a16:creationId xmlns:a16="http://schemas.microsoft.com/office/drawing/2014/main" id="{18C33612-0824-A366-6536-CC53FDBB10D8}"/>
                  </a:ext>
                </a:extLst>
              </p:cNvPr>
              <p:cNvSpPr/>
              <p:nvPr/>
            </p:nvSpPr>
            <p:spPr>
              <a:xfrm>
                <a:off x="4948069" y="4333176"/>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25" name="Graphic 126">
              <a:extLst>
                <a:ext uri="{FF2B5EF4-FFF2-40B4-BE49-F238E27FC236}">
                  <a16:creationId xmlns:a16="http://schemas.microsoft.com/office/drawing/2014/main" id="{74314F74-B949-4EA5-F015-B5C8E45005F0}"/>
                </a:ext>
              </a:extLst>
            </p:cNvPr>
            <p:cNvGrpSpPr/>
            <p:nvPr/>
          </p:nvGrpSpPr>
          <p:grpSpPr>
            <a:xfrm>
              <a:off x="4936835" y="4285641"/>
              <a:ext cx="95086" cy="95142"/>
              <a:chOff x="4936835" y="4285641"/>
              <a:chExt cx="95086" cy="95142"/>
            </a:xfrm>
          </p:grpSpPr>
          <p:sp>
            <p:nvSpPr>
              <p:cNvPr id="664" name="Freeform 208">
                <a:extLst>
                  <a:ext uri="{FF2B5EF4-FFF2-40B4-BE49-F238E27FC236}">
                    <a16:creationId xmlns:a16="http://schemas.microsoft.com/office/drawing/2014/main" id="{45BB5D1E-70FC-9BB0-6157-DACDBB96D1DF}"/>
                  </a:ext>
                </a:extLst>
              </p:cNvPr>
              <p:cNvSpPr/>
              <p:nvPr/>
            </p:nvSpPr>
            <p:spPr>
              <a:xfrm>
                <a:off x="4984342" y="428564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65" name="Freeform 209">
                <a:extLst>
                  <a:ext uri="{FF2B5EF4-FFF2-40B4-BE49-F238E27FC236}">
                    <a16:creationId xmlns:a16="http://schemas.microsoft.com/office/drawing/2014/main" id="{4D2A9649-F7D1-BBA0-4B82-578CD4D6B130}"/>
                  </a:ext>
                </a:extLst>
              </p:cNvPr>
              <p:cNvSpPr/>
              <p:nvPr/>
            </p:nvSpPr>
            <p:spPr>
              <a:xfrm>
                <a:off x="4936835" y="4333176"/>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26" name="Graphic 126">
              <a:extLst>
                <a:ext uri="{FF2B5EF4-FFF2-40B4-BE49-F238E27FC236}">
                  <a16:creationId xmlns:a16="http://schemas.microsoft.com/office/drawing/2014/main" id="{C75B763C-5F00-D29B-AEAD-31573025DAB4}"/>
                </a:ext>
              </a:extLst>
            </p:cNvPr>
            <p:cNvGrpSpPr/>
            <p:nvPr/>
          </p:nvGrpSpPr>
          <p:grpSpPr>
            <a:xfrm>
              <a:off x="4928171" y="4288213"/>
              <a:ext cx="95086" cy="95142"/>
              <a:chOff x="4928171" y="4288213"/>
              <a:chExt cx="95086" cy="95142"/>
            </a:xfrm>
          </p:grpSpPr>
          <p:sp>
            <p:nvSpPr>
              <p:cNvPr id="662" name="Freeform 211">
                <a:extLst>
                  <a:ext uri="{FF2B5EF4-FFF2-40B4-BE49-F238E27FC236}">
                    <a16:creationId xmlns:a16="http://schemas.microsoft.com/office/drawing/2014/main" id="{E8B0C2E6-7507-28D3-ED9D-10E0A00294B6}"/>
                  </a:ext>
                </a:extLst>
              </p:cNvPr>
              <p:cNvSpPr/>
              <p:nvPr/>
            </p:nvSpPr>
            <p:spPr>
              <a:xfrm>
                <a:off x="4975678" y="42882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63" name="Freeform 212">
                <a:extLst>
                  <a:ext uri="{FF2B5EF4-FFF2-40B4-BE49-F238E27FC236}">
                    <a16:creationId xmlns:a16="http://schemas.microsoft.com/office/drawing/2014/main" id="{78690ECB-AFE8-4BFA-6EF3-CF369FD062E2}"/>
                  </a:ext>
                </a:extLst>
              </p:cNvPr>
              <p:cNvSpPr/>
              <p:nvPr/>
            </p:nvSpPr>
            <p:spPr>
              <a:xfrm>
                <a:off x="4928171" y="4335821"/>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27" name="Graphic 126">
              <a:extLst>
                <a:ext uri="{FF2B5EF4-FFF2-40B4-BE49-F238E27FC236}">
                  <a16:creationId xmlns:a16="http://schemas.microsoft.com/office/drawing/2014/main" id="{ABD88FF5-8184-DE33-B8A9-212901C0CC1B}"/>
                </a:ext>
              </a:extLst>
            </p:cNvPr>
            <p:cNvGrpSpPr/>
            <p:nvPr/>
          </p:nvGrpSpPr>
          <p:grpSpPr>
            <a:xfrm>
              <a:off x="4918846" y="4288213"/>
              <a:ext cx="95086" cy="95142"/>
              <a:chOff x="4918846" y="4288213"/>
              <a:chExt cx="95086" cy="95142"/>
            </a:xfrm>
          </p:grpSpPr>
          <p:sp>
            <p:nvSpPr>
              <p:cNvPr id="660" name="Freeform 214">
                <a:extLst>
                  <a:ext uri="{FF2B5EF4-FFF2-40B4-BE49-F238E27FC236}">
                    <a16:creationId xmlns:a16="http://schemas.microsoft.com/office/drawing/2014/main" id="{19670BC8-C76E-DBA3-B7FE-21D7F5E27D92}"/>
                  </a:ext>
                </a:extLst>
              </p:cNvPr>
              <p:cNvSpPr/>
              <p:nvPr/>
            </p:nvSpPr>
            <p:spPr>
              <a:xfrm>
                <a:off x="4966426" y="42882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61" name="Freeform 215">
                <a:extLst>
                  <a:ext uri="{FF2B5EF4-FFF2-40B4-BE49-F238E27FC236}">
                    <a16:creationId xmlns:a16="http://schemas.microsoft.com/office/drawing/2014/main" id="{75B802D3-FE1D-4675-0AEF-60B7D84C2A52}"/>
                  </a:ext>
                </a:extLst>
              </p:cNvPr>
              <p:cNvSpPr/>
              <p:nvPr/>
            </p:nvSpPr>
            <p:spPr>
              <a:xfrm>
                <a:off x="4918846" y="4335821"/>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28" name="Graphic 126">
              <a:extLst>
                <a:ext uri="{FF2B5EF4-FFF2-40B4-BE49-F238E27FC236}">
                  <a16:creationId xmlns:a16="http://schemas.microsoft.com/office/drawing/2014/main" id="{74AA06F0-7A78-0A21-2A48-2934330B9A24}"/>
                </a:ext>
              </a:extLst>
            </p:cNvPr>
            <p:cNvGrpSpPr/>
            <p:nvPr/>
          </p:nvGrpSpPr>
          <p:grpSpPr>
            <a:xfrm>
              <a:off x="4908786" y="4288213"/>
              <a:ext cx="95086" cy="95142"/>
              <a:chOff x="4908786" y="4288213"/>
              <a:chExt cx="95086" cy="95142"/>
            </a:xfrm>
          </p:grpSpPr>
          <p:sp>
            <p:nvSpPr>
              <p:cNvPr id="658" name="Freeform 217">
                <a:extLst>
                  <a:ext uri="{FF2B5EF4-FFF2-40B4-BE49-F238E27FC236}">
                    <a16:creationId xmlns:a16="http://schemas.microsoft.com/office/drawing/2014/main" id="{11346BAA-1FF1-39E7-1D58-4ABE5B083C61}"/>
                  </a:ext>
                </a:extLst>
              </p:cNvPr>
              <p:cNvSpPr/>
              <p:nvPr/>
            </p:nvSpPr>
            <p:spPr>
              <a:xfrm>
                <a:off x="4956293" y="42882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59" name="Freeform 218">
                <a:extLst>
                  <a:ext uri="{FF2B5EF4-FFF2-40B4-BE49-F238E27FC236}">
                    <a16:creationId xmlns:a16="http://schemas.microsoft.com/office/drawing/2014/main" id="{EF36D1C2-6032-F64B-BC58-49F20A4F9C58}"/>
                  </a:ext>
                </a:extLst>
              </p:cNvPr>
              <p:cNvSpPr/>
              <p:nvPr/>
            </p:nvSpPr>
            <p:spPr>
              <a:xfrm>
                <a:off x="4908786" y="4335821"/>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29" name="Graphic 126">
              <a:extLst>
                <a:ext uri="{FF2B5EF4-FFF2-40B4-BE49-F238E27FC236}">
                  <a16:creationId xmlns:a16="http://schemas.microsoft.com/office/drawing/2014/main" id="{C54DC9AE-4D99-9239-C1CA-F9EFA7B564A9}"/>
                </a:ext>
              </a:extLst>
            </p:cNvPr>
            <p:cNvGrpSpPr/>
            <p:nvPr/>
          </p:nvGrpSpPr>
          <p:grpSpPr>
            <a:xfrm>
              <a:off x="4898654" y="4273445"/>
              <a:ext cx="95086" cy="95142"/>
              <a:chOff x="4898654" y="4273445"/>
              <a:chExt cx="95086" cy="95142"/>
            </a:xfrm>
          </p:grpSpPr>
          <p:sp>
            <p:nvSpPr>
              <p:cNvPr id="656" name="Freeform 220">
                <a:extLst>
                  <a:ext uri="{FF2B5EF4-FFF2-40B4-BE49-F238E27FC236}">
                    <a16:creationId xmlns:a16="http://schemas.microsoft.com/office/drawing/2014/main" id="{5DDADA3A-B7E8-B4F1-C173-6262E843E515}"/>
                  </a:ext>
                </a:extLst>
              </p:cNvPr>
              <p:cNvSpPr/>
              <p:nvPr/>
            </p:nvSpPr>
            <p:spPr>
              <a:xfrm>
                <a:off x="4946234" y="427344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57" name="Freeform 221">
                <a:extLst>
                  <a:ext uri="{FF2B5EF4-FFF2-40B4-BE49-F238E27FC236}">
                    <a16:creationId xmlns:a16="http://schemas.microsoft.com/office/drawing/2014/main" id="{645A4270-361D-35B4-9CD8-01163E57614F}"/>
                  </a:ext>
                </a:extLst>
              </p:cNvPr>
              <p:cNvSpPr/>
              <p:nvPr/>
            </p:nvSpPr>
            <p:spPr>
              <a:xfrm>
                <a:off x="4898654" y="4321054"/>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30" name="Graphic 126">
              <a:extLst>
                <a:ext uri="{FF2B5EF4-FFF2-40B4-BE49-F238E27FC236}">
                  <a16:creationId xmlns:a16="http://schemas.microsoft.com/office/drawing/2014/main" id="{D977E058-B0A2-33A3-DB0C-C79D7D262CF4}"/>
                </a:ext>
              </a:extLst>
            </p:cNvPr>
            <p:cNvGrpSpPr/>
            <p:nvPr/>
          </p:nvGrpSpPr>
          <p:grpSpPr>
            <a:xfrm>
              <a:off x="4894395" y="4254490"/>
              <a:ext cx="95086" cy="95142"/>
              <a:chOff x="4894395" y="4254490"/>
              <a:chExt cx="95086" cy="95142"/>
            </a:xfrm>
          </p:grpSpPr>
          <p:sp>
            <p:nvSpPr>
              <p:cNvPr id="654" name="Freeform 223">
                <a:extLst>
                  <a:ext uri="{FF2B5EF4-FFF2-40B4-BE49-F238E27FC236}">
                    <a16:creationId xmlns:a16="http://schemas.microsoft.com/office/drawing/2014/main" id="{00C76E62-0409-9260-4EA2-7ED5BC911BED}"/>
                  </a:ext>
                </a:extLst>
              </p:cNvPr>
              <p:cNvSpPr/>
              <p:nvPr/>
            </p:nvSpPr>
            <p:spPr>
              <a:xfrm>
                <a:off x="4941902" y="425449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55" name="Freeform 224">
                <a:extLst>
                  <a:ext uri="{FF2B5EF4-FFF2-40B4-BE49-F238E27FC236}">
                    <a16:creationId xmlns:a16="http://schemas.microsoft.com/office/drawing/2014/main" id="{D32813FC-1B23-21DF-728A-BF8FF35A9037}"/>
                  </a:ext>
                </a:extLst>
              </p:cNvPr>
              <p:cNvSpPr/>
              <p:nvPr/>
            </p:nvSpPr>
            <p:spPr>
              <a:xfrm>
                <a:off x="4894395" y="430202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31" name="Graphic 126">
              <a:extLst>
                <a:ext uri="{FF2B5EF4-FFF2-40B4-BE49-F238E27FC236}">
                  <a16:creationId xmlns:a16="http://schemas.microsoft.com/office/drawing/2014/main" id="{10E90329-F92A-1788-4C18-C1802D3B9DF8}"/>
                </a:ext>
              </a:extLst>
            </p:cNvPr>
            <p:cNvGrpSpPr/>
            <p:nvPr/>
          </p:nvGrpSpPr>
          <p:grpSpPr>
            <a:xfrm>
              <a:off x="4886612" y="4254490"/>
              <a:ext cx="95086" cy="95142"/>
              <a:chOff x="4886612" y="4254490"/>
              <a:chExt cx="95086" cy="95142"/>
            </a:xfrm>
          </p:grpSpPr>
          <p:sp>
            <p:nvSpPr>
              <p:cNvPr id="652" name="Freeform 226">
                <a:extLst>
                  <a:ext uri="{FF2B5EF4-FFF2-40B4-BE49-F238E27FC236}">
                    <a16:creationId xmlns:a16="http://schemas.microsoft.com/office/drawing/2014/main" id="{9CB1756C-306B-C66E-821A-52D33B33B42E}"/>
                  </a:ext>
                </a:extLst>
              </p:cNvPr>
              <p:cNvSpPr/>
              <p:nvPr/>
            </p:nvSpPr>
            <p:spPr>
              <a:xfrm>
                <a:off x="4934118" y="425449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53" name="Freeform 227">
                <a:extLst>
                  <a:ext uri="{FF2B5EF4-FFF2-40B4-BE49-F238E27FC236}">
                    <a16:creationId xmlns:a16="http://schemas.microsoft.com/office/drawing/2014/main" id="{B6814620-39C4-29FA-8E0C-99D817B86BAA}"/>
                  </a:ext>
                </a:extLst>
              </p:cNvPr>
              <p:cNvSpPr/>
              <p:nvPr/>
            </p:nvSpPr>
            <p:spPr>
              <a:xfrm>
                <a:off x="4886612" y="430202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32" name="Graphic 126">
              <a:extLst>
                <a:ext uri="{FF2B5EF4-FFF2-40B4-BE49-F238E27FC236}">
                  <a16:creationId xmlns:a16="http://schemas.microsoft.com/office/drawing/2014/main" id="{548C6C83-0475-1BE8-8D2F-B897F79F51BC}"/>
                </a:ext>
              </a:extLst>
            </p:cNvPr>
            <p:cNvGrpSpPr/>
            <p:nvPr/>
          </p:nvGrpSpPr>
          <p:grpSpPr>
            <a:xfrm>
              <a:off x="4878829" y="4254490"/>
              <a:ext cx="95086" cy="95142"/>
              <a:chOff x="4878829" y="4254490"/>
              <a:chExt cx="95086" cy="95142"/>
            </a:xfrm>
          </p:grpSpPr>
          <p:sp>
            <p:nvSpPr>
              <p:cNvPr id="650" name="Freeform 229">
                <a:extLst>
                  <a:ext uri="{FF2B5EF4-FFF2-40B4-BE49-F238E27FC236}">
                    <a16:creationId xmlns:a16="http://schemas.microsoft.com/office/drawing/2014/main" id="{00052A2D-C7FC-C5D0-BE40-4054F61593DD}"/>
                  </a:ext>
                </a:extLst>
              </p:cNvPr>
              <p:cNvSpPr/>
              <p:nvPr/>
            </p:nvSpPr>
            <p:spPr>
              <a:xfrm>
                <a:off x="4926409" y="425449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51" name="Freeform 230">
                <a:extLst>
                  <a:ext uri="{FF2B5EF4-FFF2-40B4-BE49-F238E27FC236}">
                    <a16:creationId xmlns:a16="http://schemas.microsoft.com/office/drawing/2014/main" id="{814E8E43-0108-1BDF-DA33-9C58B6C49FB2}"/>
                  </a:ext>
                </a:extLst>
              </p:cNvPr>
              <p:cNvSpPr/>
              <p:nvPr/>
            </p:nvSpPr>
            <p:spPr>
              <a:xfrm>
                <a:off x="4878829" y="430202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33" name="Graphic 126">
              <a:extLst>
                <a:ext uri="{FF2B5EF4-FFF2-40B4-BE49-F238E27FC236}">
                  <a16:creationId xmlns:a16="http://schemas.microsoft.com/office/drawing/2014/main" id="{DFC8F567-EC4D-F250-E585-39108A10F8D7}"/>
                </a:ext>
              </a:extLst>
            </p:cNvPr>
            <p:cNvGrpSpPr/>
            <p:nvPr/>
          </p:nvGrpSpPr>
          <p:grpSpPr>
            <a:xfrm>
              <a:off x="4869503" y="4245160"/>
              <a:ext cx="95086" cy="95142"/>
              <a:chOff x="4869503" y="4245160"/>
              <a:chExt cx="95086" cy="95142"/>
            </a:xfrm>
          </p:grpSpPr>
          <p:sp>
            <p:nvSpPr>
              <p:cNvPr id="648" name="Freeform 232">
                <a:extLst>
                  <a:ext uri="{FF2B5EF4-FFF2-40B4-BE49-F238E27FC236}">
                    <a16:creationId xmlns:a16="http://schemas.microsoft.com/office/drawing/2014/main" id="{6D62D2AA-CEF3-E83A-EA6A-BFB560AC9661}"/>
                  </a:ext>
                </a:extLst>
              </p:cNvPr>
              <p:cNvSpPr/>
              <p:nvPr/>
            </p:nvSpPr>
            <p:spPr>
              <a:xfrm>
                <a:off x="4917084" y="424516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49" name="Freeform 233">
                <a:extLst>
                  <a:ext uri="{FF2B5EF4-FFF2-40B4-BE49-F238E27FC236}">
                    <a16:creationId xmlns:a16="http://schemas.microsoft.com/office/drawing/2014/main" id="{69FCAA1E-289A-5143-5807-7A358E0286C6}"/>
                  </a:ext>
                </a:extLst>
              </p:cNvPr>
              <p:cNvSpPr/>
              <p:nvPr/>
            </p:nvSpPr>
            <p:spPr>
              <a:xfrm>
                <a:off x="4869503" y="4292694"/>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34" name="Graphic 126">
              <a:extLst>
                <a:ext uri="{FF2B5EF4-FFF2-40B4-BE49-F238E27FC236}">
                  <a16:creationId xmlns:a16="http://schemas.microsoft.com/office/drawing/2014/main" id="{4C8C653F-FFF6-0A5F-CF1A-53444AFB5E91}"/>
                </a:ext>
              </a:extLst>
            </p:cNvPr>
            <p:cNvGrpSpPr/>
            <p:nvPr/>
          </p:nvGrpSpPr>
          <p:grpSpPr>
            <a:xfrm>
              <a:off x="4865612" y="4245160"/>
              <a:ext cx="95086" cy="95142"/>
              <a:chOff x="4865612" y="4245160"/>
              <a:chExt cx="95086" cy="95142"/>
            </a:xfrm>
          </p:grpSpPr>
          <p:sp>
            <p:nvSpPr>
              <p:cNvPr id="646" name="Freeform 235">
                <a:extLst>
                  <a:ext uri="{FF2B5EF4-FFF2-40B4-BE49-F238E27FC236}">
                    <a16:creationId xmlns:a16="http://schemas.microsoft.com/office/drawing/2014/main" id="{2F790175-5268-00CA-8010-1A0CDF9CA6C1}"/>
                  </a:ext>
                </a:extLst>
              </p:cNvPr>
              <p:cNvSpPr/>
              <p:nvPr/>
            </p:nvSpPr>
            <p:spPr>
              <a:xfrm>
                <a:off x="4913192" y="424516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47" name="Freeform 236">
                <a:extLst>
                  <a:ext uri="{FF2B5EF4-FFF2-40B4-BE49-F238E27FC236}">
                    <a16:creationId xmlns:a16="http://schemas.microsoft.com/office/drawing/2014/main" id="{3BAB582B-807B-18B0-F7F0-9B698CA55FC8}"/>
                  </a:ext>
                </a:extLst>
              </p:cNvPr>
              <p:cNvSpPr/>
              <p:nvPr/>
            </p:nvSpPr>
            <p:spPr>
              <a:xfrm>
                <a:off x="4865612" y="4292694"/>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35" name="Graphic 126">
              <a:extLst>
                <a:ext uri="{FF2B5EF4-FFF2-40B4-BE49-F238E27FC236}">
                  <a16:creationId xmlns:a16="http://schemas.microsoft.com/office/drawing/2014/main" id="{401718A8-3A65-C3F0-3EA7-5E3255BF083E}"/>
                </a:ext>
              </a:extLst>
            </p:cNvPr>
            <p:cNvGrpSpPr/>
            <p:nvPr/>
          </p:nvGrpSpPr>
          <p:grpSpPr>
            <a:xfrm>
              <a:off x="4836095" y="4235021"/>
              <a:ext cx="95160" cy="95142"/>
              <a:chOff x="4836095" y="4235021"/>
              <a:chExt cx="95160" cy="95142"/>
            </a:xfrm>
          </p:grpSpPr>
          <p:sp>
            <p:nvSpPr>
              <p:cNvPr id="644" name="Freeform 238">
                <a:extLst>
                  <a:ext uri="{FF2B5EF4-FFF2-40B4-BE49-F238E27FC236}">
                    <a16:creationId xmlns:a16="http://schemas.microsoft.com/office/drawing/2014/main" id="{D90C91D6-CD7B-3B45-7F54-2EC82DA355D5}"/>
                  </a:ext>
                </a:extLst>
              </p:cNvPr>
              <p:cNvSpPr/>
              <p:nvPr/>
            </p:nvSpPr>
            <p:spPr>
              <a:xfrm>
                <a:off x="4883675" y="423502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45" name="Freeform 239">
                <a:extLst>
                  <a:ext uri="{FF2B5EF4-FFF2-40B4-BE49-F238E27FC236}">
                    <a16:creationId xmlns:a16="http://schemas.microsoft.com/office/drawing/2014/main" id="{1B29FE1C-603A-9031-DAE8-502AD4F6444F}"/>
                  </a:ext>
                </a:extLst>
              </p:cNvPr>
              <p:cNvSpPr/>
              <p:nvPr/>
            </p:nvSpPr>
            <p:spPr>
              <a:xfrm>
                <a:off x="4836095" y="4282629"/>
                <a:ext cx="95160" cy="7346"/>
              </a:xfrm>
              <a:custGeom>
                <a:avLst/>
                <a:gdLst>
                  <a:gd name="connsiteX0" fmla="*/ 95160 w 95160"/>
                  <a:gd name="connsiteY0" fmla="*/ 0 h 7346"/>
                  <a:gd name="connsiteX1" fmla="*/ 0 w 95160"/>
                  <a:gd name="connsiteY1" fmla="*/ 0 h 7346"/>
                </a:gdLst>
                <a:ahLst/>
                <a:cxnLst>
                  <a:cxn ang="0">
                    <a:pos x="connsiteX0" y="connsiteY0"/>
                  </a:cxn>
                  <a:cxn ang="0">
                    <a:pos x="connsiteX1" y="connsiteY1"/>
                  </a:cxn>
                </a:cxnLst>
                <a:rect l="l" t="t" r="r" b="b"/>
                <a:pathLst>
                  <a:path w="95160" h="7346">
                    <a:moveTo>
                      <a:pt x="95160"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36" name="Graphic 126">
              <a:extLst>
                <a:ext uri="{FF2B5EF4-FFF2-40B4-BE49-F238E27FC236}">
                  <a16:creationId xmlns:a16="http://schemas.microsoft.com/office/drawing/2014/main" id="{F146C86F-D958-643B-AC6F-15866BFE498D}"/>
                </a:ext>
              </a:extLst>
            </p:cNvPr>
            <p:cNvGrpSpPr/>
            <p:nvPr/>
          </p:nvGrpSpPr>
          <p:grpSpPr>
            <a:xfrm>
              <a:off x="4813626" y="4240458"/>
              <a:ext cx="95086" cy="95142"/>
              <a:chOff x="4813626" y="4240458"/>
              <a:chExt cx="95086" cy="95142"/>
            </a:xfrm>
          </p:grpSpPr>
          <p:sp>
            <p:nvSpPr>
              <p:cNvPr id="642" name="Freeform 241">
                <a:extLst>
                  <a:ext uri="{FF2B5EF4-FFF2-40B4-BE49-F238E27FC236}">
                    <a16:creationId xmlns:a16="http://schemas.microsoft.com/office/drawing/2014/main" id="{0CA36BE4-A796-50FB-DE15-BD2439BFB467}"/>
                  </a:ext>
                </a:extLst>
              </p:cNvPr>
              <p:cNvSpPr/>
              <p:nvPr/>
            </p:nvSpPr>
            <p:spPr>
              <a:xfrm>
                <a:off x="4861133" y="42404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43" name="Freeform 242">
                <a:extLst>
                  <a:ext uri="{FF2B5EF4-FFF2-40B4-BE49-F238E27FC236}">
                    <a16:creationId xmlns:a16="http://schemas.microsoft.com/office/drawing/2014/main" id="{B5AE5076-2A93-5DFE-62AF-1C8D1414A0DA}"/>
                  </a:ext>
                </a:extLst>
              </p:cNvPr>
              <p:cNvSpPr/>
              <p:nvPr/>
            </p:nvSpPr>
            <p:spPr>
              <a:xfrm>
                <a:off x="4813626" y="4288066"/>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37" name="Graphic 126">
              <a:extLst>
                <a:ext uri="{FF2B5EF4-FFF2-40B4-BE49-F238E27FC236}">
                  <a16:creationId xmlns:a16="http://schemas.microsoft.com/office/drawing/2014/main" id="{1104F2E3-F269-32B2-5AD0-1D630511BCDC}"/>
                </a:ext>
              </a:extLst>
            </p:cNvPr>
            <p:cNvGrpSpPr/>
            <p:nvPr/>
          </p:nvGrpSpPr>
          <p:grpSpPr>
            <a:xfrm>
              <a:off x="4805843" y="4240458"/>
              <a:ext cx="95086" cy="95142"/>
              <a:chOff x="4805843" y="4240458"/>
              <a:chExt cx="95086" cy="95142"/>
            </a:xfrm>
          </p:grpSpPr>
          <p:sp>
            <p:nvSpPr>
              <p:cNvPr id="640" name="Freeform 244">
                <a:extLst>
                  <a:ext uri="{FF2B5EF4-FFF2-40B4-BE49-F238E27FC236}">
                    <a16:creationId xmlns:a16="http://schemas.microsoft.com/office/drawing/2014/main" id="{2D598F5D-8798-678F-6B36-283DC09D4BBC}"/>
                  </a:ext>
                </a:extLst>
              </p:cNvPr>
              <p:cNvSpPr/>
              <p:nvPr/>
            </p:nvSpPr>
            <p:spPr>
              <a:xfrm>
                <a:off x="4853423" y="42404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41" name="Freeform 245">
                <a:extLst>
                  <a:ext uri="{FF2B5EF4-FFF2-40B4-BE49-F238E27FC236}">
                    <a16:creationId xmlns:a16="http://schemas.microsoft.com/office/drawing/2014/main" id="{339E099C-C76D-C489-FC57-D7A6CA3942EB}"/>
                  </a:ext>
                </a:extLst>
              </p:cNvPr>
              <p:cNvSpPr/>
              <p:nvPr/>
            </p:nvSpPr>
            <p:spPr>
              <a:xfrm>
                <a:off x="4805843" y="4288066"/>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38" name="Graphic 126">
              <a:extLst>
                <a:ext uri="{FF2B5EF4-FFF2-40B4-BE49-F238E27FC236}">
                  <a16:creationId xmlns:a16="http://schemas.microsoft.com/office/drawing/2014/main" id="{847D3261-C223-F4E9-1C77-6E3F64F7DAF5}"/>
                </a:ext>
              </a:extLst>
            </p:cNvPr>
            <p:cNvGrpSpPr/>
            <p:nvPr/>
          </p:nvGrpSpPr>
          <p:grpSpPr>
            <a:xfrm>
              <a:off x="4795784" y="4227307"/>
              <a:ext cx="95086" cy="95142"/>
              <a:chOff x="4795784" y="4227307"/>
              <a:chExt cx="95086" cy="95142"/>
            </a:xfrm>
          </p:grpSpPr>
          <p:sp>
            <p:nvSpPr>
              <p:cNvPr id="638" name="Freeform 247">
                <a:extLst>
                  <a:ext uri="{FF2B5EF4-FFF2-40B4-BE49-F238E27FC236}">
                    <a16:creationId xmlns:a16="http://schemas.microsoft.com/office/drawing/2014/main" id="{1819DE58-4056-9083-F3A7-55B669736E89}"/>
                  </a:ext>
                </a:extLst>
              </p:cNvPr>
              <p:cNvSpPr/>
              <p:nvPr/>
            </p:nvSpPr>
            <p:spPr>
              <a:xfrm>
                <a:off x="4843290" y="422730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39" name="Freeform 248">
                <a:extLst>
                  <a:ext uri="{FF2B5EF4-FFF2-40B4-BE49-F238E27FC236}">
                    <a16:creationId xmlns:a16="http://schemas.microsoft.com/office/drawing/2014/main" id="{1041CF5A-1873-C752-2728-DD99D4EB388E}"/>
                  </a:ext>
                </a:extLst>
              </p:cNvPr>
              <p:cNvSpPr/>
              <p:nvPr/>
            </p:nvSpPr>
            <p:spPr>
              <a:xfrm>
                <a:off x="4795784" y="4274841"/>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39" name="Graphic 126">
              <a:extLst>
                <a:ext uri="{FF2B5EF4-FFF2-40B4-BE49-F238E27FC236}">
                  <a16:creationId xmlns:a16="http://schemas.microsoft.com/office/drawing/2014/main" id="{13EA05E6-D122-0D56-9C2F-E9D6D150812E}"/>
                </a:ext>
              </a:extLst>
            </p:cNvPr>
            <p:cNvGrpSpPr/>
            <p:nvPr/>
          </p:nvGrpSpPr>
          <p:grpSpPr>
            <a:xfrm>
              <a:off x="4786458" y="4227307"/>
              <a:ext cx="95086" cy="95142"/>
              <a:chOff x="4786458" y="4227307"/>
              <a:chExt cx="95086" cy="95142"/>
            </a:xfrm>
          </p:grpSpPr>
          <p:sp>
            <p:nvSpPr>
              <p:cNvPr id="636" name="Freeform 250">
                <a:extLst>
                  <a:ext uri="{FF2B5EF4-FFF2-40B4-BE49-F238E27FC236}">
                    <a16:creationId xmlns:a16="http://schemas.microsoft.com/office/drawing/2014/main" id="{C3C07E17-34E9-217B-C1BC-B111328BFA7C}"/>
                  </a:ext>
                </a:extLst>
              </p:cNvPr>
              <p:cNvSpPr/>
              <p:nvPr/>
            </p:nvSpPr>
            <p:spPr>
              <a:xfrm>
                <a:off x="4833965" y="422730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37" name="Freeform 251">
                <a:extLst>
                  <a:ext uri="{FF2B5EF4-FFF2-40B4-BE49-F238E27FC236}">
                    <a16:creationId xmlns:a16="http://schemas.microsoft.com/office/drawing/2014/main" id="{34E8342E-DDB2-B992-96C6-23AA4E2076EC}"/>
                  </a:ext>
                </a:extLst>
              </p:cNvPr>
              <p:cNvSpPr/>
              <p:nvPr/>
            </p:nvSpPr>
            <p:spPr>
              <a:xfrm>
                <a:off x="4786458" y="4274841"/>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40" name="Graphic 126">
              <a:extLst>
                <a:ext uri="{FF2B5EF4-FFF2-40B4-BE49-F238E27FC236}">
                  <a16:creationId xmlns:a16="http://schemas.microsoft.com/office/drawing/2014/main" id="{01BAE7D1-D1AD-2FF2-7CD0-610346EF0E30}"/>
                </a:ext>
              </a:extLst>
            </p:cNvPr>
            <p:cNvGrpSpPr/>
            <p:nvPr/>
          </p:nvGrpSpPr>
          <p:grpSpPr>
            <a:xfrm>
              <a:off x="4777133" y="4227307"/>
              <a:ext cx="95086" cy="95142"/>
              <a:chOff x="4777133" y="4227307"/>
              <a:chExt cx="95086" cy="95142"/>
            </a:xfrm>
          </p:grpSpPr>
          <p:sp>
            <p:nvSpPr>
              <p:cNvPr id="634" name="Freeform 253">
                <a:extLst>
                  <a:ext uri="{FF2B5EF4-FFF2-40B4-BE49-F238E27FC236}">
                    <a16:creationId xmlns:a16="http://schemas.microsoft.com/office/drawing/2014/main" id="{6EF831BC-5E09-68ED-7750-E6237548728B}"/>
                  </a:ext>
                </a:extLst>
              </p:cNvPr>
              <p:cNvSpPr/>
              <p:nvPr/>
            </p:nvSpPr>
            <p:spPr>
              <a:xfrm>
                <a:off x="4824640" y="422730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35" name="Freeform 254">
                <a:extLst>
                  <a:ext uri="{FF2B5EF4-FFF2-40B4-BE49-F238E27FC236}">
                    <a16:creationId xmlns:a16="http://schemas.microsoft.com/office/drawing/2014/main" id="{863FC33B-980E-7EEE-EA66-99EEB955ECD0}"/>
                  </a:ext>
                </a:extLst>
              </p:cNvPr>
              <p:cNvSpPr/>
              <p:nvPr/>
            </p:nvSpPr>
            <p:spPr>
              <a:xfrm>
                <a:off x="4777133" y="4274841"/>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41" name="Graphic 126">
              <a:extLst>
                <a:ext uri="{FF2B5EF4-FFF2-40B4-BE49-F238E27FC236}">
                  <a16:creationId xmlns:a16="http://schemas.microsoft.com/office/drawing/2014/main" id="{775A83F7-4AFC-E7A4-294A-F4E6145B5550}"/>
                </a:ext>
              </a:extLst>
            </p:cNvPr>
            <p:cNvGrpSpPr/>
            <p:nvPr/>
          </p:nvGrpSpPr>
          <p:grpSpPr>
            <a:xfrm>
              <a:off x="4757749" y="4207103"/>
              <a:ext cx="95086" cy="95142"/>
              <a:chOff x="4757749" y="4207103"/>
              <a:chExt cx="95086" cy="95142"/>
            </a:xfrm>
          </p:grpSpPr>
          <p:sp>
            <p:nvSpPr>
              <p:cNvPr id="632" name="Freeform 256">
                <a:extLst>
                  <a:ext uri="{FF2B5EF4-FFF2-40B4-BE49-F238E27FC236}">
                    <a16:creationId xmlns:a16="http://schemas.microsoft.com/office/drawing/2014/main" id="{B1660BA4-4CC4-3B7C-E965-DAF23CA88E97}"/>
                  </a:ext>
                </a:extLst>
              </p:cNvPr>
              <p:cNvSpPr/>
              <p:nvPr/>
            </p:nvSpPr>
            <p:spPr>
              <a:xfrm>
                <a:off x="4805256" y="420710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33" name="Freeform 257">
                <a:extLst>
                  <a:ext uri="{FF2B5EF4-FFF2-40B4-BE49-F238E27FC236}">
                    <a16:creationId xmlns:a16="http://schemas.microsoft.com/office/drawing/2014/main" id="{0ABF8C61-C882-09E1-AF68-156AC586A5E7}"/>
                  </a:ext>
                </a:extLst>
              </p:cNvPr>
              <p:cNvSpPr/>
              <p:nvPr/>
            </p:nvSpPr>
            <p:spPr>
              <a:xfrm>
                <a:off x="4757749" y="425463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42" name="Graphic 126">
              <a:extLst>
                <a:ext uri="{FF2B5EF4-FFF2-40B4-BE49-F238E27FC236}">
                  <a16:creationId xmlns:a16="http://schemas.microsoft.com/office/drawing/2014/main" id="{5E066E0A-68D1-3199-04A0-219199AB20A5}"/>
                </a:ext>
              </a:extLst>
            </p:cNvPr>
            <p:cNvGrpSpPr/>
            <p:nvPr/>
          </p:nvGrpSpPr>
          <p:grpSpPr>
            <a:xfrm>
              <a:off x="4748424" y="4200123"/>
              <a:ext cx="95086" cy="95142"/>
              <a:chOff x="4748424" y="4200123"/>
              <a:chExt cx="95086" cy="95142"/>
            </a:xfrm>
          </p:grpSpPr>
          <p:sp>
            <p:nvSpPr>
              <p:cNvPr id="630" name="Freeform 259">
                <a:extLst>
                  <a:ext uri="{FF2B5EF4-FFF2-40B4-BE49-F238E27FC236}">
                    <a16:creationId xmlns:a16="http://schemas.microsoft.com/office/drawing/2014/main" id="{9BB74DC0-4DAC-8CF7-7884-D6A532EA26FB}"/>
                  </a:ext>
                </a:extLst>
              </p:cNvPr>
              <p:cNvSpPr/>
              <p:nvPr/>
            </p:nvSpPr>
            <p:spPr>
              <a:xfrm>
                <a:off x="4795930" y="420012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31" name="Freeform 260">
                <a:extLst>
                  <a:ext uri="{FF2B5EF4-FFF2-40B4-BE49-F238E27FC236}">
                    <a16:creationId xmlns:a16="http://schemas.microsoft.com/office/drawing/2014/main" id="{7715DC38-97A9-0F25-9E88-98466D23EF4A}"/>
                  </a:ext>
                </a:extLst>
              </p:cNvPr>
              <p:cNvSpPr/>
              <p:nvPr/>
            </p:nvSpPr>
            <p:spPr>
              <a:xfrm>
                <a:off x="4748424" y="4247658"/>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43" name="Graphic 126">
              <a:extLst>
                <a:ext uri="{FF2B5EF4-FFF2-40B4-BE49-F238E27FC236}">
                  <a16:creationId xmlns:a16="http://schemas.microsoft.com/office/drawing/2014/main" id="{52D8A356-55B9-9D60-2FC9-3E0601263EFF}"/>
                </a:ext>
              </a:extLst>
            </p:cNvPr>
            <p:cNvGrpSpPr/>
            <p:nvPr/>
          </p:nvGrpSpPr>
          <p:grpSpPr>
            <a:xfrm>
              <a:off x="4737557" y="4200123"/>
              <a:ext cx="95086" cy="95142"/>
              <a:chOff x="4737557" y="4200123"/>
              <a:chExt cx="95086" cy="95142"/>
            </a:xfrm>
          </p:grpSpPr>
          <p:sp>
            <p:nvSpPr>
              <p:cNvPr id="628" name="Freeform 262">
                <a:extLst>
                  <a:ext uri="{FF2B5EF4-FFF2-40B4-BE49-F238E27FC236}">
                    <a16:creationId xmlns:a16="http://schemas.microsoft.com/office/drawing/2014/main" id="{9A4E4374-E439-C366-6CAD-A90BDB8B7E19}"/>
                  </a:ext>
                </a:extLst>
              </p:cNvPr>
              <p:cNvSpPr/>
              <p:nvPr/>
            </p:nvSpPr>
            <p:spPr>
              <a:xfrm>
                <a:off x="4785063" y="420012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29" name="Freeform 263">
                <a:extLst>
                  <a:ext uri="{FF2B5EF4-FFF2-40B4-BE49-F238E27FC236}">
                    <a16:creationId xmlns:a16="http://schemas.microsoft.com/office/drawing/2014/main" id="{67CFA1BD-75D7-ED04-71C8-440E8C408757}"/>
                  </a:ext>
                </a:extLst>
              </p:cNvPr>
              <p:cNvSpPr/>
              <p:nvPr/>
            </p:nvSpPr>
            <p:spPr>
              <a:xfrm>
                <a:off x="4737557" y="4247658"/>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44" name="Graphic 126">
              <a:extLst>
                <a:ext uri="{FF2B5EF4-FFF2-40B4-BE49-F238E27FC236}">
                  <a16:creationId xmlns:a16="http://schemas.microsoft.com/office/drawing/2014/main" id="{7DC83294-58AA-7114-C965-6EFFEED27056}"/>
                </a:ext>
              </a:extLst>
            </p:cNvPr>
            <p:cNvGrpSpPr/>
            <p:nvPr/>
          </p:nvGrpSpPr>
          <p:grpSpPr>
            <a:xfrm>
              <a:off x="4603995" y="4142596"/>
              <a:ext cx="95086" cy="95142"/>
              <a:chOff x="4603995" y="4142596"/>
              <a:chExt cx="95086" cy="95142"/>
            </a:xfrm>
          </p:grpSpPr>
          <p:sp>
            <p:nvSpPr>
              <p:cNvPr id="626" name="Freeform 265">
                <a:extLst>
                  <a:ext uri="{FF2B5EF4-FFF2-40B4-BE49-F238E27FC236}">
                    <a16:creationId xmlns:a16="http://schemas.microsoft.com/office/drawing/2014/main" id="{09FB1CF8-5A1D-64FB-5234-FF4677F1E5B9}"/>
                  </a:ext>
                </a:extLst>
              </p:cNvPr>
              <p:cNvSpPr/>
              <p:nvPr/>
            </p:nvSpPr>
            <p:spPr>
              <a:xfrm>
                <a:off x="4651501" y="414259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27" name="Freeform 266">
                <a:extLst>
                  <a:ext uri="{FF2B5EF4-FFF2-40B4-BE49-F238E27FC236}">
                    <a16:creationId xmlns:a16="http://schemas.microsoft.com/office/drawing/2014/main" id="{EB88B767-21A2-946D-13EB-071D6E03D322}"/>
                  </a:ext>
                </a:extLst>
              </p:cNvPr>
              <p:cNvSpPr/>
              <p:nvPr/>
            </p:nvSpPr>
            <p:spPr>
              <a:xfrm>
                <a:off x="4603995" y="419020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45" name="Graphic 126">
              <a:extLst>
                <a:ext uri="{FF2B5EF4-FFF2-40B4-BE49-F238E27FC236}">
                  <a16:creationId xmlns:a16="http://schemas.microsoft.com/office/drawing/2014/main" id="{A5D7F7B9-BD0F-2081-CA01-9BCDF6736699}"/>
                </a:ext>
              </a:extLst>
            </p:cNvPr>
            <p:cNvGrpSpPr/>
            <p:nvPr/>
          </p:nvGrpSpPr>
          <p:grpSpPr>
            <a:xfrm>
              <a:off x="4593127" y="4134809"/>
              <a:ext cx="95086" cy="95142"/>
              <a:chOff x="4593127" y="4134809"/>
              <a:chExt cx="95086" cy="95142"/>
            </a:xfrm>
          </p:grpSpPr>
          <p:sp>
            <p:nvSpPr>
              <p:cNvPr id="624" name="Freeform 268">
                <a:extLst>
                  <a:ext uri="{FF2B5EF4-FFF2-40B4-BE49-F238E27FC236}">
                    <a16:creationId xmlns:a16="http://schemas.microsoft.com/office/drawing/2014/main" id="{45BB7F8A-9058-740C-214A-19F0F4AAA015}"/>
                  </a:ext>
                </a:extLst>
              </p:cNvPr>
              <p:cNvSpPr/>
              <p:nvPr/>
            </p:nvSpPr>
            <p:spPr>
              <a:xfrm>
                <a:off x="4640634" y="413480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25" name="Freeform 269">
                <a:extLst>
                  <a:ext uri="{FF2B5EF4-FFF2-40B4-BE49-F238E27FC236}">
                    <a16:creationId xmlns:a16="http://schemas.microsoft.com/office/drawing/2014/main" id="{B8E5A9AD-3568-3DFB-6352-70693547654A}"/>
                  </a:ext>
                </a:extLst>
              </p:cNvPr>
              <p:cNvSpPr/>
              <p:nvPr/>
            </p:nvSpPr>
            <p:spPr>
              <a:xfrm>
                <a:off x="4593127" y="418241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46" name="Graphic 126">
              <a:extLst>
                <a:ext uri="{FF2B5EF4-FFF2-40B4-BE49-F238E27FC236}">
                  <a16:creationId xmlns:a16="http://schemas.microsoft.com/office/drawing/2014/main" id="{9612C9DB-C8F2-001D-32E5-E22E1D74B6F5}"/>
                </a:ext>
              </a:extLst>
            </p:cNvPr>
            <p:cNvGrpSpPr/>
            <p:nvPr/>
          </p:nvGrpSpPr>
          <p:grpSpPr>
            <a:xfrm>
              <a:off x="4582995" y="4126286"/>
              <a:ext cx="95086" cy="95142"/>
              <a:chOff x="4582995" y="4126286"/>
              <a:chExt cx="95086" cy="95142"/>
            </a:xfrm>
          </p:grpSpPr>
          <p:sp>
            <p:nvSpPr>
              <p:cNvPr id="622" name="Freeform 271">
                <a:extLst>
                  <a:ext uri="{FF2B5EF4-FFF2-40B4-BE49-F238E27FC236}">
                    <a16:creationId xmlns:a16="http://schemas.microsoft.com/office/drawing/2014/main" id="{AA649EE0-D9D4-7BCD-EEBA-890D5D3060A4}"/>
                  </a:ext>
                </a:extLst>
              </p:cNvPr>
              <p:cNvSpPr/>
              <p:nvPr/>
            </p:nvSpPr>
            <p:spPr>
              <a:xfrm>
                <a:off x="4630575" y="412628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23" name="Freeform 272">
                <a:extLst>
                  <a:ext uri="{FF2B5EF4-FFF2-40B4-BE49-F238E27FC236}">
                    <a16:creationId xmlns:a16="http://schemas.microsoft.com/office/drawing/2014/main" id="{99CDB918-F285-36A6-07B4-AF797C95D502}"/>
                  </a:ext>
                </a:extLst>
              </p:cNvPr>
              <p:cNvSpPr/>
              <p:nvPr/>
            </p:nvSpPr>
            <p:spPr>
              <a:xfrm>
                <a:off x="4582995" y="4173894"/>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47" name="Graphic 126">
              <a:extLst>
                <a:ext uri="{FF2B5EF4-FFF2-40B4-BE49-F238E27FC236}">
                  <a16:creationId xmlns:a16="http://schemas.microsoft.com/office/drawing/2014/main" id="{FE69E2E3-38A7-8329-4462-8F03B5440D6B}"/>
                </a:ext>
              </a:extLst>
            </p:cNvPr>
            <p:cNvGrpSpPr/>
            <p:nvPr/>
          </p:nvGrpSpPr>
          <p:grpSpPr>
            <a:xfrm>
              <a:off x="4557369" y="4116221"/>
              <a:ext cx="95160" cy="95142"/>
              <a:chOff x="4557369" y="4116221"/>
              <a:chExt cx="95160" cy="95142"/>
            </a:xfrm>
          </p:grpSpPr>
          <p:sp>
            <p:nvSpPr>
              <p:cNvPr id="620" name="Freeform 274">
                <a:extLst>
                  <a:ext uri="{FF2B5EF4-FFF2-40B4-BE49-F238E27FC236}">
                    <a16:creationId xmlns:a16="http://schemas.microsoft.com/office/drawing/2014/main" id="{2637A6AE-7ADE-342B-BDCC-1CDD8A1F7204}"/>
                  </a:ext>
                </a:extLst>
              </p:cNvPr>
              <p:cNvSpPr/>
              <p:nvPr/>
            </p:nvSpPr>
            <p:spPr>
              <a:xfrm>
                <a:off x="4604949" y="411622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21" name="Freeform 275">
                <a:extLst>
                  <a:ext uri="{FF2B5EF4-FFF2-40B4-BE49-F238E27FC236}">
                    <a16:creationId xmlns:a16="http://schemas.microsoft.com/office/drawing/2014/main" id="{0384F665-FD1A-3301-3541-44A96694D094}"/>
                  </a:ext>
                </a:extLst>
              </p:cNvPr>
              <p:cNvSpPr/>
              <p:nvPr/>
            </p:nvSpPr>
            <p:spPr>
              <a:xfrm>
                <a:off x="4557369" y="4163756"/>
                <a:ext cx="95160" cy="7346"/>
              </a:xfrm>
              <a:custGeom>
                <a:avLst/>
                <a:gdLst>
                  <a:gd name="connsiteX0" fmla="*/ 95160 w 95160"/>
                  <a:gd name="connsiteY0" fmla="*/ 0 h 7346"/>
                  <a:gd name="connsiteX1" fmla="*/ 0 w 95160"/>
                  <a:gd name="connsiteY1" fmla="*/ 0 h 7346"/>
                </a:gdLst>
                <a:ahLst/>
                <a:cxnLst>
                  <a:cxn ang="0">
                    <a:pos x="connsiteX0" y="connsiteY0"/>
                  </a:cxn>
                  <a:cxn ang="0">
                    <a:pos x="connsiteX1" y="connsiteY1"/>
                  </a:cxn>
                </a:cxnLst>
                <a:rect l="l" t="t" r="r" b="b"/>
                <a:pathLst>
                  <a:path w="95160" h="7346">
                    <a:moveTo>
                      <a:pt x="95160"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48" name="Graphic 126">
              <a:extLst>
                <a:ext uri="{FF2B5EF4-FFF2-40B4-BE49-F238E27FC236}">
                  <a16:creationId xmlns:a16="http://schemas.microsoft.com/office/drawing/2014/main" id="{1C82430D-3E72-58AE-7FCD-0FBCBB0F2447}"/>
                </a:ext>
              </a:extLst>
            </p:cNvPr>
            <p:cNvGrpSpPr/>
            <p:nvPr/>
          </p:nvGrpSpPr>
          <p:grpSpPr>
            <a:xfrm>
              <a:off x="4558177" y="4106082"/>
              <a:ext cx="95086" cy="95142"/>
              <a:chOff x="4558177" y="4106082"/>
              <a:chExt cx="95086" cy="95142"/>
            </a:xfrm>
          </p:grpSpPr>
          <p:sp>
            <p:nvSpPr>
              <p:cNvPr id="618" name="Freeform 277">
                <a:extLst>
                  <a:ext uri="{FF2B5EF4-FFF2-40B4-BE49-F238E27FC236}">
                    <a16:creationId xmlns:a16="http://schemas.microsoft.com/office/drawing/2014/main" id="{B2902AE4-A52D-0B94-DE96-151FD657379B}"/>
                  </a:ext>
                </a:extLst>
              </p:cNvPr>
              <p:cNvSpPr/>
              <p:nvPr/>
            </p:nvSpPr>
            <p:spPr>
              <a:xfrm>
                <a:off x="4605757" y="410608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19" name="Freeform 278">
                <a:extLst>
                  <a:ext uri="{FF2B5EF4-FFF2-40B4-BE49-F238E27FC236}">
                    <a16:creationId xmlns:a16="http://schemas.microsoft.com/office/drawing/2014/main" id="{4377E46F-AD07-AC16-F83F-EA900D8208C8}"/>
                  </a:ext>
                </a:extLst>
              </p:cNvPr>
              <p:cNvSpPr/>
              <p:nvPr/>
            </p:nvSpPr>
            <p:spPr>
              <a:xfrm>
                <a:off x="4558177" y="4153690"/>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49" name="Graphic 126">
              <a:extLst>
                <a:ext uri="{FF2B5EF4-FFF2-40B4-BE49-F238E27FC236}">
                  <a16:creationId xmlns:a16="http://schemas.microsoft.com/office/drawing/2014/main" id="{67AEC5DB-828F-707B-3918-3BC9E6F7FCC0}"/>
                </a:ext>
              </a:extLst>
            </p:cNvPr>
            <p:cNvGrpSpPr/>
            <p:nvPr/>
          </p:nvGrpSpPr>
          <p:grpSpPr>
            <a:xfrm>
              <a:off x="4547310" y="4099103"/>
              <a:ext cx="95086" cy="95142"/>
              <a:chOff x="4547310" y="4099103"/>
              <a:chExt cx="95086" cy="95142"/>
            </a:xfrm>
          </p:grpSpPr>
          <p:sp>
            <p:nvSpPr>
              <p:cNvPr id="616" name="Freeform 280">
                <a:extLst>
                  <a:ext uri="{FF2B5EF4-FFF2-40B4-BE49-F238E27FC236}">
                    <a16:creationId xmlns:a16="http://schemas.microsoft.com/office/drawing/2014/main" id="{24E7D57E-BE50-6AA4-B010-A7AC83402ECC}"/>
                  </a:ext>
                </a:extLst>
              </p:cNvPr>
              <p:cNvSpPr/>
              <p:nvPr/>
            </p:nvSpPr>
            <p:spPr>
              <a:xfrm>
                <a:off x="4594890" y="409910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17" name="Freeform 281">
                <a:extLst>
                  <a:ext uri="{FF2B5EF4-FFF2-40B4-BE49-F238E27FC236}">
                    <a16:creationId xmlns:a16="http://schemas.microsoft.com/office/drawing/2014/main" id="{927E23DD-4D1C-EFA2-A617-D9F3E4DE8E9D}"/>
                  </a:ext>
                </a:extLst>
              </p:cNvPr>
              <p:cNvSpPr/>
              <p:nvPr/>
            </p:nvSpPr>
            <p:spPr>
              <a:xfrm>
                <a:off x="4547310" y="414663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50" name="Graphic 126">
              <a:extLst>
                <a:ext uri="{FF2B5EF4-FFF2-40B4-BE49-F238E27FC236}">
                  <a16:creationId xmlns:a16="http://schemas.microsoft.com/office/drawing/2014/main" id="{E3EEB3B8-7412-7BD3-4CC0-10E405E42607}"/>
                </a:ext>
              </a:extLst>
            </p:cNvPr>
            <p:cNvGrpSpPr/>
            <p:nvPr/>
          </p:nvGrpSpPr>
          <p:grpSpPr>
            <a:xfrm>
              <a:off x="4462649" y="4010572"/>
              <a:ext cx="95086" cy="95142"/>
              <a:chOff x="4462649" y="4010572"/>
              <a:chExt cx="95086" cy="95142"/>
            </a:xfrm>
          </p:grpSpPr>
          <p:sp>
            <p:nvSpPr>
              <p:cNvPr id="614" name="Freeform 283">
                <a:extLst>
                  <a:ext uri="{FF2B5EF4-FFF2-40B4-BE49-F238E27FC236}">
                    <a16:creationId xmlns:a16="http://schemas.microsoft.com/office/drawing/2014/main" id="{89B3457E-AE39-271E-1FBC-610360E5169E}"/>
                  </a:ext>
                </a:extLst>
              </p:cNvPr>
              <p:cNvSpPr/>
              <p:nvPr/>
            </p:nvSpPr>
            <p:spPr>
              <a:xfrm>
                <a:off x="4510229" y="40105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15" name="Freeform 284">
                <a:extLst>
                  <a:ext uri="{FF2B5EF4-FFF2-40B4-BE49-F238E27FC236}">
                    <a16:creationId xmlns:a16="http://schemas.microsoft.com/office/drawing/2014/main" id="{462BA4F0-78BF-4D1C-ADDE-50EAA803A472}"/>
                  </a:ext>
                </a:extLst>
              </p:cNvPr>
              <p:cNvSpPr/>
              <p:nvPr/>
            </p:nvSpPr>
            <p:spPr>
              <a:xfrm>
                <a:off x="4462649" y="405810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51" name="Graphic 126">
              <a:extLst>
                <a:ext uri="{FF2B5EF4-FFF2-40B4-BE49-F238E27FC236}">
                  <a16:creationId xmlns:a16="http://schemas.microsoft.com/office/drawing/2014/main" id="{A6F8D49B-8854-12A2-8D58-5CAD0A9BA863}"/>
                </a:ext>
              </a:extLst>
            </p:cNvPr>
            <p:cNvGrpSpPr/>
            <p:nvPr/>
          </p:nvGrpSpPr>
          <p:grpSpPr>
            <a:xfrm>
              <a:off x="4452590" y="4010572"/>
              <a:ext cx="95086" cy="95142"/>
              <a:chOff x="4452590" y="4010572"/>
              <a:chExt cx="95086" cy="95142"/>
            </a:xfrm>
          </p:grpSpPr>
          <p:sp>
            <p:nvSpPr>
              <p:cNvPr id="612" name="Freeform 286">
                <a:extLst>
                  <a:ext uri="{FF2B5EF4-FFF2-40B4-BE49-F238E27FC236}">
                    <a16:creationId xmlns:a16="http://schemas.microsoft.com/office/drawing/2014/main" id="{C8C26987-2BEE-E7B2-F19B-379426522377}"/>
                  </a:ext>
                </a:extLst>
              </p:cNvPr>
              <p:cNvSpPr/>
              <p:nvPr/>
            </p:nvSpPr>
            <p:spPr>
              <a:xfrm>
                <a:off x="4500170" y="40105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13" name="Freeform 287">
                <a:extLst>
                  <a:ext uri="{FF2B5EF4-FFF2-40B4-BE49-F238E27FC236}">
                    <a16:creationId xmlns:a16="http://schemas.microsoft.com/office/drawing/2014/main" id="{BD12CD28-376E-4B6B-1017-7D2051E5FF28}"/>
                  </a:ext>
                </a:extLst>
              </p:cNvPr>
              <p:cNvSpPr/>
              <p:nvPr/>
            </p:nvSpPr>
            <p:spPr>
              <a:xfrm>
                <a:off x="4452590" y="405810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52" name="Graphic 126">
              <a:extLst>
                <a:ext uri="{FF2B5EF4-FFF2-40B4-BE49-F238E27FC236}">
                  <a16:creationId xmlns:a16="http://schemas.microsoft.com/office/drawing/2014/main" id="{C15FC19A-AC63-1E8B-81A6-B9EC5E6AB88F}"/>
                </a:ext>
              </a:extLst>
            </p:cNvPr>
            <p:cNvGrpSpPr/>
            <p:nvPr/>
          </p:nvGrpSpPr>
          <p:grpSpPr>
            <a:xfrm>
              <a:off x="4443265" y="4010572"/>
              <a:ext cx="95086" cy="95142"/>
              <a:chOff x="4443265" y="4010572"/>
              <a:chExt cx="95086" cy="95142"/>
            </a:xfrm>
          </p:grpSpPr>
          <p:sp>
            <p:nvSpPr>
              <p:cNvPr id="610" name="Freeform 289">
                <a:extLst>
                  <a:ext uri="{FF2B5EF4-FFF2-40B4-BE49-F238E27FC236}">
                    <a16:creationId xmlns:a16="http://schemas.microsoft.com/office/drawing/2014/main" id="{0B43AD32-F1AF-B601-95A1-7AF8EC9FF462}"/>
                  </a:ext>
                </a:extLst>
              </p:cNvPr>
              <p:cNvSpPr/>
              <p:nvPr/>
            </p:nvSpPr>
            <p:spPr>
              <a:xfrm>
                <a:off x="4490845" y="40105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11" name="Freeform 290">
                <a:extLst>
                  <a:ext uri="{FF2B5EF4-FFF2-40B4-BE49-F238E27FC236}">
                    <a16:creationId xmlns:a16="http://schemas.microsoft.com/office/drawing/2014/main" id="{3421C388-B6AE-240E-D05C-A9E25CD20D3B}"/>
                  </a:ext>
                </a:extLst>
              </p:cNvPr>
              <p:cNvSpPr/>
              <p:nvPr/>
            </p:nvSpPr>
            <p:spPr>
              <a:xfrm>
                <a:off x="4443265" y="405810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53" name="Graphic 126">
              <a:extLst>
                <a:ext uri="{FF2B5EF4-FFF2-40B4-BE49-F238E27FC236}">
                  <a16:creationId xmlns:a16="http://schemas.microsoft.com/office/drawing/2014/main" id="{C268A0EF-10D9-BB65-58F9-CFE1A72C123F}"/>
                </a:ext>
              </a:extLst>
            </p:cNvPr>
            <p:cNvGrpSpPr/>
            <p:nvPr/>
          </p:nvGrpSpPr>
          <p:grpSpPr>
            <a:xfrm>
              <a:off x="4434747" y="4010572"/>
              <a:ext cx="95086" cy="95142"/>
              <a:chOff x="4434747" y="4010572"/>
              <a:chExt cx="95086" cy="95142"/>
            </a:xfrm>
          </p:grpSpPr>
          <p:sp>
            <p:nvSpPr>
              <p:cNvPr id="608" name="Freeform 292">
                <a:extLst>
                  <a:ext uri="{FF2B5EF4-FFF2-40B4-BE49-F238E27FC236}">
                    <a16:creationId xmlns:a16="http://schemas.microsoft.com/office/drawing/2014/main" id="{D5528101-36DE-7522-53F0-9FE79BB0460B}"/>
                  </a:ext>
                </a:extLst>
              </p:cNvPr>
              <p:cNvSpPr/>
              <p:nvPr/>
            </p:nvSpPr>
            <p:spPr>
              <a:xfrm>
                <a:off x="4482254" y="40105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09" name="Freeform 293">
                <a:extLst>
                  <a:ext uri="{FF2B5EF4-FFF2-40B4-BE49-F238E27FC236}">
                    <a16:creationId xmlns:a16="http://schemas.microsoft.com/office/drawing/2014/main" id="{BC894E12-D165-9FF1-1891-87322C07826C}"/>
                  </a:ext>
                </a:extLst>
              </p:cNvPr>
              <p:cNvSpPr/>
              <p:nvPr/>
            </p:nvSpPr>
            <p:spPr>
              <a:xfrm>
                <a:off x="4434747" y="405810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54" name="Graphic 126">
              <a:extLst>
                <a:ext uri="{FF2B5EF4-FFF2-40B4-BE49-F238E27FC236}">
                  <a16:creationId xmlns:a16="http://schemas.microsoft.com/office/drawing/2014/main" id="{EF52FB56-8AA4-C92F-BAF1-50F2C567EC34}"/>
                </a:ext>
              </a:extLst>
            </p:cNvPr>
            <p:cNvGrpSpPr/>
            <p:nvPr/>
          </p:nvGrpSpPr>
          <p:grpSpPr>
            <a:xfrm>
              <a:off x="4425422" y="4003519"/>
              <a:ext cx="95086" cy="95142"/>
              <a:chOff x="4425422" y="4003519"/>
              <a:chExt cx="95086" cy="95142"/>
            </a:xfrm>
          </p:grpSpPr>
          <p:sp>
            <p:nvSpPr>
              <p:cNvPr id="606" name="Freeform 295">
                <a:extLst>
                  <a:ext uri="{FF2B5EF4-FFF2-40B4-BE49-F238E27FC236}">
                    <a16:creationId xmlns:a16="http://schemas.microsoft.com/office/drawing/2014/main" id="{3029BB82-993F-B11B-BE32-F0F1D3594B84}"/>
                  </a:ext>
                </a:extLst>
              </p:cNvPr>
              <p:cNvSpPr/>
              <p:nvPr/>
            </p:nvSpPr>
            <p:spPr>
              <a:xfrm>
                <a:off x="4472929" y="40035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07" name="Freeform 296">
                <a:extLst>
                  <a:ext uri="{FF2B5EF4-FFF2-40B4-BE49-F238E27FC236}">
                    <a16:creationId xmlns:a16="http://schemas.microsoft.com/office/drawing/2014/main" id="{592BDA2D-F503-EACC-3BB3-5BC65C4C23D5}"/>
                  </a:ext>
                </a:extLst>
              </p:cNvPr>
              <p:cNvSpPr/>
              <p:nvPr/>
            </p:nvSpPr>
            <p:spPr>
              <a:xfrm>
                <a:off x="4425422" y="405112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55" name="Graphic 126">
              <a:extLst>
                <a:ext uri="{FF2B5EF4-FFF2-40B4-BE49-F238E27FC236}">
                  <a16:creationId xmlns:a16="http://schemas.microsoft.com/office/drawing/2014/main" id="{FF4EC38E-4451-802D-7B97-DCEB9CD9F237}"/>
                </a:ext>
              </a:extLst>
            </p:cNvPr>
            <p:cNvGrpSpPr/>
            <p:nvPr/>
          </p:nvGrpSpPr>
          <p:grpSpPr>
            <a:xfrm>
              <a:off x="4416097" y="4003519"/>
              <a:ext cx="95086" cy="95142"/>
              <a:chOff x="4416097" y="4003519"/>
              <a:chExt cx="95086" cy="95142"/>
            </a:xfrm>
          </p:grpSpPr>
          <p:sp>
            <p:nvSpPr>
              <p:cNvPr id="604" name="Freeform 298">
                <a:extLst>
                  <a:ext uri="{FF2B5EF4-FFF2-40B4-BE49-F238E27FC236}">
                    <a16:creationId xmlns:a16="http://schemas.microsoft.com/office/drawing/2014/main" id="{D765B344-A3D5-7703-F8F2-7AAFA47FF4ED}"/>
                  </a:ext>
                </a:extLst>
              </p:cNvPr>
              <p:cNvSpPr/>
              <p:nvPr/>
            </p:nvSpPr>
            <p:spPr>
              <a:xfrm>
                <a:off x="4463677" y="40035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05" name="Freeform 299">
                <a:extLst>
                  <a:ext uri="{FF2B5EF4-FFF2-40B4-BE49-F238E27FC236}">
                    <a16:creationId xmlns:a16="http://schemas.microsoft.com/office/drawing/2014/main" id="{A26BAE51-BC37-400E-941A-40A11DD6D9FC}"/>
                  </a:ext>
                </a:extLst>
              </p:cNvPr>
              <p:cNvSpPr/>
              <p:nvPr/>
            </p:nvSpPr>
            <p:spPr>
              <a:xfrm>
                <a:off x="4416097" y="405112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56" name="Graphic 126">
              <a:extLst>
                <a:ext uri="{FF2B5EF4-FFF2-40B4-BE49-F238E27FC236}">
                  <a16:creationId xmlns:a16="http://schemas.microsoft.com/office/drawing/2014/main" id="{755A18CA-DDA4-EA2C-42B0-1D4E36BE4603}"/>
                </a:ext>
              </a:extLst>
            </p:cNvPr>
            <p:cNvGrpSpPr/>
            <p:nvPr/>
          </p:nvGrpSpPr>
          <p:grpSpPr>
            <a:xfrm>
              <a:off x="4409122" y="4003519"/>
              <a:ext cx="95086" cy="95142"/>
              <a:chOff x="4409122" y="4003519"/>
              <a:chExt cx="95086" cy="95142"/>
            </a:xfrm>
          </p:grpSpPr>
          <p:sp>
            <p:nvSpPr>
              <p:cNvPr id="602" name="Freeform 301">
                <a:extLst>
                  <a:ext uri="{FF2B5EF4-FFF2-40B4-BE49-F238E27FC236}">
                    <a16:creationId xmlns:a16="http://schemas.microsoft.com/office/drawing/2014/main" id="{1E0B5A49-E0AF-2CE9-53C4-DB9FDBB6048E}"/>
                  </a:ext>
                </a:extLst>
              </p:cNvPr>
              <p:cNvSpPr/>
              <p:nvPr/>
            </p:nvSpPr>
            <p:spPr>
              <a:xfrm>
                <a:off x="4456628" y="40035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03" name="Freeform 302">
                <a:extLst>
                  <a:ext uri="{FF2B5EF4-FFF2-40B4-BE49-F238E27FC236}">
                    <a16:creationId xmlns:a16="http://schemas.microsoft.com/office/drawing/2014/main" id="{CF96C123-EF9D-02FE-5CE9-E97D55B5AB30}"/>
                  </a:ext>
                </a:extLst>
              </p:cNvPr>
              <p:cNvSpPr/>
              <p:nvPr/>
            </p:nvSpPr>
            <p:spPr>
              <a:xfrm>
                <a:off x="4409122" y="405112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57" name="Graphic 126">
              <a:extLst>
                <a:ext uri="{FF2B5EF4-FFF2-40B4-BE49-F238E27FC236}">
                  <a16:creationId xmlns:a16="http://schemas.microsoft.com/office/drawing/2014/main" id="{42E0877F-D9A0-17F0-BCF7-F59931759B90}"/>
                </a:ext>
              </a:extLst>
            </p:cNvPr>
            <p:cNvGrpSpPr/>
            <p:nvPr/>
          </p:nvGrpSpPr>
          <p:grpSpPr>
            <a:xfrm>
              <a:off x="4400604" y="4003519"/>
              <a:ext cx="95086" cy="95142"/>
              <a:chOff x="4400604" y="4003519"/>
              <a:chExt cx="95086" cy="95142"/>
            </a:xfrm>
          </p:grpSpPr>
          <p:sp>
            <p:nvSpPr>
              <p:cNvPr id="600" name="Freeform 304">
                <a:extLst>
                  <a:ext uri="{FF2B5EF4-FFF2-40B4-BE49-F238E27FC236}">
                    <a16:creationId xmlns:a16="http://schemas.microsoft.com/office/drawing/2014/main" id="{F3F14056-7633-3D6E-4F1A-B7C1C6FC5785}"/>
                  </a:ext>
                </a:extLst>
              </p:cNvPr>
              <p:cNvSpPr/>
              <p:nvPr/>
            </p:nvSpPr>
            <p:spPr>
              <a:xfrm>
                <a:off x="4448111" y="40035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601" name="Freeform 305">
                <a:extLst>
                  <a:ext uri="{FF2B5EF4-FFF2-40B4-BE49-F238E27FC236}">
                    <a16:creationId xmlns:a16="http://schemas.microsoft.com/office/drawing/2014/main" id="{22CB9369-F01D-7BDD-EC9E-3B70CE19A73C}"/>
                  </a:ext>
                </a:extLst>
              </p:cNvPr>
              <p:cNvSpPr/>
              <p:nvPr/>
            </p:nvSpPr>
            <p:spPr>
              <a:xfrm>
                <a:off x="4400604" y="405112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58" name="Graphic 126">
              <a:extLst>
                <a:ext uri="{FF2B5EF4-FFF2-40B4-BE49-F238E27FC236}">
                  <a16:creationId xmlns:a16="http://schemas.microsoft.com/office/drawing/2014/main" id="{AB6E3CB8-1B4E-9540-D4BE-01230B5211D5}"/>
                </a:ext>
              </a:extLst>
            </p:cNvPr>
            <p:cNvGrpSpPr/>
            <p:nvPr/>
          </p:nvGrpSpPr>
          <p:grpSpPr>
            <a:xfrm>
              <a:off x="4391279" y="4003519"/>
              <a:ext cx="95086" cy="95142"/>
              <a:chOff x="4391279" y="4003519"/>
              <a:chExt cx="95086" cy="95142"/>
            </a:xfrm>
          </p:grpSpPr>
          <p:sp>
            <p:nvSpPr>
              <p:cNvPr id="598" name="Freeform 307">
                <a:extLst>
                  <a:ext uri="{FF2B5EF4-FFF2-40B4-BE49-F238E27FC236}">
                    <a16:creationId xmlns:a16="http://schemas.microsoft.com/office/drawing/2014/main" id="{84814F6F-DFE6-9E39-2317-29DAF38AC5F7}"/>
                  </a:ext>
                </a:extLst>
              </p:cNvPr>
              <p:cNvSpPr/>
              <p:nvPr/>
            </p:nvSpPr>
            <p:spPr>
              <a:xfrm>
                <a:off x="4438786" y="40035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99" name="Freeform 308">
                <a:extLst>
                  <a:ext uri="{FF2B5EF4-FFF2-40B4-BE49-F238E27FC236}">
                    <a16:creationId xmlns:a16="http://schemas.microsoft.com/office/drawing/2014/main" id="{07AE9073-DD1A-8D46-426F-C5160016DDC1}"/>
                  </a:ext>
                </a:extLst>
              </p:cNvPr>
              <p:cNvSpPr/>
              <p:nvPr/>
            </p:nvSpPr>
            <p:spPr>
              <a:xfrm>
                <a:off x="4391279" y="405112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59" name="Graphic 126">
              <a:extLst>
                <a:ext uri="{FF2B5EF4-FFF2-40B4-BE49-F238E27FC236}">
                  <a16:creationId xmlns:a16="http://schemas.microsoft.com/office/drawing/2014/main" id="{66832574-AA26-8C6D-0177-B870D200EF93}"/>
                </a:ext>
              </a:extLst>
            </p:cNvPr>
            <p:cNvGrpSpPr/>
            <p:nvPr/>
          </p:nvGrpSpPr>
          <p:grpSpPr>
            <a:xfrm>
              <a:off x="4383496" y="4003519"/>
              <a:ext cx="95086" cy="95142"/>
              <a:chOff x="4383496" y="4003519"/>
              <a:chExt cx="95086" cy="95142"/>
            </a:xfrm>
          </p:grpSpPr>
          <p:sp>
            <p:nvSpPr>
              <p:cNvPr id="596" name="Freeform 310">
                <a:extLst>
                  <a:ext uri="{FF2B5EF4-FFF2-40B4-BE49-F238E27FC236}">
                    <a16:creationId xmlns:a16="http://schemas.microsoft.com/office/drawing/2014/main" id="{9D27C4B3-4336-4233-6F01-D2048E269168}"/>
                  </a:ext>
                </a:extLst>
              </p:cNvPr>
              <p:cNvSpPr/>
              <p:nvPr/>
            </p:nvSpPr>
            <p:spPr>
              <a:xfrm>
                <a:off x="4431003" y="40035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97" name="Freeform 311">
                <a:extLst>
                  <a:ext uri="{FF2B5EF4-FFF2-40B4-BE49-F238E27FC236}">
                    <a16:creationId xmlns:a16="http://schemas.microsoft.com/office/drawing/2014/main" id="{8494B61B-9784-BF8A-32D4-446F122B195A}"/>
                  </a:ext>
                </a:extLst>
              </p:cNvPr>
              <p:cNvSpPr/>
              <p:nvPr/>
            </p:nvSpPr>
            <p:spPr>
              <a:xfrm>
                <a:off x="4383496" y="405112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60" name="Graphic 126">
              <a:extLst>
                <a:ext uri="{FF2B5EF4-FFF2-40B4-BE49-F238E27FC236}">
                  <a16:creationId xmlns:a16="http://schemas.microsoft.com/office/drawing/2014/main" id="{DC6C6798-9221-1F75-2AB2-859F99585BDE}"/>
                </a:ext>
              </a:extLst>
            </p:cNvPr>
            <p:cNvGrpSpPr/>
            <p:nvPr/>
          </p:nvGrpSpPr>
          <p:grpSpPr>
            <a:xfrm>
              <a:off x="4374171" y="4003519"/>
              <a:ext cx="95086" cy="95142"/>
              <a:chOff x="4374171" y="4003519"/>
              <a:chExt cx="95086" cy="95142"/>
            </a:xfrm>
          </p:grpSpPr>
          <p:sp>
            <p:nvSpPr>
              <p:cNvPr id="594" name="Freeform 313">
                <a:extLst>
                  <a:ext uri="{FF2B5EF4-FFF2-40B4-BE49-F238E27FC236}">
                    <a16:creationId xmlns:a16="http://schemas.microsoft.com/office/drawing/2014/main" id="{DEAE4BE8-8C19-4CD8-AAF1-92EE4FE2093C}"/>
                  </a:ext>
                </a:extLst>
              </p:cNvPr>
              <p:cNvSpPr/>
              <p:nvPr/>
            </p:nvSpPr>
            <p:spPr>
              <a:xfrm>
                <a:off x="4421751" y="40035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95" name="Freeform 314">
                <a:extLst>
                  <a:ext uri="{FF2B5EF4-FFF2-40B4-BE49-F238E27FC236}">
                    <a16:creationId xmlns:a16="http://schemas.microsoft.com/office/drawing/2014/main" id="{D6D3668A-D3A5-49F0-B39B-3FD17B6A57C7}"/>
                  </a:ext>
                </a:extLst>
              </p:cNvPr>
              <p:cNvSpPr/>
              <p:nvPr/>
            </p:nvSpPr>
            <p:spPr>
              <a:xfrm>
                <a:off x="4374171" y="405112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61" name="Graphic 126">
              <a:extLst>
                <a:ext uri="{FF2B5EF4-FFF2-40B4-BE49-F238E27FC236}">
                  <a16:creationId xmlns:a16="http://schemas.microsoft.com/office/drawing/2014/main" id="{B5B6B9A5-A14F-AC01-115E-636DC8646E9B}"/>
                </a:ext>
              </a:extLst>
            </p:cNvPr>
            <p:cNvGrpSpPr/>
            <p:nvPr/>
          </p:nvGrpSpPr>
          <p:grpSpPr>
            <a:xfrm>
              <a:off x="4363304" y="3994996"/>
              <a:ext cx="95086" cy="95142"/>
              <a:chOff x="4363304" y="3994996"/>
              <a:chExt cx="95086" cy="95142"/>
            </a:xfrm>
          </p:grpSpPr>
          <p:sp>
            <p:nvSpPr>
              <p:cNvPr id="592" name="Freeform 316">
                <a:extLst>
                  <a:ext uri="{FF2B5EF4-FFF2-40B4-BE49-F238E27FC236}">
                    <a16:creationId xmlns:a16="http://schemas.microsoft.com/office/drawing/2014/main" id="{F9953BDA-3ECC-58E3-292F-E03961EA5221}"/>
                  </a:ext>
                </a:extLst>
              </p:cNvPr>
              <p:cNvSpPr/>
              <p:nvPr/>
            </p:nvSpPr>
            <p:spPr>
              <a:xfrm>
                <a:off x="4410884" y="399499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93" name="Freeform 317">
                <a:extLst>
                  <a:ext uri="{FF2B5EF4-FFF2-40B4-BE49-F238E27FC236}">
                    <a16:creationId xmlns:a16="http://schemas.microsoft.com/office/drawing/2014/main" id="{7EF32E45-A74C-8BFC-0BC9-03C8ADEB47CE}"/>
                  </a:ext>
                </a:extLst>
              </p:cNvPr>
              <p:cNvSpPr/>
              <p:nvPr/>
            </p:nvSpPr>
            <p:spPr>
              <a:xfrm>
                <a:off x="4363304" y="404260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62" name="Graphic 126">
              <a:extLst>
                <a:ext uri="{FF2B5EF4-FFF2-40B4-BE49-F238E27FC236}">
                  <a16:creationId xmlns:a16="http://schemas.microsoft.com/office/drawing/2014/main" id="{CF0D9C7A-D448-E36F-A4EF-C38B6ECE8834}"/>
                </a:ext>
              </a:extLst>
            </p:cNvPr>
            <p:cNvGrpSpPr/>
            <p:nvPr/>
          </p:nvGrpSpPr>
          <p:grpSpPr>
            <a:xfrm>
              <a:off x="4353244" y="3994996"/>
              <a:ext cx="95086" cy="95142"/>
              <a:chOff x="4353244" y="3994996"/>
              <a:chExt cx="95086" cy="95142"/>
            </a:xfrm>
          </p:grpSpPr>
          <p:sp>
            <p:nvSpPr>
              <p:cNvPr id="590" name="Freeform 319">
                <a:extLst>
                  <a:ext uri="{FF2B5EF4-FFF2-40B4-BE49-F238E27FC236}">
                    <a16:creationId xmlns:a16="http://schemas.microsoft.com/office/drawing/2014/main" id="{4C9979AD-F9F4-E63B-C360-75B122639DDB}"/>
                  </a:ext>
                </a:extLst>
              </p:cNvPr>
              <p:cNvSpPr/>
              <p:nvPr/>
            </p:nvSpPr>
            <p:spPr>
              <a:xfrm>
                <a:off x="4400751" y="399499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91" name="Freeform 320">
                <a:extLst>
                  <a:ext uri="{FF2B5EF4-FFF2-40B4-BE49-F238E27FC236}">
                    <a16:creationId xmlns:a16="http://schemas.microsoft.com/office/drawing/2014/main" id="{F4081C77-FEB5-ECAF-3832-76B65DE82837}"/>
                  </a:ext>
                </a:extLst>
              </p:cNvPr>
              <p:cNvSpPr/>
              <p:nvPr/>
            </p:nvSpPr>
            <p:spPr>
              <a:xfrm>
                <a:off x="4353244" y="404260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63" name="Graphic 126">
              <a:extLst>
                <a:ext uri="{FF2B5EF4-FFF2-40B4-BE49-F238E27FC236}">
                  <a16:creationId xmlns:a16="http://schemas.microsoft.com/office/drawing/2014/main" id="{A2946BEA-6570-C9C6-1510-329A10DC5DA2}"/>
                </a:ext>
              </a:extLst>
            </p:cNvPr>
            <p:cNvGrpSpPr/>
            <p:nvPr/>
          </p:nvGrpSpPr>
          <p:grpSpPr>
            <a:xfrm>
              <a:off x="4345461" y="3994996"/>
              <a:ext cx="95086" cy="95142"/>
              <a:chOff x="4345461" y="3994996"/>
              <a:chExt cx="95086" cy="95142"/>
            </a:xfrm>
          </p:grpSpPr>
          <p:sp>
            <p:nvSpPr>
              <p:cNvPr id="588" name="Freeform 322">
                <a:extLst>
                  <a:ext uri="{FF2B5EF4-FFF2-40B4-BE49-F238E27FC236}">
                    <a16:creationId xmlns:a16="http://schemas.microsoft.com/office/drawing/2014/main" id="{90B00CED-52B1-34BC-62BD-0328A91978DD}"/>
                  </a:ext>
                </a:extLst>
              </p:cNvPr>
              <p:cNvSpPr/>
              <p:nvPr/>
            </p:nvSpPr>
            <p:spPr>
              <a:xfrm>
                <a:off x="4392968" y="399499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89" name="Freeform 323">
                <a:extLst>
                  <a:ext uri="{FF2B5EF4-FFF2-40B4-BE49-F238E27FC236}">
                    <a16:creationId xmlns:a16="http://schemas.microsoft.com/office/drawing/2014/main" id="{287BA997-A94E-45D1-A01C-182DED5FB9F5}"/>
                  </a:ext>
                </a:extLst>
              </p:cNvPr>
              <p:cNvSpPr/>
              <p:nvPr/>
            </p:nvSpPr>
            <p:spPr>
              <a:xfrm>
                <a:off x="4345461" y="404260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64" name="Graphic 126">
              <a:extLst>
                <a:ext uri="{FF2B5EF4-FFF2-40B4-BE49-F238E27FC236}">
                  <a16:creationId xmlns:a16="http://schemas.microsoft.com/office/drawing/2014/main" id="{E797244F-3C06-F44D-F283-445EC1EDBBAA}"/>
                </a:ext>
              </a:extLst>
            </p:cNvPr>
            <p:cNvGrpSpPr/>
            <p:nvPr/>
          </p:nvGrpSpPr>
          <p:grpSpPr>
            <a:xfrm>
              <a:off x="4336870" y="3994996"/>
              <a:ext cx="95160" cy="95142"/>
              <a:chOff x="4336870" y="3994996"/>
              <a:chExt cx="95160" cy="95142"/>
            </a:xfrm>
          </p:grpSpPr>
          <p:sp>
            <p:nvSpPr>
              <p:cNvPr id="586" name="Freeform 325">
                <a:extLst>
                  <a:ext uri="{FF2B5EF4-FFF2-40B4-BE49-F238E27FC236}">
                    <a16:creationId xmlns:a16="http://schemas.microsoft.com/office/drawing/2014/main" id="{6F6D2FD4-B15F-5EDE-D6EC-A462021290F8}"/>
                  </a:ext>
                </a:extLst>
              </p:cNvPr>
              <p:cNvSpPr/>
              <p:nvPr/>
            </p:nvSpPr>
            <p:spPr>
              <a:xfrm>
                <a:off x="4384450" y="399499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87" name="Freeform 326">
                <a:extLst>
                  <a:ext uri="{FF2B5EF4-FFF2-40B4-BE49-F238E27FC236}">
                    <a16:creationId xmlns:a16="http://schemas.microsoft.com/office/drawing/2014/main" id="{AEC62143-D85C-01BB-129B-E28AE3DBA66C}"/>
                  </a:ext>
                </a:extLst>
              </p:cNvPr>
              <p:cNvSpPr/>
              <p:nvPr/>
            </p:nvSpPr>
            <p:spPr>
              <a:xfrm>
                <a:off x="4336870" y="4042605"/>
                <a:ext cx="95160" cy="7346"/>
              </a:xfrm>
              <a:custGeom>
                <a:avLst/>
                <a:gdLst>
                  <a:gd name="connsiteX0" fmla="*/ 95160 w 95160"/>
                  <a:gd name="connsiteY0" fmla="*/ 0 h 7346"/>
                  <a:gd name="connsiteX1" fmla="*/ 0 w 95160"/>
                  <a:gd name="connsiteY1" fmla="*/ 0 h 7346"/>
                </a:gdLst>
                <a:ahLst/>
                <a:cxnLst>
                  <a:cxn ang="0">
                    <a:pos x="connsiteX0" y="connsiteY0"/>
                  </a:cxn>
                  <a:cxn ang="0">
                    <a:pos x="connsiteX1" y="connsiteY1"/>
                  </a:cxn>
                </a:cxnLst>
                <a:rect l="l" t="t" r="r" b="b"/>
                <a:pathLst>
                  <a:path w="95160" h="7346">
                    <a:moveTo>
                      <a:pt x="95160"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65" name="Graphic 126">
              <a:extLst>
                <a:ext uri="{FF2B5EF4-FFF2-40B4-BE49-F238E27FC236}">
                  <a16:creationId xmlns:a16="http://schemas.microsoft.com/office/drawing/2014/main" id="{B5AEECB6-8730-6243-FAE6-751C869D49B5}"/>
                </a:ext>
              </a:extLst>
            </p:cNvPr>
            <p:cNvGrpSpPr/>
            <p:nvPr/>
          </p:nvGrpSpPr>
          <p:grpSpPr>
            <a:xfrm>
              <a:off x="4336870" y="3983241"/>
              <a:ext cx="95160" cy="95142"/>
              <a:chOff x="4336870" y="3983241"/>
              <a:chExt cx="95160" cy="95142"/>
            </a:xfrm>
          </p:grpSpPr>
          <p:sp>
            <p:nvSpPr>
              <p:cNvPr id="584" name="Freeform 328">
                <a:extLst>
                  <a:ext uri="{FF2B5EF4-FFF2-40B4-BE49-F238E27FC236}">
                    <a16:creationId xmlns:a16="http://schemas.microsoft.com/office/drawing/2014/main" id="{A4BE9853-EF7A-BBD7-C0F3-29FA461CD08A}"/>
                  </a:ext>
                </a:extLst>
              </p:cNvPr>
              <p:cNvSpPr/>
              <p:nvPr/>
            </p:nvSpPr>
            <p:spPr>
              <a:xfrm>
                <a:off x="4384450" y="398324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85" name="Freeform 329">
                <a:extLst>
                  <a:ext uri="{FF2B5EF4-FFF2-40B4-BE49-F238E27FC236}">
                    <a16:creationId xmlns:a16="http://schemas.microsoft.com/office/drawing/2014/main" id="{AE4A8840-14CB-FB21-FC20-9E3971101D7B}"/>
                  </a:ext>
                </a:extLst>
              </p:cNvPr>
              <p:cNvSpPr/>
              <p:nvPr/>
            </p:nvSpPr>
            <p:spPr>
              <a:xfrm>
                <a:off x="4336870" y="4030776"/>
                <a:ext cx="95160" cy="7346"/>
              </a:xfrm>
              <a:custGeom>
                <a:avLst/>
                <a:gdLst>
                  <a:gd name="connsiteX0" fmla="*/ 95160 w 95160"/>
                  <a:gd name="connsiteY0" fmla="*/ 0 h 7346"/>
                  <a:gd name="connsiteX1" fmla="*/ 0 w 95160"/>
                  <a:gd name="connsiteY1" fmla="*/ 0 h 7346"/>
                </a:gdLst>
                <a:ahLst/>
                <a:cxnLst>
                  <a:cxn ang="0">
                    <a:pos x="connsiteX0" y="connsiteY0"/>
                  </a:cxn>
                  <a:cxn ang="0">
                    <a:pos x="connsiteX1" y="connsiteY1"/>
                  </a:cxn>
                </a:cxnLst>
                <a:rect l="l" t="t" r="r" b="b"/>
                <a:pathLst>
                  <a:path w="95160" h="7346">
                    <a:moveTo>
                      <a:pt x="95160"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66" name="Graphic 126">
              <a:extLst>
                <a:ext uri="{FF2B5EF4-FFF2-40B4-BE49-F238E27FC236}">
                  <a16:creationId xmlns:a16="http://schemas.microsoft.com/office/drawing/2014/main" id="{6D7E4663-F177-AD76-1AAA-FDE1379AE222}"/>
                </a:ext>
              </a:extLst>
            </p:cNvPr>
            <p:cNvGrpSpPr/>
            <p:nvPr/>
          </p:nvGrpSpPr>
          <p:grpSpPr>
            <a:xfrm>
              <a:off x="4320496" y="3974792"/>
              <a:ext cx="95086" cy="95142"/>
              <a:chOff x="4320496" y="3974792"/>
              <a:chExt cx="95086" cy="95142"/>
            </a:xfrm>
          </p:grpSpPr>
          <p:sp>
            <p:nvSpPr>
              <p:cNvPr id="582" name="Freeform 331">
                <a:extLst>
                  <a:ext uri="{FF2B5EF4-FFF2-40B4-BE49-F238E27FC236}">
                    <a16:creationId xmlns:a16="http://schemas.microsoft.com/office/drawing/2014/main" id="{51A6AF7E-BB9B-CA3E-0800-9B4E89DE03C5}"/>
                  </a:ext>
                </a:extLst>
              </p:cNvPr>
              <p:cNvSpPr/>
              <p:nvPr/>
            </p:nvSpPr>
            <p:spPr>
              <a:xfrm>
                <a:off x="4368076" y="397479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83" name="Freeform 332">
                <a:extLst>
                  <a:ext uri="{FF2B5EF4-FFF2-40B4-BE49-F238E27FC236}">
                    <a16:creationId xmlns:a16="http://schemas.microsoft.com/office/drawing/2014/main" id="{AE4D88AF-0EA0-3B55-04D3-FAF02BE7E855}"/>
                  </a:ext>
                </a:extLst>
              </p:cNvPr>
              <p:cNvSpPr/>
              <p:nvPr/>
            </p:nvSpPr>
            <p:spPr>
              <a:xfrm>
                <a:off x="4320496" y="4022401"/>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67" name="Graphic 126">
              <a:extLst>
                <a:ext uri="{FF2B5EF4-FFF2-40B4-BE49-F238E27FC236}">
                  <a16:creationId xmlns:a16="http://schemas.microsoft.com/office/drawing/2014/main" id="{F5924488-785F-91CD-7B59-29558FE35A19}"/>
                </a:ext>
              </a:extLst>
            </p:cNvPr>
            <p:cNvGrpSpPr/>
            <p:nvPr/>
          </p:nvGrpSpPr>
          <p:grpSpPr>
            <a:xfrm>
              <a:off x="4311171" y="3978686"/>
              <a:ext cx="95160" cy="95142"/>
              <a:chOff x="4311171" y="3978686"/>
              <a:chExt cx="95160" cy="95142"/>
            </a:xfrm>
          </p:grpSpPr>
          <p:sp>
            <p:nvSpPr>
              <p:cNvPr id="580" name="Freeform 334">
                <a:extLst>
                  <a:ext uri="{FF2B5EF4-FFF2-40B4-BE49-F238E27FC236}">
                    <a16:creationId xmlns:a16="http://schemas.microsoft.com/office/drawing/2014/main" id="{EEF04ECF-3FC1-34EA-FE9B-3818F92D69A3}"/>
                  </a:ext>
                </a:extLst>
              </p:cNvPr>
              <p:cNvSpPr/>
              <p:nvPr/>
            </p:nvSpPr>
            <p:spPr>
              <a:xfrm>
                <a:off x="4358751" y="397868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81" name="Freeform 335">
                <a:extLst>
                  <a:ext uri="{FF2B5EF4-FFF2-40B4-BE49-F238E27FC236}">
                    <a16:creationId xmlns:a16="http://schemas.microsoft.com/office/drawing/2014/main" id="{C9C2026A-E9FD-5B18-0E40-779191B6A5B8}"/>
                  </a:ext>
                </a:extLst>
              </p:cNvPr>
              <p:cNvSpPr/>
              <p:nvPr/>
            </p:nvSpPr>
            <p:spPr>
              <a:xfrm>
                <a:off x="4311171" y="4026294"/>
                <a:ext cx="95160" cy="7346"/>
              </a:xfrm>
              <a:custGeom>
                <a:avLst/>
                <a:gdLst>
                  <a:gd name="connsiteX0" fmla="*/ 95160 w 95160"/>
                  <a:gd name="connsiteY0" fmla="*/ 0 h 7346"/>
                  <a:gd name="connsiteX1" fmla="*/ 0 w 95160"/>
                  <a:gd name="connsiteY1" fmla="*/ 0 h 7346"/>
                </a:gdLst>
                <a:ahLst/>
                <a:cxnLst>
                  <a:cxn ang="0">
                    <a:pos x="connsiteX0" y="connsiteY0"/>
                  </a:cxn>
                  <a:cxn ang="0">
                    <a:pos x="connsiteX1" y="connsiteY1"/>
                  </a:cxn>
                </a:cxnLst>
                <a:rect l="l" t="t" r="r" b="b"/>
                <a:pathLst>
                  <a:path w="95160" h="7346">
                    <a:moveTo>
                      <a:pt x="95160"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68" name="Graphic 126">
              <a:extLst>
                <a:ext uri="{FF2B5EF4-FFF2-40B4-BE49-F238E27FC236}">
                  <a16:creationId xmlns:a16="http://schemas.microsoft.com/office/drawing/2014/main" id="{0FDFE56E-EEB6-BC28-0705-9244F12E3D2F}"/>
                </a:ext>
              </a:extLst>
            </p:cNvPr>
            <p:cNvGrpSpPr/>
            <p:nvPr/>
          </p:nvGrpSpPr>
          <p:grpSpPr>
            <a:xfrm>
              <a:off x="4304196" y="3966270"/>
              <a:ext cx="95086" cy="95142"/>
              <a:chOff x="4304196" y="3966270"/>
              <a:chExt cx="95086" cy="95142"/>
            </a:xfrm>
          </p:grpSpPr>
          <p:sp>
            <p:nvSpPr>
              <p:cNvPr id="578" name="Freeform 337">
                <a:extLst>
                  <a:ext uri="{FF2B5EF4-FFF2-40B4-BE49-F238E27FC236}">
                    <a16:creationId xmlns:a16="http://schemas.microsoft.com/office/drawing/2014/main" id="{B1E28098-564B-D6B8-696D-4EC29E43C215}"/>
                  </a:ext>
                </a:extLst>
              </p:cNvPr>
              <p:cNvSpPr/>
              <p:nvPr/>
            </p:nvSpPr>
            <p:spPr>
              <a:xfrm>
                <a:off x="4351776" y="39662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79" name="Freeform 338">
                <a:extLst>
                  <a:ext uri="{FF2B5EF4-FFF2-40B4-BE49-F238E27FC236}">
                    <a16:creationId xmlns:a16="http://schemas.microsoft.com/office/drawing/2014/main" id="{8299E031-8C63-6F9A-30A5-515BD7CA5CBF}"/>
                  </a:ext>
                </a:extLst>
              </p:cNvPr>
              <p:cNvSpPr/>
              <p:nvPr/>
            </p:nvSpPr>
            <p:spPr>
              <a:xfrm>
                <a:off x="4304196" y="401380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69" name="Graphic 126">
              <a:extLst>
                <a:ext uri="{FF2B5EF4-FFF2-40B4-BE49-F238E27FC236}">
                  <a16:creationId xmlns:a16="http://schemas.microsoft.com/office/drawing/2014/main" id="{6A7C8337-15C6-8CC0-723C-F7F5F7B2A91A}"/>
                </a:ext>
              </a:extLst>
            </p:cNvPr>
            <p:cNvGrpSpPr/>
            <p:nvPr/>
          </p:nvGrpSpPr>
          <p:grpSpPr>
            <a:xfrm>
              <a:off x="4293329" y="3963919"/>
              <a:ext cx="95086" cy="95142"/>
              <a:chOff x="4293329" y="3963919"/>
              <a:chExt cx="95086" cy="95142"/>
            </a:xfrm>
          </p:grpSpPr>
          <p:sp>
            <p:nvSpPr>
              <p:cNvPr id="576" name="Freeform 340">
                <a:extLst>
                  <a:ext uri="{FF2B5EF4-FFF2-40B4-BE49-F238E27FC236}">
                    <a16:creationId xmlns:a16="http://schemas.microsoft.com/office/drawing/2014/main" id="{A52224AF-70DC-5F91-C17C-C15AA8E9B2E4}"/>
                  </a:ext>
                </a:extLst>
              </p:cNvPr>
              <p:cNvSpPr/>
              <p:nvPr/>
            </p:nvSpPr>
            <p:spPr>
              <a:xfrm>
                <a:off x="4340909" y="39639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77" name="Freeform 341">
                <a:extLst>
                  <a:ext uri="{FF2B5EF4-FFF2-40B4-BE49-F238E27FC236}">
                    <a16:creationId xmlns:a16="http://schemas.microsoft.com/office/drawing/2014/main" id="{915F54C1-2D12-09D7-05F6-4473C6170971}"/>
                  </a:ext>
                </a:extLst>
              </p:cNvPr>
              <p:cNvSpPr/>
              <p:nvPr/>
            </p:nvSpPr>
            <p:spPr>
              <a:xfrm>
                <a:off x="4293329" y="401152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70" name="Graphic 126">
              <a:extLst>
                <a:ext uri="{FF2B5EF4-FFF2-40B4-BE49-F238E27FC236}">
                  <a16:creationId xmlns:a16="http://schemas.microsoft.com/office/drawing/2014/main" id="{6FCD3735-EE11-C65D-949E-AB961B7ADBE2}"/>
                </a:ext>
              </a:extLst>
            </p:cNvPr>
            <p:cNvGrpSpPr/>
            <p:nvPr/>
          </p:nvGrpSpPr>
          <p:grpSpPr>
            <a:xfrm>
              <a:off x="4284003" y="3960833"/>
              <a:ext cx="95086" cy="95142"/>
              <a:chOff x="4284003" y="3960833"/>
              <a:chExt cx="95086" cy="95142"/>
            </a:xfrm>
          </p:grpSpPr>
          <p:sp>
            <p:nvSpPr>
              <p:cNvPr id="574" name="Freeform 343">
                <a:extLst>
                  <a:ext uri="{FF2B5EF4-FFF2-40B4-BE49-F238E27FC236}">
                    <a16:creationId xmlns:a16="http://schemas.microsoft.com/office/drawing/2014/main" id="{F51EA0EB-5134-F880-6F9E-8A07A9377628}"/>
                  </a:ext>
                </a:extLst>
              </p:cNvPr>
              <p:cNvSpPr/>
              <p:nvPr/>
            </p:nvSpPr>
            <p:spPr>
              <a:xfrm>
                <a:off x="4331584" y="39608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75" name="Freeform 344">
                <a:extLst>
                  <a:ext uri="{FF2B5EF4-FFF2-40B4-BE49-F238E27FC236}">
                    <a16:creationId xmlns:a16="http://schemas.microsoft.com/office/drawing/2014/main" id="{67AD2480-F07B-CA6E-65F4-59CFFF6258D4}"/>
                  </a:ext>
                </a:extLst>
              </p:cNvPr>
              <p:cNvSpPr/>
              <p:nvPr/>
            </p:nvSpPr>
            <p:spPr>
              <a:xfrm>
                <a:off x="4284003" y="4008368"/>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71" name="Graphic 126">
              <a:extLst>
                <a:ext uri="{FF2B5EF4-FFF2-40B4-BE49-F238E27FC236}">
                  <a16:creationId xmlns:a16="http://schemas.microsoft.com/office/drawing/2014/main" id="{FC194AB4-8692-4A5A-C8C5-8F38B68FCA99}"/>
                </a:ext>
              </a:extLst>
            </p:cNvPr>
            <p:cNvGrpSpPr/>
            <p:nvPr/>
          </p:nvGrpSpPr>
          <p:grpSpPr>
            <a:xfrm>
              <a:off x="4277836" y="3953854"/>
              <a:ext cx="95086" cy="95142"/>
              <a:chOff x="4277836" y="3953854"/>
              <a:chExt cx="95086" cy="95142"/>
            </a:xfrm>
          </p:grpSpPr>
          <p:sp>
            <p:nvSpPr>
              <p:cNvPr id="572" name="Freeform 346">
                <a:extLst>
                  <a:ext uri="{FF2B5EF4-FFF2-40B4-BE49-F238E27FC236}">
                    <a16:creationId xmlns:a16="http://schemas.microsoft.com/office/drawing/2014/main" id="{B626A77A-11E4-1164-C75A-F16168060149}"/>
                  </a:ext>
                </a:extLst>
              </p:cNvPr>
              <p:cNvSpPr/>
              <p:nvPr/>
            </p:nvSpPr>
            <p:spPr>
              <a:xfrm>
                <a:off x="4325342" y="395385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73" name="Freeform 347">
                <a:extLst>
                  <a:ext uri="{FF2B5EF4-FFF2-40B4-BE49-F238E27FC236}">
                    <a16:creationId xmlns:a16="http://schemas.microsoft.com/office/drawing/2014/main" id="{82C80FDE-757F-4B61-1F34-11260C35B0C0}"/>
                  </a:ext>
                </a:extLst>
              </p:cNvPr>
              <p:cNvSpPr/>
              <p:nvPr/>
            </p:nvSpPr>
            <p:spPr>
              <a:xfrm>
                <a:off x="4277836" y="4001388"/>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72" name="Graphic 126">
              <a:extLst>
                <a:ext uri="{FF2B5EF4-FFF2-40B4-BE49-F238E27FC236}">
                  <a16:creationId xmlns:a16="http://schemas.microsoft.com/office/drawing/2014/main" id="{0DF27086-F54F-38C1-C5A5-762FE95FC050}"/>
                </a:ext>
              </a:extLst>
            </p:cNvPr>
            <p:cNvGrpSpPr/>
            <p:nvPr/>
          </p:nvGrpSpPr>
          <p:grpSpPr>
            <a:xfrm>
              <a:off x="4271594" y="3952237"/>
              <a:ext cx="95086" cy="95216"/>
              <a:chOff x="4271594" y="3952237"/>
              <a:chExt cx="95086" cy="95216"/>
            </a:xfrm>
          </p:grpSpPr>
          <p:sp>
            <p:nvSpPr>
              <p:cNvPr id="570" name="Freeform 349">
                <a:extLst>
                  <a:ext uri="{FF2B5EF4-FFF2-40B4-BE49-F238E27FC236}">
                    <a16:creationId xmlns:a16="http://schemas.microsoft.com/office/drawing/2014/main" id="{188DE5DD-0251-C62C-6BF3-6A4EB99B08C3}"/>
                  </a:ext>
                </a:extLst>
              </p:cNvPr>
              <p:cNvSpPr/>
              <p:nvPr/>
            </p:nvSpPr>
            <p:spPr>
              <a:xfrm>
                <a:off x="4319175" y="3952237"/>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71" name="Freeform 350">
                <a:extLst>
                  <a:ext uri="{FF2B5EF4-FFF2-40B4-BE49-F238E27FC236}">
                    <a16:creationId xmlns:a16="http://schemas.microsoft.com/office/drawing/2014/main" id="{1DED3F92-997D-5EB5-9950-FE84BC0B552F}"/>
                  </a:ext>
                </a:extLst>
              </p:cNvPr>
              <p:cNvSpPr/>
              <p:nvPr/>
            </p:nvSpPr>
            <p:spPr>
              <a:xfrm>
                <a:off x="4271594" y="399984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73" name="Graphic 126">
              <a:extLst>
                <a:ext uri="{FF2B5EF4-FFF2-40B4-BE49-F238E27FC236}">
                  <a16:creationId xmlns:a16="http://schemas.microsoft.com/office/drawing/2014/main" id="{C4890FF0-731F-CA64-84F1-354DAAD429F9}"/>
                </a:ext>
              </a:extLst>
            </p:cNvPr>
            <p:cNvGrpSpPr/>
            <p:nvPr/>
          </p:nvGrpSpPr>
          <p:grpSpPr>
            <a:xfrm>
              <a:off x="4263077" y="3952237"/>
              <a:ext cx="95086" cy="95216"/>
              <a:chOff x="4263077" y="3952237"/>
              <a:chExt cx="95086" cy="95216"/>
            </a:xfrm>
          </p:grpSpPr>
          <p:sp>
            <p:nvSpPr>
              <p:cNvPr id="568" name="Freeform 352">
                <a:extLst>
                  <a:ext uri="{FF2B5EF4-FFF2-40B4-BE49-F238E27FC236}">
                    <a16:creationId xmlns:a16="http://schemas.microsoft.com/office/drawing/2014/main" id="{1031A51C-EE91-CC3F-3065-358EEE89D870}"/>
                  </a:ext>
                </a:extLst>
              </p:cNvPr>
              <p:cNvSpPr/>
              <p:nvPr/>
            </p:nvSpPr>
            <p:spPr>
              <a:xfrm>
                <a:off x="4310584" y="3952237"/>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69" name="Freeform 353">
                <a:extLst>
                  <a:ext uri="{FF2B5EF4-FFF2-40B4-BE49-F238E27FC236}">
                    <a16:creationId xmlns:a16="http://schemas.microsoft.com/office/drawing/2014/main" id="{A90D970E-C79C-19A0-F834-42007536BF13}"/>
                  </a:ext>
                </a:extLst>
              </p:cNvPr>
              <p:cNvSpPr/>
              <p:nvPr/>
            </p:nvSpPr>
            <p:spPr>
              <a:xfrm>
                <a:off x="4263077" y="399984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74" name="Graphic 126">
              <a:extLst>
                <a:ext uri="{FF2B5EF4-FFF2-40B4-BE49-F238E27FC236}">
                  <a16:creationId xmlns:a16="http://schemas.microsoft.com/office/drawing/2014/main" id="{B14BBCC9-FDB8-6B49-0173-1303799132EE}"/>
                </a:ext>
              </a:extLst>
            </p:cNvPr>
            <p:cNvGrpSpPr/>
            <p:nvPr/>
          </p:nvGrpSpPr>
          <p:grpSpPr>
            <a:xfrm>
              <a:off x="4256102" y="3943715"/>
              <a:ext cx="95086" cy="95142"/>
              <a:chOff x="4256102" y="3943715"/>
              <a:chExt cx="95086" cy="95142"/>
            </a:xfrm>
          </p:grpSpPr>
          <p:sp>
            <p:nvSpPr>
              <p:cNvPr id="566" name="Freeform 355">
                <a:extLst>
                  <a:ext uri="{FF2B5EF4-FFF2-40B4-BE49-F238E27FC236}">
                    <a16:creationId xmlns:a16="http://schemas.microsoft.com/office/drawing/2014/main" id="{D7DFD8EA-E70E-2C66-572D-206FABB3BA79}"/>
                  </a:ext>
                </a:extLst>
              </p:cNvPr>
              <p:cNvSpPr/>
              <p:nvPr/>
            </p:nvSpPr>
            <p:spPr>
              <a:xfrm>
                <a:off x="4303608" y="394371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67" name="Freeform 356">
                <a:extLst>
                  <a:ext uri="{FF2B5EF4-FFF2-40B4-BE49-F238E27FC236}">
                    <a16:creationId xmlns:a16="http://schemas.microsoft.com/office/drawing/2014/main" id="{F8846976-82ED-8D89-1A09-30195D61793D}"/>
                  </a:ext>
                </a:extLst>
              </p:cNvPr>
              <p:cNvSpPr/>
              <p:nvPr/>
            </p:nvSpPr>
            <p:spPr>
              <a:xfrm>
                <a:off x="4256102" y="3991323"/>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75" name="Graphic 126">
              <a:extLst>
                <a:ext uri="{FF2B5EF4-FFF2-40B4-BE49-F238E27FC236}">
                  <a16:creationId xmlns:a16="http://schemas.microsoft.com/office/drawing/2014/main" id="{9D660A91-9225-1375-7F3F-733F6003E84B}"/>
                </a:ext>
              </a:extLst>
            </p:cNvPr>
            <p:cNvGrpSpPr/>
            <p:nvPr/>
          </p:nvGrpSpPr>
          <p:grpSpPr>
            <a:xfrm>
              <a:off x="4245234" y="3939086"/>
              <a:ext cx="95086" cy="95142"/>
              <a:chOff x="4245234" y="3939086"/>
              <a:chExt cx="95086" cy="95142"/>
            </a:xfrm>
          </p:grpSpPr>
          <p:sp>
            <p:nvSpPr>
              <p:cNvPr id="564" name="Freeform 358">
                <a:extLst>
                  <a:ext uri="{FF2B5EF4-FFF2-40B4-BE49-F238E27FC236}">
                    <a16:creationId xmlns:a16="http://schemas.microsoft.com/office/drawing/2014/main" id="{F91BF9D7-0418-692D-DF70-2222F2318533}"/>
                  </a:ext>
                </a:extLst>
              </p:cNvPr>
              <p:cNvSpPr/>
              <p:nvPr/>
            </p:nvSpPr>
            <p:spPr>
              <a:xfrm>
                <a:off x="4292741" y="393908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65" name="Freeform 359">
                <a:extLst>
                  <a:ext uri="{FF2B5EF4-FFF2-40B4-BE49-F238E27FC236}">
                    <a16:creationId xmlns:a16="http://schemas.microsoft.com/office/drawing/2014/main" id="{62A02378-F30B-3702-9C52-E4419A812922}"/>
                  </a:ext>
                </a:extLst>
              </p:cNvPr>
              <p:cNvSpPr/>
              <p:nvPr/>
            </p:nvSpPr>
            <p:spPr>
              <a:xfrm>
                <a:off x="4245234" y="3986621"/>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76" name="Graphic 126">
              <a:extLst>
                <a:ext uri="{FF2B5EF4-FFF2-40B4-BE49-F238E27FC236}">
                  <a16:creationId xmlns:a16="http://schemas.microsoft.com/office/drawing/2014/main" id="{1CF8ADDB-464A-0DB7-C737-A7F1DFFFAD16}"/>
                </a:ext>
              </a:extLst>
            </p:cNvPr>
            <p:cNvGrpSpPr/>
            <p:nvPr/>
          </p:nvGrpSpPr>
          <p:grpSpPr>
            <a:xfrm>
              <a:off x="4238993" y="3935192"/>
              <a:ext cx="95086" cy="95142"/>
              <a:chOff x="4238993" y="3935192"/>
              <a:chExt cx="95086" cy="95142"/>
            </a:xfrm>
          </p:grpSpPr>
          <p:sp>
            <p:nvSpPr>
              <p:cNvPr id="562" name="Freeform 361">
                <a:extLst>
                  <a:ext uri="{FF2B5EF4-FFF2-40B4-BE49-F238E27FC236}">
                    <a16:creationId xmlns:a16="http://schemas.microsoft.com/office/drawing/2014/main" id="{DB83A20E-89A8-86A1-6CF0-DA08466B0887}"/>
                  </a:ext>
                </a:extLst>
              </p:cNvPr>
              <p:cNvSpPr/>
              <p:nvPr/>
            </p:nvSpPr>
            <p:spPr>
              <a:xfrm>
                <a:off x="4286573" y="393519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63" name="Freeform 362">
                <a:extLst>
                  <a:ext uri="{FF2B5EF4-FFF2-40B4-BE49-F238E27FC236}">
                    <a16:creationId xmlns:a16="http://schemas.microsoft.com/office/drawing/2014/main" id="{BFC90162-20F1-B97D-526F-53C1211A8590}"/>
                  </a:ext>
                </a:extLst>
              </p:cNvPr>
              <p:cNvSpPr/>
              <p:nvPr/>
            </p:nvSpPr>
            <p:spPr>
              <a:xfrm>
                <a:off x="4238993" y="398272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77" name="Graphic 126">
              <a:extLst>
                <a:ext uri="{FF2B5EF4-FFF2-40B4-BE49-F238E27FC236}">
                  <a16:creationId xmlns:a16="http://schemas.microsoft.com/office/drawing/2014/main" id="{035256F9-B339-622D-1EBF-2FF2F4FE53E1}"/>
                </a:ext>
              </a:extLst>
            </p:cNvPr>
            <p:cNvGrpSpPr/>
            <p:nvPr/>
          </p:nvGrpSpPr>
          <p:grpSpPr>
            <a:xfrm>
              <a:off x="4230476" y="3935192"/>
              <a:ext cx="95086" cy="95142"/>
              <a:chOff x="4230476" y="3935192"/>
              <a:chExt cx="95086" cy="95142"/>
            </a:xfrm>
          </p:grpSpPr>
          <p:sp>
            <p:nvSpPr>
              <p:cNvPr id="560" name="Freeform 364">
                <a:extLst>
                  <a:ext uri="{FF2B5EF4-FFF2-40B4-BE49-F238E27FC236}">
                    <a16:creationId xmlns:a16="http://schemas.microsoft.com/office/drawing/2014/main" id="{6B57F2D3-FDAA-4124-BC1B-6412AA17FAD3}"/>
                  </a:ext>
                </a:extLst>
              </p:cNvPr>
              <p:cNvSpPr/>
              <p:nvPr/>
            </p:nvSpPr>
            <p:spPr>
              <a:xfrm>
                <a:off x="4277982" y="393519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61" name="Freeform 365">
                <a:extLst>
                  <a:ext uri="{FF2B5EF4-FFF2-40B4-BE49-F238E27FC236}">
                    <a16:creationId xmlns:a16="http://schemas.microsoft.com/office/drawing/2014/main" id="{22C8EBAC-8E53-F11F-B5A5-A25DB98CF5F8}"/>
                  </a:ext>
                </a:extLst>
              </p:cNvPr>
              <p:cNvSpPr/>
              <p:nvPr/>
            </p:nvSpPr>
            <p:spPr>
              <a:xfrm>
                <a:off x="4230476" y="398272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sp>
          <p:nvSpPr>
            <p:cNvPr id="178" name="Freeform 366">
              <a:extLst>
                <a:ext uri="{FF2B5EF4-FFF2-40B4-BE49-F238E27FC236}">
                  <a16:creationId xmlns:a16="http://schemas.microsoft.com/office/drawing/2014/main" id="{06DE5BFD-9E24-167B-DAD5-2AED64B2C76F}"/>
                </a:ext>
              </a:extLst>
            </p:cNvPr>
            <p:cNvSpPr/>
            <p:nvPr/>
          </p:nvSpPr>
          <p:spPr>
            <a:xfrm>
              <a:off x="4268657" y="393519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79" name="Freeform 367">
              <a:extLst>
                <a:ext uri="{FF2B5EF4-FFF2-40B4-BE49-F238E27FC236}">
                  <a16:creationId xmlns:a16="http://schemas.microsoft.com/office/drawing/2014/main" id="{1BEA56DB-792E-203A-B258-5E82CA2F12BD}"/>
                </a:ext>
              </a:extLst>
            </p:cNvPr>
            <p:cNvSpPr/>
            <p:nvPr/>
          </p:nvSpPr>
          <p:spPr>
            <a:xfrm>
              <a:off x="4259406" y="393519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nvGrpSpPr>
            <p:cNvPr id="180" name="Graphic 126">
              <a:extLst>
                <a:ext uri="{FF2B5EF4-FFF2-40B4-BE49-F238E27FC236}">
                  <a16:creationId xmlns:a16="http://schemas.microsoft.com/office/drawing/2014/main" id="{97C0B06E-04E7-CE70-B240-F960D176A1E1}"/>
                </a:ext>
              </a:extLst>
            </p:cNvPr>
            <p:cNvGrpSpPr/>
            <p:nvPr/>
          </p:nvGrpSpPr>
          <p:grpSpPr>
            <a:xfrm>
              <a:off x="1157666" y="2054450"/>
              <a:ext cx="3118187" cy="1958767"/>
              <a:chOff x="1157666" y="2054450"/>
              <a:chExt cx="3118187" cy="1958767"/>
            </a:xfrm>
          </p:grpSpPr>
          <p:sp>
            <p:nvSpPr>
              <p:cNvPr id="211" name="Freeform 369">
                <a:extLst>
                  <a:ext uri="{FF2B5EF4-FFF2-40B4-BE49-F238E27FC236}">
                    <a16:creationId xmlns:a16="http://schemas.microsoft.com/office/drawing/2014/main" id="{E0CDD069-871A-D261-F309-109B7105D147}"/>
                  </a:ext>
                </a:extLst>
              </p:cNvPr>
              <p:cNvSpPr/>
              <p:nvPr/>
            </p:nvSpPr>
            <p:spPr>
              <a:xfrm>
                <a:off x="4228346" y="3904850"/>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12" name="Freeform 370">
                <a:extLst>
                  <a:ext uri="{FF2B5EF4-FFF2-40B4-BE49-F238E27FC236}">
                    <a16:creationId xmlns:a16="http://schemas.microsoft.com/office/drawing/2014/main" id="{45AA4D1F-CF82-C760-6B3E-6F2F15C627A0}"/>
                  </a:ext>
                </a:extLst>
              </p:cNvPr>
              <p:cNvSpPr/>
              <p:nvPr/>
            </p:nvSpPr>
            <p:spPr>
              <a:xfrm>
                <a:off x="4180766" y="3952458"/>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13" name="Freeform 371">
                <a:extLst>
                  <a:ext uri="{FF2B5EF4-FFF2-40B4-BE49-F238E27FC236}">
                    <a16:creationId xmlns:a16="http://schemas.microsoft.com/office/drawing/2014/main" id="{24E70339-BE92-930B-15D4-DA24C3A79323}"/>
                  </a:ext>
                </a:extLst>
              </p:cNvPr>
              <p:cNvSpPr/>
              <p:nvPr/>
            </p:nvSpPr>
            <p:spPr>
              <a:xfrm>
                <a:off x="4240755" y="391109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14" name="Freeform 372">
                <a:extLst>
                  <a:ext uri="{FF2B5EF4-FFF2-40B4-BE49-F238E27FC236}">
                    <a16:creationId xmlns:a16="http://schemas.microsoft.com/office/drawing/2014/main" id="{0D1DFBA7-0351-57B1-BC00-988164BB7EC2}"/>
                  </a:ext>
                </a:extLst>
              </p:cNvPr>
              <p:cNvSpPr/>
              <p:nvPr/>
            </p:nvSpPr>
            <p:spPr>
              <a:xfrm>
                <a:off x="4249273" y="391807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15" name="Freeform 373">
                <a:extLst>
                  <a:ext uri="{FF2B5EF4-FFF2-40B4-BE49-F238E27FC236}">
                    <a16:creationId xmlns:a16="http://schemas.microsoft.com/office/drawing/2014/main" id="{F88DD42A-D1A3-589F-3CF0-8AB8D80DB50B}"/>
                  </a:ext>
                </a:extLst>
              </p:cNvPr>
              <p:cNvSpPr/>
              <p:nvPr/>
            </p:nvSpPr>
            <p:spPr>
              <a:xfrm>
                <a:off x="4236864" y="3910286"/>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16" name="Freeform 374">
                <a:extLst>
                  <a:ext uri="{FF2B5EF4-FFF2-40B4-BE49-F238E27FC236}">
                    <a16:creationId xmlns:a16="http://schemas.microsoft.com/office/drawing/2014/main" id="{FC3EF2A4-5C61-F2C7-3428-6BAD569537C6}"/>
                  </a:ext>
                </a:extLst>
              </p:cNvPr>
              <p:cNvSpPr/>
              <p:nvPr/>
            </p:nvSpPr>
            <p:spPr>
              <a:xfrm>
                <a:off x="4209696"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17" name="Freeform 375">
                <a:extLst>
                  <a:ext uri="{FF2B5EF4-FFF2-40B4-BE49-F238E27FC236}">
                    <a16:creationId xmlns:a16="http://schemas.microsoft.com/office/drawing/2014/main" id="{7E5E389F-00AA-7C3A-A421-D89D9F22F296}"/>
                  </a:ext>
                </a:extLst>
              </p:cNvPr>
              <p:cNvSpPr/>
              <p:nvPr/>
            </p:nvSpPr>
            <p:spPr>
              <a:xfrm>
                <a:off x="4179224" y="3933796"/>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18" name="Freeform 376">
                <a:extLst>
                  <a:ext uri="{FF2B5EF4-FFF2-40B4-BE49-F238E27FC236}">
                    <a16:creationId xmlns:a16="http://schemas.microsoft.com/office/drawing/2014/main" id="{336F9758-C141-F0D4-C795-9794C46DCD3A}"/>
                  </a:ext>
                </a:extLst>
              </p:cNvPr>
              <p:cNvSpPr/>
              <p:nvPr/>
            </p:nvSpPr>
            <p:spPr>
              <a:xfrm>
                <a:off x="4176140" y="3960980"/>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19" name="Freeform 377">
                <a:extLst>
                  <a:ext uri="{FF2B5EF4-FFF2-40B4-BE49-F238E27FC236}">
                    <a16:creationId xmlns:a16="http://schemas.microsoft.com/office/drawing/2014/main" id="{4247A9FE-57B3-26A3-FC9A-49E2C801088C}"/>
                  </a:ext>
                </a:extLst>
              </p:cNvPr>
              <p:cNvSpPr/>
              <p:nvPr/>
            </p:nvSpPr>
            <p:spPr>
              <a:xfrm>
                <a:off x="4176140" y="3941584"/>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20" name="Freeform 378">
                <a:extLst>
                  <a:ext uri="{FF2B5EF4-FFF2-40B4-BE49-F238E27FC236}">
                    <a16:creationId xmlns:a16="http://schemas.microsoft.com/office/drawing/2014/main" id="{07B32D64-C4C7-0DAE-A5FF-509F9BF231A0}"/>
                  </a:ext>
                </a:extLst>
              </p:cNvPr>
              <p:cNvSpPr/>
              <p:nvPr/>
            </p:nvSpPr>
            <p:spPr>
              <a:xfrm>
                <a:off x="4197287"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21" name="Freeform 379">
                <a:extLst>
                  <a:ext uri="{FF2B5EF4-FFF2-40B4-BE49-F238E27FC236}">
                    <a16:creationId xmlns:a16="http://schemas.microsoft.com/office/drawing/2014/main" id="{2A8588E7-4AB8-5645-90B0-05CDEA09007D}"/>
                  </a:ext>
                </a:extLst>
              </p:cNvPr>
              <p:cNvSpPr/>
              <p:nvPr/>
            </p:nvSpPr>
            <p:spPr>
              <a:xfrm>
                <a:off x="4190238"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22" name="Freeform 380">
                <a:extLst>
                  <a:ext uri="{FF2B5EF4-FFF2-40B4-BE49-F238E27FC236}">
                    <a16:creationId xmlns:a16="http://schemas.microsoft.com/office/drawing/2014/main" id="{65A7CC48-FE56-E595-A3D0-9EB99D9D09AD}"/>
                  </a:ext>
                </a:extLst>
              </p:cNvPr>
              <p:cNvSpPr/>
              <p:nvPr/>
            </p:nvSpPr>
            <p:spPr>
              <a:xfrm>
                <a:off x="4202721"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23" name="Freeform 381">
                <a:extLst>
                  <a:ext uri="{FF2B5EF4-FFF2-40B4-BE49-F238E27FC236}">
                    <a16:creationId xmlns:a16="http://schemas.microsoft.com/office/drawing/2014/main" id="{22E6E18F-8DE5-2087-D53F-50148064F08C}"/>
                  </a:ext>
                </a:extLst>
              </p:cNvPr>
              <p:cNvSpPr/>
              <p:nvPr/>
            </p:nvSpPr>
            <p:spPr>
              <a:xfrm>
                <a:off x="4187154"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24" name="Freeform 382">
                <a:extLst>
                  <a:ext uri="{FF2B5EF4-FFF2-40B4-BE49-F238E27FC236}">
                    <a16:creationId xmlns:a16="http://schemas.microsoft.com/office/drawing/2014/main" id="{96774C48-3C44-449F-87D8-E4DB07FAF22F}"/>
                  </a:ext>
                </a:extLst>
              </p:cNvPr>
              <p:cNvSpPr/>
              <p:nvPr/>
            </p:nvSpPr>
            <p:spPr>
              <a:xfrm>
                <a:off x="4178637"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25" name="Freeform 383">
                <a:extLst>
                  <a:ext uri="{FF2B5EF4-FFF2-40B4-BE49-F238E27FC236}">
                    <a16:creationId xmlns:a16="http://schemas.microsoft.com/office/drawing/2014/main" id="{546C9E2A-12FF-FAB9-D4AB-17422CA88781}"/>
                  </a:ext>
                </a:extLst>
              </p:cNvPr>
              <p:cNvSpPr/>
              <p:nvPr/>
            </p:nvSpPr>
            <p:spPr>
              <a:xfrm>
                <a:off x="4170854"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26" name="Freeform 384">
                <a:extLst>
                  <a:ext uri="{FF2B5EF4-FFF2-40B4-BE49-F238E27FC236}">
                    <a16:creationId xmlns:a16="http://schemas.microsoft.com/office/drawing/2014/main" id="{356FA462-CBC3-E806-28BE-AB37D6580E8E}"/>
                  </a:ext>
                </a:extLst>
              </p:cNvPr>
              <p:cNvSpPr/>
              <p:nvPr/>
            </p:nvSpPr>
            <p:spPr>
              <a:xfrm>
                <a:off x="4154553"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27" name="Freeform 385">
                <a:extLst>
                  <a:ext uri="{FF2B5EF4-FFF2-40B4-BE49-F238E27FC236}">
                    <a16:creationId xmlns:a16="http://schemas.microsoft.com/office/drawing/2014/main" id="{D120553E-00C0-58AE-BB1F-E5C89D177288}"/>
                  </a:ext>
                </a:extLst>
              </p:cNvPr>
              <p:cNvSpPr/>
              <p:nvPr/>
            </p:nvSpPr>
            <p:spPr>
              <a:xfrm>
                <a:off x="4162336"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28" name="Freeform 386">
                <a:extLst>
                  <a:ext uri="{FF2B5EF4-FFF2-40B4-BE49-F238E27FC236}">
                    <a16:creationId xmlns:a16="http://schemas.microsoft.com/office/drawing/2014/main" id="{FFCC85B1-4F98-E071-81E9-97A34FD23F2E}"/>
                  </a:ext>
                </a:extLst>
              </p:cNvPr>
              <p:cNvSpPr/>
              <p:nvPr/>
            </p:nvSpPr>
            <p:spPr>
              <a:xfrm>
                <a:off x="4148312"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29" name="Freeform 387">
                <a:extLst>
                  <a:ext uri="{FF2B5EF4-FFF2-40B4-BE49-F238E27FC236}">
                    <a16:creationId xmlns:a16="http://schemas.microsoft.com/office/drawing/2014/main" id="{40FB527A-BE6F-AB3E-79EE-A2ED83929F68}"/>
                  </a:ext>
                </a:extLst>
              </p:cNvPr>
              <p:cNvSpPr/>
              <p:nvPr/>
            </p:nvSpPr>
            <p:spPr>
              <a:xfrm>
                <a:off x="4136711"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30" name="Freeform 388">
                <a:extLst>
                  <a:ext uri="{FF2B5EF4-FFF2-40B4-BE49-F238E27FC236}">
                    <a16:creationId xmlns:a16="http://schemas.microsoft.com/office/drawing/2014/main" id="{08B0CF0F-110E-5B21-574B-7E60835D69B1}"/>
                  </a:ext>
                </a:extLst>
              </p:cNvPr>
              <p:cNvSpPr/>
              <p:nvPr/>
            </p:nvSpPr>
            <p:spPr>
              <a:xfrm>
                <a:off x="4103302" y="38808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31" name="Freeform 389">
                <a:extLst>
                  <a:ext uri="{FF2B5EF4-FFF2-40B4-BE49-F238E27FC236}">
                    <a16:creationId xmlns:a16="http://schemas.microsoft.com/office/drawing/2014/main" id="{D8F90E2C-4445-24FF-3DBD-270F360E7C17}"/>
                  </a:ext>
                </a:extLst>
              </p:cNvPr>
              <p:cNvSpPr/>
              <p:nvPr/>
            </p:nvSpPr>
            <p:spPr>
              <a:xfrm>
                <a:off x="4142144" y="38986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32" name="Freeform 390">
                <a:extLst>
                  <a:ext uri="{FF2B5EF4-FFF2-40B4-BE49-F238E27FC236}">
                    <a16:creationId xmlns:a16="http://schemas.microsoft.com/office/drawing/2014/main" id="{F206B293-83EE-8E43-7F51-F444ABA98F9B}"/>
                  </a:ext>
                </a:extLst>
              </p:cNvPr>
              <p:cNvSpPr/>
              <p:nvPr/>
            </p:nvSpPr>
            <p:spPr>
              <a:xfrm>
                <a:off x="4133627" y="38808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33" name="Freeform 391">
                <a:extLst>
                  <a:ext uri="{FF2B5EF4-FFF2-40B4-BE49-F238E27FC236}">
                    <a16:creationId xmlns:a16="http://schemas.microsoft.com/office/drawing/2014/main" id="{DD5587A3-03C6-8E54-3FBD-E043A293DAE8}"/>
                  </a:ext>
                </a:extLst>
              </p:cNvPr>
              <p:cNvSpPr/>
              <p:nvPr/>
            </p:nvSpPr>
            <p:spPr>
              <a:xfrm>
                <a:off x="4079218" y="38808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34" name="Freeform 392">
                <a:extLst>
                  <a:ext uri="{FF2B5EF4-FFF2-40B4-BE49-F238E27FC236}">
                    <a16:creationId xmlns:a16="http://schemas.microsoft.com/office/drawing/2014/main" id="{D1F13189-9D66-758D-2BA9-39AE1E18B1D1}"/>
                  </a:ext>
                </a:extLst>
              </p:cNvPr>
              <p:cNvSpPr/>
              <p:nvPr/>
            </p:nvSpPr>
            <p:spPr>
              <a:xfrm>
                <a:off x="4033473" y="38582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35" name="Freeform 393">
                <a:extLst>
                  <a:ext uri="{FF2B5EF4-FFF2-40B4-BE49-F238E27FC236}">
                    <a16:creationId xmlns:a16="http://schemas.microsoft.com/office/drawing/2014/main" id="{F68C1700-5327-5918-A56C-79D58DD9F76B}"/>
                  </a:ext>
                </a:extLst>
              </p:cNvPr>
              <p:cNvSpPr/>
              <p:nvPr/>
            </p:nvSpPr>
            <p:spPr>
              <a:xfrm>
                <a:off x="4027232" y="38582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36" name="Freeform 394">
                <a:extLst>
                  <a:ext uri="{FF2B5EF4-FFF2-40B4-BE49-F238E27FC236}">
                    <a16:creationId xmlns:a16="http://schemas.microsoft.com/office/drawing/2014/main" id="{3369FDF7-1773-887F-A2FA-41147A0BF6F2}"/>
                  </a:ext>
                </a:extLst>
              </p:cNvPr>
              <p:cNvSpPr/>
              <p:nvPr/>
            </p:nvSpPr>
            <p:spPr>
              <a:xfrm>
                <a:off x="4017173" y="38582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37" name="Freeform 395">
                <a:extLst>
                  <a:ext uri="{FF2B5EF4-FFF2-40B4-BE49-F238E27FC236}">
                    <a16:creationId xmlns:a16="http://schemas.microsoft.com/office/drawing/2014/main" id="{8EA67B91-738D-6E63-5B87-F6793B0F8DF7}"/>
                  </a:ext>
                </a:extLst>
              </p:cNvPr>
              <p:cNvSpPr/>
              <p:nvPr/>
            </p:nvSpPr>
            <p:spPr>
              <a:xfrm>
                <a:off x="3996173" y="385364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38" name="Freeform 396">
                <a:extLst>
                  <a:ext uri="{FF2B5EF4-FFF2-40B4-BE49-F238E27FC236}">
                    <a16:creationId xmlns:a16="http://schemas.microsoft.com/office/drawing/2014/main" id="{6C8E21DA-9A5A-75B0-9C11-C1FB940DCBBB}"/>
                  </a:ext>
                </a:extLst>
              </p:cNvPr>
              <p:cNvSpPr/>
              <p:nvPr/>
            </p:nvSpPr>
            <p:spPr>
              <a:xfrm>
                <a:off x="3977890" y="38346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39" name="Freeform 397">
                <a:extLst>
                  <a:ext uri="{FF2B5EF4-FFF2-40B4-BE49-F238E27FC236}">
                    <a16:creationId xmlns:a16="http://schemas.microsoft.com/office/drawing/2014/main" id="{EA7D2DB6-BC74-0A21-E604-39C22D965252}"/>
                  </a:ext>
                </a:extLst>
              </p:cNvPr>
              <p:cNvSpPr/>
              <p:nvPr/>
            </p:nvSpPr>
            <p:spPr>
              <a:xfrm>
                <a:off x="3969372" y="38346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40" name="Freeform 398">
                <a:extLst>
                  <a:ext uri="{FF2B5EF4-FFF2-40B4-BE49-F238E27FC236}">
                    <a16:creationId xmlns:a16="http://schemas.microsoft.com/office/drawing/2014/main" id="{F727E918-26C0-144C-8796-07C496085C3D}"/>
                  </a:ext>
                </a:extLst>
              </p:cNvPr>
              <p:cNvSpPr/>
              <p:nvPr/>
            </p:nvSpPr>
            <p:spPr>
              <a:xfrm>
                <a:off x="3959240" y="38346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41" name="Freeform 399">
                <a:extLst>
                  <a:ext uri="{FF2B5EF4-FFF2-40B4-BE49-F238E27FC236}">
                    <a16:creationId xmlns:a16="http://schemas.microsoft.com/office/drawing/2014/main" id="{EFF8A944-CE56-4EBD-273D-DEEB2C68DD80}"/>
                  </a:ext>
                </a:extLst>
              </p:cNvPr>
              <p:cNvSpPr/>
              <p:nvPr/>
            </p:nvSpPr>
            <p:spPr>
              <a:xfrm>
                <a:off x="3951530" y="38346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42" name="Freeform 400">
                <a:extLst>
                  <a:ext uri="{FF2B5EF4-FFF2-40B4-BE49-F238E27FC236}">
                    <a16:creationId xmlns:a16="http://schemas.microsoft.com/office/drawing/2014/main" id="{DBA8B9E9-AFF4-7773-C53A-8C497316B4E7}"/>
                  </a:ext>
                </a:extLst>
              </p:cNvPr>
              <p:cNvSpPr/>
              <p:nvPr/>
            </p:nvSpPr>
            <p:spPr>
              <a:xfrm>
                <a:off x="3942205" y="38346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43" name="Freeform 401">
                <a:extLst>
                  <a:ext uri="{FF2B5EF4-FFF2-40B4-BE49-F238E27FC236}">
                    <a16:creationId xmlns:a16="http://schemas.microsoft.com/office/drawing/2014/main" id="{3F7E8329-A373-42C3-4BB6-67B953A090B2}"/>
                  </a:ext>
                </a:extLst>
              </p:cNvPr>
              <p:cNvSpPr/>
              <p:nvPr/>
            </p:nvSpPr>
            <p:spPr>
              <a:xfrm>
                <a:off x="3932072" y="38346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44" name="Freeform 402">
                <a:extLst>
                  <a:ext uri="{FF2B5EF4-FFF2-40B4-BE49-F238E27FC236}">
                    <a16:creationId xmlns:a16="http://schemas.microsoft.com/office/drawing/2014/main" id="{DADF9C13-E7B1-614A-0C17-EB8B3167C184}"/>
                  </a:ext>
                </a:extLst>
              </p:cNvPr>
              <p:cNvSpPr/>
              <p:nvPr/>
            </p:nvSpPr>
            <p:spPr>
              <a:xfrm>
                <a:off x="3921205" y="38346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45" name="Freeform 403">
                <a:extLst>
                  <a:ext uri="{FF2B5EF4-FFF2-40B4-BE49-F238E27FC236}">
                    <a16:creationId xmlns:a16="http://schemas.microsoft.com/office/drawing/2014/main" id="{3FA6E530-FF6A-6302-536A-917D08AA3456}"/>
                  </a:ext>
                </a:extLst>
              </p:cNvPr>
              <p:cNvSpPr/>
              <p:nvPr/>
            </p:nvSpPr>
            <p:spPr>
              <a:xfrm>
                <a:off x="3913422" y="38276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46" name="Freeform 404">
                <a:extLst>
                  <a:ext uri="{FF2B5EF4-FFF2-40B4-BE49-F238E27FC236}">
                    <a16:creationId xmlns:a16="http://schemas.microsoft.com/office/drawing/2014/main" id="{EF91D342-6AF1-BA27-1B16-49F65D1A7318}"/>
                  </a:ext>
                </a:extLst>
              </p:cNvPr>
              <p:cNvSpPr/>
              <p:nvPr/>
            </p:nvSpPr>
            <p:spPr>
              <a:xfrm>
                <a:off x="3905712" y="381984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47" name="Freeform 405">
                <a:extLst>
                  <a:ext uri="{FF2B5EF4-FFF2-40B4-BE49-F238E27FC236}">
                    <a16:creationId xmlns:a16="http://schemas.microsoft.com/office/drawing/2014/main" id="{8BE038CA-4E38-580E-68F0-21F5E773CBD9}"/>
                  </a:ext>
                </a:extLst>
              </p:cNvPr>
              <p:cNvSpPr/>
              <p:nvPr/>
            </p:nvSpPr>
            <p:spPr>
              <a:xfrm>
                <a:off x="3896754" y="3810882"/>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48" name="Freeform 406">
                <a:extLst>
                  <a:ext uri="{FF2B5EF4-FFF2-40B4-BE49-F238E27FC236}">
                    <a16:creationId xmlns:a16="http://schemas.microsoft.com/office/drawing/2014/main" id="{2030DBD3-968D-F60A-72F7-F3170081AF8F}"/>
                  </a:ext>
                </a:extLst>
              </p:cNvPr>
              <p:cNvSpPr/>
              <p:nvPr/>
            </p:nvSpPr>
            <p:spPr>
              <a:xfrm>
                <a:off x="3889779" y="380390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49" name="Freeform 407">
                <a:extLst>
                  <a:ext uri="{FF2B5EF4-FFF2-40B4-BE49-F238E27FC236}">
                    <a16:creationId xmlns:a16="http://schemas.microsoft.com/office/drawing/2014/main" id="{63785DA8-FAEA-4A51-ADCB-02A1C0A36668}"/>
                  </a:ext>
                </a:extLst>
              </p:cNvPr>
              <p:cNvSpPr/>
              <p:nvPr/>
            </p:nvSpPr>
            <p:spPr>
              <a:xfrm>
                <a:off x="3851744" y="378531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50" name="Freeform 408">
                <a:extLst>
                  <a:ext uri="{FF2B5EF4-FFF2-40B4-BE49-F238E27FC236}">
                    <a16:creationId xmlns:a16="http://schemas.microsoft.com/office/drawing/2014/main" id="{8A4E5BC4-C1F8-D7AF-40F0-1CAF21955319}"/>
                  </a:ext>
                </a:extLst>
              </p:cNvPr>
              <p:cNvSpPr/>
              <p:nvPr/>
            </p:nvSpPr>
            <p:spPr>
              <a:xfrm>
                <a:off x="3880453" y="3812572"/>
                <a:ext cx="7342" cy="61346"/>
              </a:xfrm>
              <a:custGeom>
                <a:avLst/>
                <a:gdLst>
                  <a:gd name="connsiteX0" fmla="*/ 0 w 7342"/>
                  <a:gd name="connsiteY0" fmla="*/ 0 h 61346"/>
                  <a:gd name="connsiteX1" fmla="*/ 0 w 7342"/>
                  <a:gd name="connsiteY1" fmla="*/ 61347 h 61346"/>
                </a:gdLst>
                <a:ahLst/>
                <a:cxnLst>
                  <a:cxn ang="0">
                    <a:pos x="connsiteX0" y="connsiteY0"/>
                  </a:cxn>
                  <a:cxn ang="0">
                    <a:pos x="connsiteX1" y="connsiteY1"/>
                  </a:cxn>
                </a:cxnLst>
                <a:rect l="l" t="t" r="r" b="b"/>
                <a:pathLst>
                  <a:path w="7342" h="61346">
                    <a:moveTo>
                      <a:pt x="0" y="0"/>
                    </a:moveTo>
                    <a:lnTo>
                      <a:pt x="0" y="61347"/>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51" name="Freeform 409">
                <a:extLst>
                  <a:ext uri="{FF2B5EF4-FFF2-40B4-BE49-F238E27FC236}">
                    <a16:creationId xmlns:a16="http://schemas.microsoft.com/office/drawing/2014/main" id="{E5B39744-D2D3-0200-DBB2-E76C876C50D5}"/>
                  </a:ext>
                </a:extLst>
              </p:cNvPr>
              <p:cNvSpPr/>
              <p:nvPr/>
            </p:nvSpPr>
            <p:spPr>
              <a:xfrm>
                <a:off x="3861803" y="378759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52" name="Freeform 410">
                <a:extLst>
                  <a:ext uri="{FF2B5EF4-FFF2-40B4-BE49-F238E27FC236}">
                    <a16:creationId xmlns:a16="http://schemas.microsoft.com/office/drawing/2014/main" id="{04D416C9-0170-6BEC-3B1A-3D57A7CAA6C3}"/>
                  </a:ext>
                </a:extLst>
              </p:cNvPr>
              <p:cNvSpPr/>
              <p:nvPr/>
            </p:nvSpPr>
            <p:spPr>
              <a:xfrm>
                <a:off x="3844768" y="378369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53" name="Freeform 411">
                <a:extLst>
                  <a:ext uri="{FF2B5EF4-FFF2-40B4-BE49-F238E27FC236}">
                    <a16:creationId xmlns:a16="http://schemas.microsoft.com/office/drawing/2014/main" id="{B9D4B48F-E3D1-7AF8-2559-9B5A90BE84B3}"/>
                  </a:ext>
                </a:extLst>
              </p:cNvPr>
              <p:cNvSpPr/>
              <p:nvPr/>
            </p:nvSpPr>
            <p:spPr>
              <a:xfrm>
                <a:off x="3836177" y="378369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54" name="Freeform 412">
                <a:extLst>
                  <a:ext uri="{FF2B5EF4-FFF2-40B4-BE49-F238E27FC236}">
                    <a16:creationId xmlns:a16="http://schemas.microsoft.com/office/drawing/2014/main" id="{047BC503-8CD0-6ECE-8C5A-CA0765477D91}"/>
                  </a:ext>
                </a:extLst>
              </p:cNvPr>
              <p:cNvSpPr/>
              <p:nvPr/>
            </p:nvSpPr>
            <p:spPr>
              <a:xfrm>
                <a:off x="3871936" y="37945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55" name="Freeform 413">
                <a:extLst>
                  <a:ext uri="{FF2B5EF4-FFF2-40B4-BE49-F238E27FC236}">
                    <a16:creationId xmlns:a16="http://schemas.microsoft.com/office/drawing/2014/main" id="{E5BABD79-9451-0C78-2904-98EBF0A1E6E4}"/>
                  </a:ext>
                </a:extLst>
              </p:cNvPr>
              <p:cNvSpPr/>
              <p:nvPr/>
            </p:nvSpPr>
            <p:spPr>
              <a:xfrm>
                <a:off x="3826852" y="376584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56" name="Freeform 414">
                <a:extLst>
                  <a:ext uri="{FF2B5EF4-FFF2-40B4-BE49-F238E27FC236}">
                    <a16:creationId xmlns:a16="http://schemas.microsoft.com/office/drawing/2014/main" id="{4778A4A1-65AA-4958-0D94-72C04197B392}"/>
                  </a:ext>
                </a:extLst>
              </p:cNvPr>
              <p:cNvSpPr/>
              <p:nvPr/>
            </p:nvSpPr>
            <p:spPr>
              <a:xfrm>
                <a:off x="3819143" y="376511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57" name="Freeform 415">
                <a:extLst>
                  <a:ext uri="{FF2B5EF4-FFF2-40B4-BE49-F238E27FC236}">
                    <a16:creationId xmlns:a16="http://schemas.microsoft.com/office/drawing/2014/main" id="{575F4D83-38DA-E400-B455-F890653336CD}"/>
                  </a:ext>
                </a:extLst>
              </p:cNvPr>
              <p:cNvSpPr/>
              <p:nvPr/>
            </p:nvSpPr>
            <p:spPr>
              <a:xfrm>
                <a:off x="3811359" y="376511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58" name="Freeform 416">
                <a:extLst>
                  <a:ext uri="{FF2B5EF4-FFF2-40B4-BE49-F238E27FC236}">
                    <a16:creationId xmlns:a16="http://schemas.microsoft.com/office/drawing/2014/main" id="{3367F8A0-7C37-19C7-FCE1-C1A588E1BA00}"/>
                  </a:ext>
                </a:extLst>
              </p:cNvPr>
              <p:cNvSpPr/>
              <p:nvPr/>
            </p:nvSpPr>
            <p:spPr>
              <a:xfrm>
                <a:off x="3802842" y="376430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59" name="Freeform 417">
                <a:extLst>
                  <a:ext uri="{FF2B5EF4-FFF2-40B4-BE49-F238E27FC236}">
                    <a16:creationId xmlns:a16="http://schemas.microsoft.com/office/drawing/2014/main" id="{430F4255-9075-6BC8-4440-6798C69E20EE}"/>
                  </a:ext>
                </a:extLst>
              </p:cNvPr>
              <p:cNvSpPr/>
              <p:nvPr/>
            </p:nvSpPr>
            <p:spPr>
              <a:xfrm>
                <a:off x="3793517" y="375342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60" name="Freeform 418">
                <a:extLst>
                  <a:ext uri="{FF2B5EF4-FFF2-40B4-BE49-F238E27FC236}">
                    <a16:creationId xmlns:a16="http://schemas.microsoft.com/office/drawing/2014/main" id="{A984E0C1-1A39-4350-4E8D-210CDE7F2939}"/>
                  </a:ext>
                </a:extLst>
              </p:cNvPr>
              <p:cNvSpPr/>
              <p:nvPr/>
            </p:nvSpPr>
            <p:spPr>
              <a:xfrm>
                <a:off x="3784192" y="375342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61" name="Freeform 419">
                <a:extLst>
                  <a:ext uri="{FF2B5EF4-FFF2-40B4-BE49-F238E27FC236}">
                    <a16:creationId xmlns:a16="http://schemas.microsoft.com/office/drawing/2014/main" id="{F47594C1-D557-2F64-D458-3E38F9003B89}"/>
                  </a:ext>
                </a:extLst>
              </p:cNvPr>
              <p:cNvSpPr/>
              <p:nvPr/>
            </p:nvSpPr>
            <p:spPr>
              <a:xfrm>
                <a:off x="3774059" y="375342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62" name="Freeform 420">
                <a:extLst>
                  <a:ext uri="{FF2B5EF4-FFF2-40B4-BE49-F238E27FC236}">
                    <a16:creationId xmlns:a16="http://schemas.microsoft.com/office/drawing/2014/main" id="{53854EDF-B574-1D9D-7EAE-1B1F1AF4FC6D}"/>
                  </a:ext>
                </a:extLst>
              </p:cNvPr>
              <p:cNvSpPr/>
              <p:nvPr/>
            </p:nvSpPr>
            <p:spPr>
              <a:xfrm>
                <a:off x="3764000" y="375342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63" name="Freeform 421">
                <a:extLst>
                  <a:ext uri="{FF2B5EF4-FFF2-40B4-BE49-F238E27FC236}">
                    <a16:creationId xmlns:a16="http://schemas.microsoft.com/office/drawing/2014/main" id="{76CBBB96-C62E-E9E1-A246-9451BC9DC39C}"/>
                  </a:ext>
                </a:extLst>
              </p:cNvPr>
              <p:cNvSpPr/>
              <p:nvPr/>
            </p:nvSpPr>
            <p:spPr>
              <a:xfrm>
                <a:off x="3754674" y="375342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64" name="Freeform 422">
                <a:extLst>
                  <a:ext uri="{FF2B5EF4-FFF2-40B4-BE49-F238E27FC236}">
                    <a16:creationId xmlns:a16="http://schemas.microsoft.com/office/drawing/2014/main" id="{30303A5A-0632-4476-2B69-F6772914D269}"/>
                  </a:ext>
                </a:extLst>
              </p:cNvPr>
              <p:cNvSpPr/>
              <p:nvPr/>
            </p:nvSpPr>
            <p:spPr>
              <a:xfrm>
                <a:off x="3744615" y="37425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65" name="Freeform 423">
                <a:extLst>
                  <a:ext uri="{FF2B5EF4-FFF2-40B4-BE49-F238E27FC236}">
                    <a16:creationId xmlns:a16="http://schemas.microsoft.com/office/drawing/2014/main" id="{E495D9A6-6A48-6DF2-B776-ACDAC05DE4C7}"/>
                  </a:ext>
                </a:extLst>
              </p:cNvPr>
              <p:cNvSpPr/>
              <p:nvPr/>
            </p:nvSpPr>
            <p:spPr>
              <a:xfrm>
                <a:off x="3737566" y="37425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66" name="Freeform 424">
                <a:extLst>
                  <a:ext uri="{FF2B5EF4-FFF2-40B4-BE49-F238E27FC236}">
                    <a16:creationId xmlns:a16="http://schemas.microsoft.com/office/drawing/2014/main" id="{3973F729-B0E0-CF70-DDE2-BDE14812C5AE}"/>
                  </a:ext>
                </a:extLst>
              </p:cNvPr>
              <p:cNvSpPr/>
              <p:nvPr/>
            </p:nvSpPr>
            <p:spPr>
              <a:xfrm>
                <a:off x="3729049" y="37425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67" name="Freeform 425">
                <a:extLst>
                  <a:ext uri="{FF2B5EF4-FFF2-40B4-BE49-F238E27FC236}">
                    <a16:creationId xmlns:a16="http://schemas.microsoft.com/office/drawing/2014/main" id="{7B805585-CB49-131A-7008-06C1B8FA643C}"/>
                  </a:ext>
                </a:extLst>
              </p:cNvPr>
              <p:cNvSpPr/>
              <p:nvPr/>
            </p:nvSpPr>
            <p:spPr>
              <a:xfrm>
                <a:off x="3718989" y="37425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68" name="Freeform 426">
                <a:extLst>
                  <a:ext uri="{FF2B5EF4-FFF2-40B4-BE49-F238E27FC236}">
                    <a16:creationId xmlns:a16="http://schemas.microsoft.com/office/drawing/2014/main" id="{9942E7D1-D1CC-095B-9494-E2B38E9D21D1}"/>
                  </a:ext>
                </a:extLst>
              </p:cNvPr>
              <p:cNvSpPr/>
              <p:nvPr/>
            </p:nvSpPr>
            <p:spPr>
              <a:xfrm>
                <a:off x="3676255" y="37371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69" name="Freeform 427">
                <a:extLst>
                  <a:ext uri="{FF2B5EF4-FFF2-40B4-BE49-F238E27FC236}">
                    <a16:creationId xmlns:a16="http://schemas.microsoft.com/office/drawing/2014/main" id="{65263839-2F84-164B-A348-B060B9F5A6F6}"/>
                  </a:ext>
                </a:extLst>
              </p:cNvPr>
              <p:cNvSpPr/>
              <p:nvPr/>
            </p:nvSpPr>
            <p:spPr>
              <a:xfrm>
                <a:off x="3651437" y="372470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70" name="Freeform 428">
                <a:extLst>
                  <a:ext uri="{FF2B5EF4-FFF2-40B4-BE49-F238E27FC236}">
                    <a16:creationId xmlns:a16="http://schemas.microsoft.com/office/drawing/2014/main" id="{A3861A04-D05C-E5C5-E4A4-80EC6EF5C1F6}"/>
                  </a:ext>
                </a:extLst>
              </p:cNvPr>
              <p:cNvSpPr/>
              <p:nvPr/>
            </p:nvSpPr>
            <p:spPr>
              <a:xfrm>
                <a:off x="3642846" y="37114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71" name="Freeform 429">
                <a:extLst>
                  <a:ext uri="{FF2B5EF4-FFF2-40B4-BE49-F238E27FC236}">
                    <a16:creationId xmlns:a16="http://schemas.microsoft.com/office/drawing/2014/main" id="{601E5804-13F6-9EEB-03DE-32ED56AF1E13}"/>
                  </a:ext>
                </a:extLst>
              </p:cNvPr>
              <p:cNvSpPr/>
              <p:nvPr/>
            </p:nvSpPr>
            <p:spPr>
              <a:xfrm>
                <a:off x="3636679" y="370685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72" name="Freeform 430">
                <a:extLst>
                  <a:ext uri="{FF2B5EF4-FFF2-40B4-BE49-F238E27FC236}">
                    <a16:creationId xmlns:a16="http://schemas.microsoft.com/office/drawing/2014/main" id="{3530134D-B40A-4A19-0DA3-0479E0D1F650}"/>
                  </a:ext>
                </a:extLst>
              </p:cNvPr>
              <p:cNvSpPr/>
              <p:nvPr/>
            </p:nvSpPr>
            <p:spPr>
              <a:xfrm>
                <a:off x="3626546" y="368892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73" name="Freeform 431">
                <a:extLst>
                  <a:ext uri="{FF2B5EF4-FFF2-40B4-BE49-F238E27FC236}">
                    <a16:creationId xmlns:a16="http://schemas.microsoft.com/office/drawing/2014/main" id="{02F27947-F095-0CDC-0B85-E7E5AF53CA8A}"/>
                  </a:ext>
                </a:extLst>
              </p:cNvPr>
              <p:cNvSpPr/>
              <p:nvPr/>
            </p:nvSpPr>
            <p:spPr>
              <a:xfrm>
                <a:off x="3619570" y="368818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74" name="Freeform 432">
                <a:extLst>
                  <a:ext uri="{FF2B5EF4-FFF2-40B4-BE49-F238E27FC236}">
                    <a16:creationId xmlns:a16="http://schemas.microsoft.com/office/drawing/2014/main" id="{482588C8-F001-B435-2607-A7B553C2F1AE}"/>
                  </a:ext>
                </a:extLst>
              </p:cNvPr>
              <p:cNvSpPr/>
              <p:nvPr/>
            </p:nvSpPr>
            <p:spPr>
              <a:xfrm>
                <a:off x="3597836" y="368664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75" name="Freeform 433">
                <a:extLst>
                  <a:ext uri="{FF2B5EF4-FFF2-40B4-BE49-F238E27FC236}">
                    <a16:creationId xmlns:a16="http://schemas.microsoft.com/office/drawing/2014/main" id="{F426FCCC-69F9-B446-287A-8DA5AB879438}"/>
                  </a:ext>
                </a:extLst>
              </p:cNvPr>
              <p:cNvSpPr/>
              <p:nvPr/>
            </p:nvSpPr>
            <p:spPr>
              <a:xfrm>
                <a:off x="3586969" y="368664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76" name="Freeform 434">
                <a:extLst>
                  <a:ext uri="{FF2B5EF4-FFF2-40B4-BE49-F238E27FC236}">
                    <a16:creationId xmlns:a16="http://schemas.microsoft.com/office/drawing/2014/main" id="{BC52B1FF-52ED-9E93-AF1F-23E6765D7551}"/>
                  </a:ext>
                </a:extLst>
              </p:cNvPr>
              <p:cNvSpPr/>
              <p:nvPr/>
            </p:nvSpPr>
            <p:spPr>
              <a:xfrm>
                <a:off x="3575368" y="367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77" name="Freeform 435">
                <a:extLst>
                  <a:ext uri="{FF2B5EF4-FFF2-40B4-BE49-F238E27FC236}">
                    <a16:creationId xmlns:a16="http://schemas.microsoft.com/office/drawing/2014/main" id="{90D2F753-7F9B-0E7B-692C-780927EFFACE}"/>
                  </a:ext>
                </a:extLst>
              </p:cNvPr>
              <p:cNvSpPr/>
              <p:nvPr/>
            </p:nvSpPr>
            <p:spPr>
              <a:xfrm>
                <a:off x="3570669" y="367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78" name="Freeform 436">
                <a:extLst>
                  <a:ext uri="{FF2B5EF4-FFF2-40B4-BE49-F238E27FC236}">
                    <a16:creationId xmlns:a16="http://schemas.microsoft.com/office/drawing/2014/main" id="{F79491F0-16E9-6D7F-5788-1B5C48E8AB73}"/>
                  </a:ext>
                </a:extLst>
              </p:cNvPr>
              <p:cNvSpPr/>
              <p:nvPr/>
            </p:nvSpPr>
            <p:spPr>
              <a:xfrm>
                <a:off x="3563693" y="367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79" name="Freeform 437">
                <a:extLst>
                  <a:ext uri="{FF2B5EF4-FFF2-40B4-BE49-F238E27FC236}">
                    <a16:creationId xmlns:a16="http://schemas.microsoft.com/office/drawing/2014/main" id="{CD5B6687-EE17-966B-C3D0-9B38129D962D}"/>
                  </a:ext>
                </a:extLst>
              </p:cNvPr>
              <p:cNvSpPr/>
              <p:nvPr/>
            </p:nvSpPr>
            <p:spPr>
              <a:xfrm>
                <a:off x="3552826" y="367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80" name="Freeform 438">
                <a:extLst>
                  <a:ext uri="{FF2B5EF4-FFF2-40B4-BE49-F238E27FC236}">
                    <a16:creationId xmlns:a16="http://schemas.microsoft.com/office/drawing/2014/main" id="{F5536A42-E885-743F-DFD0-89B9A25122D2}"/>
                  </a:ext>
                </a:extLst>
              </p:cNvPr>
              <p:cNvSpPr/>
              <p:nvPr/>
            </p:nvSpPr>
            <p:spPr>
              <a:xfrm>
                <a:off x="3541151" y="367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81" name="Freeform 439">
                <a:extLst>
                  <a:ext uri="{FF2B5EF4-FFF2-40B4-BE49-F238E27FC236}">
                    <a16:creationId xmlns:a16="http://schemas.microsoft.com/office/drawing/2014/main" id="{C5A12940-75EB-5DB5-B780-9E926547AB95}"/>
                  </a:ext>
                </a:extLst>
              </p:cNvPr>
              <p:cNvSpPr/>
              <p:nvPr/>
            </p:nvSpPr>
            <p:spPr>
              <a:xfrm>
                <a:off x="3548127" y="367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82" name="Freeform 440">
                <a:extLst>
                  <a:ext uri="{FF2B5EF4-FFF2-40B4-BE49-F238E27FC236}">
                    <a16:creationId xmlns:a16="http://schemas.microsoft.com/office/drawing/2014/main" id="{410FF33F-E8EF-B8A2-39F4-5984EDD15DEC}"/>
                  </a:ext>
                </a:extLst>
              </p:cNvPr>
              <p:cNvSpPr/>
              <p:nvPr/>
            </p:nvSpPr>
            <p:spPr>
              <a:xfrm>
                <a:off x="3580801" y="367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83" name="Freeform 441">
                <a:extLst>
                  <a:ext uri="{FF2B5EF4-FFF2-40B4-BE49-F238E27FC236}">
                    <a16:creationId xmlns:a16="http://schemas.microsoft.com/office/drawing/2014/main" id="{44851782-390A-A7DA-5727-EEFA8396318D}"/>
                  </a:ext>
                </a:extLst>
              </p:cNvPr>
              <p:cNvSpPr/>
              <p:nvPr/>
            </p:nvSpPr>
            <p:spPr>
              <a:xfrm>
                <a:off x="3541151" y="3670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84" name="Freeform 442">
                <a:extLst>
                  <a:ext uri="{FF2B5EF4-FFF2-40B4-BE49-F238E27FC236}">
                    <a16:creationId xmlns:a16="http://schemas.microsoft.com/office/drawing/2014/main" id="{76F334FC-5992-3609-B2E9-6FCB08011ED7}"/>
                  </a:ext>
                </a:extLst>
              </p:cNvPr>
              <p:cNvSpPr/>
              <p:nvPr/>
            </p:nvSpPr>
            <p:spPr>
              <a:xfrm>
                <a:off x="3524116" y="364858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85" name="Freeform 443">
                <a:extLst>
                  <a:ext uri="{FF2B5EF4-FFF2-40B4-BE49-F238E27FC236}">
                    <a16:creationId xmlns:a16="http://schemas.microsoft.com/office/drawing/2014/main" id="{2D5EEB76-E7C6-7105-1D2C-EC3DD5EC5EDC}"/>
                  </a:ext>
                </a:extLst>
              </p:cNvPr>
              <p:cNvSpPr/>
              <p:nvPr/>
            </p:nvSpPr>
            <p:spPr>
              <a:xfrm>
                <a:off x="3515526" y="364858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86" name="Freeform 444">
                <a:extLst>
                  <a:ext uri="{FF2B5EF4-FFF2-40B4-BE49-F238E27FC236}">
                    <a16:creationId xmlns:a16="http://schemas.microsoft.com/office/drawing/2014/main" id="{FCDE2B42-354A-D680-32ED-CAF6B0183418}"/>
                  </a:ext>
                </a:extLst>
              </p:cNvPr>
              <p:cNvSpPr/>
              <p:nvPr/>
            </p:nvSpPr>
            <p:spPr>
              <a:xfrm>
                <a:off x="3510092" y="364858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87" name="Freeform 445">
                <a:extLst>
                  <a:ext uri="{FF2B5EF4-FFF2-40B4-BE49-F238E27FC236}">
                    <a16:creationId xmlns:a16="http://schemas.microsoft.com/office/drawing/2014/main" id="{7DEC7F08-16AF-920A-44C5-A5127D38685C}"/>
                  </a:ext>
                </a:extLst>
              </p:cNvPr>
              <p:cNvSpPr/>
              <p:nvPr/>
            </p:nvSpPr>
            <p:spPr>
              <a:xfrm>
                <a:off x="3504658" y="363536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88" name="Freeform 446">
                <a:extLst>
                  <a:ext uri="{FF2B5EF4-FFF2-40B4-BE49-F238E27FC236}">
                    <a16:creationId xmlns:a16="http://schemas.microsoft.com/office/drawing/2014/main" id="{BDE5D166-4C8D-2EE5-BBBE-A7C6691B9FB7}"/>
                  </a:ext>
                </a:extLst>
              </p:cNvPr>
              <p:cNvSpPr/>
              <p:nvPr/>
            </p:nvSpPr>
            <p:spPr>
              <a:xfrm>
                <a:off x="3500033" y="363536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89" name="Freeform 447">
                <a:extLst>
                  <a:ext uri="{FF2B5EF4-FFF2-40B4-BE49-F238E27FC236}">
                    <a16:creationId xmlns:a16="http://schemas.microsoft.com/office/drawing/2014/main" id="{CA61486E-07CF-6106-4434-59084AEE0538}"/>
                  </a:ext>
                </a:extLst>
              </p:cNvPr>
              <p:cNvSpPr/>
              <p:nvPr/>
            </p:nvSpPr>
            <p:spPr>
              <a:xfrm>
                <a:off x="3489900" y="36252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90" name="Freeform 448">
                <a:extLst>
                  <a:ext uri="{FF2B5EF4-FFF2-40B4-BE49-F238E27FC236}">
                    <a16:creationId xmlns:a16="http://schemas.microsoft.com/office/drawing/2014/main" id="{EEB6D2BC-A58B-F3BD-0B46-328DF22D54BC}"/>
                  </a:ext>
                </a:extLst>
              </p:cNvPr>
              <p:cNvSpPr/>
              <p:nvPr/>
            </p:nvSpPr>
            <p:spPr>
              <a:xfrm>
                <a:off x="3483732" y="36252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91" name="Freeform 449">
                <a:extLst>
                  <a:ext uri="{FF2B5EF4-FFF2-40B4-BE49-F238E27FC236}">
                    <a16:creationId xmlns:a16="http://schemas.microsoft.com/office/drawing/2014/main" id="{AFE7672A-563A-CB31-7DAE-8C782D9DEDC9}"/>
                  </a:ext>
                </a:extLst>
              </p:cNvPr>
              <p:cNvSpPr/>
              <p:nvPr/>
            </p:nvSpPr>
            <p:spPr>
              <a:xfrm>
                <a:off x="3478299" y="36252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92" name="Freeform 450">
                <a:extLst>
                  <a:ext uri="{FF2B5EF4-FFF2-40B4-BE49-F238E27FC236}">
                    <a16:creationId xmlns:a16="http://schemas.microsoft.com/office/drawing/2014/main" id="{06DABE4C-00C7-5B04-895F-2F3EF2D56B84}"/>
                  </a:ext>
                </a:extLst>
              </p:cNvPr>
              <p:cNvSpPr/>
              <p:nvPr/>
            </p:nvSpPr>
            <p:spPr>
              <a:xfrm>
                <a:off x="3469708" y="36252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93" name="Freeform 451">
                <a:extLst>
                  <a:ext uri="{FF2B5EF4-FFF2-40B4-BE49-F238E27FC236}">
                    <a16:creationId xmlns:a16="http://schemas.microsoft.com/office/drawing/2014/main" id="{7DFFA40D-7ADB-96D6-03F7-EBD4DF8BE141}"/>
                  </a:ext>
                </a:extLst>
              </p:cNvPr>
              <p:cNvSpPr/>
              <p:nvPr/>
            </p:nvSpPr>
            <p:spPr>
              <a:xfrm>
                <a:off x="3465082" y="36252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94" name="Freeform 452">
                <a:extLst>
                  <a:ext uri="{FF2B5EF4-FFF2-40B4-BE49-F238E27FC236}">
                    <a16:creationId xmlns:a16="http://schemas.microsoft.com/office/drawing/2014/main" id="{35A09DD0-AF67-C54D-49ED-58D9C8E7D8F4}"/>
                  </a:ext>
                </a:extLst>
              </p:cNvPr>
              <p:cNvSpPr/>
              <p:nvPr/>
            </p:nvSpPr>
            <p:spPr>
              <a:xfrm>
                <a:off x="3455757" y="36252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95" name="Freeform 453">
                <a:extLst>
                  <a:ext uri="{FF2B5EF4-FFF2-40B4-BE49-F238E27FC236}">
                    <a16:creationId xmlns:a16="http://schemas.microsoft.com/office/drawing/2014/main" id="{9BA12105-71F6-20B4-50A4-CDF6ECB5FEDD}"/>
                  </a:ext>
                </a:extLst>
              </p:cNvPr>
              <p:cNvSpPr/>
              <p:nvPr/>
            </p:nvSpPr>
            <p:spPr>
              <a:xfrm>
                <a:off x="3447974" y="361978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96" name="Freeform 454">
                <a:extLst>
                  <a:ext uri="{FF2B5EF4-FFF2-40B4-BE49-F238E27FC236}">
                    <a16:creationId xmlns:a16="http://schemas.microsoft.com/office/drawing/2014/main" id="{065EFCBC-12D6-C043-D501-9FA1095A60C4}"/>
                  </a:ext>
                </a:extLst>
              </p:cNvPr>
              <p:cNvSpPr/>
              <p:nvPr/>
            </p:nvSpPr>
            <p:spPr>
              <a:xfrm>
                <a:off x="3441806" y="360582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97" name="Freeform 455">
                <a:extLst>
                  <a:ext uri="{FF2B5EF4-FFF2-40B4-BE49-F238E27FC236}">
                    <a16:creationId xmlns:a16="http://schemas.microsoft.com/office/drawing/2014/main" id="{C43E5D23-5E3E-62D6-2ED3-8357CCD12AF7}"/>
                  </a:ext>
                </a:extLst>
              </p:cNvPr>
              <p:cNvSpPr/>
              <p:nvPr/>
            </p:nvSpPr>
            <p:spPr>
              <a:xfrm>
                <a:off x="3435564" y="360582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98" name="Freeform 456">
                <a:extLst>
                  <a:ext uri="{FF2B5EF4-FFF2-40B4-BE49-F238E27FC236}">
                    <a16:creationId xmlns:a16="http://schemas.microsoft.com/office/drawing/2014/main" id="{686AF13A-AE70-BCA1-59D0-7D13A5D3A7C1}"/>
                  </a:ext>
                </a:extLst>
              </p:cNvPr>
              <p:cNvSpPr/>
              <p:nvPr/>
            </p:nvSpPr>
            <p:spPr>
              <a:xfrm>
                <a:off x="3427414" y="359767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99" name="Freeform 457">
                <a:extLst>
                  <a:ext uri="{FF2B5EF4-FFF2-40B4-BE49-F238E27FC236}">
                    <a16:creationId xmlns:a16="http://schemas.microsoft.com/office/drawing/2014/main" id="{529FBDCF-16F2-ABE0-4DA9-6284D675ED89}"/>
                  </a:ext>
                </a:extLst>
              </p:cNvPr>
              <p:cNvSpPr/>
              <p:nvPr/>
            </p:nvSpPr>
            <p:spPr>
              <a:xfrm>
                <a:off x="3419631" y="359767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00" name="Freeform 458">
                <a:extLst>
                  <a:ext uri="{FF2B5EF4-FFF2-40B4-BE49-F238E27FC236}">
                    <a16:creationId xmlns:a16="http://schemas.microsoft.com/office/drawing/2014/main" id="{4052E436-BD01-6E75-4F34-C511C6A215CE}"/>
                  </a:ext>
                </a:extLst>
              </p:cNvPr>
              <p:cNvSpPr/>
              <p:nvPr/>
            </p:nvSpPr>
            <p:spPr>
              <a:xfrm>
                <a:off x="3409572" y="359767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01" name="Freeform 459">
                <a:extLst>
                  <a:ext uri="{FF2B5EF4-FFF2-40B4-BE49-F238E27FC236}">
                    <a16:creationId xmlns:a16="http://schemas.microsoft.com/office/drawing/2014/main" id="{1F61F2FC-EB1A-81C2-CF0E-36104FFEE667}"/>
                  </a:ext>
                </a:extLst>
              </p:cNvPr>
              <p:cNvSpPr/>
              <p:nvPr/>
            </p:nvSpPr>
            <p:spPr>
              <a:xfrm>
                <a:off x="3399512" y="359767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02" name="Freeform 460">
                <a:extLst>
                  <a:ext uri="{FF2B5EF4-FFF2-40B4-BE49-F238E27FC236}">
                    <a16:creationId xmlns:a16="http://schemas.microsoft.com/office/drawing/2014/main" id="{2DE6954A-50C0-6809-7696-48DBE583E8C5}"/>
                  </a:ext>
                </a:extLst>
              </p:cNvPr>
              <p:cNvSpPr/>
              <p:nvPr/>
            </p:nvSpPr>
            <p:spPr>
              <a:xfrm>
                <a:off x="3390187" y="35774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03" name="Freeform 461">
                <a:extLst>
                  <a:ext uri="{FF2B5EF4-FFF2-40B4-BE49-F238E27FC236}">
                    <a16:creationId xmlns:a16="http://schemas.microsoft.com/office/drawing/2014/main" id="{E5CCCA6F-966A-3940-79BE-1592997BA089}"/>
                  </a:ext>
                </a:extLst>
              </p:cNvPr>
              <p:cNvSpPr/>
              <p:nvPr/>
            </p:nvSpPr>
            <p:spPr>
              <a:xfrm>
                <a:off x="3387030" y="35774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04" name="Freeform 462">
                <a:extLst>
                  <a:ext uri="{FF2B5EF4-FFF2-40B4-BE49-F238E27FC236}">
                    <a16:creationId xmlns:a16="http://schemas.microsoft.com/office/drawing/2014/main" id="{850FFCB1-883D-DEFD-F7CC-B049F738E625}"/>
                  </a:ext>
                </a:extLst>
              </p:cNvPr>
              <p:cNvSpPr/>
              <p:nvPr/>
            </p:nvSpPr>
            <p:spPr>
              <a:xfrm>
                <a:off x="3368453" y="35596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05" name="Freeform 463">
                <a:extLst>
                  <a:ext uri="{FF2B5EF4-FFF2-40B4-BE49-F238E27FC236}">
                    <a16:creationId xmlns:a16="http://schemas.microsoft.com/office/drawing/2014/main" id="{937B031F-D2C2-44E0-6DF4-0A069E7DF5F2}"/>
                  </a:ext>
                </a:extLst>
              </p:cNvPr>
              <p:cNvSpPr/>
              <p:nvPr/>
            </p:nvSpPr>
            <p:spPr>
              <a:xfrm>
                <a:off x="3376163" y="3587241"/>
                <a:ext cx="7342" cy="59069"/>
              </a:xfrm>
              <a:custGeom>
                <a:avLst/>
                <a:gdLst>
                  <a:gd name="connsiteX0" fmla="*/ 0 w 7342"/>
                  <a:gd name="connsiteY0" fmla="*/ 0 h 59069"/>
                  <a:gd name="connsiteX1" fmla="*/ 0 w 7342"/>
                  <a:gd name="connsiteY1" fmla="*/ 59069 h 59069"/>
                </a:gdLst>
                <a:ahLst/>
                <a:cxnLst>
                  <a:cxn ang="0">
                    <a:pos x="connsiteX0" y="connsiteY0"/>
                  </a:cxn>
                  <a:cxn ang="0">
                    <a:pos x="connsiteX1" y="connsiteY1"/>
                  </a:cxn>
                </a:cxnLst>
                <a:rect l="l" t="t" r="r" b="b"/>
                <a:pathLst>
                  <a:path w="7342" h="59069">
                    <a:moveTo>
                      <a:pt x="0" y="0"/>
                    </a:moveTo>
                    <a:lnTo>
                      <a:pt x="0" y="59069"/>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06" name="Freeform 464">
                <a:extLst>
                  <a:ext uri="{FF2B5EF4-FFF2-40B4-BE49-F238E27FC236}">
                    <a16:creationId xmlns:a16="http://schemas.microsoft.com/office/drawing/2014/main" id="{6FBCB0BA-2F86-09CA-F3DF-D65DB98A4252}"/>
                  </a:ext>
                </a:extLst>
              </p:cNvPr>
              <p:cNvSpPr/>
              <p:nvPr/>
            </p:nvSpPr>
            <p:spPr>
              <a:xfrm>
                <a:off x="3533809" y="3675037"/>
                <a:ext cx="7342" cy="51281"/>
              </a:xfrm>
              <a:custGeom>
                <a:avLst/>
                <a:gdLst>
                  <a:gd name="connsiteX0" fmla="*/ 0 w 7342"/>
                  <a:gd name="connsiteY0" fmla="*/ 0 h 51281"/>
                  <a:gd name="connsiteX1" fmla="*/ 0 w 7342"/>
                  <a:gd name="connsiteY1" fmla="*/ 51282 h 51281"/>
                </a:gdLst>
                <a:ahLst/>
                <a:cxnLst>
                  <a:cxn ang="0">
                    <a:pos x="connsiteX0" y="connsiteY0"/>
                  </a:cxn>
                  <a:cxn ang="0">
                    <a:pos x="connsiteX1" y="connsiteY1"/>
                  </a:cxn>
                </a:cxnLst>
                <a:rect l="l" t="t" r="r" b="b"/>
                <a:pathLst>
                  <a:path w="7342" h="51281">
                    <a:moveTo>
                      <a:pt x="0" y="0"/>
                    </a:moveTo>
                    <a:lnTo>
                      <a:pt x="0" y="51282"/>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07" name="Freeform 465">
                <a:extLst>
                  <a:ext uri="{FF2B5EF4-FFF2-40B4-BE49-F238E27FC236}">
                    <a16:creationId xmlns:a16="http://schemas.microsoft.com/office/drawing/2014/main" id="{EC31C811-9BBC-BD0C-DF89-B2588EC56426}"/>
                  </a:ext>
                </a:extLst>
              </p:cNvPr>
              <p:cNvSpPr/>
              <p:nvPr/>
            </p:nvSpPr>
            <p:spPr>
              <a:xfrm>
                <a:off x="3609144" y="3707658"/>
                <a:ext cx="7342" cy="51281"/>
              </a:xfrm>
              <a:custGeom>
                <a:avLst/>
                <a:gdLst>
                  <a:gd name="connsiteX0" fmla="*/ 0 w 7342"/>
                  <a:gd name="connsiteY0" fmla="*/ 0 h 51281"/>
                  <a:gd name="connsiteX1" fmla="*/ 0 w 7342"/>
                  <a:gd name="connsiteY1" fmla="*/ 51282 h 51281"/>
                </a:gdLst>
                <a:ahLst/>
                <a:cxnLst>
                  <a:cxn ang="0">
                    <a:pos x="connsiteX0" y="connsiteY0"/>
                  </a:cxn>
                  <a:cxn ang="0">
                    <a:pos x="connsiteX1" y="connsiteY1"/>
                  </a:cxn>
                </a:cxnLst>
                <a:rect l="l" t="t" r="r" b="b"/>
                <a:pathLst>
                  <a:path w="7342" h="51281">
                    <a:moveTo>
                      <a:pt x="0" y="0"/>
                    </a:moveTo>
                    <a:lnTo>
                      <a:pt x="0" y="51282"/>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08" name="Freeform 466">
                <a:extLst>
                  <a:ext uri="{FF2B5EF4-FFF2-40B4-BE49-F238E27FC236}">
                    <a16:creationId xmlns:a16="http://schemas.microsoft.com/office/drawing/2014/main" id="{AC7B4E68-72BD-255B-8A63-94F571CEF53A}"/>
                  </a:ext>
                </a:extLst>
              </p:cNvPr>
              <p:cNvSpPr/>
              <p:nvPr/>
            </p:nvSpPr>
            <p:spPr>
              <a:xfrm>
                <a:off x="3667371" y="3742629"/>
                <a:ext cx="7342" cy="51281"/>
              </a:xfrm>
              <a:custGeom>
                <a:avLst/>
                <a:gdLst>
                  <a:gd name="connsiteX0" fmla="*/ 0 w 7342"/>
                  <a:gd name="connsiteY0" fmla="*/ 0 h 51281"/>
                  <a:gd name="connsiteX1" fmla="*/ 0 w 7342"/>
                  <a:gd name="connsiteY1" fmla="*/ 51282 h 51281"/>
                </a:gdLst>
                <a:ahLst/>
                <a:cxnLst>
                  <a:cxn ang="0">
                    <a:pos x="connsiteX0" y="connsiteY0"/>
                  </a:cxn>
                  <a:cxn ang="0">
                    <a:pos x="connsiteX1" y="connsiteY1"/>
                  </a:cxn>
                </a:cxnLst>
                <a:rect l="l" t="t" r="r" b="b"/>
                <a:pathLst>
                  <a:path w="7342" h="51281">
                    <a:moveTo>
                      <a:pt x="0" y="0"/>
                    </a:moveTo>
                    <a:lnTo>
                      <a:pt x="0" y="51282"/>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09" name="Freeform 467">
                <a:extLst>
                  <a:ext uri="{FF2B5EF4-FFF2-40B4-BE49-F238E27FC236}">
                    <a16:creationId xmlns:a16="http://schemas.microsoft.com/office/drawing/2014/main" id="{95B374BF-BA38-C4EF-1D87-4F222FADE24C}"/>
                  </a:ext>
                </a:extLst>
              </p:cNvPr>
              <p:cNvSpPr/>
              <p:nvPr/>
            </p:nvSpPr>
            <p:spPr>
              <a:xfrm>
                <a:off x="3661130" y="3742629"/>
                <a:ext cx="7342" cy="51281"/>
              </a:xfrm>
              <a:custGeom>
                <a:avLst/>
                <a:gdLst>
                  <a:gd name="connsiteX0" fmla="*/ 0 w 7342"/>
                  <a:gd name="connsiteY0" fmla="*/ 0 h 51281"/>
                  <a:gd name="connsiteX1" fmla="*/ 0 w 7342"/>
                  <a:gd name="connsiteY1" fmla="*/ 51282 h 51281"/>
                </a:gdLst>
                <a:ahLst/>
                <a:cxnLst>
                  <a:cxn ang="0">
                    <a:pos x="connsiteX0" y="connsiteY0"/>
                  </a:cxn>
                  <a:cxn ang="0">
                    <a:pos x="connsiteX1" y="connsiteY1"/>
                  </a:cxn>
                </a:cxnLst>
                <a:rect l="l" t="t" r="r" b="b"/>
                <a:pathLst>
                  <a:path w="7342" h="51281">
                    <a:moveTo>
                      <a:pt x="0" y="0"/>
                    </a:moveTo>
                    <a:lnTo>
                      <a:pt x="0" y="51282"/>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10" name="Freeform 468">
                <a:extLst>
                  <a:ext uri="{FF2B5EF4-FFF2-40B4-BE49-F238E27FC236}">
                    <a16:creationId xmlns:a16="http://schemas.microsoft.com/office/drawing/2014/main" id="{DFFD62E5-2A48-4238-90CD-A97742A33818}"/>
                  </a:ext>
                </a:extLst>
              </p:cNvPr>
              <p:cNvSpPr/>
              <p:nvPr/>
            </p:nvSpPr>
            <p:spPr>
              <a:xfrm>
                <a:off x="3685948" y="3759747"/>
                <a:ext cx="7342" cy="41142"/>
              </a:xfrm>
              <a:custGeom>
                <a:avLst/>
                <a:gdLst>
                  <a:gd name="connsiteX0" fmla="*/ 0 w 7342"/>
                  <a:gd name="connsiteY0" fmla="*/ 0 h 41142"/>
                  <a:gd name="connsiteX1" fmla="*/ 0 w 7342"/>
                  <a:gd name="connsiteY1" fmla="*/ 41143 h 41142"/>
                </a:gdLst>
                <a:ahLst/>
                <a:cxnLst>
                  <a:cxn ang="0">
                    <a:pos x="connsiteX0" y="connsiteY0"/>
                  </a:cxn>
                  <a:cxn ang="0">
                    <a:pos x="connsiteX1" y="connsiteY1"/>
                  </a:cxn>
                </a:cxnLst>
                <a:rect l="l" t="t" r="r" b="b"/>
                <a:pathLst>
                  <a:path w="7342" h="41142">
                    <a:moveTo>
                      <a:pt x="0" y="0"/>
                    </a:moveTo>
                    <a:lnTo>
                      <a:pt x="0" y="41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11" name="Freeform 469">
                <a:extLst>
                  <a:ext uri="{FF2B5EF4-FFF2-40B4-BE49-F238E27FC236}">
                    <a16:creationId xmlns:a16="http://schemas.microsoft.com/office/drawing/2014/main" id="{84F9D8A9-9EB3-B452-3FE9-FF5507182EC1}"/>
                  </a:ext>
                </a:extLst>
              </p:cNvPr>
              <p:cNvSpPr/>
              <p:nvPr/>
            </p:nvSpPr>
            <p:spPr>
              <a:xfrm>
                <a:off x="3693731" y="3759747"/>
                <a:ext cx="7342" cy="41142"/>
              </a:xfrm>
              <a:custGeom>
                <a:avLst/>
                <a:gdLst>
                  <a:gd name="connsiteX0" fmla="*/ 0 w 7342"/>
                  <a:gd name="connsiteY0" fmla="*/ 0 h 41142"/>
                  <a:gd name="connsiteX1" fmla="*/ 0 w 7342"/>
                  <a:gd name="connsiteY1" fmla="*/ 41143 h 41142"/>
                </a:gdLst>
                <a:ahLst/>
                <a:cxnLst>
                  <a:cxn ang="0">
                    <a:pos x="connsiteX0" y="connsiteY0"/>
                  </a:cxn>
                  <a:cxn ang="0">
                    <a:pos x="connsiteX1" y="connsiteY1"/>
                  </a:cxn>
                </a:cxnLst>
                <a:rect l="l" t="t" r="r" b="b"/>
                <a:pathLst>
                  <a:path w="7342" h="41142">
                    <a:moveTo>
                      <a:pt x="0" y="0"/>
                    </a:moveTo>
                    <a:lnTo>
                      <a:pt x="0" y="41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12" name="Freeform 470">
                <a:extLst>
                  <a:ext uri="{FF2B5EF4-FFF2-40B4-BE49-F238E27FC236}">
                    <a16:creationId xmlns:a16="http://schemas.microsoft.com/office/drawing/2014/main" id="{6DFE0390-6CC7-EF7C-E22F-E382B9F1272D}"/>
                  </a:ext>
                </a:extLst>
              </p:cNvPr>
              <p:cNvSpPr/>
              <p:nvPr/>
            </p:nvSpPr>
            <p:spPr>
              <a:xfrm>
                <a:off x="3701514" y="3759747"/>
                <a:ext cx="7342" cy="41142"/>
              </a:xfrm>
              <a:custGeom>
                <a:avLst/>
                <a:gdLst>
                  <a:gd name="connsiteX0" fmla="*/ 0 w 7342"/>
                  <a:gd name="connsiteY0" fmla="*/ 0 h 41142"/>
                  <a:gd name="connsiteX1" fmla="*/ 0 w 7342"/>
                  <a:gd name="connsiteY1" fmla="*/ 41143 h 41142"/>
                </a:gdLst>
                <a:ahLst/>
                <a:cxnLst>
                  <a:cxn ang="0">
                    <a:pos x="connsiteX0" y="connsiteY0"/>
                  </a:cxn>
                  <a:cxn ang="0">
                    <a:pos x="connsiteX1" y="connsiteY1"/>
                  </a:cxn>
                </a:cxnLst>
                <a:rect l="l" t="t" r="r" b="b"/>
                <a:pathLst>
                  <a:path w="7342" h="41142">
                    <a:moveTo>
                      <a:pt x="0" y="0"/>
                    </a:moveTo>
                    <a:lnTo>
                      <a:pt x="0" y="41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13" name="Freeform 471">
                <a:extLst>
                  <a:ext uri="{FF2B5EF4-FFF2-40B4-BE49-F238E27FC236}">
                    <a16:creationId xmlns:a16="http://schemas.microsoft.com/office/drawing/2014/main" id="{BDCBD768-34AB-629F-F2D0-C3A61895A863}"/>
                  </a:ext>
                </a:extLst>
              </p:cNvPr>
              <p:cNvSpPr/>
              <p:nvPr/>
            </p:nvSpPr>
            <p:spPr>
              <a:xfrm>
                <a:off x="3711573" y="3759747"/>
                <a:ext cx="7342" cy="41142"/>
              </a:xfrm>
              <a:custGeom>
                <a:avLst/>
                <a:gdLst>
                  <a:gd name="connsiteX0" fmla="*/ 0 w 7342"/>
                  <a:gd name="connsiteY0" fmla="*/ 0 h 41142"/>
                  <a:gd name="connsiteX1" fmla="*/ 0 w 7342"/>
                  <a:gd name="connsiteY1" fmla="*/ 41143 h 41142"/>
                </a:gdLst>
                <a:ahLst/>
                <a:cxnLst>
                  <a:cxn ang="0">
                    <a:pos x="connsiteX0" y="connsiteY0"/>
                  </a:cxn>
                  <a:cxn ang="0">
                    <a:pos x="connsiteX1" y="connsiteY1"/>
                  </a:cxn>
                </a:cxnLst>
                <a:rect l="l" t="t" r="r" b="b"/>
                <a:pathLst>
                  <a:path w="7342" h="41142">
                    <a:moveTo>
                      <a:pt x="0" y="0"/>
                    </a:moveTo>
                    <a:lnTo>
                      <a:pt x="0" y="41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14" name="Freeform 472">
                <a:extLst>
                  <a:ext uri="{FF2B5EF4-FFF2-40B4-BE49-F238E27FC236}">
                    <a16:creationId xmlns:a16="http://schemas.microsoft.com/office/drawing/2014/main" id="{7C5B5A04-327D-FDD7-3450-7AB1B21BC265}"/>
                  </a:ext>
                </a:extLst>
              </p:cNvPr>
              <p:cNvSpPr/>
              <p:nvPr/>
            </p:nvSpPr>
            <p:spPr>
              <a:xfrm>
                <a:off x="3358320" y="35596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15" name="Freeform 473">
                <a:extLst>
                  <a:ext uri="{FF2B5EF4-FFF2-40B4-BE49-F238E27FC236}">
                    <a16:creationId xmlns:a16="http://schemas.microsoft.com/office/drawing/2014/main" id="{207036DC-2540-80A8-2086-CCEC4716FCEA}"/>
                  </a:ext>
                </a:extLst>
              </p:cNvPr>
              <p:cNvSpPr/>
              <p:nvPr/>
            </p:nvSpPr>
            <p:spPr>
              <a:xfrm>
                <a:off x="3350537" y="355182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16" name="Freeform 474">
                <a:extLst>
                  <a:ext uri="{FF2B5EF4-FFF2-40B4-BE49-F238E27FC236}">
                    <a16:creationId xmlns:a16="http://schemas.microsoft.com/office/drawing/2014/main" id="{4A5FD48D-9C71-86D2-BC65-E2E6D9DB2DD5}"/>
                  </a:ext>
                </a:extLst>
              </p:cNvPr>
              <p:cNvSpPr/>
              <p:nvPr/>
            </p:nvSpPr>
            <p:spPr>
              <a:xfrm>
                <a:off x="3332694" y="35409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17" name="Freeform 475">
                <a:extLst>
                  <a:ext uri="{FF2B5EF4-FFF2-40B4-BE49-F238E27FC236}">
                    <a16:creationId xmlns:a16="http://schemas.microsoft.com/office/drawing/2014/main" id="{3409FE49-8573-BE31-D6D8-A8DB0BB5445E}"/>
                  </a:ext>
                </a:extLst>
              </p:cNvPr>
              <p:cNvSpPr/>
              <p:nvPr/>
            </p:nvSpPr>
            <p:spPr>
              <a:xfrm>
                <a:off x="3324911" y="35409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18" name="Freeform 476">
                <a:extLst>
                  <a:ext uri="{FF2B5EF4-FFF2-40B4-BE49-F238E27FC236}">
                    <a16:creationId xmlns:a16="http://schemas.microsoft.com/office/drawing/2014/main" id="{0BEB02B7-7344-47D4-8F98-37CE6C5121CE}"/>
                  </a:ext>
                </a:extLst>
              </p:cNvPr>
              <p:cNvSpPr/>
              <p:nvPr/>
            </p:nvSpPr>
            <p:spPr>
              <a:xfrm>
                <a:off x="3314044" y="35316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19" name="Freeform 477">
                <a:extLst>
                  <a:ext uri="{FF2B5EF4-FFF2-40B4-BE49-F238E27FC236}">
                    <a16:creationId xmlns:a16="http://schemas.microsoft.com/office/drawing/2014/main" id="{624B4491-47FD-4D12-F3E6-BF780E381798}"/>
                  </a:ext>
                </a:extLst>
              </p:cNvPr>
              <p:cNvSpPr/>
              <p:nvPr/>
            </p:nvSpPr>
            <p:spPr>
              <a:xfrm>
                <a:off x="3310226" y="35316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20" name="Freeform 478">
                <a:extLst>
                  <a:ext uri="{FF2B5EF4-FFF2-40B4-BE49-F238E27FC236}">
                    <a16:creationId xmlns:a16="http://schemas.microsoft.com/office/drawing/2014/main" id="{6A65E8FE-B1D2-32D9-46D0-5498E81193CD}"/>
                  </a:ext>
                </a:extLst>
              </p:cNvPr>
              <p:cNvSpPr/>
              <p:nvPr/>
            </p:nvSpPr>
            <p:spPr>
              <a:xfrm>
                <a:off x="3301635" y="351612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21" name="Freeform 479">
                <a:extLst>
                  <a:ext uri="{FF2B5EF4-FFF2-40B4-BE49-F238E27FC236}">
                    <a16:creationId xmlns:a16="http://schemas.microsoft.com/office/drawing/2014/main" id="{8BAADFAA-FDDE-C544-4739-FFE747FCA5A6}"/>
                  </a:ext>
                </a:extLst>
              </p:cNvPr>
              <p:cNvSpPr/>
              <p:nvPr/>
            </p:nvSpPr>
            <p:spPr>
              <a:xfrm>
                <a:off x="3290768" y="351920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22" name="Freeform 480">
                <a:extLst>
                  <a:ext uri="{FF2B5EF4-FFF2-40B4-BE49-F238E27FC236}">
                    <a16:creationId xmlns:a16="http://schemas.microsoft.com/office/drawing/2014/main" id="{DD90B99A-49F3-5DE2-398E-6BD701B3B17E}"/>
                  </a:ext>
                </a:extLst>
              </p:cNvPr>
              <p:cNvSpPr/>
              <p:nvPr/>
            </p:nvSpPr>
            <p:spPr>
              <a:xfrm>
                <a:off x="3280709" y="351920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23" name="Freeform 481">
                <a:extLst>
                  <a:ext uri="{FF2B5EF4-FFF2-40B4-BE49-F238E27FC236}">
                    <a16:creationId xmlns:a16="http://schemas.microsoft.com/office/drawing/2014/main" id="{E021FE28-6CB3-1A85-4290-6A21B45A29C6}"/>
                  </a:ext>
                </a:extLst>
              </p:cNvPr>
              <p:cNvSpPr/>
              <p:nvPr/>
            </p:nvSpPr>
            <p:spPr>
              <a:xfrm>
                <a:off x="3276010" y="35098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24" name="Freeform 482">
                <a:extLst>
                  <a:ext uri="{FF2B5EF4-FFF2-40B4-BE49-F238E27FC236}">
                    <a16:creationId xmlns:a16="http://schemas.microsoft.com/office/drawing/2014/main" id="{0EA5868B-A0B2-2BF8-21C5-0F2600AD6B9B}"/>
                  </a:ext>
                </a:extLst>
              </p:cNvPr>
              <p:cNvSpPr/>
              <p:nvPr/>
            </p:nvSpPr>
            <p:spPr>
              <a:xfrm>
                <a:off x="3268300" y="35098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25" name="Freeform 483">
                <a:extLst>
                  <a:ext uri="{FF2B5EF4-FFF2-40B4-BE49-F238E27FC236}">
                    <a16:creationId xmlns:a16="http://schemas.microsoft.com/office/drawing/2014/main" id="{BA2D192B-64E5-9E20-B262-1A2F5BB40CF3}"/>
                  </a:ext>
                </a:extLst>
              </p:cNvPr>
              <p:cNvSpPr/>
              <p:nvPr/>
            </p:nvSpPr>
            <p:spPr>
              <a:xfrm>
                <a:off x="3268300" y="35013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26" name="Freeform 484">
                <a:extLst>
                  <a:ext uri="{FF2B5EF4-FFF2-40B4-BE49-F238E27FC236}">
                    <a16:creationId xmlns:a16="http://schemas.microsoft.com/office/drawing/2014/main" id="{143F4BF5-8B68-8044-634B-3A733F8D5A31}"/>
                  </a:ext>
                </a:extLst>
              </p:cNvPr>
              <p:cNvSpPr/>
              <p:nvPr/>
            </p:nvSpPr>
            <p:spPr>
              <a:xfrm>
                <a:off x="3262059" y="35013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27" name="Freeform 485">
                <a:extLst>
                  <a:ext uri="{FF2B5EF4-FFF2-40B4-BE49-F238E27FC236}">
                    <a16:creationId xmlns:a16="http://schemas.microsoft.com/office/drawing/2014/main" id="{F1A4AE80-F3F2-0965-0F67-6DD016ADBFEF}"/>
                  </a:ext>
                </a:extLst>
              </p:cNvPr>
              <p:cNvSpPr/>
              <p:nvPr/>
            </p:nvSpPr>
            <p:spPr>
              <a:xfrm>
                <a:off x="3251191" y="35013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28" name="Freeform 486">
                <a:extLst>
                  <a:ext uri="{FF2B5EF4-FFF2-40B4-BE49-F238E27FC236}">
                    <a16:creationId xmlns:a16="http://schemas.microsoft.com/office/drawing/2014/main" id="{21A031DD-72E5-D71C-28EB-8BD1D26205B6}"/>
                  </a:ext>
                </a:extLst>
              </p:cNvPr>
              <p:cNvSpPr/>
              <p:nvPr/>
            </p:nvSpPr>
            <p:spPr>
              <a:xfrm>
                <a:off x="3244950" y="348893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29" name="Freeform 487">
                <a:extLst>
                  <a:ext uri="{FF2B5EF4-FFF2-40B4-BE49-F238E27FC236}">
                    <a16:creationId xmlns:a16="http://schemas.microsoft.com/office/drawing/2014/main" id="{B08592EB-A4F9-5186-8DF6-A7A2528E5F56}"/>
                  </a:ext>
                </a:extLst>
              </p:cNvPr>
              <p:cNvSpPr/>
              <p:nvPr/>
            </p:nvSpPr>
            <p:spPr>
              <a:xfrm>
                <a:off x="3236433" y="34912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0" name="Freeform 488">
                <a:extLst>
                  <a:ext uri="{FF2B5EF4-FFF2-40B4-BE49-F238E27FC236}">
                    <a16:creationId xmlns:a16="http://schemas.microsoft.com/office/drawing/2014/main" id="{9FE72E13-6495-2323-B559-A28C8A228C62}"/>
                  </a:ext>
                </a:extLst>
              </p:cNvPr>
              <p:cNvSpPr/>
              <p:nvPr/>
            </p:nvSpPr>
            <p:spPr>
              <a:xfrm>
                <a:off x="3228650" y="34920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1" name="Freeform 489">
                <a:extLst>
                  <a:ext uri="{FF2B5EF4-FFF2-40B4-BE49-F238E27FC236}">
                    <a16:creationId xmlns:a16="http://schemas.microsoft.com/office/drawing/2014/main" id="{2F962AEB-6BD4-7508-28B3-58BA1484ABFB}"/>
                  </a:ext>
                </a:extLst>
              </p:cNvPr>
              <p:cNvSpPr/>
              <p:nvPr/>
            </p:nvSpPr>
            <p:spPr>
              <a:xfrm>
                <a:off x="3221674" y="34912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2" name="Freeform 490">
                <a:extLst>
                  <a:ext uri="{FF2B5EF4-FFF2-40B4-BE49-F238E27FC236}">
                    <a16:creationId xmlns:a16="http://schemas.microsoft.com/office/drawing/2014/main" id="{2BA17A52-AB6D-9664-02E2-0EA7DFFFA662}"/>
                  </a:ext>
                </a:extLst>
              </p:cNvPr>
              <p:cNvSpPr/>
              <p:nvPr/>
            </p:nvSpPr>
            <p:spPr>
              <a:xfrm>
                <a:off x="3211615" y="348269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3" name="Freeform 491">
                <a:extLst>
                  <a:ext uri="{FF2B5EF4-FFF2-40B4-BE49-F238E27FC236}">
                    <a16:creationId xmlns:a16="http://schemas.microsoft.com/office/drawing/2014/main" id="{4F886CC6-77FD-320B-E28A-04C4C2D2D430}"/>
                  </a:ext>
                </a:extLst>
              </p:cNvPr>
              <p:cNvSpPr/>
              <p:nvPr/>
            </p:nvSpPr>
            <p:spPr>
              <a:xfrm>
                <a:off x="3341285" y="3567037"/>
                <a:ext cx="7342" cy="51281"/>
              </a:xfrm>
              <a:custGeom>
                <a:avLst/>
                <a:gdLst>
                  <a:gd name="connsiteX0" fmla="*/ 0 w 7342"/>
                  <a:gd name="connsiteY0" fmla="*/ 0 h 51281"/>
                  <a:gd name="connsiteX1" fmla="*/ 0 w 7342"/>
                  <a:gd name="connsiteY1" fmla="*/ 51282 h 51281"/>
                </a:gdLst>
                <a:ahLst/>
                <a:cxnLst>
                  <a:cxn ang="0">
                    <a:pos x="connsiteX0" y="connsiteY0"/>
                  </a:cxn>
                  <a:cxn ang="0">
                    <a:pos x="connsiteX1" y="connsiteY1"/>
                  </a:cxn>
                </a:cxnLst>
                <a:rect l="l" t="t" r="r" b="b"/>
                <a:pathLst>
                  <a:path w="7342" h="51281">
                    <a:moveTo>
                      <a:pt x="0" y="0"/>
                    </a:moveTo>
                    <a:lnTo>
                      <a:pt x="0" y="51282"/>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4" name="Freeform 492">
                <a:extLst>
                  <a:ext uri="{FF2B5EF4-FFF2-40B4-BE49-F238E27FC236}">
                    <a16:creationId xmlns:a16="http://schemas.microsoft.com/office/drawing/2014/main" id="{76F50806-5C64-4FF9-C734-F3356B7559FF}"/>
                  </a:ext>
                </a:extLst>
              </p:cNvPr>
              <p:cNvSpPr/>
              <p:nvPr/>
            </p:nvSpPr>
            <p:spPr>
              <a:xfrm>
                <a:off x="3200748" y="348269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5" name="Freeform 493">
                <a:extLst>
                  <a:ext uri="{FF2B5EF4-FFF2-40B4-BE49-F238E27FC236}">
                    <a16:creationId xmlns:a16="http://schemas.microsoft.com/office/drawing/2014/main" id="{1B416A72-1425-D820-9E02-D565383B118B}"/>
                  </a:ext>
                </a:extLst>
              </p:cNvPr>
              <p:cNvSpPr/>
              <p:nvPr/>
            </p:nvSpPr>
            <p:spPr>
              <a:xfrm>
                <a:off x="3191423" y="34617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6" name="Freeform 494">
                <a:extLst>
                  <a:ext uri="{FF2B5EF4-FFF2-40B4-BE49-F238E27FC236}">
                    <a16:creationId xmlns:a16="http://schemas.microsoft.com/office/drawing/2014/main" id="{864653F0-6297-CB3D-3467-5F9522C505E4}"/>
                  </a:ext>
                </a:extLst>
              </p:cNvPr>
              <p:cNvSpPr/>
              <p:nvPr/>
            </p:nvSpPr>
            <p:spPr>
              <a:xfrm>
                <a:off x="3181290" y="34563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7" name="Freeform 495">
                <a:extLst>
                  <a:ext uri="{FF2B5EF4-FFF2-40B4-BE49-F238E27FC236}">
                    <a16:creationId xmlns:a16="http://schemas.microsoft.com/office/drawing/2014/main" id="{756374BA-AC51-C44C-0E80-FDA40BDB48F8}"/>
                  </a:ext>
                </a:extLst>
              </p:cNvPr>
              <p:cNvSpPr/>
              <p:nvPr/>
            </p:nvSpPr>
            <p:spPr>
              <a:xfrm>
                <a:off x="3173947" y="344074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8" name="Freeform 496">
                <a:extLst>
                  <a:ext uri="{FF2B5EF4-FFF2-40B4-BE49-F238E27FC236}">
                    <a16:creationId xmlns:a16="http://schemas.microsoft.com/office/drawing/2014/main" id="{9F5F4598-A971-9096-7DD6-3FD47232A055}"/>
                  </a:ext>
                </a:extLst>
              </p:cNvPr>
              <p:cNvSpPr/>
              <p:nvPr/>
            </p:nvSpPr>
            <p:spPr>
              <a:xfrm>
                <a:off x="3162346" y="343376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39" name="Freeform 497">
                <a:extLst>
                  <a:ext uri="{FF2B5EF4-FFF2-40B4-BE49-F238E27FC236}">
                    <a16:creationId xmlns:a16="http://schemas.microsoft.com/office/drawing/2014/main" id="{A8BFA648-325F-42AA-9E79-297DF05BD093}"/>
                  </a:ext>
                </a:extLst>
              </p:cNvPr>
              <p:cNvSpPr/>
              <p:nvPr/>
            </p:nvSpPr>
            <p:spPr>
              <a:xfrm>
                <a:off x="3166237" y="34376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40" name="Freeform 498">
                <a:extLst>
                  <a:ext uri="{FF2B5EF4-FFF2-40B4-BE49-F238E27FC236}">
                    <a16:creationId xmlns:a16="http://schemas.microsoft.com/office/drawing/2014/main" id="{0081A7C8-3C9D-3DC0-18F7-5E101BF25206}"/>
                  </a:ext>
                </a:extLst>
              </p:cNvPr>
              <p:cNvSpPr/>
              <p:nvPr/>
            </p:nvSpPr>
            <p:spPr>
              <a:xfrm>
                <a:off x="3154563" y="34236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41" name="Freeform 499">
                <a:extLst>
                  <a:ext uri="{FF2B5EF4-FFF2-40B4-BE49-F238E27FC236}">
                    <a16:creationId xmlns:a16="http://schemas.microsoft.com/office/drawing/2014/main" id="{6F9DE4DA-FEC6-FC97-0C92-DB33E4804CB9}"/>
                  </a:ext>
                </a:extLst>
              </p:cNvPr>
              <p:cNvSpPr/>
              <p:nvPr/>
            </p:nvSpPr>
            <p:spPr>
              <a:xfrm>
                <a:off x="3151479" y="341980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42" name="Freeform 500">
                <a:extLst>
                  <a:ext uri="{FF2B5EF4-FFF2-40B4-BE49-F238E27FC236}">
                    <a16:creationId xmlns:a16="http://schemas.microsoft.com/office/drawing/2014/main" id="{4AB5AC3E-5357-D1A7-0F19-2A64A69535B6}"/>
                  </a:ext>
                </a:extLst>
              </p:cNvPr>
              <p:cNvSpPr/>
              <p:nvPr/>
            </p:nvSpPr>
            <p:spPr>
              <a:xfrm>
                <a:off x="3141346" y="341275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43" name="Freeform 501">
                <a:extLst>
                  <a:ext uri="{FF2B5EF4-FFF2-40B4-BE49-F238E27FC236}">
                    <a16:creationId xmlns:a16="http://schemas.microsoft.com/office/drawing/2014/main" id="{22DE79CC-56B9-927F-1646-5FDD59638F57}"/>
                  </a:ext>
                </a:extLst>
              </p:cNvPr>
              <p:cNvSpPr/>
              <p:nvPr/>
            </p:nvSpPr>
            <p:spPr>
              <a:xfrm>
                <a:off x="3132021" y="340503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44" name="Freeform 502">
                <a:extLst>
                  <a:ext uri="{FF2B5EF4-FFF2-40B4-BE49-F238E27FC236}">
                    <a16:creationId xmlns:a16="http://schemas.microsoft.com/office/drawing/2014/main" id="{D3CEED3A-3886-F6F5-D240-154E29594E9F}"/>
                  </a:ext>
                </a:extLst>
              </p:cNvPr>
              <p:cNvSpPr/>
              <p:nvPr/>
            </p:nvSpPr>
            <p:spPr>
              <a:xfrm>
                <a:off x="3123503" y="340268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45" name="Freeform 503">
                <a:extLst>
                  <a:ext uri="{FF2B5EF4-FFF2-40B4-BE49-F238E27FC236}">
                    <a16:creationId xmlns:a16="http://schemas.microsoft.com/office/drawing/2014/main" id="{4C4A5F59-743C-1822-5E52-4CCE2A85E31E}"/>
                  </a:ext>
                </a:extLst>
              </p:cNvPr>
              <p:cNvSpPr/>
              <p:nvPr/>
            </p:nvSpPr>
            <p:spPr>
              <a:xfrm>
                <a:off x="3117262" y="339570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46" name="Freeform 504">
                <a:extLst>
                  <a:ext uri="{FF2B5EF4-FFF2-40B4-BE49-F238E27FC236}">
                    <a16:creationId xmlns:a16="http://schemas.microsoft.com/office/drawing/2014/main" id="{6EF3700E-21C3-4A8E-B672-D36B52773731}"/>
                  </a:ext>
                </a:extLst>
              </p:cNvPr>
              <p:cNvSpPr/>
              <p:nvPr/>
            </p:nvSpPr>
            <p:spPr>
              <a:xfrm>
                <a:off x="3106395" y="339489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47" name="Freeform 505">
                <a:extLst>
                  <a:ext uri="{FF2B5EF4-FFF2-40B4-BE49-F238E27FC236}">
                    <a16:creationId xmlns:a16="http://schemas.microsoft.com/office/drawing/2014/main" id="{A16D4312-E9AC-96A4-F29D-368518D995CF}"/>
                  </a:ext>
                </a:extLst>
              </p:cNvPr>
              <p:cNvSpPr/>
              <p:nvPr/>
            </p:nvSpPr>
            <p:spPr>
              <a:xfrm>
                <a:off x="3097878" y="33879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48" name="Freeform 506">
                <a:extLst>
                  <a:ext uri="{FF2B5EF4-FFF2-40B4-BE49-F238E27FC236}">
                    <a16:creationId xmlns:a16="http://schemas.microsoft.com/office/drawing/2014/main" id="{2795344D-DCF2-31B7-BA83-A8055207B60E}"/>
                  </a:ext>
                </a:extLst>
              </p:cNvPr>
              <p:cNvSpPr/>
              <p:nvPr/>
            </p:nvSpPr>
            <p:spPr>
              <a:xfrm>
                <a:off x="3088553" y="337939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49" name="Freeform 507">
                <a:extLst>
                  <a:ext uri="{FF2B5EF4-FFF2-40B4-BE49-F238E27FC236}">
                    <a16:creationId xmlns:a16="http://schemas.microsoft.com/office/drawing/2014/main" id="{D8C89727-D1DA-DCDB-D235-7BBEBEE4CCDF}"/>
                  </a:ext>
                </a:extLst>
              </p:cNvPr>
              <p:cNvSpPr/>
              <p:nvPr/>
            </p:nvSpPr>
            <p:spPr>
              <a:xfrm>
                <a:off x="3078493" y="337396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50" name="Freeform 508">
                <a:extLst>
                  <a:ext uri="{FF2B5EF4-FFF2-40B4-BE49-F238E27FC236}">
                    <a16:creationId xmlns:a16="http://schemas.microsoft.com/office/drawing/2014/main" id="{5127E357-62A5-F1DD-B95E-E6DA7BA951D1}"/>
                  </a:ext>
                </a:extLst>
              </p:cNvPr>
              <p:cNvSpPr/>
              <p:nvPr/>
            </p:nvSpPr>
            <p:spPr>
              <a:xfrm>
                <a:off x="3071518" y="33692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51" name="Freeform 509">
                <a:extLst>
                  <a:ext uri="{FF2B5EF4-FFF2-40B4-BE49-F238E27FC236}">
                    <a16:creationId xmlns:a16="http://schemas.microsoft.com/office/drawing/2014/main" id="{3CFCFC1E-708E-98BE-DD86-C49B04A2FBD0}"/>
                  </a:ext>
                </a:extLst>
              </p:cNvPr>
              <p:cNvSpPr/>
              <p:nvPr/>
            </p:nvSpPr>
            <p:spPr>
              <a:xfrm>
                <a:off x="3061385" y="33622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52" name="Freeform 510">
                <a:extLst>
                  <a:ext uri="{FF2B5EF4-FFF2-40B4-BE49-F238E27FC236}">
                    <a16:creationId xmlns:a16="http://schemas.microsoft.com/office/drawing/2014/main" id="{6475765D-7CE9-7B69-4123-B3595BA6CAB4}"/>
                  </a:ext>
                </a:extLst>
              </p:cNvPr>
              <p:cNvSpPr/>
              <p:nvPr/>
            </p:nvSpPr>
            <p:spPr>
              <a:xfrm>
                <a:off x="3050518" y="335294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53" name="Freeform 511">
                <a:extLst>
                  <a:ext uri="{FF2B5EF4-FFF2-40B4-BE49-F238E27FC236}">
                    <a16:creationId xmlns:a16="http://schemas.microsoft.com/office/drawing/2014/main" id="{C43F8300-1887-7F2E-23BC-FD649CA9B060}"/>
                  </a:ext>
                </a:extLst>
              </p:cNvPr>
              <p:cNvSpPr/>
              <p:nvPr/>
            </p:nvSpPr>
            <p:spPr>
              <a:xfrm>
                <a:off x="3042000" y="334677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54" name="Freeform 512">
                <a:extLst>
                  <a:ext uri="{FF2B5EF4-FFF2-40B4-BE49-F238E27FC236}">
                    <a16:creationId xmlns:a16="http://schemas.microsoft.com/office/drawing/2014/main" id="{3E6194DB-8D79-48C6-E229-BB8B3BF31AE8}"/>
                  </a:ext>
                </a:extLst>
              </p:cNvPr>
              <p:cNvSpPr/>
              <p:nvPr/>
            </p:nvSpPr>
            <p:spPr>
              <a:xfrm>
                <a:off x="3034217" y="334207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55" name="Freeform 513">
                <a:extLst>
                  <a:ext uri="{FF2B5EF4-FFF2-40B4-BE49-F238E27FC236}">
                    <a16:creationId xmlns:a16="http://schemas.microsoft.com/office/drawing/2014/main" id="{A0AA1E56-ECC1-F0E1-9259-06C124D52B74}"/>
                  </a:ext>
                </a:extLst>
              </p:cNvPr>
              <p:cNvSpPr/>
              <p:nvPr/>
            </p:nvSpPr>
            <p:spPr>
              <a:xfrm>
                <a:off x="3025700" y="333509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56" name="Freeform 514">
                <a:extLst>
                  <a:ext uri="{FF2B5EF4-FFF2-40B4-BE49-F238E27FC236}">
                    <a16:creationId xmlns:a16="http://schemas.microsoft.com/office/drawing/2014/main" id="{D47E2810-3D3B-87EC-9F40-8A514B4AED0E}"/>
                  </a:ext>
                </a:extLst>
              </p:cNvPr>
              <p:cNvSpPr/>
              <p:nvPr/>
            </p:nvSpPr>
            <p:spPr>
              <a:xfrm>
                <a:off x="3016375" y="332576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57" name="Freeform 515">
                <a:extLst>
                  <a:ext uri="{FF2B5EF4-FFF2-40B4-BE49-F238E27FC236}">
                    <a16:creationId xmlns:a16="http://schemas.microsoft.com/office/drawing/2014/main" id="{9B2C862F-5507-28B6-0C3B-CB18AA1FF856}"/>
                  </a:ext>
                </a:extLst>
              </p:cNvPr>
              <p:cNvSpPr/>
              <p:nvPr/>
            </p:nvSpPr>
            <p:spPr>
              <a:xfrm>
                <a:off x="3007050" y="331797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58" name="Freeform 516">
                <a:extLst>
                  <a:ext uri="{FF2B5EF4-FFF2-40B4-BE49-F238E27FC236}">
                    <a16:creationId xmlns:a16="http://schemas.microsoft.com/office/drawing/2014/main" id="{1661C2DE-4014-8F94-7888-FF6534E644AB}"/>
                  </a:ext>
                </a:extLst>
              </p:cNvPr>
              <p:cNvSpPr/>
              <p:nvPr/>
            </p:nvSpPr>
            <p:spPr>
              <a:xfrm>
                <a:off x="2997724" y="33164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59" name="Freeform 517">
                <a:extLst>
                  <a:ext uri="{FF2B5EF4-FFF2-40B4-BE49-F238E27FC236}">
                    <a16:creationId xmlns:a16="http://schemas.microsoft.com/office/drawing/2014/main" id="{366C19C5-373F-7574-580A-2A9356571BED}"/>
                  </a:ext>
                </a:extLst>
              </p:cNvPr>
              <p:cNvSpPr/>
              <p:nvPr/>
            </p:nvSpPr>
            <p:spPr>
              <a:xfrm>
                <a:off x="2991483" y="330556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60" name="Freeform 518">
                <a:extLst>
                  <a:ext uri="{FF2B5EF4-FFF2-40B4-BE49-F238E27FC236}">
                    <a16:creationId xmlns:a16="http://schemas.microsoft.com/office/drawing/2014/main" id="{8A11FDDE-776C-626A-74D6-2711D74EBD49}"/>
                  </a:ext>
                </a:extLst>
              </p:cNvPr>
              <p:cNvSpPr/>
              <p:nvPr/>
            </p:nvSpPr>
            <p:spPr>
              <a:xfrm>
                <a:off x="2982232" y="33040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61" name="Freeform 519">
                <a:extLst>
                  <a:ext uri="{FF2B5EF4-FFF2-40B4-BE49-F238E27FC236}">
                    <a16:creationId xmlns:a16="http://schemas.microsoft.com/office/drawing/2014/main" id="{2C70D2D0-807F-63C9-489A-EFF9E0A2F12B}"/>
                  </a:ext>
                </a:extLst>
              </p:cNvPr>
              <p:cNvSpPr/>
              <p:nvPr/>
            </p:nvSpPr>
            <p:spPr>
              <a:xfrm>
                <a:off x="2976798" y="329468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62" name="Freeform 520">
                <a:extLst>
                  <a:ext uri="{FF2B5EF4-FFF2-40B4-BE49-F238E27FC236}">
                    <a16:creationId xmlns:a16="http://schemas.microsoft.com/office/drawing/2014/main" id="{641463C6-E5F4-EE29-8186-3375C330F91E}"/>
                  </a:ext>
                </a:extLst>
              </p:cNvPr>
              <p:cNvSpPr/>
              <p:nvPr/>
            </p:nvSpPr>
            <p:spPr>
              <a:xfrm>
                <a:off x="2968207" y="3306809"/>
                <a:ext cx="7342" cy="59804"/>
              </a:xfrm>
              <a:custGeom>
                <a:avLst/>
                <a:gdLst>
                  <a:gd name="connsiteX0" fmla="*/ 0 w 7342"/>
                  <a:gd name="connsiteY0" fmla="*/ 0 h 59804"/>
                  <a:gd name="connsiteX1" fmla="*/ 0 w 7342"/>
                  <a:gd name="connsiteY1" fmla="*/ 59804 h 59804"/>
                </a:gdLst>
                <a:ahLst/>
                <a:cxnLst>
                  <a:cxn ang="0">
                    <a:pos x="connsiteX0" y="connsiteY0"/>
                  </a:cxn>
                  <a:cxn ang="0">
                    <a:pos x="connsiteX1" y="connsiteY1"/>
                  </a:cxn>
                </a:cxnLst>
                <a:rect l="l" t="t" r="r" b="b"/>
                <a:pathLst>
                  <a:path w="7342" h="59804">
                    <a:moveTo>
                      <a:pt x="0" y="0"/>
                    </a:moveTo>
                    <a:lnTo>
                      <a:pt x="0" y="59804"/>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63" name="Freeform 521">
                <a:extLst>
                  <a:ext uri="{FF2B5EF4-FFF2-40B4-BE49-F238E27FC236}">
                    <a16:creationId xmlns:a16="http://schemas.microsoft.com/office/drawing/2014/main" id="{682D19CE-0357-AE90-CC3D-161C188927CE}"/>
                  </a:ext>
                </a:extLst>
              </p:cNvPr>
              <p:cNvSpPr/>
              <p:nvPr/>
            </p:nvSpPr>
            <p:spPr>
              <a:xfrm>
                <a:off x="2957340" y="328146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64" name="Freeform 522">
                <a:extLst>
                  <a:ext uri="{FF2B5EF4-FFF2-40B4-BE49-F238E27FC236}">
                    <a16:creationId xmlns:a16="http://schemas.microsoft.com/office/drawing/2014/main" id="{0B5A562D-B979-E0D5-D048-833A748DD54A}"/>
                  </a:ext>
                </a:extLst>
              </p:cNvPr>
              <p:cNvSpPr/>
              <p:nvPr/>
            </p:nvSpPr>
            <p:spPr>
              <a:xfrm>
                <a:off x="2948015" y="327991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65" name="Freeform 523">
                <a:extLst>
                  <a:ext uri="{FF2B5EF4-FFF2-40B4-BE49-F238E27FC236}">
                    <a16:creationId xmlns:a16="http://schemas.microsoft.com/office/drawing/2014/main" id="{E3B91F40-F263-7C1A-EDD0-1022D445F222}"/>
                  </a:ext>
                </a:extLst>
              </p:cNvPr>
              <p:cNvSpPr/>
              <p:nvPr/>
            </p:nvSpPr>
            <p:spPr>
              <a:xfrm>
                <a:off x="2940305" y="326831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66" name="Freeform 524">
                <a:extLst>
                  <a:ext uri="{FF2B5EF4-FFF2-40B4-BE49-F238E27FC236}">
                    <a16:creationId xmlns:a16="http://schemas.microsoft.com/office/drawing/2014/main" id="{E4E8BB3E-FB25-2BC6-22BE-63906C281735}"/>
                  </a:ext>
                </a:extLst>
              </p:cNvPr>
              <p:cNvSpPr/>
              <p:nvPr/>
            </p:nvSpPr>
            <p:spPr>
              <a:xfrm>
                <a:off x="2920113" y="3265960"/>
                <a:ext cx="7342" cy="66489"/>
              </a:xfrm>
              <a:custGeom>
                <a:avLst/>
                <a:gdLst>
                  <a:gd name="connsiteX0" fmla="*/ 0 w 7342"/>
                  <a:gd name="connsiteY0" fmla="*/ 0 h 66489"/>
                  <a:gd name="connsiteX1" fmla="*/ 0 w 7342"/>
                  <a:gd name="connsiteY1" fmla="*/ 66490 h 66489"/>
                </a:gdLst>
                <a:ahLst/>
                <a:cxnLst>
                  <a:cxn ang="0">
                    <a:pos x="connsiteX0" y="connsiteY0"/>
                  </a:cxn>
                  <a:cxn ang="0">
                    <a:pos x="connsiteX1" y="connsiteY1"/>
                  </a:cxn>
                </a:cxnLst>
                <a:rect l="l" t="t" r="r" b="b"/>
                <a:pathLst>
                  <a:path w="7342" h="66489">
                    <a:moveTo>
                      <a:pt x="0" y="0"/>
                    </a:moveTo>
                    <a:lnTo>
                      <a:pt x="0" y="6649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67" name="Freeform 525">
                <a:extLst>
                  <a:ext uri="{FF2B5EF4-FFF2-40B4-BE49-F238E27FC236}">
                    <a16:creationId xmlns:a16="http://schemas.microsoft.com/office/drawing/2014/main" id="{D710AF56-C361-85DE-0BA8-5AEE3A284EC8}"/>
                  </a:ext>
                </a:extLst>
              </p:cNvPr>
              <p:cNvSpPr/>
              <p:nvPr/>
            </p:nvSpPr>
            <p:spPr>
              <a:xfrm>
                <a:off x="2930172" y="3279184"/>
                <a:ext cx="7342" cy="66489"/>
              </a:xfrm>
              <a:custGeom>
                <a:avLst/>
                <a:gdLst>
                  <a:gd name="connsiteX0" fmla="*/ 0 w 7342"/>
                  <a:gd name="connsiteY0" fmla="*/ 0 h 66489"/>
                  <a:gd name="connsiteX1" fmla="*/ 0 w 7342"/>
                  <a:gd name="connsiteY1" fmla="*/ 66490 h 66489"/>
                </a:gdLst>
                <a:ahLst/>
                <a:cxnLst>
                  <a:cxn ang="0">
                    <a:pos x="connsiteX0" y="connsiteY0"/>
                  </a:cxn>
                  <a:cxn ang="0">
                    <a:pos x="connsiteX1" y="connsiteY1"/>
                  </a:cxn>
                </a:cxnLst>
                <a:rect l="l" t="t" r="r" b="b"/>
                <a:pathLst>
                  <a:path w="7342" h="66489">
                    <a:moveTo>
                      <a:pt x="0" y="0"/>
                    </a:moveTo>
                    <a:lnTo>
                      <a:pt x="0" y="6649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68" name="Freeform 526">
                <a:extLst>
                  <a:ext uri="{FF2B5EF4-FFF2-40B4-BE49-F238E27FC236}">
                    <a16:creationId xmlns:a16="http://schemas.microsoft.com/office/drawing/2014/main" id="{4B028C77-75F5-30EE-F319-605439F600CD}"/>
                  </a:ext>
                </a:extLst>
              </p:cNvPr>
              <p:cNvSpPr/>
              <p:nvPr/>
            </p:nvSpPr>
            <p:spPr>
              <a:xfrm>
                <a:off x="2912330" y="32372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69" name="Freeform 527">
                <a:extLst>
                  <a:ext uri="{FF2B5EF4-FFF2-40B4-BE49-F238E27FC236}">
                    <a16:creationId xmlns:a16="http://schemas.microsoft.com/office/drawing/2014/main" id="{3EEE42E6-E54B-657E-110F-EBAFF5A9F388}"/>
                  </a:ext>
                </a:extLst>
              </p:cNvPr>
              <p:cNvSpPr/>
              <p:nvPr/>
            </p:nvSpPr>
            <p:spPr>
              <a:xfrm>
                <a:off x="2901463" y="32372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70" name="Freeform 528">
                <a:extLst>
                  <a:ext uri="{FF2B5EF4-FFF2-40B4-BE49-F238E27FC236}">
                    <a16:creationId xmlns:a16="http://schemas.microsoft.com/office/drawing/2014/main" id="{9D2057C3-221A-9C4A-2EE4-1D3606AF9888}"/>
                  </a:ext>
                </a:extLst>
              </p:cNvPr>
              <p:cNvSpPr/>
              <p:nvPr/>
            </p:nvSpPr>
            <p:spPr>
              <a:xfrm>
                <a:off x="2891330" y="322944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71" name="Freeform 529">
                <a:extLst>
                  <a:ext uri="{FF2B5EF4-FFF2-40B4-BE49-F238E27FC236}">
                    <a16:creationId xmlns:a16="http://schemas.microsoft.com/office/drawing/2014/main" id="{303A85F1-B08D-A8CF-BB7D-066D1F4897DA}"/>
                  </a:ext>
                </a:extLst>
              </p:cNvPr>
              <p:cNvSpPr/>
              <p:nvPr/>
            </p:nvSpPr>
            <p:spPr>
              <a:xfrm>
                <a:off x="2881271" y="322944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72" name="Freeform 530">
                <a:extLst>
                  <a:ext uri="{FF2B5EF4-FFF2-40B4-BE49-F238E27FC236}">
                    <a16:creationId xmlns:a16="http://schemas.microsoft.com/office/drawing/2014/main" id="{8DEE4D24-72D5-627D-877C-848C5A00C5B6}"/>
                  </a:ext>
                </a:extLst>
              </p:cNvPr>
              <p:cNvSpPr/>
              <p:nvPr/>
            </p:nvSpPr>
            <p:spPr>
              <a:xfrm>
                <a:off x="2872753" y="322944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73" name="Freeform 531">
                <a:extLst>
                  <a:ext uri="{FF2B5EF4-FFF2-40B4-BE49-F238E27FC236}">
                    <a16:creationId xmlns:a16="http://schemas.microsoft.com/office/drawing/2014/main" id="{D2D3DDF8-B869-DD2F-B2EB-6B22AD45DF1E}"/>
                  </a:ext>
                </a:extLst>
              </p:cNvPr>
              <p:cNvSpPr/>
              <p:nvPr/>
            </p:nvSpPr>
            <p:spPr>
              <a:xfrm>
                <a:off x="2864162" y="322863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74" name="Freeform 532">
                <a:extLst>
                  <a:ext uri="{FF2B5EF4-FFF2-40B4-BE49-F238E27FC236}">
                    <a16:creationId xmlns:a16="http://schemas.microsoft.com/office/drawing/2014/main" id="{0FD612CE-95EC-2657-C173-4C6527B3FC03}"/>
                  </a:ext>
                </a:extLst>
              </p:cNvPr>
              <p:cNvSpPr/>
              <p:nvPr/>
            </p:nvSpPr>
            <p:spPr>
              <a:xfrm>
                <a:off x="2854837" y="32216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75" name="Freeform 533">
                <a:extLst>
                  <a:ext uri="{FF2B5EF4-FFF2-40B4-BE49-F238E27FC236}">
                    <a16:creationId xmlns:a16="http://schemas.microsoft.com/office/drawing/2014/main" id="{13981E34-67B7-61D3-5650-815982ACA442}"/>
                  </a:ext>
                </a:extLst>
              </p:cNvPr>
              <p:cNvSpPr/>
              <p:nvPr/>
            </p:nvSpPr>
            <p:spPr>
              <a:xfrm>
                <a:off x="2844778" y="32216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76" name="Freeform 534">
                <a:extLst>
                  <a:ext uri="{FF2B5EF4-FFF2-40B4-BE49-F238E27FC236}">
                    <a16:creationId xmlns:a16="http://schemas.microsoft.com/office/drawing/2014/main" id="{6414E8CA-281F-C5A2-A1F1-63A569A863FE}"/>
                  </a:ext>
                </a:extLst>
              </p:cNvPr>
              <p:cNvSpPr/>
              <p:nvPr/>
            </p:nvSpPr>
            <p:spPr>
              <a:xfrm>
                <a:off x="2840152" y="321005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77" name="Freeform 535">
                <a:extLst>
                  <a:ext uri="{FF2B5EF4-FFF2-40B4-BE49-F238E27FC236}">
                    <a16:creationId xmlns:a16="http://schemas.microsoft.com/office/drawing/2014/main" id="{4C65CF00-702B-4EF3-A073-8B6116242F19}"/>
                  </a:ext>
                </a:extLst>
              </p:cNvPr>
              <p:cNvSpPr/>
              <p:nvPr/>
            </p:nvSpPr>
            <p:spPr>
              <a:xfrm>
                <a:off x="2829285" y="321005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78" name="Freeform 536">
                <a:extLst>
                  <a:ext uri="{FF2B5EF4-FFF2-40B4-BE49-F238E27FC236}">
                    <a16:creationId xmlns:a16="http://schemas.microsoft.com/office/drawing/2014/main" id="{3EF68998-9118-EF70-FF6B-1A2D934BC1C6}"/>
                  </a:ext>
                </a:extLst>
              </p:cNvPr>
              <p:cNvSpPr/>
              <p:nvPr/>
            </p:nvSpPr>
            <p:spPr>
              <a:xfrm>
                <a:off x="2820694" y="320769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79" name="Freeform 537">
                <a:extLst>
                  <a:ext uri="{FF2B5EF4-FFF2-40B4-BE49-F238E27FC236}">
                    <a16:creationId xmlns:a16="http://schemas.microsoft.com/office/drawing/2014/main" id="{E0F06517-BEE5-78F8-FAE3-01DB9E2E8DF1}"/>
                  </a:ext>
                </a:extLst>
              </p:cNvPr>
              <p:cNvSpPr/>
              <p:nvPr/>
            </p:nvSpPr>
            <p:spPr>
              <a:xfrm>
                <a:off x="2813719" y="320769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80" name="Freeform 538">
                <a:extLst>
                  <a:ext uri="{FF2B5EF4-FFF2-40B4-BE49-F238E27FC236}">
                    <a16:creationId xmlns:a16="http://schemas.microsoft.com/office/drawing/2014/main" id="{E256EAA7-E33F-BEBE-3723-0622F9D8F707}"/>
                  </a:ext>
                </a:extLst>
              </p:cNvPr>
              <p:cNvSpPr/>
              <p:nvPr/>
            </p:nvSpPr>
            <p:spPr>
              <a:xfrm>
                <a:off x="2805201" y="318984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81" name="Freeform 539">
                <a:extLst>
                  <a:ext uri="{FF2B5EF4-FFF2-40B4-BE49-F238E27FC236}">
                    <a16:creationId xmlns:a16="http://schemas.microsoft.com/office/drawing/2014/main" id="{01EEF2F5-5EBF-5C86-6A73-AC84F68991CC}"/>
                  </a:ext>
                </a:extLst>
              </p:cNvPr>
              <p:cNvSpPr/>
              <p:nvPr/>
            </p:nvSpPr>
            <p:spPr>
              <a:xfrm>
                <a:off x="2795068" y="318984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82" name="Freeform 540">
                <a:extLst>
                  <a:ext uri="{FF2B5EF4-FFF2-40B4-BE49-F238E27FC236}">
                    <a16:creationId xmlns:a16="http://schemas.microsoft.com/office/drawing/2014/main" id="{D915BC24-1CE9-3A60-951A-A16D611ECAEF}"/>
                  </a:ext>
                </a:extLst>
              </p:cNvPr>
              <p:cNvSpPr/>
              <p:nvPr/>
            </p:nvSpPr>
            <p:spPr>
              <a:xfrm>
                <a:off x="2786551" y="318360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83" name="Freeform 541">
                <a:extLst>
                  <a:ext uri="{FF2B5EF4-FFF2-40B4-BE49-F238E27FC236}">
                    <a16:creationId xmlns:a16="http://schemas.microsoft.com/office/drawing/2014/main" id="{6F51232A-44B6-1DBC-98CD-095AC77C25BD}"/>
                  </a:ext>
                </a:extLst>
              </p:cNvPr>
              <p:cNvSpPr/>
              <p:nvPr/>
            </p:nvSpPr>
            <p:spPr>
              <a:xfrm>
                <a:off x="2776859" y="317390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84" name="Freeform 542">
                <a:extLst>
                  <a:ext uri="{FF2B5EF4-FFF2-40B4-BE49-F238E27FC236}">
                    <a16:creationId xmlns:a16="http://schemas.microsoft.com/office/drawing/2014/main" id="{14BE030A-22BF-AE8C-388E-5BC7420982E5}"/>
                  </a:ext>
                </a:extLst>
              </p:cNvPr>
              <p:cNvSpPr/>
              <p:nvPr/>
            </p:nvSpPr>
            <p:spPr>
              <a:xfrm>
                <a:off x="2767534" y="31645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85" name="Freeform 543">
                <a:extLst>
                  <a:ext uri="{FF2B5EF4-FFF2-40B4-BE49-F238E27FC236}">
                    <a16:creationId xmlns:a16="http://schemas.microsoft.com/office/drawing/2014/main" id="{41CE594B-53D7-29D3-6F10-912EEB6C35C8}"/>
                  </a:ext>
                </a:extLst>
              </p:cNvPr>
              <p:cNvSpPr/>
              <p:nvPr/>
            </p:nvSpPr>
            <p:spPr>
              <a:xfrm>
                <a:off x="2761292" y="315289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86" name="Freeform 544">
                <a:extLst>
                  <a:ext uri="{FF2B5EF4-FFF2-40B4-BE49-F238E27FC236}">
                    <a16:creationId xmlns:a16="http://schemas.microsoft.com/office/drawing/2014/main" id="{CFBDF1A8-3F4E-A711-FC95-7B8DE1BFBE05}"/>
                  </a:ext>
                </a:extLst>
              </p:cNvPr>
              <p:cNvSpPr/>
              <p:nvPr/>
            </p:nvSpPr>
            <p:spPr>
              <a:xfrm>
                <a:off x="2751233" y="315289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87" name="Freeform 545">
                <a:extLst>
                  <a:ext uri="{FF2B5EF4-FFF2-40B4-BE49-F238E27FC236}">
                    <a16:creationId xmlns:a16="http://schemas.microsoft.com/office/drawing/2014/main" id="{210808C7-0CC7-5655-CC6F-A9D22A465D01}"/>
                  </a:ext>
                </a:extLst>
              </p:cNvPr>
              <p:cNvSpPr/>
              <p:nvPr/>
            </p:nvSpPr>
            <p:spPr>
              <a:xfrm>
                <a:off x="2741100" y="312960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88" name="Freeform 546">
                <a:extLst>
                  <a:ext uri="{FF2B5EF4-FFF2-40B4-BE49-F238E27FC236}">
                    <a16:creationId xmlns:a16="http://schemas.microsoft.com/office/drawing/2014/main" id="{CCED6096-9616-0AE3-9D25-E6244BEAC54B}"/>
                  </a:ext>
                </a:extLst>
              </p:cNvPr>
              <p:cNvSpPr/>
              <p:nvPr/>
            </p:nvSpPr>
            <p:spPr>
              <a:xfrm>
                <a:off x="2730233" y="312960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89" name="Freeform 547">
                <a:extLst>
                  <a:ext uri="{FF2B5EF4-FFF2-40B4-BE49-F238E27FC236}">
                    <a16:creationId xmlns:a16="http://schemas.microsoft.com/office/drawing/2014/main" id="{9DF09849-24E5-B8B6-BBE9-695F10BD9C0B}"/>
                  </a:ext>
                </a:extLst>
              </p:cNvPr>
              <p:cNvSpPr/>
              <p:nvPr/>
            </p:nvSpPr>
            <p:spPr>
              <a:xfrm>
                <a:off x="2720174" y="31125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90" name="Freeform 548">
                <a:extLst>
                  <a:ext uri="{FF2B5EF4-FFF2-40B4-BE49-F238E27FC236}">
                    <a16:creationId xmlns:a16="http://schemas.microsoft.com/office/drawing/2014/main" id="{678DA6C8-0926-BD18-BA82-4010BAB3E3E1}"/>
                  </a:ext>
                </a:extLst>
              </p:cNvPr>
              <p:cNvSpPr/>
              <p:nvPr/>
            </p:nvSpPr>
            <p:spPr>
              <a:xfrm>
                <a:off x="2709307" y="31125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91" name="Freeform 549">
                <a:extLst>
                  <a:ext uri="{FF2B5EF4-FFF2-40B4-BE49-F238E27FC236}">
                    <a16:creationId xmlns:a16="http://schemas.microsoft.com/office/drawing/2014/main" id="{73E05172-08F9-9183-963D-A78CD9466BDA}"/>
                  </a:ext>
                </a:extLst>
              </p:cNvPr>
              <p:cNvSpPr/>
              <p:nvPr/>
            </p:nvSpPr>
            <p:spPr>
              <a:xfrm>
                <a:off x="2703065" y="310168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92" name="Freeform 550">
                <a:extLst>
                  <a:ext uri="{FF2B5EF4-FFF2-40B4-BE49-F238E27FC236}">
                    <a16:creationId xmlns:a16="http://schemas.microsoft.com/office/drawing/2014/main" id="{63A3E67C-99B0-6D10-7461-50A598B7DD7C}"/>
                  </a:ext>
                </a:extLst>
              </p:cNvPr>
              <p:cNvSpPr/>
              <p:nvPr/>
            </p:nvSpPr>
            <p:spPr>
              <a:xfrm>
                <a:off x="2693740" y="310168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93" name="Freeform 551">
                <a:extLst>
                  <a:ext uri="{FF2B5EF4-FFF2-40B4-BE49-F238E27FC236}">
                    <a16:creationId xmlns:a16="http://schemas.microsoft.com/office/drawing/2014/main" id="{E35DB642-33F5-4934-5650-E57E9DA0EF8D}"/>
                  </a:ext>
                </a:extLst>
              </p:cNvPr>
              <p:cNvSpPr/>
              <p:nvPr/>
            </p:nvSpPr>
            <p:spPr>
              <a:xfrm>
                <a:off x="2684415" y="309235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94" name="Freeform 552">
                <a:extLst>
                  <a:ext uri="{FF2B5EF4-FFF2-40B4-BE49-F238E27FC236}">
                    <a16:creationId xmlns:a16="http://schemas.microsoft.com/office/drawing/2014/main" id="{4DE0CA10-3220-476C-0722-0E7201227895}"/>
                  </a:ext>
                </a:extLst>
              </p:cNvPr>
              <p:cNvSpPr/>
              <p:nvPr/>
            </p:nvSpPr>
            <p:spPr>
              <a:xfrm>
                <a:off x="2674356" y="309235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95" name="Freeform 553">
                <a:extLst>
                  <a:ext uri="{FF2B5EF4-FFF2-40B4-BE49-F238E27FC236}">
                    <a16:creationId xmlns:a16="http://schemas.microsoft.com/office/drawing/2014/main" id="{B42BD466-38EB-CE3F-4506-9C82D788AFF6}"/>
                  </a:ext>
                </a:extLst>
              </p:cNvPr>
              <p:cNvSpPr/>
              <p:nvPr/>
            </p:nvSpPr>
            <p:spPr>
              <a:xfrm>
                <a:off x="2663489" y="308456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96" name="Freeform 554">
                <a:extLst>
                  <a:ext uri="{FF2B5EF4-FFF2-40B4-BE49-F238E27FC236}">
                    <a16:creationId xmlns:a16="http://schemas.microsoft.com/office/drawing/2014/main" id="{2F158360-84D2-5E68-EB6B-9554BC2AEE26}"/>
                  </a:ext>
                </a:extLst>
              </p:cNvPr>
              <p:cNvSpPr/>
              <p:nvPr/>
            </p:nvSpPr>
            <p:spPr>
              <a:xfrm>
                <a:off x="2653429" y="308456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97" name="Freeform 555">
                <a:extLst>
                  <a:ext uri="{FF2B5EF4-FFF2-40B4-BE49-F238E27FC236}">
                    <a16:creationId xmlns:a16="http://schemas.microsoft.com/office/drawing/2014/main" id="{08E76EC1-01F3-A47A-6194-0947E3641154}"/>
                  </a:ext>
                </a:extLst>
              </p:cNvPr>
              <p:cNvSpPr/>
              <p:nvPr/>
            </p:nvSpPr>
            <p:spPr>
              <a:xfrm>
                <a:off x="2645646" y="308456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98" name="Freeform 556">
                <a:extLst>
                  <a:ext uri="{FF2B5EF4-FFF2-40B4-BE49-F238E27FC236}">
                    <a16:creationId xmlns:a16="http://schemas.microsoft.com/office/drawing/2014/main" id="{53D0E617-AB3B-4ED7-F5DD-359A176DD0F2}"/>
                  </a:ext>
                </a:extLst>
              </p:cNvPr>
              <p:cNvSpPr/>
              <p:nvPr/>
            </p:nvSpPr>
            <p:spPr>
              <a:xfrm>
                <a:off x="2640213" y="307060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399" name="Freeform 557">
                <a:extLst>
                  <a:ext uri="{FF2B5EF4-FFF2-40B4-BE49-F238E27FC236}">
                    <a16:creationId xmlns:a16="http://schemas.microsoft.com/office/drawing/2014/main" id="{11E76E83-B81A-052F-2E1E-AF768B6FF3B3}"/>
                  </a:ext>
                </a:extLst>
              </p:cNvPr>
              <p:cNvSpPr/>
              <p:nvPr/>
            </p:nvSpPr>
            <p:spPr>
              <a:xfrm>
                <a:off x="2630080" y="306046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00" name="Freeform 558">
                <a:extLst>
                  <a:ext uri="{FF2B5EF4-FFF2-40B4-BE49-F238E27FC236}">
                    <a16:creationId xmlns:a16="http://schemas.microsoft.com/office/drawing/2014/main" id="{9918C4DA-8EB7-E3AE-34FD-1D795E0070E4}"/>
                  </a:ext>
                </a:extLst>
              </p:cNvPr>
              <p:cNvSpPr/>
              <p:nvPr/>
            </p:nvSpPr>
            <p:spPr>
              <a:xfrm>
                <a:off x="2621562" y="305429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01" name="Freeform 559">
                <a:extLst>
                  <a:ext uri="{FF2B5EF4-FFF2-40B4-BE49-F238E27FC236}">
                    <a16:creationId xmlns:a16="http://schemas.microsoft.com/office/drawing/2014/main" id="{22A049F1-126D-B97D-BCC7-1CCA57CF0287}"/>
                  </a:ext>
                </a:extLst>
              </p:cNvPr>
              <p:cNvSpPr/>
              <p:nvPr/>
            </p:nvSpPr>
            <p:spPr>
              <a:xfrm>
                <a:off x="2611503" y="304415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02" name="Freeform 560">
                <a:extLst>
                  <a:ext uri="{FF2B5EF4-FFF2-40B4-BE49-F238E27FC236}">
                    <a16:creationId xmlns:a16="http://schemas.microsoft.com/office/drawing/2014/main" id="{EFD532AB-E422-C3C1-7189-717BAD13CC8E}"/>
                  </a:ext>
                </a:extLst>
              </p:cNvPr>
              <p:cNvSpPr/>
              <p:nvPr/>
            </p:nvSpPr>
            <p:spPr>
              <a:xfrm>
                <a:off x="2602912" y="303952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03" name="Freeform 561">
                <a:extLst>
                  <a:ext uri="{FF2B5EF4-FFF2-40B4-BE49-F238E27FC236}">
                    <a16:creationId xmlns:a16="http://schemas.microsoft.com/office/drawing/2014/main" id="{3D8775EA-F877-74AD-1548-DC809C9BB389}"/>
                  </a:ext>
                </a:extLst>
              </p:cNvPr>
              <p:cNvSpPr/>
              <p:nvPr/>
            </p:nvSpPr>
            <p:spPr>
              <a:xfrm>
                <a:off x="2592853" y="303952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04" name="Freeform 562">
                <a:extLst>
                  <a:ext uri="{FF2B5EF4-FFF2-40B4-BE49-F238E27FC236}">
                    <a16:creationId xmlns:a16="http://schemas.microsoft.com/office/drawing/2014/main" id="{668D816C-4CA5-201E-34B3-0D09B6D38405}"/>
                  </a:ext>
                </a:extLst>
              </p:cNvPr>
              <p:cNvSpPr/>
              <p:nvPr/>
            </p:nvSpPr>
            <p:spPr>
              <a:xfrm>
                <a:off x="2583528" y="302476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05" name="Freeform 563">
                <a:extLst>
                  <a:ext uri="{FF2B5EF4-FFF2-40B4-BE49-F238E27FC236}">
                    <a16:creationId xmlns:a16="http://schemas.microsoft.com/office/drawing/2014/main" id="{D6E04A98-19F6-B09B-F839-4E386BD87295}"/>
                  </a:ext>
                </a:extLst>
              </p:cNvPr>
              <p:cNvSpPr/>
              <p:nvPr/>
            </p:nvSpPr>
            <p:spPr>
              <a:xfrm>
                <a:off x="2582720" y="302476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06" name="Freeform 564">
                <a:extLst>
                  <a:ext uri="{FF2B5EF4-FFF2-40B4-BE49-F238E27FC236}">
                    <a16:creationId xmlns:a16="http://schemas.microsoft.com/office/drawing/2014/main" id="{7121F421-87AF-E1EC-873F-59DABC489AC8}"/>
                  </a:ext>
                </a:extLst>
              </p:cNvPr>
              <p:cNvSpPr/>
              <p:nvPr/>
            </p:nvSpPr>
            <p:spPr>
              <a:xfrm>
                <a:off x="2573395" y="302476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07" name="Freeform 565">
                <a:extLst>
                  <a:ext uri="{FF2B5EF4-FFF2-40B4-BE49-F238E27FC236}">
                    <a16:creationId xmlns:a16="http://schemas.microsoft.com/office/drawing/2014/main" id="{570D4A3C-96AA-F853-226A-60A0F914A230}"/>
                  </a:ext>
                </a:extLst>
              </p:cNvPr>
              <p:cNvSpPr/>
              <p:nvPr/>
            </p:nvSpPr>
            <p:spPr>
              <a:xfrm>
                <a:off x="2567227" y="301234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08" name="Freeform 566">
                <a:extLst>
                  <a:ext uri="{FF2B5EF4-FFF2-40B4-BE49-F238E27FC236}">
                    <a16:creationId xmlns:a16="http://schemas.microsoft.com/office/drawing/2014/main" id="{80894CD5-1C7D-B7F7-B841-0F92624A2B10}"/>
                  </a:ext>
                </a:extLst>
              </p:cNvPr>
              <p:cNvSpPr/>
              <p:nvPr/>
            </p:nvSpPr>
            <p:spPr>
              <a:xfrm>
                <a:off x="2557902" y="301234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09" name="Freeform 567">
                <a:extLst>
                  <a:ext uri="{FF2B5EF4-FFF2-40B4-BE49-F238E27FC236}">
                    <a16:creationId xmlns:a16="http://schemas.microsoft.com/office/drawing/2014/main" id="{7CC92FE0-258C-FDC1-1302-32EA335B929A}"/>
                  </a:ext>
                </a:extLst>
              </p:cNvPr>
              <p:cNvSpPr/>
              <p:nvPr/>
            </p:nvSpPr>
            <p:spPr>
              <a:xfrm>
                <a:off x="2550926" y="300374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10" name="Freeform 568">
                <a:extLst>
                  <a:ext uri="{FF2B5EF4-FFF2-40B4-BE49-F238E27FC236}">
                    <a16:creationId xmlns:a16="http://schemas.microsoft.com/office/drawing/2014/main" id="{4270F074-22AF-CCF2-7B11-4D5854A88C7F}"/>
                  </a:ext>
                </a:extLst>
              </p:cNvPr>
              <p:cNvSpPr/>
              <p:nvPr/>
            </p:nvSpPr>
            <p:spPr>
              <a:xfrm>
                <a:off x="2541601" y="300301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11" name="Freeform 569">
                <a:extLst>
                  <a:ext uri="{FF2B5EF4-FFF2-40B4-BE49-F238E27FC236}">
                    <a16:creationId xmlns:a16="http://schemas.microsoft.com/office/drawing/2014/main" id="{19C1E5ED-ADAD-E0C6-5145-21B43E6523CF}"/>
                  </a:ext>
                </a:extLst>
              </p:cNvPr>
              <p:cNvSpPr/>
              <p:nvPr/>
            </p:nvSpPr>
            <p:spPr>
              <a:xfrm>
                <a:off x="2536902" y="299213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12" name="Freeform 570">
                <a:extLst>
                  <a:ext uri="{FF2B5EF4-FFF2-40B4-BE49-F238E27FC236}">
                    <a16:creationId xmlns:a16="http://schemas.microsoft.com/office/drawing/2014/main" id="{533857E8-1B01-C392-FF40-024D3C6D29E0}"/>
                  </a:ext>
                </a:extLst>
              </p:cNvPr>
              <p:cNvSpPr/>
              <p:nvPr/>
            </p:nvSpPr>
            <p:spPr>
              <a:xfrm>
                <a:off x="2531469" y="299133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13" name="Freeform 571">
                <a:extLst>
                  <a:ext uri="{FF2B5EF4-FFF2-40B4-BE49-F238E27FC236}">
                    <a16:creationId xmlns:a16="http://schemas.microsoft.com/office/drawing/2014/main" id="{4C19AD39-6F49-5289-6A2A-D9EA1AFCA73B}"/>
                  </a:ext>
                </a:extLst>
              </p:cNvPr>
              <p:cNvSpPr/>
              <p:nvPr/>
            </p:nvSpPr>
            <p:spPr>
              <a:xfrm>
                <a:off x="2522951" y="298589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14" name="Freeform 572">
                <a:extLst>
                  <a:ext uri="{FF2B5EF4-FFF2-40B4-BE49-F238E27FC236}">
                    <a16:creationId xmlns:a16="http://schemas.microsoft.com/office/drawing/2014/main" id="{AA5CC457-0A57-A592-4460-D812ED42A738}"/>
                  </a:ext>
                </a:extLst>
              </p:cNvPr>
              <p:cNvSpPr/>
              <p:nvPr/>
            </p:nvSpPr>
            <p:spPr>
              <a:xfrm>
                <a:off x="2518325" y="298126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15" name="Freeform 573">
                <a:extLst>
                  <a:ext uri="{FF2B5EF4-FFF2-40B4-BE49-F238E27FC236}">
                    <a16:creationId xmlns:a16="http://schemas.microsoft.com/office/drawing/2014/main" id="{CAAE98DF-6DE4-AA37-ED69-41A68A782AA1}"/>
                  </a:ext>
                </a:extLst>
              </p:cNvPr>
              <p:cNvSpPr/>
              <p:nvPr/>
            </p:nvSpPr>
            <p:spPr>
              <a:xfrm>
                <a:off x="2508192" y="297656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16" name="Freeform 574">
                <a:extLst>
                  <a:ext uri="{FF2B5EF4-FFF2-40B4-BE49-F238E27FC236}">
                    <a16:creationId xmlns:a16="http://schemas.microsoft.com/office/drawing/2014/main" id="{D33F8CAC-FC98-9DB5-A134-B4435096DB46}"/>
                  </a:ext>
                </a:extLst>
              </p:cNvPr>
              <p:cNvSpPr/>
              <p:nvPr/>
            </p:nvSpPr>
            <p:spPr>
              <a:xfrm>
                <a:off x="2502025" y="297656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17" name="Freeform 575">
                <a:extLst>
                  <a:ext uri="{FF2B5EF4-FFF2-40B4-BE49-F238E27FC236}">
                    <a16:creationId xmlns:a16="http://schemas.microsoft.com/office/drawing/2014/main" id="{B1A37CD7-78EA-8FBC-5C53-88BFE7A2214A}"/>
                  </a:ext>
                </a:extLst>
              </p:cNvPr>
              <p:cNvSpPr/>
              <p:nvPr/>
            </p:nvSpPr>
            <p:spPr>
              <a:xfrm>
                <a:off x="2494241" y="29672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18" name="Freeform 576">
                <a:extLst>
                  <a:ext uri="{FF2B5EF4-FFF2-40B4-BE49-F238E27FC236}">
                    <a16:creationId xmlns:a16="http://schemas.microsoft.com/office/drawing/2014/main" id="{5EF932ED-A2D1-48AA-7907-535164DECBC4}"/>
                  </a:ext>
                </a:extLst>
              </p:cNvPr>
              <p:cNvSpPr/>
              <p:nvPr/>
            </p:nvSpPr>
            <p:spPr>
              <a:xfrm>
                <a:off x="2486091" y="29590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19" name="Freeform 577">
                <a:extLst>
                  <a:ext uri="{FF2B5EF4-FFF2-40B4-BE49-F238E27FC236}">
                    <a16:creationId xmlns:a16="http://schemas.microsoft.com/office/drawing/2014/main" id="{FBA1E537-C207-3F3B-E6E1-3C35C3E2B6EE}"/>
                  </a:ext>
                </a:extLst>
              </p:cNvPr>
              <p:cNvSpPr/>
              <p:nvPr/>
            </p:nvSpPr>
            <p:spPr>
              <a:xfrm>
                <a:off x="2482200" y="29590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20" name="Freeform 578">
                <a:extLst>
                  <a:ext uri="{FF2B5EF4-FFF2-40B4-BE49-F238E27FC236}">
                    <a16:creationId xmlns:a16="http://schemas.microsoft.com/office/drawing/2014/main" id="{A7C5D2DC-04DD-6438-7236-87394D68325C}"/>
                  </a:ext>
                </a:extLst>
              </p:cNvPr>
              <p:cNvSpPr/>
              <p:nvPr/>
            </p:nvSpPr>
            <p:spPr>
              <a:xfrm>
                <a:off x="2471333" y="294820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21" name="Freeform 579">
                <a:extLst>
                  <a:ext uri="{FF2B5EF4-FFF2-40B4-BE49-F238E27FC236}">
                    <a16:creationId xmlns:a16="http://schemas.microsoft.com/office/drawing/2014/main" id="{17A48EF9-0CD7-8111-0A06-25EF76B23284}"/>
                  </a:ext>
                </a:extLst>
              </p:cNvPr>
              <p:cNvSpPr/>
              <p:nvPr/>
            </p:nvSpPr>
            <p:spPr>
              <a:xfrm>
                <a:off x="2461273" y="2958343"/>
                <a:ext cx="7342" cy="61787"/>
              </a:xfrm>
              <a:custGeom>
                <a:avLst/>
                <a:gdLst>
                  <a:gd name="connsiteX0" fmla="*/ 0 w 7342"/>
                  <a:gd name="connsiteY0" fmla="*/ 0 h 61787"/>
                  <a:gd name="connsiteX1" fmla="*/ 0 w 7342"/>
                  <a:gd name="connsiteY1" fmla="*/ 61788 h 61787"/>
                </a:gdLst>
                <a:ahLst/>
                <a:cxnLst>
                  <a:cxn ang="0">
                    <a:pos x="connsiteX0" y="connsiteY0"/>
                  </a:cxn>
                  <a:cxn ang="0">
                    <a:pos x="connsiteX1" y="connsiteY1"/>
                  </a:cxn>
                </a:cxnLst>
                <a:rect l="l" t="t" r="r" b="b"/>
                <a:pathLst>
                  <a:path w="7342" h="61787">
                    <a:moveTo>
                      <a:pt x="0" y="0"/>
                    </a:moveTo>
                    <a:lnTo>
                      <a:pt x="0" y="61788"/>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22" name="Freeform 580">
                <a:extLst>
                  <a:ext uri="{FF2B5EF4-FFF2-40B4-BE49-F238E27FC236}">
                    <a16:creationId xmlns:a16="http://schemas.microsoft.com/office/drawing/2014/main" id="{B86277F2-AD51-5D3F-EE4C-08F6BBDAC3C6}"/>
                  </a:ext>
                </a:extLst>
              </p:cNvPr>
              <p:cNvSpPr/>
              <p:nvPr/>
            </p:nvSpPr>
            <p:spPr>
              <a:xfrm>
                <a:off x="2448791" y="293035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23" name="Freeform 581">
                <a:extLst>
                  <a:ext uri="{FF2B5EF4-FFF2-40B4-BE49-F238E27FC236}">
                    <a16:creationId xmlns:a16="http://schemas.microsoft.com/office/drawing/2014/main" id="{3DF18C20-4100-4D56-21B9-A82E91448587}"/>
                  </a:ext>
                </a:extLst>
              </p:cNvPr>
              <p:cNvSpPr/>
              <p:nvPr/>
            </p:nvSpPr>
            <p:spPr>
              <a:xfrm>
                <a:off x="2440273" y="293035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24" name="Freeform 582">
                <a:extLst>
                  <a:ext uri="{FF2B5EF4-FFF2-40B4-BE49-F238E27FC236}">
                    <a16:creationId xmlns:a16="http://schemas.microsoft.com/office/drawing/2014/main" id="{CC8181DE-6EED-27F6-AB7A-6E4DC38AC2A1}"/>
                  </a:ext>
                </a:extLst>
              </p:cNvPr>
              <p:cNvSpPr/>
              <p:nvPr/>
            </p:nvSpPr>
            <p:spPr>
              <a:xfrm>
                <a:off x="2435647" y="291712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25" name="Freeform 583">
                <a:extLst>
                  <a:ext uri="{FF2B5EF4-FFF2-40B4-BE49-F238E27FC236}">
                    <a16:creationId xmlns:a16="http://schemas.microsoft.com/office/drawing/2014/main" id="{A256CAAF-65A6-8370-37CC-04AE83073C42}"/>
                  </a:ext>
                </a:extLst>
              </p:cNvPr>
              <p:cNvSpPr/>
              <p:nvPr/>
            </p:nvSpPr>
            <p:spPr>
              <a:xfrm>
                <a:off x="2420889" y="291712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26" name="Freeform 584">
                <a:extLst>
                  <a:ext uri="{FF2B5EF4-FFF2-40B4-BE49-F238E27FC236}">
                    <a16:creationId xmlns:a16="http://schemas.microsoft.com/office/drawing/2014/main" id="{93C473EB-DA82-0C04-DE2A-C87BF0BDAEA8}"/>
                  </a:ext>
                </a:extLst>
              </p:cNvPr>
              <p:cNvSpPr/>
              <p:nvPr/>
            </p:nvSpPr>
            <p:spPr>
              <a:xfrm>
                <a:off x="2411123" y="290742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27" name="Freeform 585">
                <a:extLst>
                  <a:ext uri="{FF2B5EF4-FFF2-40B4-BE49-F238E27FC236}">
                    <a16:creationId xmlns:a16="http://schemas.microsoft.com/office/drawing/2014/main" id="{5B1E0837-836C-B255-CBF3-B1016A774968}"/>
                  </a:ext>
                </a:extLst>
              </p:cNvPr>
              <p:cNvSpPr/>
              <p:nvPr/>
            </p:nvSpPr>
            <p:spPr>
              <a:xfrm>
                <a:off x="2427864" y="291712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28" name="Freeform 586">
                <a:extLst>
                  <a:ext uri="{FF2B5EF4-FFF2-40B4-BE49-F238E27FC236}">
                    <a16:creationId xmlns:a16="http://schemas.microsoft.com/office/drawing/2014/main" id="{3E1326C9-0B56-73DD-F35B-A7D2EF25FFDF}"/>
                  </a:ext>
                </a:extLst>
              </p:cNvPr>
              <p:cNvSpPr/>
              <p:nvPr/>
            </p:nvSpPr>
            <p:spPr>
              <a:xfrm>
                <a:off x="2390564" y="28798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29" name="Freeform 587">
                <a:extLst>
                  <a:ext uri="{FF2B5EF4-FFF2-40B4-BE49-F238E27FC236}">
                    <a16:creationId xmlns:a16="http://schemas.microsoft.com/office/drawing/2014/main" id="{E3A507D4-6199-6716-652A-4045D93A89DD}"/>
                  </a:ext>
                </a:extLst>
              </p:cNvPr>
              <p:cNvSpPr/>
              <p:nvPr/>
            </p:nvSpPr>
            <p:spPr>
              <a:xfrm>
                <a:off x="2382854" y="287987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30" name="Freeform 588">
                <a:extLst>
                  <a:ext uri="{FF2B5EF4-FFF2-40B4-BE49-F238E27FC236}">
                    <a16:creationId xmlns:a16="http://schemas.microsoft.com/office/drawing/2014/main" id="{03E48CF4-CCA6-58E0-416A-F284BC6CE244}"/>
                  </a:ext>
                </a:extLst>
              </p:cNvPr>
              <p:cNvSpPr/>
              <p:nvPr/>
            </p:nvSpPr>
            <p:spPr>
              <a:xfrm>
                <a:off x="2373529" y="287054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31" name="Freeform 589">
                <a:extLst>
                  <a:ext uri="{FF2B5EF4-FFF2-40B4-BE49-F238E27FC236}">
                    <a16:creationId xmlns:a16="http://schemas.microsoft.com/office/drawing/2014/main" id="{C591F4B0-4F66-66E9-9F9D-AB35A2D3330D}"/>
                  </a:ext>
                </a:extLst>
              </p:cNvPr>
              <p:cNvSpPr/>
              <p:nvPr/>
            </p:nvSpPr>
            <p:spPr>
              <a:xfrm>
                <a:off x="2364938" y="287054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32" name="Freeform 590">
                <a:extLst>
                  <a:ext uri="{FF2B5EF4-FFF2-40B4-BE49-F238E27FC236}">
                    <a16:creationId xmlns:a16="http://schemas.microsoft.com/office/drawing/2014/main" id="{14D288AA-2248-BEDA-1C61-1D60ED8E7795}"/>
                  </a:ext>
                </a:extLst>
              </p:cNvPr>
              <p:cNvSpPr/>
              <p:nvPr/>
            </p:nvSpPr>
            <p:spPr>
              <a:xfrm>
                <a:off x="2354071" y="287054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33" name="Freeform 591">
                <a:extLst>
                  <a:ext uri="{FF2B5EF4-FFF2-40B4-BE49-F238E27FC236}">
                    <a16:creationId xmlns:a16="http://schemas.microsoft.com/office/drawing/2014/main" id="{A0E9BBF0-3BE5-2C95-1748-AB376E27EF56}"/>
                  </a:ext>
                </a:extLst>
              </p:cNvPr>
              <p:cNvSpPr/>
              <p:nvPr/>
            </p:nvSpPr>
            <p:spPr>
              <a:xfrm>
                <a:off x="2326903" y="286356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34" name="Freeform 592">
                <a:extLst>
                  <a:ext uri="{FF2B5EF4-FFF2-40B4-BE49-F238E27FC236}">
                    <a16:creationId xmlns:a16="http://schemas.microsoft.com/office/drawing/2014/main" id="{662619F8-5080-B955-5CEA-3B17AF2CE5CC}"/>
                  </a:ext>
                </a:extLst>
              </p:cNvPr>
              <p:cNvSpPr/>
              <p:nvPr/>
            </p:nvSpPr>
            <p:spPr>
              <a:xfrm>
                <a:off x="2316844" y="285813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35" name="Freeform 593">
                <a:extLst>
                  <a:ext uri="{FF2B5EF4-FFF2-40B4-BE49-F238E27FC236}">
                    <a16:creationId xmlns:a16="http://schemas.microsoft.com/office/drawing/2014/main" id="{5A47051D-E618-2CA3-F49F-941147B92056}"/>
                  </a:ext>
                </a:extLst>
              </p:cNvPr>
              <p:cNvSpPr/>
              <p:nvPr/>
            </p:nvSpPr>
            <p:spPr>
              <a:xfrm>
                <a:off x="2309061" y="284645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36" name="Freeform 594">
                <a:extLst>
                  <a:ext uri="{FF2B5EF4-FFF2-40B4-BE49-F238E27FC236}">
                    <a16:creationId xmlns:a16="http://schemas.microsoft.com/office/drawing/2014/main" id="{3AE9F836-9F67-FC8C-931E-E17C76FECC15}"/>
                  </a:ext>
                </a:extLst>
              </p:cNvPr>
              <p:cNvSpPr/>
              <p:nvPr/>
            </p:nvSpPr>
            <p:spPr>
              <a:xfrm>
                <a:off x="2301278" y="283476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37" name="Freeform 595">
                <a:extLst>
                  <a:ext uri="{FF2B5EF4-FFF2-40B4-BE49-F238E27FC236}">
                    <a16:creationId xmlns:a16="http://schemas.microsoft.com/office/drawing/2014/main" id="{1AC75044-2059-2578-0231-877714613893}"/>
                  </a:ext>
                </a:extLst>
              </p:cNvPr>
              <p:cNvSpPr/>
              <p:nvPr/>
            </p:nvSpPr>
            <p:spPr>
              <a:xfrm>
                <a:off x="2292760" y="282859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38" name="Freeform 596">
                <a:extLst>
                  <a:ext uri="{FF2B5EF4-FFF2-40B4-BE49-F238E27FC236}">
                    <a16:creationId xmlns:a16="http://schemas.microsoft.com/office/drawing/2014/main" id="{CE78AA94-210B-758D-6C75-66697F5EED2D}"/>
                  </a:ext>
                </a:extLst>
              </p:cNvPr>
              <p:cNvSpPr/>
              <p:nvPr/>
            </p:nvSpPr>
            <p:spPr>
              <a:xfrm>
                <a:off x="2284243" y="28216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39" name="Freeform 597">
                <a:extLst>
                  <a:ext uri="{FF2B5EF4-FFF2-40B4-BE49-F238E27FC236}">
                    <a16:creationId xmlns:a16="http://schemas.microsoft.com/office/drawing/2014/main" id="{7E1588C9-4D1D-AF93-F574-AF6C99B21186}"/>
                  </a:ext>
                </a:extLst>
              </p:cNvPr>
              <p:cNvSpPr/>
              <p:nvPr/>
            </p:nvSpPr>
            <p:spPr>
              <a:xfrm>
                <a:off x="2274918" y="28153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40" name="Freeform 598">
                <a:extLst>
                  <a:ext uri="{FF2B5EF4-FFF2-40B4-BE49-F238E27FC236}">
                    <a16:creationId xmlns:a16="http://schemas.microsoft.com/office/drawing/2014/main" id="{23FAA88B-D09E-BF34-22B1-FBAA60C39D11}"/>
                  </a:ext>
                </a:extLst>
              </p:cNvPr>
              <p:cNvSpPr/>
              <p:nvPr/>
            </p:nvSpPr>
            <p:spPr>
              <a:xfrm>
                <a:off x="2266327" y="280839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41" name="Freeform 599">
                <a:extLst>
                  <a:ext uri="{FF2B5EF4-FFF2-40B4-BE49-F238E27FC236}">
                    <a16:creationId xmlns:a16="http://schemas.microsoft.com/office/drawing/2014/main" id="{6F7559C0-1B32-BC21-0F70-ABEA7DA14153}"/>
                  </a:ext>
                </a:extLst>
              </p:cNvPr>
              <p:cNvSpPr/>
              <p:nvPr/>
            </p:nvSpPr>
            <p:spPr>
              <a:xfrm>
                <a:off x="2257075" y="279906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42" name="Freeform 600">
                <a:extLst>
                  <a:ext uri="{FF2B5EF4-FFF2-40B4-BE49-F238E27FC236}">
                    <a16:creationId xmlns:a16="http://schemas.microsoft.com/office/drawing/2014/main" id="{C078AA82-DB26-B085-D8E0-67C7BA4498FA}"/>
                  </a:ext>
                </a:extLst>
              </p:cNvPr>
              <p:cNvSpPr/>
              <p:nvPr/>
            </p:nvSpPr>
            <p:spPr>
              <a:xfrm>
                <a:off x="2246208" y="27928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43" name="Freeform 601">
                <a:extLst>
                  <a:ext uri="{FF2B5EF4-FFF2-40B4-BE49-F238E27FC236}">
                    <a16:creationId xmlns:a16="http://schemas.microsoft.com/office/drawing/2014/main" id="{29FFCE90-E5AA-C143-5758-E2645B6D5632}"/>
                  </a:ext>
                </a:extLst>
              </p:cNvPr>
              <p:cNvSpPr/>
              <p:nvPr/>
            </p:nvSpPr>
            <p:spPr>
              <a:xfrm>
                <a:off x="2236883" y="278429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44" name="Freeform 602">
                <a:extLst>
                  <a:ext uri="{FF2B5EF4-FFF2-40B4-BE49-F238E27FC236}">
                    <a16:creationId xmlns:a16="http://schemas.microsoft.com/office/drawing/2014/main" id="{83857A62-8B85-1F54-5753-2DEF212523B5}"/>
                  </a:ext>
                </a:extLst>
              </p:cNvPr>
              <p:cNvSpPr/>
              <p:nvPr/>
            </p:nvSpPr>
            <p:spPr>
              <a:xfrm>
                <a:off x="2227558" y="277342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45" name="Freeform 603">
                <a:extLst>
                  <a:ext uri="{FF2B5EF4-FFF2-40B4-BE49-F238E27FC236}">
                    <a16:creationId xmlns:a16="http://schemas.microsoft.com/office/drawing/2014/main" id="{3E7DBF8F-B5F5-309A-BFD1-9D89E9F082B7}"/>
                  </a:ext>
                </a:extLst>
              </p:cNvPr>
              <p:cNvSpPr/>
              <p:nvPr/>
            </p:nvSpPr>
            <p:spPr>
              <a:xfrm>
                <a:off x="2218967" y="276254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46" name="Freeform 604">
                <a:extLst>
                  <a:ext uri="{FF2B5EF4-FFF2-40B4-BE49-F238E27FC236}">
                    <a16:creationId xmlns:a16="http://schemas.microsoft.com/office/drawing/2014/main" id="{454F7EFE-53EA-C3DC-350F-CAE7F443A53F}"/>
                  </a:ext>
                </a:extLst>
              </p:cNvPr>
              <p:cNvSpPr/>
              <p:nvPr/>
            </p:nvSpPr>
            <p:spPr>
              <a:xfrm>
                <a:off x="2209715" y="276100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47" name="Freeform 605">
                <a:extLst>
                  <a:ext uri="{FF2B5EF4-FFF2-40B4-BE49-F238E27FC236}">
                    <a16:creationId xmlns:a16="http://schemas.microsoft.com/office/drawing/2014/main" id="{55591BBA-46B6-3A6B-0B2D-D6BDD88D57CC}"/>
                  </a:ext>
                </a:extLst>
              </p:cNvPr>
              <p:cNvSpPr/>
              <p:nvPr/>
            </p:nvSpPr>
            <p:spPr>
              <a:xfrm>
                <a:off x="2198848" y="276100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48" name="Freeform 606">
                <a:extLst>
                  <a:ext uri="{FF2B5EF4-FFF2-40B4-BE49-F238E27FC236}">
                    <a16:creationId xmlns:a16="http://schemas.microsoft.com/office/drawing/2014/main" id="{917C4C8E-35E8-98F6-7E86-92EF3F610B87}"/>
                  </a:ext>
                </a:extLst>
              </p:cNvPr>
              <p:cNvSpPr/>
              <p:nvPr/>
            </p:nvSpPr>
            <p:spPr>
              <a:xfrm>
                <a:off x="2182474" y="273771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49" name="Freeform 607">
                <a:extLst>
                  <a:ext uri="{FF2B5EF4-FFF2-40B4-BE49-F238E27FC236}">
                    <a16:creationId xmlns:a16="http://schemas.microsoft.com/office/drawing/2014/main" id="{F758475F-FC02-270D-6117-BF6CEF97CAFA}"/>
                  </a:ext>
                </a:extLst>
              </p:cNvPr>
              <p:cNvSpPr/>
              <p:nvPr/>
            </p:nvSpPr>
            <p:spPr>
              <a:xfrm>
                <a:off x="2173957" y="273771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50" name="Freeform 608">
                <a:extLst>
                  <a:ext uri="{FF2B5EF4-FFF2-40B4-BE49-F238E27FC236}">
                    <a16:creationId xmlns:a16="http://schemas.microsoft.com/office/drawing/2014/main" id="{92E000F2-98B9-8E8D-F62B-43708AE4F456}"/>
                  </a:ext>
                </a:extLst>
              </p:cNvPr>
              <p:cNvSpPr/>
              <p:nvPr/>
            </p:nvSpPr>
            <p:spPr>
              <a:xfrm>
                <a:off x="2143705" y="27260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51" name="Freeform 609">
                <a:extLst>
                  <a:ext uri="{FF2B5EF4-FFF2-40B4-BE49-F238E27FC236}">
                    <a16:creationId xmlns:a16="http://schemas.microsoft.com/office/drawing/2014/main" id="{3F165F3A-4F13-D2D7-E1A6-21412D8BD6BD}"/>
                  </a:ext>
                </a:extLst>
              </p:cNvPr>
              <p:cNvSpPr/>
              <p:nvPr/>
            </p:nvSpPr>
            <p:spPr>
              <a:xfrm>
                <a:off x="2191065" y="2768425"/>
                <a:ext cx="7342" cy="50546"/>
              </a:xfrm>
              <a:custGeom>
                <a:avLst/>
                <a:gdLst>
                  <a:gd name="connsiteX0" fmla="*/ 0 w 7342"/>
                  <a:gd name="connsiteY0" fmla="*/ 0 h 50546"/>
                  <a:gd name="connsiteX1" fmla="*/ 0 w 7342"/>
                  <a:gd name="connsiteY1" fmla="*/ 50547 h 50546"/>
                </a:gdLst>
                <a:ahLst/>
                <a:cxnLst>
                  <a:cxn ang="0">
                    <a:pos x="connsiteX0" y="connsiteY0"/>
                  </a:cxn>
                  <a:cxn ang="0">
                    <a:pos x="connsiteX1" y="connsiteY1"/>
                  </a:cxn>
                </a:cxnLst>
                <a:rect l="l" t="t" r="r" b="b"/>
                <a:pathLst>
                  <a:path w="7342" h="50546">
                    <a:moveTo>
                      <a:pt x="0" y="0"/>
                    </a:moveTo>
                    <a:lnTo>
                      <a:pt x="0" y="50547"/>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52" name="Freeform 610">
                <a:extLst>
                  <a:ext uri="{FF2B5EF4-FFF2-40B4-BE49-F238E27FC236}">
                    <a16:creationId xmlns:a16="http://schemas.microsoft.com/office/drawing/2014/main" id="{2CED8D77-E264-DE26-8EF5-2E6831C86E5D}"/>
                  </a:ext>
                </a:extLst>
              </p:cNvPr>
              <p:cNvSpPr/>
              <p:nvPr/>
            </p:nvSpPr>
            <p:spPr>
              <a:xfrm>
                <a:off x="2132838" y="27260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53" name="Freeform 611">
                <a:extLst>
                  <a:ext uri="{FF2B5EF4-FFF2-40B4-BE49-F238E27FC236}">
                    <a16:creationId xmlns:a16="http://schemas.microsoft.com/office/drawing/2014/main" id="{9D08CDEB-D581-1F3E-D32B-EC99759F7B0B}"/>
                  </a:ext>
                </a:extLst>
              </p:cNvPr>
              <p:cNvSpPr/>
              <p:nvPr/>
            </p:nvSpPr>
            <p:spPr>
              <a:xfrm>
                <a:off x="2158464" y="27260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54" name="Freeform 612">
                <a:extLst>
                  <a:ext uri="{FF2B5EF4-FFF2-40B4-BE49-F238E27FC236}">
                    <a16:creationId xmlns:a16="http://schemas.microsoft.com/office/drawing/2014/main" id="{F7E3DD3E-E27E-D53D-3E2A-2AC3A99EF746}"/>
                  </a:ext>
                </a:extLst>
              </p:cNvPr>
              <p:cNvSpPr/>
              <p:nvPr/>
            </p:nvSpPr>
            <p:spPr>
              <a:xfrm>
                <a:off x="2152223" y="27260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55" name="Freeform 613">
                <a:extLst>
                  <a:ext uri="{FF2B5EF4-FFF2-40B4-BE49-F238E27FC236}">
                    <a16:creationId xmlns:a16="http://schemas.microsoft.com/office/drawing/2014/main" id="{30DA34A7-657B-54E7-19BE-9427009DD18D}"/>
                  </a:ext>
                </a:extLst>
              </p:cNvPr>
              <p:cNvSpPr/>
              <p:nvPr/>
            </p:nvSpPr>
            <p:spPr>
              <a:xfrm>
                <a:off x="2163090" y="27361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56" name="Freeform 614">
                <a:extLst>
                  <a:ext uri="{FF2B5EF4-FFF2-40B4-BE49-F238E27FC236}">
                    <a16:creationId xmlns:a16="http://schemas.microsoft.com/office/drawing/2014/main" id="{33ABFC26-F79D-836D-15CF-D2A9049A2DC6}"/>
                  </a:ext>
                </a:extLst>
              </p:cNvPr>
              <p:cNvSpPr/>
              <p:nvPr/>
            </p:nvSpPr>
            <p:spPr>
              <a:xfrm>
                <a:off x="2126597" y="270972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57" name="Freeform 615">
                <a:extLst>
                  <a:ext uri="{FF2B5EF4-FFF2-40B4-BE49-F238E27FC236}">
                    <a16:creationId xmlns:a16="http://schemas.microsoft.com/office/drawing/2014/main" id="{F0C60F63-651C-6612-0D9A-20ABBC358043}"/>
                  </a:ext>
                </a:extLst>
              </p:cNvPr>
              <p:cNvSpPr/>
              <p:nvPr/>
            </p:nvSpPr>
            <p:spPr>
              <a:xfrm>
                <a:off x="2117272" y="27073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58" name="Freeform 616">
                <a:extLst>
                  <a:ext uri="{FF2B5EF4-FFF2-40B4-BE49-F238E27FC236}">
                    <a16:creationId xmlns:a16="http://schemas.microsoft.com/office/drawing/2014/main" id="{E4042D00-0711-7BEB-8989-95F79AD55802}"/>
                  </a:ext>
                </a:extLst>
              </p:cNvPr>
              <p:cNvSpPr/>
              <p:nvPr/>
            </p:nvSpPr>
            <p:spPr>
              <a:xfrm>
                <a:off x="2109562" y="269804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59" name="Freeform 617">
                <a:extLst>
                  <a:ext uri="{FF2B5EF4-FFF2-40B4-BE49-F238E27FC236}">
                    <a16:creationId xmlns:a16="http://schemas.microsoft.com/office/drawing/2014/main" id="{7AE3B973-13AE-310A-1F19-0FD73859C884}"/>
                  </a:ext>
                </a:extLst>
              </p:cNvPr>
              <p:cNvSpPr/>
              <p:nvPr/>
            </p:nvSpPr>
            <p:spPr>
              <a:xfrm>
                <a:off x="2101779" y="268489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60" name="Freeform 618">
                <a:extLst>
                  <a:ext uri="{FF2B5EF4-FFF2-40B4-BE49-F238E27FC236}">
                    <a16:creationId xmlns:a16="http://schemas.microsoft.com/office/drawing/2014/main" id="{FB6AE834-275D-5133-C350-80EA995E858B}"/>
                  </a:ext>
                </a:extLst>
              </p:cNvPr>
              <p:cNvSpPr/>
              <p:nvPr/>
            </p:nvSpPr>
            <p:spPr>
              <a:xfrm>
                <a:off x="2091646" y="268489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61" name="Freeform 619">
                <a:extLst>
                  <a:ext uri="{FF2B5EF4-FFF2-40B4-BE49-F238E27FC236}">
                    <a16:creationId xmlns:a16="http://schemas.microsoft.com/office/drawing/2014/main" id="{534FDA55-A1BC-0A80-2734-6504F6CF9942}"/>
                  </a:ext>
                </a:extLst>
              </p:cNvPr>
              <p:cNvSpPr/>
              <p:nvPr/>
            </p:nvSpPr>
            <p:spPr>
              <a:xfrm>
                <a:off x="2083129" y="268489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62" name="Freeform 620">
                <a:extLst>
                  <a:ext uri="{FF2B5EF4-FFF2-40B4-BE49-F238E27FC236}">
                    <a16:creationId xmlns:a16="http://schemas.microsoft.com/office/drawing/2014/main" id="{D13143E9-A0A4-2442-B7DA-84EE50535A5C}"/>
                  </a:ext>
                </a:extLst>
              </p:cNvPr>
              <p:cNvSpPr/>
              <p:nvPr/>
            </p:nvSpPr>
            <p:spPr>
              <a:xfrm>
                <a:off x="2076887" y="268489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63" name="Freeform 621">
                <a:extLst>
                  <a:ext uri="{FF2B5EF4-FFF2-40B4-BE49-F238E27FC236}">
                    <a16:creationId xmlns:a16="http://schemas.microsoft.com/office/drawing/2014/main" id="{1E6A3F44-E6DA-8F5E-FBAA-3CFC53AB08DD}"/>
                  </a:ext>
                </a:extLst>
              </p:cNvPr>
              <p:cNvSpPr/>
              <p:nvPr/>
            </p:nvSpPr>
            <p:spPr>
              <a:xfrm>
                <a:off x="2069912" y="26708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64" name="Freeform 622">
                <a:extLst>
                  <a:ext uri="{FF2B5EF4-FFF2-40B4-BE49-F238E27FC236}">
                    <a16:creationId xmlns:a16="http://schemas.microsoft.com/office/drawing/2014/main" id="{542FF848-3123-EB85-F7BE-46D58A20E7F8}"/>
                  </a:ext>
                </a:extLst>
              </p:cNvPr>
              <p:cNvSpPr/>
              <p:nvPr/>
            </p:nvSpPr>
            <p:spPr>
              <a:xfrm>
                <a:off x="2064478" y="26708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65" name="Freeform 623">
                <a:extLst>
                  <a:ext uri="{FF2B5EF4-FFF2-40B4-BE49-F238E27FC236}">
                    <a16:creationId xmlns:a16="http://schemas.microsoft.com/office/drawing/2014/main" id="{B9595811-CE48-F6BE-4720-95805CC9204D}"/>
                  </a:ext>
                </a:extLst>
              </p:cNvPr>
              <p:cNvSpPr/>
              <p:nvPr/>
            </p:nvSpPr>
            <p:spPr>
              <a:xfrm>
                <a:off x="2054419" y="2662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66" name="Freeform 624">
                <a:extLst>
                  <a:ext uri="{FF2B5EF4-FFF2-40B4-BE49-F238E27FC236}">
                    <a16:creationId xmlns:a16="http://schemas.microsoft.com/office/drawing/2014/main" id="{394395DA-909B-1449-28C9-792F73D5908F}"/>
                  </a:ext>
                </a:extLst>
              </p:cNvPr>
              <p:cNvSpPr/>
              <p:nvPr/>
            </p:nvSpPr>
            <p:spPr>
              <a:xfrm>
                <a:off x="2044286" y="2662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67" name="Freeform 625">
                <a:extLst>
                  <a:ext uri="{FF2B5EF4-FFF2-40B4-BE49-F238E27FC236}">
                    <a16:creationId xmlns:a16="http://schemas.microsoft.com/office/drawing/2014/main" id="{C92E16DD-E7FC-AB98-6526-38903671B483}"/>
                  </a:ext>
                </a:extLst>
              </p:cNvPr>
              <p:cNvSpPr/>
              <p:nvPr/>
            </p:nvSpPr>
            <p:spPr>
              <a:xfrm>
                <a:off x="2037311" y="26623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68" name="Freeform 626">
                <a:extLst>
                  <a:ext uri="{FF2B5EF4-FFF2-40B4-BE49-F238E27FC236}">
                    <a16:creationId xmlns:a16="http://schemas.microsoft.com/office/drawing/2014/main" id="{FBCD5FD5-973F-6717-9058-BB9BAD811494}"/>
                  </a:ext>
                </a:extLst>
              </p:cNvPr>
              <p:cNvSpPr/>
              <p:nvPr/>
            </p:nvSpPr>
            <p:spPr>
              <a:xfrm>
                <a:off x="2032685" y="264911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69" name="Freeform 627">
                <a:extLst>
                  <a:ext uri="{FF2B5EF4-FFF2-40B4-BE49-F238E27FC236}">
                    <a16:creationId xmlns:a16="http://schemas.microsoft.com/office/drawing/2014/main" id="{595683E7-758B-D54C-12BC-365F1F2066C3}"/>
                  </a:ext>
                </a:extLst>
              </p:cNvPr>
              <p:cNvSpPr/>
              <p:nvPr/>
            </p:nvSpPr>
            <p:spPr>
              <a:xfrm>
                <a:off x="2023360" y="264911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70" name="Freeform 628">
                <a:extLst>
                  <a:ext uri="{FF2B5EF4-FFF2-40B4-BE49-F238E27FC236}">
                    <a16:creationId xmlns:a16="http://schemas.microsoft.com/office/drawing/2014/main" id="{0FD570BD-EC79-523A-AA71-CB6D553E9DBB}"/>
                  </a:ext>
                </a:extLst>
              </p:cNvPr>
              <p:cNvSpPr/>
              <p:nvPr/>
            </p:nvSpPr>
            <p:spPr>
              <a:xfrm>
                <a:off x="2014842" y="265146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71" name="Freeform 629">
                <a:extLst>
                  <a:ext uri="{FF2B5EF4-FFF2-40B4-BE49-F238E27FC236}">
                    <a16:creationId xmlns:a16="http://schemas.microsoft.com/office/drawing/2014/main" id="{C19F1D0A-0E6B-3CD4-75C6-D30E93E37FC5}"/>
                  </a:ext>
                </a:extLst>
              </p:cNvPr>
              <p:cNvSpPr/>
              <p:nvPr/>
            </p:nvSpPr>
            <p:spPr>
              <a:xfrm>
                <a:off x="2006251" y="264293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72" name="Freeform 630">
                <a:extLst>
                  <a:ext uri="{FF2B5EF4-FFF2-40B4-BE49-F238E27FC236}">
                    <a16:creationId xmlns:a16="http://schemas.microsoft.com/office/drawing/2014/main" id="{6DC93368-6B71-096A-A417-12F0409A1DCE}"/>
                  </a:ext>
                </a:extLst>
              </p:cNvPr>
              <p:cNvSpPr/>
              <p:nvPr/>
            </p:nvSpPr>
            <p:spPr>
              <a:xfrm>
                <a:off x="2000084" y="264293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73" name="Freeform 631">
                <a:extLst>
                  <a:ext uri="{FF2B5EF4-FFF2-40B4-BE49-F238E27FC236}">
                    <a16:creationId xmlns:a16="http://schemas.microsoft.com/office/drawing/2014/main" id="{26D7BE0C-2DD8-D438-C4D1-72DA56EAE113}"/>
                  </a:ext>
                </a:extLst>
              </p:cNvPr>
              <p:cNvSpPr/>
              <p:nvPr/>
            </p:nvSpPr>
            <p:spPr>
              <a:xfrm>
                <a:off x="1995384" y="262038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74" name="Freeform 632">
                <a:extLst>
                  <a:ext uri="{FF2B5EF4-FFF2-40B4-BE49-F238E27FC236}">
                    <a16:creationId xmlns:a16="http://schemas.microsoft.com/office/drawing/2014/main" id="{118AFE2B-C59D-A8FB-A79B-509763423478}"/>
                  </a:ext>
                </a:extLst>
              </p:cNvPr>
              <p:cNvSpPr/>
              <p:nvPr/>
            </p:nvSpPr>
            <p:spPr>
              <a:xfrm>
                <a:off x="1986059" y="262038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75" name="Freeform 633">
                <a:extLst>
                  <a:ext uri="{FF2B5EF4-FFF2-40B4-BE49-F238E27FC236}">
                    <a16:creationId xmlns:a16="http://schemas.microsoft.com/office/drawing/2014/main" id="{F53D6A18-A855-CD57-A02C-14EDB9A0DA22}"/>
                  </a:ext>
                </a:extLst>
              </p:cNvPr>
              <p:cNvSpPr/>
              <p:nvPr/>
            </p:nvSpPr>
            <p:spPr>
              <a:xfrm>
                <a:off x="1976000" y="262038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76" name="Freeform 634">
                <a:extLst>
                  <a:ext uri="{FF2B5EF4-FFF2-40B4-BE49-F238E27FC236}">
                    <a16:creationId xmlns:a16="http://schemas.microsoft.com/office/drawing/2014/main" id="{61A92B90-E6CF-E1C5-7D9F-EA884B87C0BB}"/>
                  </a:ext>
                </a:extLst>
              </p:cNvPr>
              <p:cNvSpPr/>
              <p:nvPr/>
            </p:nvSpPr>
            <p:spPr>
              <a:xfrm>
                <a:off x="1967482" y="260716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77" name="Freeform 635">
                <a:extLst>
                  <a:ext uri="{FF2B5EF4-FFF2-40B4-BE49-F238E27FC236}">
                    <a16:creationId xmlns:a16="http://schemas.microsoft.com/office/drawing/2014/main" id="{17B4B5F8-0919-3A8F-DF35-8C23FE5D047E}"/>
                  </a:ext>
                </a:extLst>
              </p:cNvPr>
              <p:cNvSpPr/>
              <p:nvPr/>
            </p:nvSpPr>
            <p:spPr>
              <a:xfrm>
                <a:off x="1961608" y="259746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78" name="Freeform 636">
                <a:extLst>
                  <a:ext uri="{FF2B5EF4-FFF2-40B4-BE49-F238E27FC236}">
                    <a16:creationId xmlns:a16="http://schemas.microsoft.com/office/drawing/2014/main" id="{692D8469-8B3C-93F1-20DF-60032A1BC6EF}"/>
                  </a:ext>
                </a:extLst>
              </p:cNvPr>
              <p:cNvSpPr/>
              <p:nvPr/>
            </p:nvSpPr>
            <p:spPr>
              <a:xfrm>
                <a:off x="1952283" y="259437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79" name="Freeform 637">
                <a:extLst>
                  <a:ext uri="{FF2B5EF4-FFF2-40B4-BE49-F238E27FC236}">
                    <a16:creationId xmlns:a16="http://schemas.microsoft.com/office/drawing/2014/main" id="{59015723-4E79-9727-059F-801B9DC9C464}"/>
                  </a:ext>
                </a:extLst>
              </p:cNvPr>
              <p:cNvSpPr/>
              <p:nvPr/>
            </p:nvSpPr>
            <p:spPr>
              <a:xfrm>
                <a:off x="1941416" y="257652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80" name="Freeform 638">
                <a:extLst>
                  <a:ext uri="{FF2B5EF4-FFF2-40B4-BE49-F238E27FC236}">
                    <a16:creationId xmlns:a16="http://schemas.microsoft.com/office/drawing/2014/main" id="{E23AD758-649C-440C-7040-FD7A2478AA8D}"/>
                  </a:ext>
                </a:extLst>
              </p:cNvPr>
              <p:cNvSpPr/>
              <p:nvPr/>
            </p:nvSpPr>
            <p:spPr>
              <a:xfrm>
                <a:off x="1931357" y="2578874"/>
                <a:ext cx="7342" cy="69208"/>
              </a:xfrm>
              <a:custGeom>
                <a:avLst/>
                <a:gdLst>
                  <a:gd name="connsiteX0" fmla="*/ 0 w 7342"/>
                  <a:gd name="connsiteY0" fmla="*/ 0 h 69208"/>
                  <a:gd name="connsiteX1" fmla="*/ 0 w 7342"/>
                  <a:gd name="connsiteY1" fmla="*/ 69208 h 69208"/>
                </a:gdLst>
                <a:ahLst/>
                <a:cxnLst>
                  <a:cxn ang="0">
                    <a:pos x="connsiteX0" y="connsiteY0"/>
                  </a:cxn>
                  <a:cxn ang="0">
                    <a:pos x="connsiteX1" y="connsiteY1"/>
                  </a:cxn>
                </a:cxnLst>
                <a:rect l="l" t="t" r="r" b="b"/>
                <a:pathLst>
                  <a:path w="7342" h="69208">
                    <a:moveTo>
                      <a:pt x="0" y="0"/>
                    </a:moveTo>
                    <a:lnTo>
                      <a:pt x="0" y="69208"/>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81" name="Freeform 639">
                <a:extLst>
                  <a:ext uri="{FF2B5EF4-FFF2-40B4-BE49-F238E27FC236}">
                    <a16:creationId xmlns:a16="http://schemas.microsoft.com/office/drawing/2014/main" id="{CBD9DE05-C35D-CD9F-A774-C69B5E3A2B67}"/>
                  </a:ext>
                </a:extLst>
              </p:cNvPr>
              <p:cNvSpPr/>
              <p:nvPr/>
            </p:nvSpPr>
            <p:spPr>
              <a:xfrm>
                <a:off x="1918948" y="255396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82" name="Freeform 640">
                <a:extLst>
                  <a:ext uri="{FF2B5EF4-FFF2-40B4-BE49-F238E27FC236}">
                    <a16:creationId xmlns:a16="http://schemas.microsoft.com/office/drawing/2014/main" id="{53688B8A-94E7-033A-6D2A-EF87B9931F01}"/>
                  </a:ext>
                </a:extLst>
              </p:cNvPr>
              <p:cNvSpPr/>
              <p:nvPr/>
            </p:nvSpPr>
            <p:spPr>
              <a:xfrm>
                <a:off x="1914616" y="254390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83" name="Freeform 641">
                <a:extLst>
                  <a:ext uri="{FF2B5EF4-FFF2-40B4-BE49-F238E27FC236}">
                    <a16:creationId xmlns:a16="http://schemas.microsoft.com/office/drawing/2014/main" id="{86B948C1-E666-1263-B6C9-081D9346F076}"/>
                  </a:ext>
                </a:extLst>
              </p:cNvPr>
              <p:cNvSpPr/>
              <p:nvPr/>
            </p:nvSpPr>
            <p:spPr>
              <a:xfrm>
                <a:off x="1881280" y="2592980"/>
                <a:ext cx="76216" cy="7346"/>
              </a:xfrm>
              <a:custGeom>
                <a:avLst/>
                <a:gdLst>
                  <a:gd name="connsiteX0" fmla="*/ 0 w 76216"/>
                  <a:gd name="connsiteY0" fmla="*/ 0 h 7346"/>
                  <a:gd name="connsiteX1" fmla="*/ 76216 w 76216"/>
                  <a:gd name="connsiteY1" fmla="*/ 0 h 7346"/>
                </a:gdLst>
                <a:ahLst/>
                <a:cxnLst>
                  <a:cxn ang="0">
                    <a:pos x="connsiteX0" y="connsiteY0"/>
                  </a:cxn>
                  <a:cxn ang="0">
                    <a:pos x="connsiteX1" y="connsiteY1"/>
                  </a:cxn>
                </a:cxnLst>
                <a:rect l="l" t="t" r="r" b="b"/>
                <a:pathLst>
                  <a:path w="76216" h="7346">
                    <a:moveTo>
                      <a:pt x="0" y="0"/>
                    </a:moveTo>
                    <a:lnTo>
                      <a:pt x="76216"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84" name="Freeform 642">
                <a:extLst>
                  <a:ext uri="{FF2B5EF4-FFF2-40B4-BE49-F238E27FC236}">
                    <a16:creationId xmlns:a16="http://schemas.microsoft.com/office/drawing/2014/main" id="{CAED8571-C613-1C99-9DDF-C0C1B96877DF}"/>
                  </a:ext>
                </a:extLst>
              </p:cNvPr>
              <p:cNvSpPr/>
              <p:nvPr/>
            </p:nvSpPr>
            <p:spPr>
              <a:xfrm>
                <a:off x="1880105" y="250929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85" name="Freeform 643">
                <a:extLst>
                  <a:ext uri="{FF2B5EF4-FFF2-40B4-BE49-F238E27FC236}">
                    <a16:creationId xmlns:a16="http://schemas.microsoft.com/office/drawing/2014/main" id="{ECB5B572-B9D8-61B2-76B5-F86A266D1C45}"/>
                  </a:ext>
                </a:extLst>
              </p:cNvPr>
              <p:cNvSpPr/>
              <p:nvPr/>
            </p:nvSpPr>
            <p:spPr>
              <a:xfrm>
                <a:off x="1859105" y="24976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86" name="Freeform 644">
                <a:extLst>
                  <a:ext uri="{FF2B5EF4-FFF2-40B4-BE49-F238E27FC236}">
                    <a16:creationId xmlns:a16="http://schemas.microsoft.com/office/drawing/2014/main" id="{34D68D2F-3C28-ED76-D95F-4110F2AAE82A}"/>
                  </a:ext>
                </a:extLst>
              </p:cNvPr>
              <p:cNvSpPr/>
              <p:nvPr/>
            </p:nvSpPr>
            <p:spPr>
              <a:xfrm>
                <a:off x="1848238" y="24976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87" name="Freeform 645">
                <a:extLst>
                  <a:ext uri="{FF2B5EF4-FFF2-40B4-BE49-F238E27FC236}">
                    <a16:creationId xmlns:a16="http://schemas.microsoft.com/office/drawing/2014/main" id="{656986BB-EB54-98CC-8F71-13E4BF69D6AE}"/>
                  </a:ext>
                </a:extLst>
              </p:cNvPr>
              <p:cNvSpPr/>
              <p:nvPr/>
            </p:nvSpPr>
            <p:spPr>
              <a:xfrm>
                <a:off x="1838913" y="24976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88" name="Freeform 646">
                <a:extLst>
                  <a:ext uri="{FF2B5EF4-FFF2-40B4-BE49-F238E27FC236}">
                    <a16:creationId xmlns:a16="http://schemas.microsoft.com/office/drawing/2014/main" id="{393E036A-19E1-E448-6C2A-865B4D948BE2}"/>
                  </a:ext>
                </a:extLst>
              </p:cNvPr>
              <p:cNvSpPr/>
              <p:nvPr/>
            </p:nvSpPr>
            <p:spPr>
              <a:xfrm>
                <a:off x="1829588" y="2488286"/>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89" name="Freeform 647">
                <a:extLst>
                  <a:ext uri="{FF2B5EF4-FFF2-40B4-BE49-F238E27FC236}">
                    <a16:creationId xmlns:a16="http://schemas.microsoft.com/office/drawing/2014/main" id="{755BCC03-7243-B236-1FC1-FF93C81BE0D7}"/>
                  </a:ext>
                </a:extLst>
              </p:cNvPr>
              <p:cNvSpPr/>
              <p:nvPr/>
            </p:nvSpPr>
            <p:spPr>
              <a:xfrm>
                <a:off x="1818721" y="2488286"/>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90" name="Freeform 648">
                <a:extLst>
                  <a:ext uri="{FF2B5EF4-FFF2-40B4-BE49-F238E27FC236}">
                    <a16:creationId xmlns:a16="http://schemas.microsoft.com/office/drawing/2014/main" id="{EB22F7B5-8A5C-C7B5-6EF3-80EE900F72D1}"/>
                  </a:ext>
                </a:extLst>
              </p:cNvPr>
              <p:cNvSpPr/>
              <p:nvPr/>
            </p:nvSpPr>
            <p:spPr>
              <a:xfrm>
                <a:off x="1810204" y="2488286"/>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91" name="Freeform 649">
                <a:extLst>
                  <a:ext uri="{FF2B5EF4-FFF2-40B4-BE49-F238E27FC236}">
                    <a16:creationId xmlns:a16="http://schemas.microsoft.com/office/drawing/2014/main" id="{FA2F92C2-1B34-876B-7860-E0D9C9B1F26C}"/>
                  </a:ext>
                </a:extLst>
              </p:cNvPr>
              <p:cNvSpPr/>
              <p:nvPr/>
            </p:nvSpPr>
            <p:spPr>
              <a:xfrm>
                <a:off x="1801686" y="24758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92" name="Freeform 650">
                <a:extLst>
                  <a:ext uri="{FF2B5EF4-FFF2-40B4-BE49-F238E27FC236}">
                    <a16:creationId xmlns:a16="http://schemas.microsoft.com/office/drawing/2014/main" id="{7FBEFD10-3E99-4A99-2DCA-E6DDF709126E}"/>
                  </a:ext>
                </a:extLst>
              </p:cNvPr>
              <p:cNvSpPr/>
              <p:nvPr/>
            </p:nvSpPr>
            <p:spPr>
              <a:xfrm>
                <a:off x="1792361" y="24758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93" name="Freeform 651">
                <a:extLst>
                  <a:ext uri="{FF2B5EF4-FFF2-40B4-BE49-F238E27FC236}">
                    <a16:creationId xmlns:a16="http://schemas.microsoft.com/office/drawing/2014/main" id="{DB72ACAC-0D28-E68B-C2C4-FA559AA4AF59}"/>
                  </a:ext>
                </a:extLst>
              </p:cNvPr>
              <p:cNvSpPr/>
              <p:nvPr/>
            </p:nvSpPr>
            <p:spPr>
              <a:xfrm>
                <a:off x="1783770" y="24758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94" name="Freeform 652">
                <a:extLst>
                  <a:ext uri="{FF2B5EF4-FFF2-40B4-BE49-F238E27FC236}">
                    <a16:creationId xmlns:a16="http://schemas.microsoft.com/office/drawing/2014/main" id="{89057E1F-4B0C-D645-E6E6-832AF7CF6925}"/>
                  </a:ext>
                </a:extLst>
              </p:cNvPr>
              <p:cNvSpPr/>
              <p:nvPr/>
            </p:nvSpPr>
            <p:spPr>
              <a:xfrm>
                <a:off x="1776061" y="24758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95" name="Freeform 653">
                <a:extLst>
                  <a:ext uri="{FF2B5EF4-FFF2-40B4-BE49-F238E27FC236}">
                    <a16:creationId xmlns:a16="http://schemas.microsoft.com/office/drawing/2014/main" id="{A810CF89-FB39-E339-EB2B-A9B7903984EF}"/>
                  </a:ext>
                </a:extLst>
              </p:cNvPr>
              <p:cNvSpPr/>
              <p:nvPr/>
            </p:nvSpPr>
            <p:spPr>
              <a:xfrm>
                <a:off x="1767470" y="247587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96" name="Freeform 654">
                <a:extLst>
                  <a:ext uri="{FF2B5EF4-FFF2-40B4-BE49-F238E27FC236}">
                    <a16:creationId xmlns:a16="http://schemas.microsoft.com/office/drawing/2014/main" id="{5666B0FD-218D-46F9-D322-D4026E86BEEA}"/>
                  </a:ext>
                </a:extLst>
              </p:cNvPr>
              <p:cNvSpPr/>
              <p:nvPr/>
            </p:nvSpPr>
            <p:spPr>
              <a:xfrm>
                <a:off x="1757043" y="246543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97" name="Freeform 655">
                <a:extLst>
                  <a:ext uri="{FF2B5EF4-FFF2-40B4-BE49-F238E27FC236}">
                    <a16:creationId xmlns:a16="http://schemas.microsoft.com/office/drawing/2014/main" id="{CCD007D5-8328-AA9E-4FA1-909E710D670A}"/>
                  </a:ext>
                </a:extLst>
              </p:cNvPr>
              <p:cNvSpPr/>
              <p:nvPr/>
            </p:nvSpPr>
            <p:spPr>
              <a:xfrm>
                <a:off x="1748452" y="245684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98" name="Freeform 656">
                <a:extLst>
                  <a:ext uri="{FF2B5EF4-FFF2-40B4-BE49-F238E27FC236}">
                    <a16:creationId xmlns:a16="http://schemas.microsoft.com/office/drawing/2014/main" id="{01CD83FA-A1C4-9F0C-41ED-B0B7198FD5DA}"/>
                  </a:ext>
                </a:extLst>
              </p:cNvPr>
              <p:cNvSpPr/>
              <p:nvPr/>
            </p:nvSpPr>
            <p:spPr>
              <a:xfrm>
                <a:off x="1737585" y="246154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499" name="Freeform 657">
                <a:extLst>
                  <a:ext uri="{FF2B5EF4-FFF2-40B4-BE49-F238E27FC236}">
                    <a16:creationId xmlns:a16="http://schemas.microsoft.com/office/drawing/2014/main" id="{7C278C24-F12A-EAE9-74F4-6115C81A8B69}"/>
                  </a:ext>
                </a:extLst>
              </p:cNvPr>
              <p:cNvSpPr/>
              <p:nvPr/>
            </p:nvSpPr>
            <p:spPr>
              <a:xfrm>
                <a:off x="1726718" y="246154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00" name="Freeform 658">
                <a:extLst>
                  <a:ext uri="{FF2B5EF4-FFF2-40B4-BE49-F238E27FC236}">
                    <a16:creationId xmlns:a16="http://schemas.microsoft.com/office/drawing/2014/main" id="{2DB6BE07-0714-13F0-67CC-81473616263C}"/>
                  </a:ext>
                </a:extLst>
              </p:cNvPr>
              <p:cNvSpPr/>
              <p:nvPr/>
            </p:nvSpPr>
            <p:spPr>
              <a:xfrm>
                <a:off x="1715851" y="244288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01" name="Freeform 659">
                <a:extLst>
                  <a:ext uri="{FF2B5EF4-FFF2-40B4-BE49-F238E27FC236}">
                    <a16:creationId xmlns:a16="http://schemas.microsoft.com/office/drawing/2014/main" id="{60A84ADE-9FD6-2772-24D1-A8CD9C9207C2}"/>
                  </a:ext>
                </a:extLst>
              </p:cNvPr>
              <p:cNvSpPr/>
              <p:nvPr/>
            </p:nvSpPr>
            <p:spPr>
              <a:xfrm>
                <a:off x="1707334" y="244288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02" name="Freeform 660">
                <a:extLst>
                  <a:ext uri="{FF2B5EF4-FFF2-40B4-BE49-F238E27FC236}">
                    <a16:creationId xmlns:a16="http://schemas.microsoft.com/office/drawing/2014/main" id="{0058E138-6056-AADF-C1C2-3BDE282DDF8C}"/>
                  </a:ext>
                </a:extLst>
              </p:cNvPr>
              <p:cNvSpPr/>
              <p:nvPr/>
            </p:nvSpPr>
            <p:spPr>
              <a:xfrm>
                <a:off x="1699550" y="242730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03" name="Freeform 661">
                <a:extLst>
                  <a:ext uri="{FF2B5EF4-FFF2-40B4-BE49-F238E27FC236}">
                    <a16:creationId xmlns:a16="http://schemas.microsoft.com/office/drawing/2014/main" id="{22078D69-0F89-DFB1-B417-4468F894D955}"/>
                  </a:ext>
                </a:extLst>
              </p:cNvPr>
              <p:cNvSpPr/>
              <p:nvPr/>
            </p:nvSpPr>
            <p:spPr>
              <a:xfrm>
                <a:off x="1688683" y="242730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04" name="Freeform 662">
                <a:extLst>
                  <a:ext uri="{FF2B5EF4-FFF2-40B4-BE49-F238E27FC236}">
                    <a16:creationId xmlns:a16="http://schemas.microsoft.com/office/drawing/2014/main" id="{6D5D0795-CE59-7E21-DA57-4C047930A903}"/>
                  </a:ext>
                </a:extLst>
              </p:cNvPr>
              <p:cNvSpPr/>
              <p:nvPr/>
            </p:nvSpPr>
            <p:spPr>
              <a:xfrm>
                <a:off x="1681708" y="242730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05" name="Freeform 663">
                <a:extLst>
                  <a:ext uri="{FF2B5EF4-FFF2-40B4-BE49-F238E27FC236}">
                    <a16:creationId xmlns:a16="http://schemas.microsoft.com/office/drawing/2014/main" id="{41D91471-E72F-6078-4CF7-C46E4107D3CE}"/>
                  </a:ext>
                </a:extLst>
              </p:cNvPr>
              <p:cNvSpPr/>
              <p:nvPr/>
            </p:nvSpPr>
            <p:spPr>
              <a:xfrm>
                <a:off x="1670841" y="242113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06" name="Freeform 664">
                <a:extLst>
                  <a:ext uri="{FF2B5EF4-FFF2-40B4-BE49-F238E27FC236}">
                    <a16:creationId xmlns:a16="http://schemas.microsoft.com/office/drawing/2014/main" id="{E560F704-85FE-611C-7D04-2FB4210241ED}"/>
                  </a:ext>
                </a:extLst>
              </p:cNvPr>
              <p:cNvSpPr/>
              <p:nvPr/>
            </p:nvSpPr>
            <p:spPr>
              <a:xfrm>
                <a:off x="1663865" y="240717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07" name="Freeform 665">
                <a:extLst>
                  <a:ext uri="{FF2B5EF4-FFF2-40B4-BE49-F238E27FC236}">
                    <a16:creationId xmlns:a16="http://schemas.microsoft.com/office/drawing/2014/main" id="{9F633B8C-D654-FAA7-40D4-7B32316995E9}"/>
                  </a:ext>
                </a:extLst>
              </p:cNvPr>
              <p:cNvSpPr/>
              <p:nvPr/>
            </p:nvSpPr>
            <p:spPr>
              <a:xfrm>
                <a:off x="1625023" y="238851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08" name="Freeform 666">
                <a:extLst>
                  <a:ext uri="{FF2B5EF4-FFF2-40B4-BE49-F238E27FC236}">
                    <a16:creationId xmlns:a16="http://schemas.microsoft.com/office/drawing/2014/main" id="{AC615E2C-D504-CBA1-7DFD-FC1BA3AD39AD}"/>
                  </a:ext>
                </a:extLst>
              </p:cNvPr>
              <p:cNvSpPr/>
              <p:nvPr/>
            </p:nvSpPr>
            <p:spPr>
              <a:xfrm>
                <a:off x="1655275" y="240636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09" name="Freeform 667">
                <a:extLst>
                  <a:ext uri="{FF2B5EF4-FFF2-40B4-BE49-F238E27FC236}">
                    <a16:creationId xmlns:a16="http://schemas.microsoft.com/office/drawing/2014/main" id="{BD4C8C3C-54EC-76A2-BEB4-7F5AA9AD48E1}"/>
                  </a:ext>
                </a:extLst>
              </p:cNvPr>
              <p:cNvSpPr/>
              <p:nvPr/>
            </p:nvSpPr>
            <p:spPr>
              <a:xfrm>
                <a:off x="1580600" y="2435315"/>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10" name="Freeform 668">
                <a:extLst>
                  <a:ext uri="{FF2B5EF4-FFF2-40B4-BE49-F238E27FC236}">
                    <a16:creationId xmlns:a16="http://schemas.microsoft.com/office/drawing/2014/main" id="{147BAC70-7183-7791-F779-08BF636BA28A}"/>
                  </a:ext>
                </a:extLst>
              </p:cNvPr>
              <p:cNvSpPr/>
              <p:nvPr/>
            </p:nvSpPr>
            <p:spPr>
              <a:xfrm>
                <a:off x="1599397" y="237220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11" name="Freeform 669">
                <a:extLst>
                  <a:ext uri="{FF2B5EF4-FFF2-40B4-BE49-F238E27FC236}">
                    <a16:creationId xmlns:a16="http://schemas.microsoft.com/office/drawing/2014/main" id="{172E2B80-9CF5-486A-4A58-1A549E19064D}"/>
                  </a:ext>
                </a:extLst>
              </p:cNvPr>
              <p:cNvSpPr/>
              <p:nvPr/>
            </p:nvSpPr>
            <p:spPr>
              <a:xfrm>
                <a:off x="1589338" y="237374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12" name="Freeform 670">
                <a:extLst>
                  <a:ext uri="{FF2B5EF4-FFF2-40B4-BE49-F238E27FC236}">
                    <a16:creationId xmlns:a16="http://schemas.microsoft.com/office/drawing/2014/main" id="{1C621FBC-B83A-45AA-2295-5E2DEB55DC22}"/>
                  </a:ext>
                </a:extLst>
              </p:cNvPr>
              <p:cNvSpPr/>
              <p:nvPr/>
            </p:nvSpPr>
            <p:spPr>
              <a:xfrm>
                <a:off x="1578471" y="2363609"/>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13" name="Freeform 671">
                <a:extLst>
                  <a:ext uri="{FF2B5EF4-FFF2-40B4-BE49-F238E27FC236}">
                    <a16:creationId xmlns:a16="http://schemas.microsoft.com/office/drawing/2014/main" id="{0B1C22F4-5D4F-9B46-21A1-A3733ABB0A04}"/>
                  </a:ext>
                </a:extLst>
              </p:cNvPr>
              <p:cNvSpPr/>
              <p:nvPr/>
            </p:nvSpPr>
            <p:spPr>
              <a:xfrm>
                <a:off x="1569146" y="236287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14" name="Freeform 672">
                <a:extLst>
                  <a:ext uri="{FF2B5EF4-FFF2-40B4-BE49-F238E27FC236}">
                    <a16:creationId xmlns:a16="http://schemas.microsoft.com/office/drawing/2014/main" id="{F609270B-7217-4A9B-6E84-D7CDFFE4C132}"/>
                  </a:ext>
                </a:extLst>
              </p:cNvPr>
              <p:cNvSpPr/>
              <p:nvPr/>
            </p:nvSpPr>
            <p:spPr>
              <a:xfrm>
                <a:off x="1562904" y="236206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15" name="Freeform 673">
                <a:extLst>
                  <a:ext uri="{FF2B5EF4-FFF2-40B4-BE49-F238E27FC236}">
                    <a16:creationId xmlns:a16="http://schemas.microsoft.com/office/drawing/2014/main" id="{2043B7BF-0202-D0DA-F91D-92CD9F98839E}"/>
                  </a:ext>
                </a:extLst>
              </p:cNvPr>
              <p:cNvSpPr/>
              <p:nvPr/>
            </p:nvSpPr>
            <p:spPr>
              <a:xfrm>
                <a:off x="1554387" y="233025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16" name="Freeform 674">
                <a:extLst>
                  <a:ext uri="{FF2B5EF4-FFF2-40B4-BE49-F238E27FC236}">
                    <a16:creationId xmlns:a16="http://schemas.microsoft.com/office/drawing/2014/main" id="{6862A93E-4CE5-5B36-FAFB-4220DB6BA38A}"/>
                  </a:ext>
                </a:extLst>
              </p:cNvPr>
              <p:cNvSpPr/>
              <p:nvPr/>
            </p:nvSpPr>
            <p:spPr>
              <a:xfrm>
                <a:off x="1546604" y="233025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17" name="Freeform 675">
                <a:extLst>
                  <a:ext uri="{FF2B5EF4-FFF2-40B4-BE49-F238E27FC236}">
                    <a16:creationId xmlns:a16="http://schemas.microsoft.com/office/drawing/2014/main" id="{E21AA845-0C9B-C9B3-7960-3B597D561AF2}"/>
                  </a:ext>
                </a:extLst>
              </p:cNvPr>
              <p:cNvSpPr/>
              <p:nvPr/>
            </p:nvSpPr>
            <p:spPr>
              <a:xfrm>
                <a:off x="1535737" y="233025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18" name="Freeform 676">
                <a:extLst>
                  <a:ext uri="{FF2B5EF4-FFF2-40B4-BE49-F238E27FC236}">
                    <a16:creationId xmlns:a16="http://schemas.microsoft.com/office/drawing/2014/main" id="{15BF6643-5FD8-0636-95EC-98642177FD9A}"/>
                  </a:ext>
                </a:extLst>
              </p:cNvPr>
              <p:cNvSpPr/>
              <p:nvPr/>
            </p:nvSpPr>
            <p:spPr>
              <a:xfrm>
                <a:off x="1499244" y="2301454"/>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19" name="Freeform 677">
                <a:extLst>
                  <a:ext uri="{FF2B5EF4-FFF2-40B4-BE49-F238E27FC236}">
                    <a16:creationId xmlns:a16="http://schemas.microsoft.com/office/drawing/2014/main" id="{BF6F91E5-2059-B955-64DA-756D50BB2983}"/>
                  </a:ext>
                </a:extLst>
              </p:cNvPr>
              <p:cNvSpPr/>
              <p:nvPr/>
            </p:nvSpPr>
            <p:spPr>
              <a:xfrm>
                <a:off x="1526412" y="2332531"/>
                <a:ext cx="7342" cy="64579"/>
              </a:xfrm>
              <a:custGeom>
                <a:avLst/>
                <a:gdLst>
                  <a:gd name="connsiteX0" fmla="*/ 0 w 7342"/>
                  <a:gd name="connsiteY0" fmla="*/ 0 h 64579"/>
                  <a:gd name="connsiteX1" fmla="*/ 0 w 7342"/>
                  <a:gd name="connsiteY1" fmla="*/ 64580 h 64579"/>
                </a:gdLst>
                <a:ahLst/>
                <a:cxnLst>
                  <a:cxn ang="0">
                    <a:pos x="connsiteX0" y="connsiteY0"/>
                  </a:cxn>
                  <a:cxn ang="0">
                    <a:pos x="connsiteX1" y="connsiteY1"/>
                  </a:cxn>
                </a:cxnLst>
                <a:rect l="l" t="t" r="r" b="b"/>
                <a:pathLst>
                  <a:path w="7342" h="64579">
                    <a:moveTo>
                      <a:pt x="0" y="0"/>
                    </a:moveTo>
                    <a:lnTo>
                      <a:pt x="0" y="6458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20" name="Freeform 678">
                <a:extLst>
                  <a:ext uri="{FF2B5EF4-FFF2-40B4-BE49-F238E27FC236}">
                    <a16:creationId xmlns:a16="http://schemas.microsoft.com/office/drawing/2014/main" id="{BDA303E3-F2B1-F564-64C3-87F116DDC37D}"/>
                  </a:ext>
                </a:extLst>
              </p:cNvPr>
              <p:cNvSpPr/>
              <p:nvPr/>
            </p:nvSpPr>
            <p:spPr>
              <a:xfrm>
                <a:off x="1482503" y="2371837"/>
                <a:ext cx="64541" cy="7346"/>
              </a:xfrm>
              <a:custGeom>
                <a:avLst/>
                <a:gdLst>
                  <a:gd name="connsiteX0" fmla="*/ 64542 w 64541"/>
                  <a:gd name="connsiteY0" fmla="*/ 0 h 7346"/>
                  <a:gd name="connsiteX1" fmla="*/ 0 w 64541"/>
                  <a:gd name="connsiteY1" fmla="*/ 0 h 7346"/>
                </a:gdLst>
                <a:ahLst/>
                <a:cxnLst>
                  <a:cxn ang="0">
                    <a:pos x="connsiteX0" y="connsiteY0"/>
                  </a:cxn>
                  <a:cxn ang="0">
                    <a:pos x="connsiteX1" y="connsiteY1"/>
                  </a:cxn>
                </a:cxnLst>
                <a:rect l="l" t="t" r="r" b="b"/>
                <a:pathLst>
                  <a:path w="64541" h="7346">
                    <a:moveTo>
                      <a:pt x="64542"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21" name="Freeform 679">
                <a:extLst>
                  <a:ext uri="{FF2B5EF4-FFF2-40B4-BE49-F238E27FC236}">
                    <a16:creationId xmlns:a16="http://schemas.microsoft.com/office/drawing/2014/main" id="{B200A7F9-614C-A7E3-D260-EA78EA9E4455}"/>
                  </a:ext>
                </a:extLst>
              </p:cNvPr>
              <p:cNvSpPr/>
              <p:nvPr/>
            </p:nvSpPr>
            <p:spPr>
              <a:xfrm>
                <a:off x="1482503" y="2347005"/>
                <a:ext cx="64541" cy="7346"/>
              </a:xfrm>
              <a:custGeom>
                <a:avLst/>
                <a:gdLst>
                  <a:gd name="connsiteX0" fmla="*/ 64542 w 64541"/>
                  <a:gd name="connsiteY0" fmla="*/ 0 h 7346"/>
                  <a:gd name="connsiteX1" fmla="*/ 0 w 64541"/>
                  <a:gd name="connsiteY1" fmla="*/ 0 h 7346"/>
                </a:gdLst>
                <a:ahLst/>
                <a:cxnLst>
                  <a:cxn ang="0">
                    <a:pos x="connsiteX0" y="connsiteY0"/>
                  </a:cxn>
                  <a:cxn ang="0">
                    <a:pos x="connsiteX1" y="connsiteY1"/>
                  </a:cxn>
                </a:cxnLst>
                <a:rect l="l" t="t" r="r" b="b"/>
                <a:pathLst>
                  <a:path w="64541" h="7346">
                    <a:moveTo>
                      <a:pt x="64542"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22" name="Freeform 680">
                <a:extLst>
                  <a:ext uri="{FF2B5EF4-FFF2-40B4-BE49-F238E27FC236}">
                    <a16:creationId xmlns:a16="http://schemas.microsoft.com/office/drawing/2014/main" id="{EA37F406-7FFD-0A84-F3C9-00328030AB16}"/>
                  </a:ext>
                </a:extLst>
              </p:cNvPr>
              <p:cNvSpPr/>
              <p:nvPr/>
            </p:nvSpPr>
            <p:spPr>
              <a:xfrm>
                <a:off x="1487569" y="2301454"/>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23" name="Freeform 681">
                <a:extLst>
                  <a:ext uri="{FF2B5EF4-FFF2-40B4-BE49-F238E27FC236}">
                    <a16:creationId xmlns:a16="http://schemas.microsoft.com/office/drawing/2014/main" id="{40974D9D-210B-1B08-985E-36CA88169732}"/>
                  </a:ext>
                </a:extLst>
              </p:cNvPr>
              <p:cNvSpPr/>
              <p:nvPr/>
            </p:nvSpPr>
            <p:spPr>
              <a:xfrm>
                <a:off x="1482136" y="228903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24" name="Freeform 682">
                <a:extLst>
                  <a:ext uri="{FF2B5EF4-FFF2-40B4-BE49-F238E27FC236}">
                    <a16:creationId xmlns:a16="http://schemas.microsoft.com/office/drawing/2014/main" id="{321E658F-6D97-9253-6AE5-EAC649ADF091}"/>
                  </a:ext>
                </a:extLst>
              </p:cNvPr>
              <p:cNvSpPr/>
              <p:nvPr/>
            </p:nvSpPr>
            <p:spPr>
              <a:xfrm>
                <a:off x="1492269" y="2301454"/>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25" name="Freeform 683">
                <a:extLst>
                  <a:ext uri="{FF2B5EF4-FFF2-40B4-BE49-F238E27FC236}">
                    <a16:creationId xmlns:a16="http://schemas.microsoft.com/office/drawing/2014/main" id="{CA82FEC7-F939-0B26-E413-E6CC3E97F9C7}"/>
                  </a:ext>
                </a:extLst>
              </p:cNvPr>
              <p:cNvSpPr/>
              <p:nvPr/>
            </p:nvSpPr>
            <p:spPr>
              <a:xfrm>
                <a:off x="1472884" y="229293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26" name="Freeform 684">
                <a:extLst>
                  <a:ext uri="{FF2B5EF4-FFF2-40B4-BE49-F238E27FC236}">
                    <a16:creationId xmlns:a16="http://schemas.microsoft.com/office/drawing/2014/main" id="{5A4198BC-C922-A09D-6BD5-58326F5F1541}"/>
                  </a:ext>
                </a:extLst>
              </p:cNvPr>
              <p:cNvSpPr/>
              <p:nvPr/>
            </p:nvSpPr>
            <p:spPr>
              <a:xfrm>
                <a:off x="1463926" y="228404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27" name="Freeform 685">
                <a:extLst>
                  <a:ext uri="{FF2B5EF4-FFF2-40B4-BE49-F238E27FC236}">
                    <a16:creationId xmlns:a16="http://schemas.microsoft.com/office/drawing/2014/main" id="{07FDABF2-76CE-2A8E-86F9-B09191ED1CC2}"/>
                  </a:ext>
                </a:extLst>
              </p:cNvPr>
              <p:cNvSpPr/>
              <p:nvPr/>
            </p:nvSpPr>
            <p:spPr>
              <a:xfrm>
                <a:off x="1453793" y="2288670"/>
                <a:ext cx="7342" cy="64138"/>
              </a:xfrm>
              <a:custGeom>
                <a:avLst/>
                <a:gdLst>
                  <a:gd name="connsiteX0" fmla="*/ 0 w 7342"/>
                  <a:gd name="connsiteY0" fmla="*/ 0 h 64138"/>
                  <a:gd name="connsiteX1" fmla="*/ 0 w 7342"/>
                  <a:gd name="connsiteY1" fmla="*/ 64139 h 64138"/>
                </a:gdLst>
                <a:ahLst/>
                <a:cxnLst>
                  <a:cxn ang="0">
                    <a:pos x="connsiteX0" y="connsiteY0"/>
                  </a:cxn>
                  <a:cxn ang="0">
                    <a:pos x="connsiteX1" y="connsiteY1"/>
                  </a:cxn>
                </a:cxnLst>
                <a:rect l="l" t="t" r="r" b="b"/>
                <a:pathLst>
                  <a:path w="7342" h="64138">
                    <a:moveTo>
                      <a:pt x="0" y="0"/>
                    </a:moveTo>
                    <a:lnTo>
                      <a:pt x="0" y="64139"/>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28" name="Freeform 686">
                <a:extLst>
                  <a:ext uri="{FF2B5EF4-FFF2-40B4-BE49-F238E27FC236}">
                    <a16:creationId xmlns:a16="http://schemas.microsoft.com/office/drawing/2014/main" id="{6AF857F2-8BEB-4F97-BFD1-90AE43EF7336}"/>
                  </a:ext>
                </a:extLst>
              </p:cNvPr>
              <p:cNvSpPr/>
              <p:nvPr/>
            </p:nvSpPr>
            <p:spPr>
              <a:xfrm>
                <a:off x="1420091" y="225568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29" name="Freeform 687">
                <a:extLst>
                  <a:ext uri="{FF2B5EF4-FFF2-40B4-BE49-F238E27FC236}">
                    <a16:creationId xmlns:a16="http://schemas.microsoft.com/office/drawing/2014/main" id="{C43E2A39-6048-D8BE-4A41-828A9250683C}"/>
                  </a:ext>
                </a:extLst>
              </p:cNvPr>
              <p:cNvSpPr/>
              <p:nvPr/>
            </p:nvSpPr>
            <p:spPr>
              <a:xfrm>
                <a:off x="1412307" y="225568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30" name="Freeform 688">
                <a:extLst>
                  <a:ext uri="{FF2B5EF4-FFF2-40B4-BE49-F238E27FC236}">
                    <a16:creationId xmlns:a16="http://schemas.microsoft.com/office/drawing/2014/main" id="{E6E3539A-76F4-F670-2EE8-093D9FA4E01B}"/>
                  </a:ext>
                </a:extLst>
              </p:cNvPr>
              <p:cNvSpPr/>
              <p:nvPr/>
            </p:nvSpPr>
            <p:spPr>
              <a:xfrm>
                <a:off x="1401440" y="225568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31" name="Freeform 689">
                <a:extLst>
                  <a:ext uri="{FF2B5EF4-FFF2-40B4-BE49-F238E27FC236}">
                    <a16:creationId xmlns:a16="http://schemas.microsoft.com/office/drawing/2014/main" id="{2E37228C-E7CF-7223-2F63-AEE137942F30}"/>
                  </a:ext>
                </a:extLst>
              </p:cNvPr>
              <p:cNvSpPr/>
              <p:nvPr/>
            </p:nvSpPr>
            <p:spPr>
              <a:xfrm>
                <a:off x="1416786" y="2302482"/>
                <a:ext cx="62338" cy="7346"/>
              </a:xfrm>
              <a:custGeom>
                <a:avLst/>
                <a:gdLst>
                  <a:gd name="connsiteX0" fmla="*/ 62339 w 62338"/>
                  <a:gd name="connsiteY0" fmla="*/ 0 h 7346"/>
                  <a:gd name="connsiteX1" fmla="*/ 0 w 62338"/>
                  <a:gd name="connsiteY1" fmla="*/ 0 h 7346"/>
                </a:gdLst>
                <a:ahLst/>
                <a:cxnLst>
                  <a:cxn ang="0">
                    <a:pos x="connsiteX0" y="connsiteY0"/>
                  </a:cxn>
                  <a:cxn ang="0">
                    <a:pos x="connsiteX1" y="connsiteY1"/>
                  </a:cxn>
                </a:cxnLst>
                <a:rect l="l" t="t" r="r" b="b"/>
                <a:pathLst>
                  <a:path w="62338" h="7346">
                    <a:moveTo>
                      <a:pt x="62339"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32" name="Freeform 690">
                <a:extLst>
                  <a:ext uri="{FF2B5EF4-FFF2-40B4-BE49-F238E27FC236}">
                    <a16:creationId xmlns:a16="http://schemas.microsoft.com/office/drawing/2014/main" id="{0B399D95-BA76-D299-E9A7-752F6D3A941D}"/>
                  </a:ext>
                </a:extLst>
              </p:cNvPr>
              <p:cNvSpPr/>
              <p:nvPr/>
            </p:nvSpPr>
            <p:spPr>
              <a:xfrm>
                <a:off x="1385140" y="222688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33" name="Freeform 691">
                <a:extLst>
                  <a:ext uri="{FF2B5EF4-FFF2-40B4-BE49-F238E27FC236}">
                    <a16:creationId xmlns:a16="http://schemas.microsoft.com/office/drawing/2014/main" id="{1482F7C9-F4DE-9132-3A90-B6862EFD65C2}"/>
                  </a:ext>
                </a:extLst>
              </p:cNvPr>
              <p:cNvSpPr/>
              <p:nvPr/>
            </p:nvSpPr>
            <p:spPr>
              <a:xfrm>
                <a:off x="1377357" y="222688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34" name="Freeform 692">
                <a:extLst>
                  <a:ext uri="{FF2B5EF4-FFF2-40B4-BE49-F238E27FC236}">
                    <a16:creationId xmlns:a16="http://schemas.microsoft.com/office/drawing/2014/main" id="{85FA6420-A4B2-07F9-ED2E-8F00E3CA9122}"/>
                  </a:ext>
                </a:extLst>
              </p:cNvPr>
              <p:cNvSpPr/>
              <p:nvPr/>
            </p:nvSpPr>
            <p:spPr>
              <a:xfrm>
                <a:off x="1367224" y="222460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35" name="Freeform 693">
                <a:extLst>
                  <a:ext uri="{FF2B5EF4-FFF2-40B4-BE49-F238E27FC236}">
                    <a16:creationId xmlns:a16="http://schemas.microsoft.com/office/drawing/2014/main" id="{0426A004-137C-472E-D687-E0C081640793}"/>
                  </a:ext>
                </a:extLst>
              </p:cNvPr>
              <p:cNvSpPr/>
              <p:nvPr/>
            </p:nvSpPr>
            <p:spPr>
              <a:xfrm>
                <a:off x="1349381" y="220359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36" name="Freeform 694">
                <a:extLst>
                  <a:ext uri="{FF2B5EF4-FFF2-40B4-BE49-F238E27FC236}">
                    <a16:creationId xmlns:a16="http://schemas.microsoft.com/office/drawing/2014/main" id="{B4312B8B-7CD2-BD57-7D27-C39EA940EBB4}"/>
                  </a:ext>
                </a:extLst>
              </p:cNvPr>
              <p:cNvSpPr/>
              <p:nvPr/>
            </p:nvSpPr>
            <p:spPr>
              <a:xfrm>
                <a:off x="1339322" y="220359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37" name="Freeform 695">
                <a:extLst>
                  <a:ext uri="{FF2B5EF4-FFF2-40B4-BE49-F238E27FC236}">
                    <a16:creationId xmlns:a16="http://schemas.microsoft.com/office/drawing/2014/main" id="{5172E035-84BF-B8A9-D99A-45C59729103F}"/>
                  </a:ext>
                </a:extLst>
              </p:cNvPr>
              <p:cNvSpPr/>
              <p:nvPr/>
            </p:nvSpPr>
            <p:spPr>
              <a:xfrm>
                <a:off x="1287116" y="2251201"/>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38" name="Freeform 696">
                <a:extLst>
                  <a:ext uri="{FF2B5EF4-FFF2-40B4-BE49-F238E27FC236}">
                    <a16:creationId xmlns:a16="http://schemas.microsoft.com/office/drawing/2014/main" id="{EC5BA47D-9B27-C491-E7E4-E56B408AC7D4}"/>
                  </a:ext>
                </a:extLst>
              </p:cNvPr>
              <p:cNvSpPr/>
              <p:nvPr/>
            </p:nvSpPr>
            <p:spPr>
              <a:xfrm>
                <a:off x="1371189" y="2290801"/>
                <a:ext cx="70782" cy="7346"/>
              </a:xfrm>
              <a:custGeom>
                <a:avLst/>
                <a:gdLst>
                  <a:gd name="connsiteX0" fmla="*/ 70783 w 70782"/>
                  <a:gd name="connsiteY0" fmla="*/ 0 h 7346"/>
                  <a:gd name="connsiteX1" fmla="*/ 0 w 70782"/>
                  <a:gd name="connsiteY1" fmla="*/ 0 h 7346"/>
                </a:gdLst>
                <a:ahLst/>
                <a:cxnLst>
                  <a:cxn ang="0">
                    <a:pos x="connsiteX0" y="connsiteY0"/>
                  </a:cxn>
                  <a:cxn ang="0">
                    <a:pos x="connsiteX1" y="connsiteY1"/>
                  </a:cxn>
                </a:cxnLst>
                <a:rect l="l" t="t" r="r" b="b"/>
                <a:pathLst>
                  <a:path w="70782" h="7346">
                    <a:moveTo>
                      <a:pt x="70783"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39" name="Freeform 697">
                <a:extLst>
                  <a:ext uri="{FF2B5EF4-FFF2-40B4-BE49-F238E27FC236}">
                    <a16:creationId xmlns:a16="http://schemas.microsoft.com/office/drawing/2014/main" id="{4AC4FCFD-8018-5EED-063E-619FF2BE1862}"/>
                  </a:ext>
                </a:extLst>
              </p:cNvPr>
              <p:cNvSpPr/>
              <p:nvPr/>
            </p:nvSpPr>
            <p:spPr>
              <a:xfrm>
                <a:off x="1316780" y="218265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40" name="Freeform 698">
                <a:extLst>
                  <a:ext uri="{FF2B5EF4-FFF2-40B4-BE49-F238E27FC236}">
                    <a16:creationId xmlns:a16="http://schemas.microsoft.com/office/drawing/2014/main" id="{2E00F715-A9F1-5D15-6999-284EC86DF1C2}"/>
                  </a:ext>
                </a:extLst>
              </p:cNvPr>
              <p:cNvSpPr/>
              <p:nvPr/>
            </p:nvSpPr>
            <p:spPr>
              <a:xfrm>
                <a:off x="1319864" y="2182654"/>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41" name="Freeform 699">
                <a:extLst>
                  <a:ext uri="{FF2B5EF4-FFF2-40B4-BE49-F238E27FC236}">
                    <a16:creationId xmlns:a16="http://schemas.microsoft.com/office/drawing/2014/main" id="{1EED7760-CE74-1EE6-360C-3B8290C5914D}"/>
                  </a:ext>
                </a:extLst>
              </p:cNvPr>
              <p:cNvSpPr/>
              <p:nvPr/>
            </p:nvSpPr>
            <p:spPr>
              <a:xfrm>
                <a:off x="1308263" y="216788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42" name="Freeform 700">
                <a:extLst>
                  <a:ext uri="{FF2B5EF4-FFF2-40B4-BE49-F238E27FC236}">
                    <a16:creationId xmlns:a16="http://schemas.microsoft.com/office/drawing/2014/main" id="{A8FA63C5-30B2-4346-52CC-1DE95E70605F}"/>
                  </a:ext>
                </a:extLst>
              </p:cNvPr>
              <p:cNvSpPr/>
              <p:nvPr/>
            </p:nvSpPr>
            <p:spPr>
              <a:xfrm>
                <a:off x="1299745" y="216788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43" name="Freeform 701">
                <a:extLst>
                  <a:ext uri="{FF2B5EF4-FFF2-40B4-BE49-F238E27FC236}">
                    <a16:creationId xmlns:a16="http://schemas.microsoft.com/office/drawing/2014/main" id="{3AF9B24F-719D-CCE1-A7BC-FB35BAE24C75}"/>
                  </a:ext>
                </a:extLst>
              </p:cNvPr>
              <p:cNvSpPr/>
              <p:nvPr/>
            </p:nvSpPr>
            <p:spPr>
              <a:xfrm>
                <a:off x="1291154" y="214459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44" name="Freeform 702">
                <a:extLst>
                  <a:ext uri="{FF2B5EF4-FFF2-40B4-BE49-F238E27FC236}">
                    <a16:creationId xmlns:a16="http://schemas.microsoft.com/office/drawing/2014/main" id="{2237B110-D1A7-E325-5ED5-070A76EFD9AD}"/>
                  </a:ext>
                </a:extLst>
              </p:cNvPr>
              <p:cNvSpPr/>
              <p:nvPr/>
            </p:nvSpPr>
            <p:spPr>
              <a:xfrm>
                <a:off x="1281829" y="215157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45" name="Freeform 703">
                <a:extLst>
                  <a:ext uri="{FF2B5EF4-FFF2-40B4-BE49-F238E27FC236}">
                    <a16:creationId xmlns:a16="http://schemas.microsoft.com/office/drawing/2014/main" id="{D86B2CE6-D757-733F-BAEB-2C98CA6059F8}"/>
                  </a:ext>
                </a:extLst>
              </p:cNvPr>
              <p:cNvSpPr/>
              <p:nvPr/>
            </p:nvSpPr>
            <p:spPr>
              <a:xfrm>
                <a:off x="1267878" y="212828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46" name="Freeform 704">
                <a:extLst>
                  <a:ext uri="{FF2B5EF4-FFF2-40B4-BE49-F238E27FC236}">
                    <a16:creationId xmlns:a16="http://schemas.microsoft.com/office/drawing/2014/main" id="{A801ABC9-7C46-F16E-D04E-14B5AB1D8BF6}"/>
                  </a:ext>
                </a:extLst>
              </p:cNvPr>
              <p:cNvSpPr/>
              <p:nvPr/>
            </p:nvSpPr>
            <p:spPr>
              <a:xfrm>
                <a:off x="1257011" y="211969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47" name="Freeform 705">
                <a:extLst>
                  <a:ext uri="{FF2B5EF4-FFF2-40B4-BE49-F238E27FC236}">
                    <a16:creationId xmlns:a16="http://schemas.microsoft.com/office/drawing/2014/main" id="{D3A4C197-8FF9-8F85-2004-62F5DBB20737}"/>
                  </a:ext>
                </a:extLst>
              </p:cNvPr>
              <p:cNvSpPr/>
              <p:nvPr/>
            </p:nvSpPr>
            <p:spPr>
              <a:xfrm>
                <a:off x="1246144" y="2108817"/>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48" name="Freeform 706">
                <a:extLst>
                  <a:ext uri="{FF2B5EF4-FFF2-40B4-BE49-F238E27FC236}">
                    <a16:creationId xmlns:a16="http://schemas.microsoft.com/office/drawing/2014/main" id="{15D6C5D2-FAC2-2F35-124D-03050DE47C63}"/>
                  </a:ext>
                </a:extLst>
              </p:cNvPr>
              <p:cNvSpPr/>
              <p:nvPr/>
            </p:nvSpPr>
            <p:spPr>
              <a:xfrm>
                <a:off x="1221913" y="2162596"/>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49" name="Freeform 707">
                <a:extLst>
                  <a:ext uri="{FF2B5EF4-FFF2-40B4-BE49-F238E27FC236}">
                    <a16:creationId xmlns:a16="http://schemas.microsoft.com/office/drawing/2014/main" id="{1E335182-9C56-A467-7BCF-31E0DF5EBC45}"/>
                  </a:ext>
                </a:extLst>
              </p:cNvPr>
              <p:cNvSpPr/>
              <p:nvPr/>
            </p:nvSpPr>
            <p:spPr>
              <a:xfrm>
                <a:off x="1222868" y="20816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50" name="Freeform 708">
                <a:extLst>
                  <a:ext uri="{FF2B5EF4-FFF2-40B4-BE49-F238E27FC236}">
                    <a16:creationId xmlns:a16="http://schemas.microsoft.com/office/drawing/2014/main" id="{D9C4B5AA-C578-7196-376B-4C4BBB091BCF}"/>
                  </a:ext>
                </a:extLst>
              </p:cNvPr>
              <p:cNvSpPr/>
              <p:nvPr/>
            </p:nvSpPr>
            <p:spPr>
              <a:xfrm>
                <a:off x="1216260" y="207502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51" name="Freeform 709">
                <a:extLst>
                  <a:ext uri="{FF2B5EF4-FFF2-40B4-BE49-F238E27FC236}">
                    <a16:creationId xmlns:a16="http://schemas.microsoft.com/office/drawing/2014/main" id="{59FDC521-EA9C-168A-C88D-02475EA3BE5F}"/>
                  </a:ext>
                </a:extLst>
              </p:cNvPr>
              <p:cNvSpPr/>
              <p:nvPr/>
            </p:nvSpPr>
            <p:spPr>
              <a:xfrm>
                <a:off x="1210826" y="207502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52" name="Freeform 710">
                <a:extLst>
                  <a:ext uri="{FF2B5EF4-FFF2-40B4-BE49-F238E27FC236}">
                    <a16:creationId xmlns:a16="http://schemas.microsoft.com/office/drawing/2014/main" id="{7027FE54-C634-B6E1-060F-B313BEE923D0}"/>
                  </a:ext>
                </a:extLst>
              </p:cNvPr>
              <p:cNvSpPr/>
              <p:nvPr/>
            </p:nvSpPr>
            <p:spPr>
              <a:xfrm>
                <a:off x="1203043" y="20556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53" name="Freeform 711">
                <a:extLst>
                  <a:ext uri="{FF2B5EF4-FFF2-40B4-BE49-F238E27FC236}">
                    <a16:creationId xmlns:a16="http://schemas.microsoft.com/office/drawing/2014/main" id="{E1D61173-0479-02AB-CC1B-F31EBC4B396C}"/>
                  </a:ext>
                </a:extLst>
              </p:cNvPr>
              <p:cNvSpPr/>
              <p:nvPr/>
            </p:nvSpPr>
            <p:spPr>
              <a:xfrm>
                <a:off x="1194526" y="20556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54" name="Freeform 712">
                <a:extLst>
                  <a:ext uri="{FF2B5EF4-FFF2-40B4-BE49-F238E27FC236}">
                    <a16:creationId xmlns:a16="http://schemas.microsoft.com/office/drawing/2014/main" id="{20055068-BA2D-0AD6-21B3-1BF7ECE233EC}"/>
                  </a:ext>
                </a:extLst>
              </p:cNvPr>
              <p:cNvSpPr/>
              <p:nvPr/>
            </p:nvSpPr>
            <p:spPr>
              <a:xfrm>
                <a:off x="1182851" y="20556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55" name="Freeform 713">
                <a:extLst>
                  <a:ext uri="{FF2B5EF4-FFF2-40B4-BE49-F238E27FC236}">
                    <a16:creationId xmlns:a16="http://schemas.microsoft.com/office/drawing/2014/main" id="{41E1DCB5-EE6F-5891-8958-D631F13B72EF}"/>
                  </a:ext>
                </a:extLst>
              </p:cNvPr>
              <p:cNvSpPr/>
              <p:nvPr/>
            </p:nvSpPr>
            <p:spPr>
              <a:xfrm>
                <a:off x="1189092" y="2055625"/>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56" name="Freeform 714">
                <a:extLst>
                  <a:ext uri="{FF2B5EF4-FFF2-40B4-BE49-F238E27FC236}">
                    <a16:creationId xmlns:a16="http://schemas.microsoft.com/office/drawing/2014/main" id="{30EED486-4459-9869-55EC-A208E19F6223}"/>
                  </a:ext>
                </a:extLst>
              </p:cNvPr>
              <p:cNvSpPr/>
              <p:nvPr/>
            </p:nvSpPr>
            <p:spPr>
              <a:xfrm>
                <a:off x="1181676" y="2054450"/>
                <a:ext cx="7342" cy="76995"/>
              </a:xfrm>
              <a:custGeom>
                <a:avLst/>
                <a:gdLst>
                  <a:gd name="connsiteX0" fmla="*/ 0 w 7342"/>
                  <a:gd name="connsiteY0" fmla="*/ 0 h 76995"/>
                  <a:gd name="connsiteX1" fmla="*/ 0 w 7342"/>
                  <a:gd name="connsiteY1" fmla="*/ 76996 h 76995"/>
                </a:gdLst>
                <a:ahLst/>
                <a:cxnLst>
                  <a:cxn ang="0">
                    <a:pos x="connsiteX0" y="connsiteY0"/>
                  </a:cxn>
                  <a:cxn ang="0">
                    <a:pos x="connsiteX1" y="connsiteY1"/>
                  </a:cxn>
                </a:cxnLst>
                <a:rect l="l" t="t" r="r" b="b"/>
                <a:pathLst>
                  <a:path w="7342" h="76995">
                    <a:moveTo>
                      <a:pt x="0" y="0"/>
                    </a:moveTo>
                    <a:lnTo>
                      <a:pt x="0" y="7699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57" name="Freeform 715">
                <a:extLst>
                  <a:ext uri="{FF2B5EF4-FFF2-40B4-BE49-F238E27FC236}">
                    <a16:creationId xmlns:a16="http://schemas.microsoft.com/office/drawing/2014/main" id="{5675C2C1-EE60-88B6-7B97-71EE4D5AF361}"/>
                  </a:ext>
                </a:extLst>
              </p:cNvPr>
              <p:cNvSpPr/>
              <p:nvPr/>
            </p:nvSpPr>
            <p:spPr>
              <a:xfrm>
                <a:off x="1173159" y="2054450"/>
                <a:ext cx="7342" cy="67665"/>
              </a:xfrm>
              <a:custGeom>
                <a:avLst/>
                <a:gdLst>
                  <a:gd name="connsiteX0" fmla="*/ 0 w 7342"/>
                  <a:gd name="connsiteY0" fmla="*/ 0 h 67665"/>
                  <a:gd name="connsiteX1" fmla="*/ 0 w 7342"/>
                  <a:gd name="connsiteY1" fmla="*/ 67665 h 67665"/>
                </a:gdLst>
                <a:ahLst/>
                <a:cxnLst>
                  <a:cxn ang="0">
                    <a:pos x="connsiteX0" y="connsiteY0"/>
                  </a:cxn>
                  <a:cxn ang="0">
                    <a:pos x="connsiteX1" y="connsiteY1"/>
                  </a:cxn>
                </a:cxnLst>
                <a:rect l="l" t="t" r="r" b="b"/>
                <a:pathLst>
                  <a:path w="7342" h="67665">
                    <a:moveTo>
                      <a:pt x="0" y="0"/>
                    </a:moveTo>
                    <a:lnTo>
                      <a:pt x="0" y="67665"/>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58" name="Freeform 716">
                <a:extLst>
                  <a:ext uri="{FF2B5EF4-FFF2-40B4-BE49-F238E27FC236}">
                    <a16:creationId xmlns:a16="http://schemas.microsoft.com/office/drawing/2014/main" id="{47EA8CA6-9497-26F0-8E7D-FD7F27EF5791}"/>
                  </a:ext>
                </a:extLst>
              </p:cNvPr>
              <p:cNvSpPr/>
              <p:nvPr/>
            </p:nvSpPr>
            <p:spPr>
              <a:xfrm>
                <a:off x="1163099" y="2054450"/>
                <a:ext cx="7342" cy="67665"/>
              </a:xfrm>
              <a:custGeom>
                <a:avLst/>
                <a:gdLst>
                  <a:gd name="connsiteX0" fmla="*/ 0 w 7342"/>
                  <a:gd name="connsiteY0" fmla="*/ 0 h 67665"/>
                  <a:gd name="connsiteX1" fmla="*/ 0 w 7342"/>
                  <a:gd name="connsiteY1" fmla="*/ 67665 h 67665"/>
                </a:gdLst>
                <a:ahLst/>
                <a:cxnLst>
                  <a:cxn ang="0">
                    <a:pos x="connsiteX0" y="connsiteY0"/>
                  </a:cxn>
                  <a:cxn ang="0">
                    <a:pos x="connsiteX1" y="connsiteY1"/>
                  </a:cxn>
                </a:cxnLst>
                <a:rect l="l" t="t" r="r" b="b"/>
                <a:pathLst>
                  <a:path w="7342" h="67665">
                    <a:moveTo>
                      <a:pt x="0" y="0"/>
                    </a:moveTo>
                    <a:lnTo>
                      <a:pt x="0" y="67665"/>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559" name="Freeform 717">
                <a:extLst>
                  <a:ext uri="{FF2B5EF4-FFF2-40B4-BE49-F238E27FC236}">
                    <a16:creationId xmlns:a16="http://schemas.microsoft.com/office/drawing/2014/main" id="{A2D79690-F58F-D80B-E9D4-FC46E0DE89B5}"/>
                  </a:ext>
                </a:extLst>
              </p:cNvPr>
              <p:cNvSpPr/>
              <p:nvPr/>
            </p:nvSpPr>
            <p:spPr>
              <a:xfrm>
                <a:off x="1157666" y="2054450"/>
                <a:ext cx="7342" cy="67665"/>
              </a:xfrm>
              <a:custGeom>
                <a:avLst/>
                <a:gdLst>
                  <a:gd name="connsiteX0" fmla="*/ 0 w 7342"/>
                  <a:gd name="connsiteY0" fmla="*/ 0 h 67665"/>
                  <a:gd name="connsiteX1" fmla="*/ 0 w 7342"/>
                  <a:gd name="connsiteY1" fmla="*/ 67665 h 67665"/>
                </a:gdLst>
                <a:ahLst/>
                <a:cxnLst>
                  <a:cxn ang="0">
                    <a:pos x="connsiteX0" y="connsiteY0"/>
                  </a:cxn>
                  <a:cxn ang="0">
                    <a:pos x="connsiteX1" y="connsiteY1"/>
                  </a:cxn>
                </a:cxnLst>
                <a:rect l="l" t="t" r="r" b="b"/>
                <a:pathLst>
                  <a:path w="7342" h="67665">
                    <a:moveTo>
                      <a:pt x="0" y="0"/>
                    </a:moveTo>
                    <a:lnTo>
                      <a:pt x="0" y="67665"/>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81" name="Graphic 126">
              <a:extLst>
                <a:ext uri="{FF2B5EF4-FFF2-40B4-BE49-F238E27FC236}">
                  <a16:creationId xmlns:a16="http://schemas.microsoft.com/office/drawing/2014/main" id="{53617106-C020-1955-2233-4ACC54D8016E}"/>
                </a:ext>
              </a:extLst>
            </p:cNvPr>
            <p:cNvGrpSpPr/>
            <p:nvPr/>
          </p:nvGrpSpPr>
          <p:grpSpPr>
            <a:xfrm>
              <a:off x="4485999" y="4053258"/>
              <a:ext cx="95086" cy="95142"/>
              <a:chOff x="4485999" y="4053258"/>
              <a:chExt cx="95086" cy="95142"/>
            </a:xfrm>
          </p:grpSpPr>
          <p:sp>
            <p:nvSpPr>
              <p:cNvPr id="209" name="Freeform 719">
                <a:extLst>
                  <a:ext uri="{FF2B5EF4-FFF2-40B4-BE49-F238E27FC236}">
                    <a16:creationId xmlns:a16="http://schemas.microsoft.com/office/drawing/2014/main" id="{442D0631-5F1B-2ABF-F868-7E1C77CE32FA}"/>
                  </a:ext>
                </a:extLst>
              </p:cNvPr>
              <p:cNvSpPr/>
              <p:nvPr/>
            </p:nvSpPr>
            <p:spPr>
              <a:xfrm>
                <a:off x="4533505" y="40532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10" name="Freeform 720">
                <a:extLst>
                  <a:ext uri="{FF2B5EF4-FFF2-40B4-BE49-F238E27FC236}">
                    <a16:creationId xmlns:a16="http://schemas.microsoft.com/office/drawing/2014/main" id="{5DEAD99F-A437-3E52-0263-BD76E651FB22}"/>
                  </a:ext>
                </a:extLst>
              </p:cNvPr>
              <p:cNvSpPr/>
              <p:nvPr/>
            </p:nvSpPr>
            <p:spPr>
              <a:xfrm>
                <a:off x="4485999" y="4100866"/>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82" name="Graphic 126">
              <a:extLst>
                <a:ext uri="{FF2B5EF4-FFF2-40B4-BE49-F238E27FC236}">
                  <a16:creationId xmlns:a16="http://schemas.microsoft.com/office/drawing/2014/main" id="{710F8B9A-240B-07CF-F8CD-B9CC64DC0613}"/>
                </a:ext>
              </a:extLst>
            </p:cNvPr>
            <p:cNvGrpSpPr/>
            <p:nvPr/>
          </p:nvGrpSpPr>
          <p:grpSpPr>
            <a:xfrm>
              <a:off x="4506191" y="4063396"/>
              <a:ext cx="95086" cy="124604"/>
              <a:chOff x="4506191" y="4063396"/>
              <a:chExt cx="95086" cy="124604"/>
            </a:xfrm>
          </p:grpSpPr>
          <p:sp>
            <p:nvSpPr>
              <p:cNvPr id="204" name="Freeform 722">
                <a:extLst>
                  <a:ext uri="{FF2B5EF4-FFF2-40B4-BE49-F238E27FC236}">
                    <a16:creationId xmlns:a16="http://schemas.microsoft.com/office/drawing/2014/main" id="{4B42E129-FDA1-1C78-C7D6-A4ED1E430BFD}"/>
                  </a:ext>
                </a:extLst>
              </p:cNvPr>
              <p:cNvSpPr/>
              <p:nvPr/>
            </p:nvSpPr>
            <p:spPr>
              <a:xfrm>
                <a:off x="4553698" y="406339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05" name="Freeform 723">
                <a:extLst>
                  <a:ext uri="{FF2B5EF4-FFF2-40B4-BE49-F238E27FC236}">
                    <a16:creationId xmlns:a16="http://schemas.microsoft.com/office/drawing/2014/main" id="{FBD4617A-F92B-E5AD-CBAB-541373A3FB6D}"/>
                  </a:ext>
                </a:extLst>
              </p:cNvPr>
              <p:cNvSpPr/>
              <p:nvPr/>
            </p:nvSpPr>
            <p:spPr>
              <a:xfrm>
                <a:off x="4506191" y="4110931"/>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06" name="Freeform 724">
                <a:extLst>
                  <a:ext uri="{FF2B5EF4-FFF2-40B4-BE49-F238E27FC236}">
                    <a16:creationId xmlns:a16="http://schemas.microsoft.com/office/drawing/2014/main" id="{4DAF523F-1411-59AD-5B0D-A260503D54E0}"/>
                  </a:ext>
                </a:extLst>
              </p:cNvPr>
              <p:cNvSpPr/>
              <p:nvPr/>
            </p:nvSpPr>
            <p:spPr>
              <a:xfrm>
                <a:off x="4564565" y="4068833"/>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07" name="Freeform 725">
                <a:extLst>
                  <a:ext uri="{FF2B5EF4-FFF2-40B4-BE49-F238E27FC236}">
                    <a16:creationId xmlns:a16="http://schemas.microsoft.com/office/drawing/2014/main" id="{401F0227-60B4-1AAB-5718-928F1544251E}"/>
                  </a:ext>
                </a:extLst>
              </p:cNvPr>
              <p:cNvSpPr/>
              <p:nvPr/>
            </p:nvSpPr>
            <p:spPr>
              <a:xfrm>
                <a:off x="4575432" y="4071111"/>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08" name="Freeform 726">
                <a:extLst>
                  <a:ext uri="{FF2B5EF4-FFF2-40B4-BE49-F238E27FC236}">
                    <a16:creationId xmlns:a16="http://schemas.microsoft.com/office/drawing/2014/main" id="{490A64F8-31A3-EFC8-1511-E9642ADC8203}"/>
                  </a:ext>
                </a:extLst>
              </p:cNvPr>
              <p:cNvSpPr/>
              <p:nvPr/>
            </p:nvSpPr>
            <p:spPr>
              <a:xfrm>
                <a:off x="4585565" y="40928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83" name="Graphic 126">
              <a:extLst>
                <a:ext uri="{FF2B5EF4-FFF2-40B4-BE49-F238E27FC236}">
                  <a16:creationId xmlns:a16="http://schemas.microsoft.com/office/drawing/2014/main" id="{25448739-13CD-D957-994F-6FE58235D216}"/>
                </a:ext>
              </a:extLst>
            </p:cNvPr>
            <p:cNvGrpSpPr/>
            <p:nvPr/>
          </p:nvGrpSpPr>
          <p:grpSpPr>
            <a:xfrm>
              <a:off x="4721990" y="4197772"/>
              <a:ext cx="95086" cy="95142"/>
              <a:chOff x="4721990" y="4197772"/>
              <a:chExt cx="95086" cy="95142"/>
            </a:xfrm>
          </p:grpSpPr>
          <p:sp>
            <p:nvSpPr>
              <p:cNvPr id="202" name="Freeform 728">
                <a:extLst>
                  <a:ext uri="{FF2B5EF4-FFF2-40B4-BE49-F238E27FC236}">
                    <a16:creationId xmlns:a16="http://schemas.microsoft.com/office/drawing/2014/main" id="{AB1A199C-7A07-EF59-27F3-871F4E880F32}"/>
                  </a:ext>
                </a:extLst>
              </p:cNvPr>
              <p:cNvSpPr/>
              <p:nvPr/>
            </p:nvSpPr>
            <p:spPr>
              <a:xfrm>
                <a:off x="4769570" y="41977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03" name="Freeform 729">
                <a:extLst>
                  <a:ext uri="{FF2B5EF4-FFF2-40B4-BE49-F238E27FC236}">
                    <a16:creationId xmlns:a16="http://schemas.microsoft.com/office/drawing/2014/main" id="{155FB759-A328-EFFE-8C66-F23BE05D0E6E}"/>
                  </a:ext>
                </a:extLst>
              </p:cNvPr>
              <p:cNvSpPr/>
              <p:nvPr/>
            </p:nvSpPr>
            <p:spPr>
              <a:xfrm>
                <a:off x="4721990" y="424530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84" name="Graphic 126">
              <a:extLst>
                <a:ext uri="{FF2B5EF4-FFF2-40B4-BE49-F238E27FC236}">
                  <a16:creationId xmlns:a16="http://schemas.microsoft.com/office/drawing/2014/main" id="{3F48B29E-7F19-74D9-C3B6-1A6C43C1EAD1}"/>
                </a:ext>
              </a:extLst>
            </p:cNvPr>
            <p:cNvGrpSpPr/>
            <p:nvPr/>
          </p:nvGrpSpPr>
          <p:grpSpPr>
            <a:xfrm>
              <a:off x="4715823" y="4197772"/>
              <a:ext cx="95086" cy="95142"/>
              <a:chOff x="4715823" y="4197772"/>
              <a:chExt cx="95086" cy="95142"/>
            </a:xfrm>
          </p:grpSpPr>
          <p:sp>
            <p:nvSpPr>
              <p:cNvPr id="200" name="Freeform 731">
                <a:extLst>
                  <a:ext uri="{FF2B5EF4-FFF2-40B4-BE49-F238E27FC236}">
                    <a16:creationId xmlns:a16="http://schemas.microsoft.com/office/drawing/2014/main" id="{FD69B2B9-6266-A595-E495-888503483A9A}"/>
                  </a:ext>
                </a:extLst>
              </p:cNvPr>
              <p:cNvSpPr/>
              <p:nvPr/>
            </p:nvSpPr>
            <p:spPr>
              <a:xfrm>
                <a:off x="4763329" y="41977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201" name="Freeform 732">
                <a:extLst>
                  <a:ext uri="{FF2B5EF4-FFF2-40B4-BE49-F238E27FC236}">
                    <a16:creationId xmlns:a16="http://schemas.microsoft.com/office/drawing/2014/main" id="{84639BF1-0684-FF91-4062-CC49BB053E7F}"/>
                  </a:ext>
                </a:extLst>
              </p:cNvPr>
              <p:cNvSpPr/>
              <p:nvPr/>
            </p:nvSpPr>
            <p:spPr>
              <a:xfrm>
                <a:off x="4715823" y="4245307"/>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85" name="Graphic 126">
              <a:extLst>
                <a:ext uri="{FF2B5EF4-FFF2-40B4-BE49-F238E27FC236}">
                  <a16:creationId xmlns:a16="http://schemas.microsoft.com/office/drawing/2014/main" id="{813CDCED-296E-F22E-EE28-3C3D813AA26D}"/>
                </a:ext>
              </a:extLst>
            </p:cNvPr>
            <p:cNvGrpSpPr/>
            <p:nvPr/>
          </p:nvGrpSpPr>
          <p:grpSpPr>
            <a:xfrm>
              <a:off x="4704882" y="4197772"/>
              <a:ext cx="95160" cy="95142"/>
              <a:chOff x="4704882" y="4197772"/>
              <a:chExt cx="95160" cy="95142"/>
            </a:xfrm>
          </p:grpSpPr>
          <p:sp>
            <p:nvSpPr>
              <p:cNvPr id="198" name="Freeform 734">
                <a:extLst>
                  <a:ext uri="{FF2B5EF4-FFF2-40B4-BE49-F238E27FC236}">
                    <a16:creationId xmlns:a16="http://schemas.microsoft.com/office/drawing/2014/main" id="{5372D7E3-3A7E-AC51-F05F-0C5FA0BAC840}"/>
                  </a:ext>
                </a:extLst>
              </p:cNvPr>
              <p:cNvSpPr/>
              <p:nvPr/>
            </p:nvSpPr>
            <p:spPr>
              <a:xfrm>
                <a:off x="4752462" y="41977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99" name="Freeform 735">
                <a:extLst>
                  <a:ext uri="{FF2B5EF4-FFF2-40B4-BE49-F238E27FC236}">
                    <a16:creationId xmlns:a16="http://schemas.microsoft.com/office/drawing/2014/main" id="{845BC1C0-7069-03CA-A9E3-72A953132871}"/>
                  </a:ext>
                </a:extLst>
              </p:cNvPr>
              <p:cNvSpPr/>
              <p:nvPr/>
            </p:nvSpPr>
            <p:spPr>
              <a:xfrm>
                <a:off x="4704882" y="4245307"/>
                <a:ext cx="95160" cy="7346"/>
              </a:xfrm>
              <a:custGeom>
                <a:avLst/>
                <a:gdLst>
                  <a:gd name="connsiteX0" fmla="*/ 95160 w 95160"/>
                  <a:gd name="connsiteY0" fmla="*/ 0 h 7346"/>
                  <a:gd name="connsiteX1" fmla="*/ 0 w 95160"/>
                  <a:gd name="connsiteY1" fmla="*/ 0 h 7346"/>
                </a:gdLst>
                <a:ahLst/>
                <a:cxnLst>
                  <a:cxn ang="0">
                    <a:pos x="connsiteX0" y="connsiteY0"/>
                  </a:cxn>
                  <a:cxn ang="0">
                    <a:pos x="connsiteX1" y="connsiteY1"/>
                  </a:cxn>
                </a:cxnLst>
                <a:rect l="l" t="t" r="r" b="b"/>
                <a:pathLst>
                  <a:path w="95160" h="7346">
                    <a:moveTo>
                      <a:pt x="95160"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sp>
          <p:nvSpPr>
            <p:cNvPr id="186" name="Freeform 736">
              <a:extLst>
                <a:ext uri="{FF2B5EF4-FFF2-40B4-BE49-F238E27FC236}">
                  <a16:creationId xmlns:a16="http://schemas.microsoft.com/office/drawing/2014/main" id="{AFA6F5D1-61A7-F840-ED94-A54579721AF2}"/>
                </a:ext>
              </a:extLst>
            </p:cNvPr>
            <p:cNvSpPr/>
            <p:nvPr/>
          </p:nvSpPr>
          <p:spPr>
            <a:xfrm>
              <a:off x="4733078" y="4197772"/>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87" name="Freeform 737">
              <a:extLst>
                <a:ext uri="{FF2B5EF4-FFF2-40B4-BE49-F238E27FC236}">
                  <a16:creationId xmlns:a16="http://schemas.microsoft.com/office/drawing/2014/main" id="{25623AAA-48DC-7E47-5FB2-40D554C62CB3}"/>
                </a:ext>
              </a:extLst>
            </p:cNvPr>
            <p:cNvSpPr/>
            <p:nvPr/>
          </p:nvSpPr>
          <p:spPr>
            <a:xfrm>
              <a:off x="4726102" y="4182196"/>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nvGrpSpPr>
            <p:cNvPr id="188" name="Graphic 126">
              <a:extLst>
                <a:ext uri="{FF2B5EF4-FFF2-40B4-BE49-F238E27FC236}">
                  <a16:creationId xmlns:a16="http://schemas.microsoft.com/office/drawing/2014/main" id="{8BD9F22F-41BA-F2B8-F64A-6702B00E6714}"/>
                </a:ext>
              </a:extLst>
            </p:cNvPr>
            <p:cNvGrpSpPr/>
            <p:nvPr/>
          </p:nvGrpSpPr>
          <p:grpSpPr>
            <a:xfrm>
              <a:off x="4670739" y="4172866"/>
              <a:ext cx="95086" cy="95216"/>
              <a:chOff x="4670739" y="4172866"/>
              <a:chExt cx="95086" cy="95216"/>
            </a:xfrm>
          </p:grpSpPr>
          <p:sp>
            <p:nvSpPr>
              <p:cNvPr id="196" name="Freeform 739">
                <a:extLst>
                  <a:ext uri="{FF2B5EF4-FFF2-40B4-BE49-F238E27FC236}">
                    <a16:creationId xmlns:a16="http://schemas.microsoft.com/office/drawing/2014/main" id="{98C0EAF1-D780-465F-3917-A3E09566306A}"/>
                  </a:ext>
                </a:extLst>
              </p:cNvPr>
              <p:cNvSpPr/>
              <p:nvPr/>
            </p:nvSpPr>
            <p:spPr>
              <a:xfrm>
                <a:off x="4718319" y="4172866"/>
                <a:ext cx="7342" cy="95216"/>
              </a:xfrm>
              <a:custGeom>
                <a:avLst/>
                <a:gdLst>
                  <a:gd name="connsiteX0" fmla="*/ 0 w 7342"/>
                  <a:gd name="connsiteY0" fmla="*/ 0 h 95216"/>
                  <a:gd name="connsiteX1" fmla="*/ 0 w 7342"/>
                  <a:gd name="connsiteY1" fmla="*/ 95216 h 95216"/>
                </a:gdLst>
                <a:ahLst/>
                <a:cxnLst>
                  <a:cxn ang="0">
                    <a:pos x="connsiteX0" y="connsiteY0"/>
                  </a:cxn>
                  <a:cxn ang="0">
                    <a:pos x="connsiteX1" y="connsiteY1"/>
                  </a:cxn>
                </a:cxnLst>
                <a:rect l="l" t="t" r="r" b="b"/>
                <a:pathLst>
                  <a:path w="7342" h="95216">
                    <a:moveTo>
                      <a:pt x="0" y="0"/>
                    </a:moveTo>
                    <a:lnTo>
                      <a:pt x="0" y="95216"/>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97" name="Freeform 740">
                <a:extLst>
                  <a:ext uri="{FF2B5EF4-FFF2-40B4-BE49-F238E27FC236}">
                    <a16:creationId xmlns:a16="http://schemas.microsoft.com/office/drawing/2014/main" id="{7636DB18-24D4-A756-C26D-4A43216B684B}"/>
                  </a:ext>
                </a:extLst>
              </p:cNvPr>
              <p:cNvSpPr/>
              <p:nvPr/>
            </p:nvSpPr>
            <p:spPr>
              <a:xfrm>
                <a:off x="4670739" y="4220474"/>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nvGrpSpPr>
            <p:cNvPr id="189" name="Graphic 126">
              <a:extLst>
                <a:ext uri="{FF2B5EF4-FFF2-40B4-BE49-F238E27FC236}">
                  <a16:creationId xmlns:a16="http://schemas.microsoft.com/office/drawing/2014/main" id="{F43C3238-5BC9-D5DB-2970-E0ED63891AA6}"/>
                </a:ext>
              </a:extLst>
            </p:cNvPr>
            <p:cNvGrpSpPr/>
            <p:nvPr/>
          </p:nvGrpSpPr>
          <p:grpSpPr>
            <a:xfrm>
              <a:off x="4659872" y="4169780"/>
              <a:ext cx="95086" cy="95142"/>
              <a:chOff x="4659872" y="4169780"/>
              <a:chExt cx="95086" cy="95142"/>
            </a:xfrm>
          </p:grpSpPr>
          <p:sp>
            <p:nvSpPr>
              <p:cNvPr id="194" name="Freeform 742">
                <a:extLst>
                  <a:ext uri="{FF2B5EF4-FFF2-40B4-BE49-F238E27FC236}">
                    <a16:creationId xmlns:a16="http://schemas.microsoft.com/office/drawing/2014/main" id="{ED8E9A3F-59BE-44C3-A263-5F80E8FD0E3E}"/>
                  </a:ext>
                </a:extLst>
              </p:cNvPr>
              <p:cNvSpPr/>
              <p:nvPr/>
            </p:nvSpPr>
            <p:spPr>
              <a:xfrm>
                <a:off x="4707452" y="416978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95" name="Freeform 743">
                <a:extLst>
                  <a:ext uri="{FF2B5EF4-FFF2-40B4-BE49-F238E27FC236}">
                    <a16:creationId xmlns:a16="http://schemas.microsoft.com/office/drawing/2014/main" id="{E9D4D17D-3444-4661-19B6-F63409FDA85F}"/>
                  </a:ext>
                </a:extLst>
              </p:cNvPr>
              <p:cNvSpPr/>
              <p:nvPr/>
            </p:nvSpPr>
            <p:spPr>
              <a:xfrm>
                <a:off x="4659872" y="4217388"/>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sp>
          <p:nvSpPr>
            <p:cNvPr id="190" name="Freeform 744">
              <a:extLst>
                <a:ext uri="{FF2B5EF4-FFF2-40B4-BE49-F238E27FC236}">
                  <a16:creationId xmlns:a16="http://schemas.microsoft.com/office/drawing/2014/main" id="{84E0FBD5-FF99-5540-990B-A0587C97569B}"/>
                </a:ext>
              </a:extLst>
            </p:cNvPr>
            <p:cNvSpPr/>
            <p:nvPr/>
          </p:nvSpPr>
          <p:spPr>
            <a:xfrm>
              <a:off x="4697319" y="4169780"/>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nvGrpSpPr>
            <p:cNvPr id="191" name="Graphic 126">
              <a:extLst>
                <a:ext uri="{FF2B5EF4-FFF2-40B4-BE49-F238E27FC236}">
                  <a16:creationId xmlns:a16="http://schemas.microsoft.com/office/drawing/2014/main" id="{67686D9B-6229-826B-34DF-FA2455B8D95E}"/>
                </a:ext>
              </a:extLst>
            </p:cNvPr>
            <p:cNvGrpSpPr/>
            <p:nvPr/>
          </p:nvGrpSpPr>
          <p:grpSpPr>
            <a:xfrm>
              <a:off x="5222096" y="4312458"/>
              <a:ext cx="95086" cy="95142"/>
              <a:chOff x="5222096" y="4312458"/>
              <a:chExt cx="95086" cy="95142"/>
            </a:xfrm>
          </p:grpSpPr>
          <p:sp>
            <p:nvSpPr>
              <p:cNvPr id="192" name="Freeform 746">
                <a:extLst>
                  <a:ext uri="{FF2B5EF4-FFF2-40B4-BE49-F238E27FC236}">
                    <a16:creationId xmlns:a16="http://schemas.microsoft.com/office/drawing/2014/main" id="{9499085D-45EC-4145-BD64-CA26DE3C8A6C}"/>
                  </a:ext>
                </a:extLst>
              </p:cNvPr>
              <p:cNvSpPr/>
              <p:nvPr/>
            </p:nvSpPr>
            <p:spPr>
              <a:xfrm>
                <a:off x="5269602" y="4312458"/>
                <a:ext cx="7342" cy="95142"/>
              </a:xfrm>
              <a:custGeom>
                <a:avLst/>
                <a:gdLst>
                  <a:gd name="connsiteX0" fmla="*/ 0 w 7342"/>
                  <a:gd name="connsiteY0" fmla="*/ 0 h 95142"/>
                  <a:gd name="connsiteX1" fmla="*/ 0 w 7342"/>
                  <a:gd name="connsiteY1" fmla="*/ 95143 h 95142"/>
                </a:gdLst>
                <a:ahLst/>
                <a:cxnLst>
                  <a:cxn ang="0">
                    <a:pos x="connsiteX0" y="connsiteY0"/>
                  </a:cxn>
                  <a:cxn ang="0">
                    <a:pos x="connsiteX1" y="connsiteY1"/>
                  </a:cxn>
                </a:cxnLst>
                <a:rect l="l" t="t" r="r" b="b"/>
                <a:pathLst>
                  <a:path w="7342" h="95142">
                    <a:moveTo>
                      <a:pt x="0" y="0"/>
                    </a:moveTo>
                    <a:lnTo>
                      <a:pt x="0" y="95143"/>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193" name="Freeform 747">
                <a:extLst>
                  <a:ext uri="{FF2B5EF4-FFF2-40B4-BE49-F238E27FC236}">
                    <a16:creationId xmlns:a16="http://schemas.microsoft.com/office/drawing/2014/main" id="{8DF1EC22-15DC-4D67-1A3B-292EA71FC797}"/>
                  </a:ext>
                </a:extLst>
              </p:cNvPr>
              <p:cNvSpPr/>
              <p:nvPr/>
            </p:nvSpPr>
            <p:spPr>
              <a:xfrm>
                <a:off x="5222096" y="4359992"/>
                <a:ext cx="95086" cy="7346"/>
              </a:xfrm>
              <a:custGeom>
                <a:avLst/>
                <a:gdLst>
                  <a:gd name="connsiteX0" fmla="*/ 95087 w 95086"/>
                  <a:gd name="connsiteY0" fmla="*/ 0 h 7346"/>
                  <a:gd name="connsiteX1" fmla="*/ 0 w 95086"/>
                  <a:gd name="connsiteY1" fmla="*/ 0 h 7346"/>
                </a:gdLst>
                <a:ahLst/>
                <a:cxnLst>
                  <a:cxn ang="0">
                    <a:pos x="connsiteX0" y="connsiteY0"/>
                  </a:cxn>
                  <a:cxn ang="0">
                    <a:pos x="connsiteX1" y="connsiteY1"/>
                  </a:cxn>
                </a:cxnLst>
                <a:rect l="l" t="t" r="r" b="b"/>
                <a:pathLst>
                  <a:path w="95086" h="7346">
                    <a:moveTo>
                      <a:pt x="95087" y="0"/>
                    </a:moveTo>
                    <a:lnTo>
                      <a:pt x="0" y="0"/>
                    </a:lnTo>
                  </a:path>
                </a:pathLst>
              </a:custGeom>
              <a:ln w="11011"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grpSp>
      </p:grpSp>
      <p:graphicFrame>
        <p:nvGraphicFramePr>
          <p:cNvPr id="719" name="Table 718">
            <a:extLst>
              <a:ext uri="{FF2B5EF4-FFF2-40B4-BE49-F238E27FC236}">
                <a16:creationId xmlns:a16="http://schemas.microsoft.com/office/drawing/2014/main" id="{8908A393-7B52-5678-33CC-2C37807D146D}"/>
              </a:ext>
            </a:extLst>
          </p:cNvPr>
          <p:cNvGraphicFramePr>
            <a:graphicFrameLocks noGrp="1"/>
          </p:cNvGraphicFramePr>
          <p:nvPr/>
        </p:nvGraphicFramePr>
        <p:xfrm>
          <a:off x="1168349" y="5906486"/>
          <a:ext cx="8136000" cy="21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3275448832"/>
                    </a:ext>
                  </a:extLst>
                </a:gridCol>
                <a:gridCol w="396000">
                  <a:extLst>
                    <a:ext uri="{9D8B030D-6E8A-4147-A177-3AD203B41FA5}">
                      <a16:colId xmlns:a16="http://schemas.microsoft.com/office/drawing/2014/main" val="3542188817"/>
                    </a:ext>
                  </a:extLst>
                </a:gridCol>
                <a:gridCol w="360000">
                  <a:extLst>
                    <a:ext uri="{9D8B030D-6E8A-4147-A177-3AD203B41FA5}">
                      <a16:colId xmlns:a16="http://schemas.microsoft.com/office/drawing/2014/main" val="483441088"/>
                    </a:ext>
                  </a:extLst>
                </a:gridCol>
                <a:gridCol w="396000">
                  <a:extLst>
                    <a:ext uri="{9D8B030D-6E8A-4147-A177-3AD203B41FA5}">
                      <a16:colId xmlns:a16="http://schemas.microsoft.com/office/drawing/2014/main" val="996269864"/>
                    </a:ext>
                  </a:extLst>
                </a:gridCol>
                <a:gridCol w="432000">
                  <a:extLst>
                    <a:ext uri="{9D8B030D-6E8A-4147-A177-3AD203B41FA5}">
                      <a16:colId xmlns:a16="http://schemas.microsoft.com/office/drawing/2014/main" val="2146910429"/>
                    </a:ext>
                  </a:extLst>
                </a:gridCol>
                <a:gridCol w="360000">
                  <a:extLst>
                    <a:ext uri="{9D8B030D-6E8A-4147-A177-3AD203B41FA5}">
                      <a16:colId xmlns:a16="http://schemas.microsoft.com/office/drawing/2014/main" val="1792498978"/>
                    </a:ext>
                  </a:extLst>
                </a:gridCol>
                <a:gridCol w="360000">
                  <a:extLst>
                    <a:ext uri="{9D8B030D-6E8A-4147-A177-3AD203B41FA5}">
                      <a16:colId xmlns:a16="http://schemas.microsoft.com/office/drawing/2014/main" val="724614516"/>
                    </a:ext>
                  </a:extLst>
                </a:gridCol>
                <a:gridCol w="396000">
                  <a:extLst>
                    <a:ext uri="{9D8B030D-6E8A-4147-A177-3AD203B41FA5}">
                      <a16:colId xmlns:a16="http://schemas.microsoft.com/office/drawing/2014/main" val="1809008365"/>
                    </a:ext>
                  </a:extLst>
                </a:gridCol>
                <a:gridCol w="396000">
                  <a:extLst>
                    <a:ext uri="{9D8B030D-6E8A-4147-A177-3AD203B41FA5}">
                      <a16:colId xmlns:a16="http://schemas.microsoft.com/office/drawing/2014/main" val="3150865333"/>
                    </a:ext>
                  </a:extLst>
                </a:gridCol>
                <a:gridCol w="396000">
                  <a:extLst>
                    <a:ext uri="{9D8B030D-6E8A-4147-A177-3AD203B41FA5}">
                      <a16:colId xmlns:a16="http://schemas.microsoft.com/office/drawing/2014/main" val="4204703640"/>
                    </a:ext>
                  </a:extLst>
                </a:gridCol>
                <a:gridCol w="396000">
                  <a:extLst>
                    <a:ext uri="{9D8B030D-6E8A-4147-A177-3AD203B41FA5}">
                      <a16:colId xmlns:a16="http://schemas.microsoft.com/office/drawing/2014/main" val="3430489034"/>
                    </a:ext>
                  </a:extLst>
                </a:gridCol>
                <a:gridCol w="396000">
                  <a:extLst>
                    <a:ext uri="{9D8B030D-6E8A-4147-A177-3AD203B41FA5}">
                      <a16:colId xmlns:a16="http://schemas.microsoft.com/office/drawing/2014/main" val="2114087200"/>
                    </a:ext>
                  </a:extLst>
                </a:gridCol>
                <a:gridCol w="396000">
                  <a:extLst>
                    <a:ext uri="{9D8B030D-6E8A-4147-A177-3AD203B41FA5}">
                      <a16:colId xmlns:a16="http://schemas.microsoft.com/office/drawing/2014/main" val="3049204338"/>
                    </a:ext>
                  </a:extLst>
                </a:gridCol>
                <a:gridCol w="396000">
                  <a:extLst>
                    <a:ext uri="{9D8B030D-6E8A-4147-A177-3AD203B41FA5}">
                      <a16:colId xmlns:a16="http://schemas.microsoft.com/office/drawing/2014/main" val="667450109"/>
                    </a:ext>
                  </a:extLst>
                </a:gridCol>
                <a:gridCol w="360000">
                  <a:extLst>
                    <a:ext uri="{9D8B030D-6E8A-4147-A177-3AD203B41FA5}">
                      <a16:colId xmlns:a16="http://schemas.microsoft.com/office/drawing/2014/main" val="954400128"/>
                    </a:ext>
                  </a:extLst>
                </a:gridCol>
                <a:gridCol w="324000">
                  <a:extLst>
                    <a:ext uri="{9D8B030D-6E8A-4147-A177-3AD203B41FA5}">
                      <a16:colId xmlns:a16="http://schemas.microsoft.com/office/drawing/2014/main" val="571888499"/>
                    </a:ext>
                  </a:extLst>
                </a:gridCol>
                <a:gridCol w="396000">
                  <a:extLst>
                    <a:ext uri="{9D8B030D-6E8A-4147-A177-3AD203B41FA5}">
                      <a16:colId xmlns:a16="http://schemas.microsoft.com/office/drawing/2014/main" val="2070994779"/>
                    </a:ext>
                  </a:extLst>
                </a:gridCol>
                <a:gridCol w="468000">
                  <a:extLst>
                    <a:ext uri="{9D8B030D-6E8A-4147-A177-3AD203B41FA5}">
                      <a16:colId xmlns:a16="http://schemas.microsoft.com/office/drawing/2014/main" val="4285887541"/>
                    </a:ext>
                  </a:extLst>
                </a:gridCol>
                <a:gridCol w="360000">
                  <a:extLst>
                    <a:ext uri="{9D8B030D-6E8A-4147-A177-3AD203B41FA5}">
                      <a16:colId xmlns:a16="http://schemas.microsoft.com/office/drawing/2014/main" val="805978845"/>
                    </a:ext>
                  </a:extLst>
                </a:gridCol>
                <a:gridCol w="360000">
                  <a:extLst>
                    <a:ext uri="{9D8B030D-6E8A-4147-A177-3AD203B41FA5}">
                      <a16:colId xmlns:a16="http://schemas.microsoft.com/office/drawing/2014/main" val="3567753343"/>
                    </a:ext>
                  </a:extLst>
                </a:gridCol>
                <a:gridCol w="432000">
                  <a:extLst>
                    <a:ext uri="{9D8B030D-6E8A-4147-A177-3AD203B41FA5}">
                      <a16:colId xmlns:a16="http://schemas.microsoft.com/office/drawing/2014/main" val="963598615"/>
                    </a:ext>
                  </a:extLst>
                </a:gridCol>
              </a:tblGrid>
              <a:tr h="216000">
                <a:tc>
                  <a:txBody>
                    <a:bodyPr/>
                    <a:lstStyle/>
                    <a:p>
                      <a:pPr algn="ctr"/>
                      <a:r>
                        <a:rPr lang="en-US" sz="700" b="0" dirty="0">
                          <a:solidFill>
                            <a:schemeClr val="tx1"/>
                          </a:solidFill>
                          <a:latin typeface="Arial "/>
                        </a:rPr>
                        <a:t>1323</a:t>
                      </a:r>
                    </a:p>
                  </a:txBody>
                  <a:tcPr marL="0" marR="0" marT="0" marB="0" anchor="ct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121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a:solidFill>
                            <a:schemeClr val="tx1"/>
                          </a:solidFill>
                          <a:latin typeface="Arial "/>
                        </a:rPr>
                        <a:t>112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104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94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a:solidFill>
                            <a:schemeClr val="tx1"/>
                          </a:solidFill>
                          <a:latin typeface="Arial "/>
                        </a:rPr>
                        <a:t>83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a:solidFill>
                            <a:schemeClr val="tx1"/>
                          </a:solidFill>
                          <a:latin typeface="Arial "/>
                        </a:rPr>
                        <a:t>73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63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53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43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36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29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a:solidFill>
                            <a:schemeClr val="tx1"/>
                          </a:solidFill>
                          <a:latin typeface="Arial "/>
                        </a:rPr>
                        <a:t>24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a:solidFill>
                            <a:schemeClr val="tx1"/>
                          </a:solidFill>
                          <a:latin typeface="Arial "/>
                        </a:rPr>
                        <a:t>20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16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11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8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5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a:solidFill>
                            <a:schemeClr val="tx1"/>
                          </a:solidFill>
                          <a:latin typeface="Arial "/>
                        </a:rPr>
                        <a:t>3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2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700" b="0" dirty="0">
                          <a:solidFill>
                            <a:schemeClr val="tx1"/>
                          </a:solidFill>
                          <a:latin typeface="Arial "/>
                        </a:rPr>
                        <a:t>1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4585125"/>
                  </a:ext>
                </a:extLst>
              </a:tr>
            </a:tbl>
          </a:graphicData>
        </a:graphic>
      </p:graphicFrame>
      <p:sp>
        <p:nvSpPr>
          <p:cNvPr id="7" name="Rectangle 6">
            <a:extLst>
              <a:ext uri="{FF2B5EF4-FFF2-40B4-BE49-F238E27FC236}">
                <a16:creationId xmlns:a16="http://schemas.microsoft.com/office/drawing/2014/main" id="{DD86789E-08E7-95A4-E899-67C2E67C4FD8}"/>
              </a:ext>
            </a:extLst>
          </p:cNvPr>
          <p:cNvSpPr/>
          <p:nvPr/>
        </p:nvSpPr>
        <p:spPr>
          <a:xfrm>
            <a:off x="1088272" y="5953090"/>
            <a:ext cx="10800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sp>
        <p:nvSpPr>
          <p:cNvPr id="8" name="Rectangle: Rounded Corners 7">
            <a:extLst>
              <a:ext uri="{FF2B5EF4-FFF2-40B4-BE49-F238E27FC236}">
                <a16:creationId xmlns:a16="http://schemas.microsoft.com/office/drawing/2014/main" id="{648DCCD7-56B1-09E0-CE5B-C2F7E000CB0A}"/>
              </a:ext>
            </a:extLst>
          </p:cNvPr>
          <p:cNvSpPr/>
          <p:nvPr/>
        </p:nvSpPr>
        <p:spPr>
          <a:xfrm>
            <a:off x="8108957" y="2199611"/>
            <a:ext cx="3095826" cy="987319"/>
          </a:xfrm>
          <a:prstGeom prst="roundRect">
            <a:avLst>
              <a:gd name="adj" fmla="val 3525"/>
            </a:avLst>
          </a:prstGeom>
          <a:gradFill flip="none" rotWithShape="1">
            <a:gsLst>
              <a:gs pos="0">
                <a:schemeClr val="accent6"/>
              </a:gs>
              <a:gs pos="100000">
                <a:schemeClr val="accent6"/>
              </a:gs>
              <a:gs pos="100000">
                <a:schemeClr val="accent5">
                  <a:lumMod val="50000"/>
                </a:schemeClr>
              </a:gs>
              <a:gs pos="29000">
                <a:schemeClr val="accent5">
                  <a:lumMod val="50000"/>
                </a:schemeClr>
              </a:gs>
            </a:gsLst>
            <a:lin ang="2700000" scaled="1"/>
            <a:tileRect/>
          </a:gradFill>
          <a:ln w="28575">
            <a:noFill/>
          </a:ln>
          <a:effectLst>
            <a:glow rad="101600">
              <a:schemeClr val="accent5">
                <a:lumMod val="50000"/>
                <a:alpha val="40000"/>
              </a:schemeClr>
            </a:glow>
          </a:effectLst>
        </p:spPr>
        <p:txBody>
          <a:bodyPr wrap="square" lIns="36000" tIns="54000" rIns="36000" bIns="54000" anchor="ctr" anchorCtr="0">
            <a:noAutofit/>
          </a:bodyPr>
          <a:lstStyle/>
          <a:p>
            <a:pPr marL="0" marR="0" lvl="0" indent="0" algn="ctr" defTabSz="914400" rtl="0" eaLnBrk="0" fontAlgn="base" latinLnBrk="0" hangingPunct="0">
              <a:lnSpc>
                <a:spcPct val="100000"/>
              </a:lnSpc>
              <a:spcBef>
                <a:spcPts val="300"/>
              </a:spcBef>
              <a:spcAft>
                <a:spcPct val="0"/>
              </a:spcAft>
              <a:buClr>
                <a:srgbClr val="6CB643"/>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25</a:t>
            </a:r>
            <a:r>
              <a:rPr kumimoji="0" lang="en-GB" sz="1400" b="1" i="0" u="none" strike="noStrike" kern="1200" cap="none" spc="0" normalizeH="0" baseline="0" noProof="0" dirty="0">
                <a:ln>
                  <a:noFill/>
                </a:ln>
                <a:solidFill>
                  <a:srgbClr val="FFFFFF"/>
                </a:solidFill>
                <a:effectLst/>
                <a:uLnTx/>
                <a:uFillTx/>
                <a:latin typeface="Arial "/>
                <a:ea typeface="Calibri" panose="020F0502020204030204" pitchFamily="34" charset="0"/>
                <a:cs typeface="Arial" panose="020B0604020202020204" pitchFamily="34" charset="0"/>
              </a:rPr>
              <a:t>–</a:t>
            </a:r>
            <a:r>
              <a:rPr kumimoji="0" lang="en-GB" sz="14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40% </a:t>
            </a:r>
            <a:r>
              <a:rPr kumimoji="0" lang="en-GB" sz="14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of patients receiving 1L </a:t>
            </a:r>
            <a:br>
              <a:rPr kumimoji="0" lang="en-GB" sz="14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br>
            <a:r>
              <a:rPr kumimoji="0" lang="en-GB" sz="14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EGFR TKI monotherapy die before </a:t>
            </a:r>
            <a:br>
              <a:rPr kumimoji="0" lang="en-GB" sz="14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br>
            <a:r>
              <a:rPr kumimoji="0" lang="en-GB" sz="14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receiving 2L</a:t>
            </a:r>
            <a:r>
              <a:rPr kumimoji="0" lang="en-GB" sz="1400" b="0"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 treatment</a:t>
            </a:r>
            <a:r>
              <a:rPr kumimoji="0" lang="en-GB" sz="1400" b="0" i="0" u="none" strike="noStrike" kern="1200" cap="none" spc="0" normalizeH="0" baseline="30000" noProof="0" dirty="0">
                <a:ln>
                  <a:noFill/>
                </a:ln>
                <a:solidFill>
                  <a:srgbClr val="FFFFFF"/>
                </a:solidFill>
                <a:effectLst/>
                <a:uLnTx/>
                <a:uFillTx/>
                <a:latin typeface="Arial "/>
                <a:ea typeface="+mn-ea"/>
                <a:cs typeface="Arial" panose="020B0604020202020204" pitchFamily="34" charset="0"/>
              </a:rPr>
              <a:t>1</a:t>
            </a:r>
            <a:r>
              <a:rPr kumimoji="0" lang="en-GB" sz="1400" b="0" i="0" u="none" strike="noStrike" kern="1200" cap="none" spc="0" normalizeH="0" baseline="30000" noProof="0" dirty="0">
                <a:ln>
                  <a:noFill/>
                </a:ln>
                <a:solidFill>
                  <a:srgbClr val="FFFFFF"/>
                </a:solidFill>
                <a:effectLst/>
                <a:uLnTx/>
                <a:uFillTx/>
                <a:latin typeface="Arial "/>
                <a:ea typeface="Calibri" panose="020F0502020204030204" pitchFamily="34" charset="0"/>
                <a:cs typeface="Arial" panose="020B0604020202020204" pitchFamily="34" charset="0"/>
              </a:rPr>
              <a:t>–</a:t>
            </a:r>
            <a:r>
              <a:rPr kumimoji="0" lang="en-GB" sz="1400" b="0" i="0" u="none" strike="noStrike" kern="1200" cap="none" spc="0" normalizeH="0" baseline="30000" noProof="0" dirty="0">
                <a:ln>
                  <a:noFill/>
                </a:ln>
                <a:solidFill>
                  <a:srgbClr val="FFFFFF"/>
                </a:solidFill>
                <a:effectLst/>
                <a:uLnTx/>
                <a:uFillTx/>
                <a:latin typeface="Arial "/>
                <a:ea typeface="+mn-ea"/>
                <a:cs typeface="Arial" panose="020B0604020202020204" pitchFamily="34" charset="0"/>
              </a:rPr>
              <a:t>4</a:t>
            </a:r>
          </a:p>
        </p:txBody>
      </p:sp>
      <p:graphicFrame>
        <p:nvGraphicFramePr>
          <p:cNvPr id="9" name="Table 8">
            <a:extLst>
              <a:ext uri="{FF2B5EF4-FFF2-40B4-BE49-F238E27FC236}">
                <a16:creationId xmlns:a16="http://schemas.microsoft.com/office/drawing/2014/main" id="{84A6CF82-406B-FAB4-7365-7BBF67F251B0}"/>
              </a:ext>
            </a:extLst>
          </p:cNvPr>
          <p:cNvGraphicFramePr>
            <a:graphicFrameLocks noGrp="1"/>
          </p:cNvGraphicFramePr>
          <p:nvPr/>
        </p:nvGraphicFramePr>
        <p:xfrm>
          <a:off x="1472548" y="4608296"/>
          <a:ext cx="2660446" cy="50400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2521403992"/>
                    </a:ext>
                  </a:extLst>
                </a:gridCol>
                <a:gridCol w="540000">
                  <a:extLst>
                    <a:ext uri="{9D8B030D-6E8A-4147-A177-3AD203B41FA5}">
                      <a16:colId xmlns:a16="http://schemas.microsoft.com/office/drawing/2014/main" val="4057683245"/>
                    </a:ext>
                  </a:extLst>
                </a:gridCol>
                <a:gridCol w="752446">
                  <a:extLst>
                    <a:ext uri="{9D8B030D-6E8A-4147-A177-3AD203B41FA5}">
                      <a16:colId xmlns:a16="http://schemas.microsoft.com/office/drawing/2014/main" val="2862009593"/>
                    </a:ext>
                  </a:extLst>
                </a:gridCol>
                <a:gridCol w="828000">
                  <a:extLst>
                    <a:ext uri="{9D8B030D-6E8A-4147-A177-3AD203B41FA5}">
                      <a16:colId xmlns:a16="http://schemas.microsoft.com/office/drawing/2014/main" val="1295811525"/>
                    </a:ext>
                  </a:extLst>
                </a:gridCol>
              </a:tblGrid>
              <a:tr h="252000">
                <a:tc>
                  <a:txBody>
                    <a:bodyPr/>
                    <a:lstStyle/>
                    <a:p>
                      <a:pPr algn="ctr"/>
                      <a:r>
                        <a:rPr lang="en-US" sz="700" b="0" dirty="0">
                          <a:solidFill>
                            <a:schemeClr val="tx1"/>
                          </a:solidFill>
                          <a:latin typeface="Arial" panose="020B0604020202020204" pitchFamily="34" charset="0"/>
                          <a:cs typeface="Arial" panose="020B0604020202020204" pitchFamily="34" charset="0"/>
                        </a:rPr>
                        <a:t>N</a:t>
                      </a:r>
                    </a:p>
                  </a:txBody>
                  <a:tcPr marL="0" marR="0" marT="0" marB="0"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5F4"/>
                    </a:solidFill>
                  </a:tcPr>
                </a:tc>
                <a:tc>
                  <a:txBody>
                    <a:bodyPr/>
                    <a:lstStyle/>
                    <a:p>
                      <a:pPr algn="ctr"/>
                      <a:r>
                        <a:rPr lang="en-US" sz="700" b="0" dirty="0">
                          <a:solidFill>
                            <a:schemeClr val="tx1"/>
                          </a:solidFill>
                          <a:latin typeface="Arial" panose="020B0604020202020204" pitchFamily="34" charset="0"/>
                          <a:cs typeface="Arial" panose="020B0604020202020204" pitchFamily="34" charset="0"/>
                        </a:rPr>
                        <a:t>Ev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5F4"/>
                    </a:solidFill>
                  </a:tcPr>
                </a:tc>
                <a:tc>
                  <a:txBody>
                    <a:bodyPr/>
                    <a:lstStyle/>
                    <a:p>
                      <a:pPr algn="ctr"/>
                      <a:r>
                        <a:rPr lang="en-US" sz="700" b="0" dirty="0">
                          <a:solidFill>
                            <a:schemeClr val="tx1"/>
                          </a:solidFill>
                          <a:latin typeface="Arial" panose="020B0604020202020204" pitchFamily="34" charset="0"/>
                          <a:cs typeface="Arial" panose="020B0604020202020204" pitchFamily="34" charset="0"/>
                        </a:rPr>
                        <a:t>mOS,</a:t>
                      </a:r>
                      <a:br>
                        <a:rPr lang="en-US" sz="700" b="0" dirty="0">
                          <a:solidFill>
                            <a:schemeClr val="tx1"/>
                          </a:solidFill>
                          <a:latin typeface="Arial" panose="020B0604020202020204" pitchFamily="34" charset="0"/>
                          <a:cs typeface="Arial" panose="020B0604020202020204" pitchFamily="34" charset="0"/>
                        </a:rPr>
                      </a:br>
                      <a:r>
                        <a:rPr lang="en-US" sz="700" b="0" dirty="0">
                          <a:solidFill>
                            <a:schemeClr val="tx1"/>
                          </a:solidFill>
                          <a:latin typeface="Arial" panose="020B0604020202020204" pitchFamily="34" charset="0"/>
                          <a:cs typeface="Arial" panose="020B0604020202020204" pitchFamily="34" charset="0"/>
                        </a:rPr>
                        <a:t>months (95% C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5F4"/>
                    </a:solidFill>
                  </a:tcPr>
                </a:tc>
                <a:tc>
                  <a:txBody>
                    <a:bodyPr/>
                    <a:lstStyle/>
                    <a:p>
                      <a:pPr algn="ctr"/>
                      <a:r>
                        <a:rPr lang="en-US" sz="700" b="0" dirty="0">
                          <a:solidFill>
                            <a:schemeClr val="tx1"/>
                          </a:solidFill>
                          <a:latin typeface="Arial" panose="020B0604020202020204" pitchFamily="34" charset="0"/>
                          <a:cs typeface="Arial" panose="020B0604020202020204" pitchFamily="34" charset="0"/>
                        </a:rPr>
                        <a:t>Median follow-up,</a:t>
                      </a:r>
                      <a:br>
                        <a:rPr lang="en-US" sz="700" b="0" dirty="0">
                          <a:solidFill>
                            <a:schemeClr val="tx1"/>
                          </a:solidFill>
                          <a:latin typeface="Arial" panose="020B0604020202020204" pitchFamily="34" charset="0"/>
                          <a:cs typeface="Arial" panose="020B0604020202020204" pitchFamily="34" charset="0"/>
                        </a:rPr>
                      </a:br>
                      <a:r>
                        <a:rPr lang="en-US" sz="700" b="0" dirty="0">
                          <a:solidFill>
                            <a:schemeClr val="tx1"/>
                          </a:solidFill>
                          <a:latin typeface="Arial" panose="020B0604020202020204" pitchFamily="34" charset="0"/>
                          <a:cs typeface="Arial" panose="020B0604020202020204" pitchFamily="34" charset="0"/>
                        </a:rPr>
                        <a:t>months (IQR)</a:t>
                      </a:r>
                    </a:p>
                  </a:txBody>
                  <a:tcPr marL="0" marR="0" marT="0" marB="0"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5F4"/>
                    </a:solidFill>
                  </a:tcPr>
                </a:tc>
                <a:extLst>
                  <a:ext uri="{0D108BD9-81ED-4DB2-BD59-A6C34878D82A}">
                    <a16:rowId xmlns:a16="http://schemas.microsoft.com/office/drawing/2014/main" val="1250119891"/>
                  </a:ext>
                </a:extLst>
              </a:tr>
              <a:tr h="252000">
                <a:tc>
                  <a:txBody>
                    <a:bodyPr/>
                    <a:lstStyle/>
                    <a:p>
                      <a:pPr algn="ctr"/>
                      <a:r>
                        <a:rPr lang="en-US" sz="700" b="0">
                          <a:solidFill>
                            <a:schemeClr val="tx1"/>
                          </a:solidFill>
                          <a:latin typeface="Arial" panose="020B0604020202020204" pitchFamily="34" charset="0"/>
                          <a:cs typeface="Arial" panose="020B0604020202020204" pitchFamily="34" charset="0"/>
                        </a:rPr>
                        <a:t>1323</a:t>
                      </a:r>
                    </a:p>
                  </a:txBody>
                  <a:tcPr marL="0" marR="0" marT="0" marB="0"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6F5F4"/>
                    </a:solidFill>
                  </a:tcPr>
                </a:tc>
                <a:tc>
                  <a:txBody>
                    <a:bodyPr/>
                    <a:lstStyle/>
                    <a:p>
                      <a:pPr algn="ctr"/>
                      <a:r>
                        <a:rPr lang="en-US" sz="700" b="0" dirty="0">
                          <a:solidFill>
                            <a:schemeClr val="tx1"/>
                          </a:solidFill>
                          <a:latin typeface="Arial" panose="020B0604020202020204" pitchFamily="34" charset="0"/>
                          <a:cs typeface="Arial" panose="020B0604020202020204" pitchFamily="34" charset="0"/>
                        </a:rPr>
                        <a:t>6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6F5F4"/>
                    </a:solidFill>
                  </a:tcPr>
                </a:tc>
                <a:tc>
                  <a:txBody>
                    <a:bodyPr/>
                    <a:lstStyle/>
                    <a:p>
                      <a:pPr algn="ctr"/>
                      <a:r>
                        <a:rPr lang="en-US" sz="700" b="0" dirty="0">
                          <a:solidFill>
                            <a:schemeClr val="tx1"/>
                          </a:solidFill>
                          <a:latin typeface="Arial" panose="020B0604020202020204" pitchFamily="34" charset="0"/>
                          <a:cs typeface="Arial" panose="020B0604020202020204" pitchFamily="34" charset="0"/>
                        </a:rPr>
                        <a:t>28.6 (26.8</a:t>
                      </a:r>
                      <a:r>
                        <a:rPr lang="en-US" sz="700" b="0" dirty="0">
                          <a:solidFill>
                            <a:schemeClr val="tx1"/>
                          </a:solidFill>
                          <a:latin typeface="Arial" panose="020B0604020202020204" pitchFamily="34" charset="0"/>
                          <a:ea typeface="Calibri" panose="020F0502020204030204" pitchFamily="34" charset="0"/>
                          <a:cs typeface="Arial" panose="020B0604020202020204" pitchFamily="34" charset="0"/>
                        </a:rPr>
                        <a:t>–</a:t>
                      </a:r>
                      <a:r>
                        <a:rPr lang="en-US" sz="700" b="0" dirty="0">
                          <a:solidFill>
                            <a:schemeClr val="tx1"/>
                          </a:solidFill>
                          <a:latin typeface="Arial" panose="020B0604020202020204" pitchFamily="34" charset="0"/>
                          <a:cs typeface="Arial" panose="020B0604020202020204" pitchFamily="34" charset="0"/>
                        </a:rPr>
                        <a:t>3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6F5F4"/>
                    </a:solidFill>
                  </a:tcPr>
                </a:tc>
                <a:tc>
                  <a:txBody>
                    <a:bodyPr/>
                    <a:lstStyle/>
                    <a:p>
                      <a:pPr algn="ctr"/>
                      <a:r>
                        <a:rPr lang="en-US" sz="700" b="0" dirty="0">
                          <a:solidFill>
                            <a:schemeClr val="tx1"/>
                          </a:solidFill>
                          <a:latin typeface="Arial" panose="020B0604020202020204" pitchFamily="34" charset="0"/>
                          <a:cs typeface="Arial" panose="020B0604020202020204" pitchFamily="34" charset="0"/>
                        </a:rPr>
                        <a:t>20.0 (10.6</a:t>
                      </a:r>
                      <a:r>
                        <a:rPr lang="en-US" sz="700" b="0" dirty="0">
                          <a:solidFill>
                            <a:schemeClr val="tx1"/>
                          </a:solidFill>
                          <a:latin typeface="Arial" panose="020B0604020202020204" pitchFamily="34" charset="0"/>
                          <a:ea typeface="Calibri" panose="020F0502020204030204" pitchFamily="34" charset="0"/>
                          <a:cs typeface="Arial" panose="020B0604020202020204" pitchFamily="34" charset="0"/>
                        </a:rPr>
                        <a:t>–</a:t>
                      </a:r>
                      <a:r>
                        <a:rPr lang="en-US" sz="700" b="0" dirty="0">
                          <a:solidFill>
                            <a:schemeClr val="tx1"/>
                          </a:solidFill>
                          <a:latin typeface="Arial" panose="020B0604020202020204" pitchFamily="34" charset="0"/>
                          <a:cs typeface="Arial" panose="020B0604020202020204" pitchFamily="34" charset="0"/>
                        </a:rPr>
                        <a:t>31.1)</a:t>
                      </a:r>
                    </a:p>
                  </a:txBody>
                  <a:tcPr marL="0" marR="0" marT="0" marB="0"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6F5F4"/>
                    </a:solidFill>
                  </a:tcPr>
                </a:tc>
                <a:extLst>
                  <a:ext uri="{0D108BD9-81ED-4DB2-BD59-A6C34878D82A}">
                    <a16:rowId xmlns:a16="http://schemas.microsoft.com/office/drawing/2014/main" val="3822486021"/>
                  </a:ext>
                </a:extLst>
              </a:tr>
            </a:tbl>
          </a:graphicData>
        </a:graphic>
      </p:graphicFrame>
      <p:sp>
        <p:nvSpPr>
          <p:cNvPr id="90" name="TextBox 89">
            <a:extLst>
              <a:ext uri="{FF2B5EF4-FFF2-40B4-BE49-F238E27FC236}">
                <a16:creationId xmlns:a16="http://schemas.microsoft.com/office/drawing/2014/main" id="{E89D7DCC-9EF4-C93B-70FF-DBADC069B43B}"/>
              </a:ext>
            </a:extLst>
          </p:cNvPr>
          <p:cNvSpPr txBox="1"/>
          <p:nvPr/>
        </p:nvSpPr>
        <p:spPr>
          <a:xfrm>
            <a:off x="435462" y="1496787"/>
            <a:ext cx="11125509" cy="355276"/>
          </a:xfrm>
          <a:prstGeom prst="rect">
            <a:avLst/>
          </a:prstGeom>
          <a:gradFill>
            <a:gsLst>
              <a:gs pos="0">
                <a:schemeClr val="tx1"/>
              </a:gs>
              <a:gs pos="100000">
                <a:schemeClr val="tx1"/>
              </a:gs>
              <a:gs pos="93000">
                <a:srgbClr val="0070C0"/>
              </a:gs>
              <a:gs pos="6000">
                <a:srgbClr val="0070C0"/>
              </a:gs>
            </a:gsLst>
            <a:lin ang="0" scaled="1"/>
          </a:gradFill>
        </p:spPr>
        <p:txBody>
          <a:bodyPr wrap="square" lIns="108000" tIns="54000" rIns="108000" bIns="5400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Real-world OS in patients with </a:t>
            </a:r>
            <a:r>
              <a:rPr kumimoji="0" lang="en-GB" sz="1600" b="1" i="1"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EGFR</a:t>
            </a:r>
            <a:r>
              <a:rPr kumimoji="0" lang="en-GB" sz="1600" b="1" i="0" u="none" strike="noStrike" kern="1200" cap="none" spc="0" normalizeH="0" baseline="0" noProof="0" dirty="0">
                <a:ln>
                  <a:noFill/>
                </a:ln>
                <a:solidFill>
                  <a:srgbClr val="FFFFFF"/>
                </a:solidFill>
                <a:effectLst/>
                <a:uLnTx/>
                <a:uFillTx/>
                <a:latin typeface="Arial "/>
                <a:ea typeface="+mn-ea"/>
                <a:cs typeface="Arial" panose="020B0604020202020204" pitchFamily="34" charset="0"/>
              </a:rPr>
              <a:t>-mutant NSCLC treated with 1L osimertinib monotherapy</a:t>
            </a:r>
            <a:endParaRPr kumimoji="0" lang="en-GB" sz="1600" b="1" i="0" u="none" strike="noStrike" kern="1200" cap="none" spc="0" normalizeH="0" baseline="30000" noProof="0" dirty="0">
              <a:ln>
                <a:noFill/>
              </a:ln>
              <a:solidFill>
                <a:srgbClr val="FFFFFF"/>
              </a:solidFill>
              <a:effectLst/>
              <a:uLnTx/>
              <a:uFillTx/>
              <a:latin typeface="Arial "/>
              <a:ea typeface="+mn-ea"/>
              <a:cs typeface="Arial" panose="020B0604020202020204" pitchFamily="34" charset="0"/>
            </a:endParaRPr>
          </a:p>
        </p:txBody>
      </p:sp>
    </p:spTree>
    <p:extLst>
      <p:ext uri="{BB962C8B-B14F-4D97-AF65-F5344CB8AC3E}">
        <p14:creationId xmlns:p14="http://schemas.microsoft.com/office/powerpoint/2010/main" val="11717314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81F872-6B67-FE31-0DA1-95F65B94713E}"/>
            </a:ext>
          </a:extLst>
        </p:cNvPr>
        <p:cNvGrpSpPr/>
        <p:nvPr/>
      </p:nvGrpSpPr>
      <p:grpSpPr>
        <a:xfrm>
          <a:off x="0" y="0"/>
          <a:ext cx="0" cy="0"/>
          <a:chOff x="0" y="0"/>
          <a:chExt cx="0" cy="0"/>
        </a:xfrm>
      </p:grpSpPr>
      <p:sp>
        <p:nvSpPr>
          <p:cNvPr id="1005" name="Rectangle 1004">
            <a:extLst>
              <a:ext uri="{FF2B5EF4-FFF2-40B4-BE49-F238E27FC236}">
                <a16:creationId xmlns:a16="http://schemas.microsoft.com/office/drawing/2014/main" id="{8E6DD7BB-2FC1-0A08-A563-B49F6D1394FE}"/>
              </a:ext>
            </a:extLst>
          </p:cNvPr>
          <p:cNvSpPr>
            <a:spLocks/>
          </p:cNvSpPr>
          <p:nvPr/>
        </p:nvSpPr>
        <p:spPr>
          <a:xfrm>
            <a:off x="8113282" y="1181842"/>
            <a:ext cx="3780000" cy="5014800"/>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0" name="Rectangle 459">
            <a:extLst>
              <a:ext uri="{FF2B5EF4-FFF2-40B4-BE49-F238E27FC236}">
                <a16:creationId xmlns:a16="http://schemas.microsoft.com/office/drawing/2014/main" id="{BBFFB639-3AD4-CC8B-4696-099E5637CA42}"/>
              </a:ext>
            </a:extLst>
          </p:cNvPr>
          <p:cNvSpPr>
            <a:spLocks/>
          </p:cNvSpPr>
          <p:nvPr/>
        </p:nvSpPr>
        <p:spPr>
          <a:xfrm>
            <a:off x="4144019" y="1181842"/>
            <a:ext cx="3884881" cy="5014800"/>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65E94CAD-5B99-05C3-63CC-0436386E385E}"/>
              </a:ext>
            </a:extLst>
          </p:cNvPr>
          <p:cNvSpPr>
            <a:spLocks noGrp="1"/>
          </p:cNvSpPr>
          <p:nvPr>
            <p:ph type="title"/>
          </p:nvPr>
        </p:nvSpPr>
        <p:spPr/>
        <p:txBody>
          <a:bodyPr/>
          <a:lstStyle/>
          <a:p>
            <a:r>
              <a:rPr lang="en-GB" dirty="0"/>
              <a:t>Why the need for upfront combinations?</a:t>
            </a:r>
            <a:r>
              <a:rPr lang="en-GB" baseline="30000" dirty="0"/>
              <a:t>1</a:t>
            </a:r>
          </a:p>
        </p:txBody>
      </p:sp>
      <p:sp>
        <p:nvSpPr>
          <p:cNvPr id="7" name="Text Placeholder 6">
            <a:extLst>
              <a:ext uri="{FF2B5EF4-FFF2-40B4-BE49-F238E27FC236}">
                <a16:creationId xmlns:a16="http://schemas.microsoft.com/office/drawing/2014/main" id="{88C45563-0E8F-9C76-D253-C5D0A38CAA56}"/>
              </a:ext>
            </a:extLst>
          </p:cNvPr>
          <p:cNvSpPr>
            <a:spLocks noGrp="1"/>
          </p:cNvSpPr>
          <p:nvPr>
            <p:ph type="body" sz="quarter" idx="13"/>
          </p:nvPr>
        </p:nvSpPr>
        <p:spPr/>
        <p:txBody>
          <a:bodyPr/>
          <a:lstStyle/>
          <a:p>
            <a:r>
              <a:rPr lang="en-GB" dirty="0"/>
              <a:t>1G, first-generation; 1L, first-line; CR, complete response; HR, hazard ratio; mOS, median OS; NE, not evaluable; ORR, overall </a:t>
            </a:r>
            <a:br>
              <a:rPr lang="en-GB" dirty="0"/>
            </a:br>
            <a:r>
              <a:rPr lang="en-GB" dirty="0"/>
              <a:t>response rate; PD, progressive disease; PFS, progression-free survival; PR, partial response; SD, stable disease. </a:t>
            </a:r>
          </a:p>
        </p:txBody>
      </p:sp>
      <p:sp>
        <p:nvSpPr>
          <p:cNvPr id="8" name="Text Placeholder 7">
            <a:extLst>
              <a:ext uri="{FF2B5EF4-FFF2-40B4-BE49-F238E27FC236}">
                <a16:creationId xmlns:a16="http://schemas.microsoft.com/office/drawing/2014/main" id="{FCB1D7B4-CCE3-C9BF-F7FF-0C6A33CF598D}"/>
              </a:ext>
            </a:extLst>
          </p:cNvPr>
          <p:cNvSpPr>
            <a:spLocks noGrp="1"/>
          </p:cNvSpPr>
          <p:nvPr>
            <p:ph type="body" sz="quarter" idx="15"/>
          </p:nvPr>
        </p:nvSpPr>
        <p:spPr>
          <a:xfrm>
            <a:off x="442912" y="6524625"/>
            <a:ext cx="5829301" cy="230832"/>
          </a:xfrm>
        </p:spPr>
        <p:txBody>
          <a:bodyPr/>
          <a:lstStyle/>
          <a:p>
            <a:r>
              <a:rPr lang="en-GB" dirty="0"/>
              <a:t>1. Tan DSW. Presented at WCLC 2025: PL02.04 (Discussant); 2. Soria JC, et al. </a:t>
            </a:r>
            <a:r>
              <a:rPr lang="en-GB" i="1" dirty="0"/>
              <a:t>N Engl J Med</a:t>
            </a:r>
            <a:r>
              <a:rPr lang="en-GB" dirty="0"/>
              <a:t>. 2018;378:113–25 (Supplementary appendix); </a:t>
            </a:r>
            <a:br>
              <a:rPr lang="en-GB" dirty="0"/>
            </a:br>
            <a:r>
              <a:rPr lang="en-GB" dirty="0"/>
              <a:t>3. Soria JC, et al. </a:t>
            </a:r>
            <a:r>
              <a:rPr lang="en-GB" i="1" dirty="0"/>
              <a:t>N Engl J Med</a:t>
            </a:r>
            <a:r>
              <a:rPr lang="en-GB" dirty="0"/>
              <a:t>. 2018;378:113–25; 4. Ramalingam SS, et al. </a:t>
            </a:r>
            <a:r>
              <a:rPr lang="en-GB" i="1" dirty="0"/>
              <a:t>N Engl J Med</a:t>
            </a:r>
            <a:r>
              <a:rPr lang="en-GB" dirty="0"/>
              <a:t>. 2020;382:41–50.</a:t>
            </a:r>
          </a:p>
        </p:txBody>
      </p:sp>
      <p:sp>
        <p:nvSpPr>
          <p:cNvPr id="15" name="TextBox 14">
            <a:extLst>
              <a:ext uri="{FF2B5EF4-FFF2-40B4-BE49-F238E27FC236}">
                <a16:creationId xmlns:a16="http://schemas.microsoft.com/office/drawing/2014/main" id="{0BC04F74-557A-765C-0F12-A295743D5C14}"/>
              </a:ext>
            </a:extLst>
          </p:cNvPr>
          <p:cNvSpPr txBox="1"/>
          <p:nvPr/>
        </p:nvSpPr>
        <p:spPr>
          <a:xfrm>
            <a:off x="4144019" y="1182755"/>
            <a:ext cx="3884400" cy="355276"/>
          </a:xfrm>
          <a:prstGeom prst="rect">
            <a:avLst/>
          </a:prstGeom>
          <a:solidFill>
            <a:schemeClr val="bg2"/>
          </a:solidFill>
        </p:spPr>
        <p:txBody>
          <a:bodyPr wrap="square" lIns="108000" tIns="54000" rIns="108000" bIns="5400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S</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4</a:t>
            </a:r>
          </a:p>
        </p:txBody>
      </p:sp>
      <p:sp>
        <p:nvSpPr>
          <p:cNvPr id="18" name="TextBox 17">
            <a:extLst>
              <a:ext uri="{FF2B5EF4-FFF2-40B4-BE49-F238E27FC236}">
                <a16:creationId xmlns:a16="http://schemas.microsoft.com/office/drawing/2014/main" id="{D2FD52B3-8F33-FDE8-4360-AD000FDD537D}"/>
              </a:ext>
            </a:extLst>
          </p:cNvPr>
          <p:cNvSpPr txBox="1"/>
          <p:nvPr/>
        </p:nvSpPr>
        <p:spPr>
          <a:xfrm>
            <a:off x="8113281" y="1181842"/>
            <a:ext cx="3780000" cy="355276"/>
          </a:xfrm>
          <a:prstGeom prst="rect">
            <a:avLst/>
          </a:prstGeom>
          <a:solidFill>
            <a:schemeClr val="bg2"/>
          </a:solidFill>
        </p:spPr>
        <p:txBody>
          <a:bodyPr wrap="square" lIns="108000" tIns="54000" rIns="108000" bIns="5400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ew long-term responders</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a:t>
            </a:r>
          </a:p>
        </p:txBody>
      </p:sp>
      <p:graphicFrame>
        <p:nvGraphicFramePr>
          <p:cNvPr id="21" name="Table 8">
            <a:extLst>
              <a:ext uri="{FF2B5EF4-FFF2-40B4-BE49-F238E27FC236}">
                <a16:creationId xmlns:a16="http://schemas.microsoft.com/office/drawing/2014/main" id="{FDE8AAD5-4F86-5777-9B98-F8D07A91C730}"/>
              </a:ext>
            </a:extLst>
          </p:cNvPr>
          <p:cNvGraphicFramePr>
            <a:graphicFrameLocks noGrp="1"/>
          </p:cNvGraphicFramePr>
          <p:nvPr/>
        </p:nvGraphicFramePr>
        <p:xfrm>
          <a:off x="4323984" y="4699983"/>
          <a:ext cx="3600000" cy="1285240"/>
        </p:xfrm>
        <a:graphic>
          <a:graphicData uri="http://schemas.openxmlformats.org/drawingml/2006/table">
            <a:tbl>
              <a:tblPr firstRow="1">
                <a:effectLst/>
              </a:tblPr>
              <a:tblGrid>
                <a:gridCol w="828000">
                  <a:extLst>
                    <a:ext uri="{9D8B030D-6E8A-4147-A177-3AD203B41FA5}">
                      <a16:colId xmlns:a16="http://schemas.microsoft.com/office/drawing/2014/main" val="3609005308"/>
                    </a:ext>
                  </a:extLst>
                </a:gridCol>
                <a:gridCol w="1332000">
                  <a:extLst>
                    <a:ext uri="{9D8B030D-6E8A-4147-A177-3AD203B41FA5}">
                      <a16:colId xmlns:a16="http://schemas.microsoft.com/office/drawing/2014/main" val="1723000403"/>
                    </a:ext>
                  </a:extLst>
                </a:gridCol>
                <a:gridCol w="1440000">
                  <a:extLst>
                    <a:ext uri="{9D8B030D-6E8A-4147-A177-3AD203B41FA5}">
                      <a16:colId xmlns:a16="http://schemas.microsoft.com/office/drawing/2014/main" val="3388733588"/>
                    </a:ext>
                  </a:extLst>
                </a:gridCol>
              </a:tblGrid>
              <a:tr h="32131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chemeClr val="bg1"/>
                          </a:solidFill>
                          <a:latin typeface="Arial" panose="020B0604020202020204" pitchFamily="34" charset="0"/>
                          <a:cs typeface="Arial" panose="020B0604020202020204" pitchFamily="34" charset="0"/>
                        </a:rPr>
                        <a:t>Month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200" b="1" noProof="0" dirty="0">
                          <a:solidFill>
                            <a:schemeClr val="bg1"/>
                          </a:solidFill>
                          <a:latin typeface="Arial" panose="020B0604020202020204" pitchFamily="34" charset="0"/>
                          <a:cs typeface="Arial" panose="020B0604020202020204" pitchFamily="34" charset="0"/>
                        </a:rPr>
                        <a:t>Osimertinib </a:t>
                      </a:r>
                      <a:r>
                        <a:rPr lang="en-GB" sz="1200" b="0" noProof="0" dirty="0">
                          <a:solidFill>
                            <a:schemeClr val="bg1"/>
                          </a:solidFill>
                          <a:latin typeface="Arial" panose="020B0604020202020204" pitchFamily="34" charset="0"/>
                          <a:cs typeface="Arial" panose="020B0604020202020204" pitchFamily="34" charset="0"/>
                        </a:rPr>
                        <a:t>(%)</a:t>
                      </a:r>
                    </a:p>
                  </a:txBody>
                  <a:tcPr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chemeClr val="bg1"/>
                          </a:solidFill>
                          <a:latin typeface="Arial" panose="020B0604020202020204" pitchFamily="34" charset="0"/>
                          <a:cs typeface="Arial" panose="020B0604020202020204" pitchFamily="34" charset="0"/>
                        </a:rPr>
                        <a:t>1G EGFR TKI </a:t>
                      </a:r>
                      <a:r>
                        <a:rPr lang="en-GB" sz="1200" b="0" noProof="0" dirty="0">
                          <a:solidFill>
                            <a:schemeClr val="bg1"/>
                          </a:solidFill>
                          <a:latin typeface="Arial" panose="020B0604020202020204" pitchFamily="34" charset="0"/>
                          <a:cs typeface="Arial" panose="020B0604020202020204" pitchFamily="34" charset="0"/>
                        </a:rPr>
                        <a:t>(%)</a:t>
                      </a:r>
                    </a:p>
                  </a:txBody>
                  <a:tcPr marT="36000" marB="36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300018867"/>
                  </a:ext>
                </a:extLst>
              </a:tr>
              <a:tr h="321310">
                <a:tc>
                  <a:txBody>
                    <a:bodyPr/>
                    <a:lstStyle/>
                    <a:p>
                      <a:pPr algn="ctr"/>
                      <a:r>
                        <a:rPr lang="en-GB" sz="1200" b="1" noProof="0" dirty="0">
                          <a:solidFill>
                            <a:schemeClr val="tx1"/>
                          </a:solidFill>
                          <a:latin typeface="Arial" panose="020B0604020202020204" pitchFamily="34" charset="0"/>
                          <a:cs typeface="Arial" panose="020B0604020202020204" pitchFamily="34" charset="0"/>
                        </a:rPr>
                        <a:t>12</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8E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noProof="0" dirty="0">
                          <a:solidFill>
                            <a:schemeClr val="tx1"/>
                          </a:solidFill>
                          <a:latin typeface="Arial" panose="020B0604020202020204" pitchFamily="34" charset="0"/>
                          <a:cs typeface="Arial" panose="020B0604020202020204" pitchFamily="34" charset="0"/>
                        </a:rPr>
                        <a:t>70</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8E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noProof="0" dirty="0">
                          <a:solidFill>
                            <a:schemeClr val="tx1"/>
                          </a:solidFill>
                          <a:latin typeface="Arial" panose="020B0604020202020204" pitchFamily="34" charset="0"/>
                          <a:cs typeface="Arial" panose="020B0604020202020204" pitchFamily="34" charset="0"/>
                        </a:rPr>
                        <a:t>47</a:t>
                      </a:r>
                    </a:p>
                  </a:txBody>
                  <a:tcPr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8E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5224255"/>
                  </a:ext>
                </a:extLst>
              </a:tr>
              <a:tr h="321310">
                <a:tc>
                  <a:txBody>
                    <a:bodyPr/>
                    <a:lstStyle/>
                    <a:p>
                      <a:pPr algn="ctr"/>
                      <a:r>
                        <a:rPr lang="en-GB" sz="1200" b="1" noProof="0" dirty="0">
                          <a:solidFill>
                            <a:schemeClr val="tx1"/>
                          </a:solidFill>
                          <a:latin typeface="Arial" panose="020B0604020202020204" pitchFamily="34" charset="0"/>
                          <a:cs typeface="Arial" panose="020B0604020202020204" pitchFamily="34" charset="0"/>
                        </a:rPr>
                        <a:t>24</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8E8E7"/>
                      </a:solidFill>
                      <a:prstDash val="solid"/>
                      <a:round/>
                      <a:headEnd type="none" w="med" len="med"/>
                      <a:tailEnd type="none" w="med" len="med"/>
                    </a:lnT>
                    <a:lnB w="12700" cap="flat" cmpd="sng" algn="ctr">
                      <a:solidFill>
                        <a:srgbClr val="E8E8E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noProof="0" dirty="0">
                          <a:solidFill>
                            <a:schemeClr val="tx1"/>
                          </a:solidFill>
                          <a:latin typeface="Arial" panose="020B0604020202020204" pitchFamily="34" charset="0"/>
                          <a:cs typeface="Arial" panose="020B0604020202020204" pitchFamily="34" charset="0"/>
                        </a:rPr>
                        <a:t>42</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8E8E7"/>
                      </a:solidFill>
                      <a:prstDash val="solid"/>
                      <a:round/>
                      <a:headEnd type="none" w="med" len="med"/>
                      <a:tailEnd type="none" w="med" len="med"/>
                    </a:lnT>
                    <a:lnB w="12700" cap="flat" cmpd="sng" algn="ctr">
                      <a:solidFill>
                        <a:srgbClr val="E8E8E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noProof="0" dirty="0">
                          <a:solidFill>
                            <a:schemeClr val="tx1"/>
                          </a:solidFill>
                          <a:latin typeface="Arial" panose="020B0604020202020204" pitchFamily="34" charset="0"/>
                          <a:cs typeface="Arial" panose="020B0604020202020204" pitchFamily="34" charset="0"/>
                        </a:rPr>
                        <a:t>16</a:t>
                      </a:r>
                    </a:p>
                  </a:txBody>
                  <a:tcPr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rgbClr val="E8E8E7"/>
                      </a:solidFill>
                      <a:prstDash val="solid"/>
                      <a:round/>
                      <a:headEnd type="none" w="med" len="med"/>
                      <a:tailEnd type="none" w="med" len="med"/>
                    </a:lnT>
                    <a:lnB w="12700" cap="flat" cmpd="sng" algn="ctr">
                      <a:solidFill>
                        <a:srgbClr val="E8E8E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2863479"/>
                  </a:ext>
                </a:extLst>
              </a:tr>
              <a:tr h="32131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chemeClr val="tx1"/>
                          </a:solidFill>
                          <a:latin typeface="Arial" panose="020B0604020202020204" pitchFamily="34" charset="0"/>
                          <a:cs typeface="Arial" panose="020B0604020202020204" pitchFamily="34" charset="0"/>
                        </a:rPr>
                        <a:t>36</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8E8E7"/>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noProof="0" dirty="0">
                          <a:solidFill>
                            <a:schemeClr val="accent1"/>
                          </a:solidFill>
                          <a:latin typeface="Arial" panose="020B0604020202020204" pitchFamily="34" charset="0"/>
                          <a:cs typeface="Arial" panose="020B0604020202020204" pitchFamily="34" charset="0"/>
                        </a:rPr>
                        <a:t>28</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8E8E7"/>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chemeClr val="accent1"/>
                          </a:solidFill>
                          <a:latin typeface="Arial" panose="020B0604020202020204" pitchFamily="34" charset="0"/>
                          <a:cs typeface="Arial" panose="020B0604020202020204" pitchFamily="34" charset="0"/>
                        </a:rPr>
                        <a:t>9</a:t>
                      </a:r>
                    </a:p>
                  </a:txBody>
                  <a:tcPr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rgbClr val="E8E8E7"/>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14406"/>
                  </a:ext>
                </a:extLst>
              </a:tr>
            </a:tbl>
          </a:graphicData>
        </a:graphic>
      </p:graphicFrame>
      <p:sp>
        <p:nvSpPr>
          <p:cNvPr id="25" name="TextBox 24">
            <a:extLst>
              <a:ext uri="{FF2B5EF4-FFF2-40B4-BE49-F238E27FC236}">
                <a16:creationId xmlns:a16="http://schemas.microsoft.com/office/drawing/2014/main" id="{E18710FE-8EE9-C8B0-0619-1165A7063CB3}"/>
              </a:ext>
            </a:extLst>
          </p:cNvPr>
          <p:cNvSpPr txBox="1"/>
          <p:nvPr/>
        </p:nvSpPr>
        <p:spPr>
          <a:xfrm>
            <a:off x="4266127" y="4358604"/>
            <a:ext cx="365951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tients continuing to receive 1L drug</a:t>
            </a:r>
          </a:p>
        </p:txBody>
      </p:sp>
      <p:sp>
        <p:nvSpPr>
          <p:cNvPr id="27" name="TextBox 26">
            <a:extLst>
              <a:ext uri="{FF2B5EF4-FFF2-40B4-BE49-F238E27FC236}">
                <a16:creationId xmlns:a16="http://schemas.microsoft.com/office/drawing/2014/main" id="{B38A9AAD-C73A-43B6-D3EB-AAD2DEC0D7D3}"/>
              </a:ext>
            </a:extLst>
          </p:cNvPr>
          <p:cNvSpPr txBox="1"/>
          <p:nvPr/>
        </p:nvSpPr>
        <p:spPr>
          <a:xfrm>
            <a:off x="8290971" y="1699625"/>
            <a:ext cx="3654921" cy="13208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7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LAURA</a:t>
            </a:r>
            <a:br>
              <a:rPr kumimoji="0" lang="en-GB"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9% remain on osimertinib for </a:t>
            </a:r>
            <a:b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t;4.5 years</a:t>
            </a:r>
          </a:p>
          <a:p>
            <a:pPr marL="0" marR="0" lvl="0" indent="0" algn="l" defTabSz="914400" rtl="0" eaLnBrk="1" fontAlgn="auto" latinLnBrk="0" hangingPunct="1">
              <a:lnSpc>
                <a:spcPct val="100000"/>
              </a:lnSpc>
              <a:spcBef>
                <a:spcPts val="0"/>
              </a:spcBef>
              <a:spcAft>
                <a:spcPts val="7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CCS data </a:t>
            </a:r>
            <a:br>
              <a:rPr kumimoji="0" lang="en-GB"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506, stage IV, 2018–2023</a:t>
            </a:r>
          </a:p>
        </p:txBody>
      </p:sp>
      <p:sp>
        <p:nvSpPr>
          <p:cNvPr id="10" name="Rectangle 9">
            <a:extLst>
              <a:ext uri="{FF2B5EF4-FFF2-40B4-BE49-F238E27FC236}">
                <a16:creationId xmlns:a16="http://schemas.microsoft.com/office/drawing/2014/main" id="{CA253522-D4E0-1956-0067-DDC0A48FD669}"/>
              </a:ext>
            </a:extLst>
          </p:cNvPr>
          <p:cNvSpPr>
            <a:spLocks/>
          </p:cNvSpPr>
          <p:nvPr/>
        </p:nvSpPr>
        <p:spPr>
          <a:xfrm>
            <a:off x="173267" y="1181842"/>
            <a:ext cx="3886372" cy="5013343"/>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5C1C7059-0A6B-6B90-73DA-C3C92DFF636A}"/>
              </a:ext>
            </a:extLst>
          </p:cNvPr>
          <p:cNvSpPr txBox="1"/>
          <p:nvPr/>
        </p:nvSpPr>
        <p:spPr>
          <a:xfrm>
            <a:off x="173267" y="1183668"/>
            <a:ext cx="3888000" cy="355276"/>
          </a:xfrm>
          <a:prstGeom prst="rect">
            <a:avLst/>
          </a:prstGeom>
          <a:solidFill>
            <a:schemeClr val="bg2"/>
          </a:solidFill>
        </p:spPr>
        <p:txBody>
          <a:bodyPr wrap="square" lIns="108000" tIns="54000" rIns="108000" bIns="5400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arly progressors</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2,3</a:t>
            </a:r>
          </a:p>
        </p:txBody>
      </p:sp>
      <p:sp>
        <p:nvSpPr>
          <p:cNvPr id="14" name="TextBox 13">
            <a:extLst>
              <a:ext uri="{FF2B5EF4-FFF2-40B4-BE49-F238E27FC236}">
                <a16:creationId xmlns:a16="http://schemas.microsoft.com/office/drawing/2014/main" id="{51E21D15-D39C-252D-1512-CE12AD7D1C34}"/>
              </a:ext>
            </a:extLst>
          </p:cNvPr>
          <p:cNvSpPr txBox="1"/>
          <p:nvPr/>
        </p:nvSpPr>
        <p:spPr>
          <a:xfrm rot="16200000">
            <a:off x="-879853" y="4412488"/>
            <a:ext cx="2571221"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bability of PFS</a:t>
            </a:r>
          </a:p>
        </p:txBody>
      </p:sp>
      <p:sp>
        <p:nvSpPr>
          <p:cNvPr id="380" name="TextBox 379">
            <a:extLst>
              <a:ext uri="{FF2B5EF4-FFF2-40B4-BE49-F238E27FC236}">
                <a16:creationId xmlns:a16="http://schemas.microsoft.com/office/drawing/2014/main" id="{BF6BB3C3-1FB2-5FEF-0AF4-F80432EBB1D8}"/>
              </a:ext>
            </a:extLst>
          </p:cNvPr>
          <p:cNvSpPr txBox="1"/>
          <p:nvPr/>
        </p:nvSpPr>
        <p:spPr>
          <a:xfrm>
            <a:off x="1055587" y="5490458"/>
            <a:ext cx="2571221"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ths</a:t>
            </a:r>
          </a:p>
        </p:txBody>
      </p:sp>
      <p:grpSp>
        <p:nvGrpSpPr>
          <p:cNvPr id="22" name="Graphic 11">
            <a:extLst>
              <a:ext uri="{FF2B5EF4-FFF2-40B4-BE49-F238E27FC236}">
                <a16:creationId xmlns:a16="http://schemas.microsoft.com/office/drawing/2014/main" id="{73083E49-A340-B2D0-89FD-C794A367ADC5}"/>
              </a:ext>
            </a:extLst>
          </p:cNvPr>
          <p:cNvGrpSpPr/>
          <p:nvPr/>
        </p:nvGrpSpPr>
        <p:grpSpPr>
          <a:xfrm>
            <a:off x="794368" y="3766242"/>
            <a:ext cx="2957004" cy="1350945"/>
            <a:chOff x="1058876" y="3661178"/>
            <a:chExt cx="2528069" cy="1350945"/>
          </a:xfrm>
          <a:noFill/>
        </p:grpSpPr>
        <p:sp>
          <p:nvSpPr>
            <p:cNvPr id="23" name="Freeform 22">
              <a:extLst>
                <a:ext uri="{FF2B5EF4-FFF2-40B4-BE49-F238E27FC236}">
                  <a16:creationId xmlns:a16="http://schemas.microsoft.com/office/drawing/2014/main" id="{9A5CF381-9136-11ED-20B1-A4001FFAD029}"/>
                </a:ext>
              </a:extLst>
            </p:cNvPr>
            <p:cNvSpPr/>
            <p:nvPr/>
          </p:nvSpPr>
          <p:spPr>
            <a:xfrm>
              <a:off x="1061737" y="3681308"/>
              <a:ext cx="2520274" cy="1310684"/>
            </a:xfrm>
            <a:custGeom>
              <a:avLst/>
              <a:gdLst>
                <a:gd name="connsiteX0" fmla="*/ 0 w 2520274"/>
                <a:gd name="connsiteY0" fmla="*/ 0 h 1310684"/>
                <a:gd name="connsiteX1" fmla="*/ 36165 w 2520274"/>
                <a:gd name="connsiteY1" fmla="*/ 0 h 1310684"/>
                <a:gd name="connsiteX2" fmla="*/ 36165 w 2520274"/>
                <a:gd name="connsiteY2" fmla="*/ 8190 h 1310684"/>
                <a:gd name="connsiteX3" fmla="*/ 57529 w 2520274"/>
                <a:gd name="connsiteY3" fmla="*/ 8190 h 1310684"/>
                <a:gd name="connsiteX4" fmla="*/ 57529 w 2520274"/>
                <a:gd name="connsiteY4" fmla="*/ 15591 h 1310684"/>
                <a:gd name="connsiteX5" fmla="*/ 87132 w 2520274"/>
                <a:gd name="connsiteY5" fmla="*/ 15591 h 1310684"/>
                <a:gd name="connsiteX6" fmla="*/ 87132 w 2520274"/>
                <a:gd name="connsiteY6" fmla="*/ 22992 h 1310684"/>
                <a:gd name="connsiteX7" fmla="*/ 122459 w 2520274"/>
                <a:gd name="connsiteY7" fmla="*/ 22992 h 1310684"/>
                <a:gd name="connsiteX8" fmla="*/ 122459 w 2520274"/>
                <a:gd name="connsiteY8" fmla="*/ 31231 h 1310684"/>
                <a:gd name="connsiteX9" fmla="*/ 142984 w 2520274"/>
                <a:gd name="connsiteY9" fmla="*/ 31231 h 1310684"/>
                <a:gd name="connsiteX10" fmla="*/ 142984 w 2520274"/>
                <a:gd name="connsiteY10" fmla="*/ 64930 h 1310684"/>
                <a:gd name="connsiteX11" fmla="*/ 166814 w 2520274"/>
                <a:gd name="connsiteY11" fmla="*/ 64930 h 1310684"/>
                <a:gd name="connsiteX12" fmla="*/ 166814 w 2520274"/>
                <a:gd name="connsiteY12" fmla="*/ 73120 h 1310684"/>
                <a:gd name="connsiteX13" fmla="*/ 179988 w 2520274"/>
                <a:gd name="connsiteY13" fmla="*/ 73120 h 1310684"/>
                <a:gd name="connsiteX14" fmla="*/ 179988 w 2520274"/>
                <a:gd name="connsiteY14" fmla="*/ 79682 h 1310684"/>
                <a:gd name="connsiteX15" fmla="*/ 194789 w 2520274"/>
                <a:gd name="connsiteY15" fmla="*/ 79682 h 1310684"/>
                <a:gd name="connsiteX16" fmla="*/ 194789 w 2520274"/>
                <a:gd name="connsiteY16" fmla="*/ 89550 h 1310684"/>
                <a:gd name="connsiteX17" fmla="*/ 260509 w 2520274"/>
                <a:gd name="connsiteY17" fmla="*/ 89550 h 1310684"/>
                <a:gd name="connsiteX18" fmla="*/ 260509 w 2520274"/>
                <a:gd name="connsiteY18" fmla="*/ 121620 h 1310684"/>
                <a:gd name="connsiteX19" fmla="*/ 279406 w 2520274"/>
                <a:gd name="connsiteY19" fmla="*/ 121620 h 1310684"/>
                <a:gd name="connsiteX20" fmla="*/ 279406 w 2520274"/>
                <a:gd name="connsiteY20" fmla="*/ 140517 h 1310684"/>
                <a:gd name="connsiteX21" fmla="*/ 312265 w 2520274"/>
                <a:gd name="connsiteY21" fmla="*/ 140517 h 1310684"/>
                <a:gd name="connsiteX22" fmla="*/ 312265 w 2520274"/>
                <a:gd name="connsiteY22" fmla="*/ 147079 h 1310684"/>
                <a:gd name="connsiteX23" fmla="*/ 318877 w 2520274"/>
                <a:gd name="connsiteY23" fmla="*/ 147079 h 1310684"/>
                <a:gd name="connsiteX24" fmla="*/ 318877 w 2520274"/>
                <a:gd name="connsiteY24" fmla="*/ 153641 h 1310684"/>
                <a:gd name="connsiteX25" fmla="*/ 389530 w 2520274"/>
                <a:gd name="connsiteY25" fmla="*/ 153641 h 1310684"/>
                <a:gd name="connsiteX26" fmla="*/ 389530 w 2520274"/>
                <a:gd name="connsiteY26" fmla="*/ 164347 h 1310684"/>
                <a:gd name="connsiteX27" fmla="*/ 398559 w 2520274"/>
                <a:gd name="connsiteY27" fmla="*/ 164347 h 1310684"/>
                <a:gd name="connsiteX28" fmla="*/ 398559 w 2520274"/>
                <a:gd name="connsiteY28" fmla="*/ 179939 h 1310684"/>
                <a:gd name="connsiteX29" fmla="*/ 407588 w 2520274"/>
                <a:gd name="connsiteY29" fmla="*/ 179939 h 1310684"/>
                <a:gd name="connsiteX30" fmla="*/ 407588 w 2520274"/>
                <a:gd name="connsiteY30" fmla="*/ 223505 h 1310684"/>
                <a:gd name="connsiteX31" fmla="*/ 424856 w 2520274"/>
                <a:gd name="connsiteY31" fmla="*/ 223505 h 1310684"/>
                <a:gd name="connsiteX32" fmla="*/ 424856 w 2520274"/>
                <a:gd name="connsiteY32" fmla="*/ 239096 h 1310684"/>
                <a:gd name="connsiteX33" fmla="*/ 481546 w 2520274"/>
                <a:gd name="connsiteY33" fmla="*/ 239096 h 1310684"/>
                <a:gd name="connsiteX34" fmla="*/ 481546 w 2520274"/>
                <a:gd name="connsiteY34" fmla="*/ 254736 h 1310684"/>
                <a:gd name="connsiteX35" fmla="*/ 501282 w 2520274"/>
                <a:gd name="connsiteY35" fmla="*/ 254736 h 1310684"/>
                <a:gd name="connsiteX36" fmla="*/ 501282 w 2520274"/>
                <a:gd name="connsiteY36" fmla="*/ 265393 h 1310684"/>
                <a:gd name="connsiteX37" fmla="*/ 521018 w 2520274"/>
                <a:gd name="connsiteY37" fmla="*/ 265393 h 1310684"/>
                <a:gd name="connsiteX38" fmla="*/ 521018 w 2520274"/>
                <a:gd name="connsiteY38" fmla="*/ 287596 h 1310684"/>
                <a:gd name="connsiteX39" fmla="*/ 534980 w 2520274"/>
                <a:gd name="connsiteY39" fmla="*/ 287596 h 1310684"/>
                <a:gd name="connsiteX40" fmla="*/ 534980 w 2520274"/>
                <a:gd name="connsiteY40" fmla="*/ 303236 h 1310684"/>
                <a:gd name="connsiteX41" fmla="*/ 543171 w 2520274"/>
                <a:gd name="connsiteY41" fmla="*/ 303236 h 1310684"/>
                <a:gd name="connsiteX42" fmla="*/ 543171 w 2520274"/>
                <a:gd name="connsiteY42" fmla="*/ 352526 h 1310684"/>
                <a:gd name="connsiteX43" fmla="*/ 640171 w 2520274"/>
                <a:gd name="connsiteY43" fmla="*/ 352526 h 1310684"/>
                <a:gd name="connsiteX44" fmla="*/ 640171 w 2520274"/>
                <a:gd name="connsiteY44" fmla="*/ 386224 h 1310684"/>
                <a:gd name="connsiteX45" fmla="*/ 656601 w 2520274"/>
                <a:gd name="connsiteY45" fmla="*/ 386224 h 1310684"/>
                <a:gd name="connsiteX46" fmla="*/ 656601 w 2520274"/>
                <a:gd name="connsiteY46" fmla="*/ 412522 h 1310684"/>
                <a:gd name="connsiteX47" fmla="*/ 673030 w 2520274"/>
                <a:gd name="connsiteY47" fmla="*/ 412522 h 1310684"/>
                <a:gd name="connsiteX48" fmla="*/ 673030 w 2520274"/>
                <a:gd name="connsiteY48" fmla="*/ 466745 h 1310684"/>
                <a:gd name="connsiteX49" fmla="*/ 751923 w 2520274"/>
                <a:gd name="connsiteY49" fmla="*/ 466745 h 1310684"/>
                <a:gd name="connsiteX50" fmla="*/ 751923 w 2520274"/>
                <a:gd name="connsiteY50" fmla="*/ 474935 h 1310684"/>
                <a:gd name="connsiteX51" fmla="*/ 786411 w 2520274"/>
                <a:gd name="connsiteY51" fmla="*/ 474935 h 1310684"/>
                <a:gd name="connsiteX52" fmla="*/ 786411 w 2520274"/>
                <a:gd name="connsiteY52" fmla="*/ 488947 h 1310684"/>
                <a:gd name="connsiteX53" fmla="*/ 794651 w 2520274"/>
                <a:gd name="connsiteY53" fmla="*/ 488947 h 1310684"/>
                <a:gd name="connsiteX54" fmla="*/ 794651 w 2520274"/>
                <a:gd name="connsiteY54" fmla="*/ 510311 h 1310684"/>
                <a:gd name="connsiteX55" fmla="*/ 804518 w 2520274"/>
                <a:gd name="connsiteY55" fmla="*/ 510311 h 1310684"/>
                <a:gd name="connsiteX56" fmla="*/ 804518 w 2520274"/>
                <a:gd name="connsiteY56" fmla="*/ 540704 h 1310684"/>
                <a:gd name="connsiteX57" fmla="*/ 811919 w 2520274"/>
                <a:gd name="connsiteY57" fmla="*/ 540704 h 1310684"/>
                <a:gd name="connsiteX58" fmla="*/ 811919 w 2520274"/>
                <a:gd name="connsiteY58" fmla="*/ 572725 h 1310684"/>
                <a:gd name="connsiteX59" fmla="*/ 825882 w 2520274"/>
                <a:gd name="connsiteY59" fmla="*/ 572725 h 1310684"/>
                <a:gd name="connsiteX60" fmla="*/ 825882 w 2520274"/>
                <a:gd name="connsiteY60" fmla="*/ 586737 h 1310684"/>
                <a:gd name="connsiteX61" fmla="*/ 881733 w 2520274"/>
                <a:gd name="connsiteY61" fmla="*/ 586737 h 1310684"/>
                <a:gd name="connsiteX62" fmla="*/ 881733 w 2520274"/>
                <a:gd name="connsiteY62" fmla="*/ 599022 h 1310684"/>
                <a:gd name="connsiteX63" fmla="*/ 916271 w 2520274"/>
                <a:gd name="connsiteY63" fmla="*/ 599022 h 1310684"/>
                <a:gd name="connsiteX64" fmla="*/ 916271 w 2520274"/>
                <a:gd name="connsiteY64" fmla="*/ 612196 h 1310684"/>
                <a:gd name="connsiteX65" fmla="*/ 926928 w 2520274"/>
                <a:gd name="connsiteY65" fmla="*/ 612196 h 1310684"/>
                <a:gd name="connsiteX66" fmla="*/ 926928 w 2520274"/>
                <a:gd name="connsiteY66" fmla="*/ 648361 h 1310684"/>
                <a:gd name="connsiteX67" fmla="*/ 937634 w 2520274"/>
                <a:gd name="connsiteY67" fmla="*/ 648361 h 1310684"/>
                <a:gd name="connsiteX68" fmla="*/ 937634 w 2520274"/>
                <a:gd name="connsiteY68" fmla="*/ 697650 h 1310684"/>
                <a:gd name="connsiteX69" fmla="*/ 949969 w 2520274"/>
                <a:gd name="connsiteY69" fmla="*/ 697650 h 1310684"/>
                <a:gd name="connsiteX70" fmla="*/ 949969 w 2520274"/>
                <a:gd name="connsiteY70" fmla="*/ 712452 h 1310684"/>
                <a:gd name="connsiteX71" fmla="*/ 983618 w 2520274"/>
                <a:gd name="connsiteY71" fmla="*/ 712452 h 1310684"/>
                <a:gd name="connsiteX72" fmla="*/ 983618 w 2520274"/>
                <a:gd name="connsiteY72" fmla="*/ 724787 h 1310684"/>
                <a:gd name="connsiteX73" fmla="*/ 1048548 w 2520274"/>
                <a:gd name="connsiteY73" fmla="*/ 724787 h 1310684"/>
                <a:gd name="connsiteX74" fmla="*/ 1048548 w 2520274"/>
                <a:gd name="connsiteY74" fmla="*/ 750245 h 1310684"/>
                <a:gd name="connsiteX75" fmla="*/ 1063349 w 2520274"/>
                <a:gd name="connsiteY75" fmla="*/ 750245 h 1310684"/>
                <a:gd name="connsiteX76" fmla="*/ 1063349 w 2520274"/>
                <a:gd name="connsiteY76" fmla="*/ 779010 h 1310684"/>
                <a:gd name="connsiteX77" fmla="*/ 1072378 w 2520274"/>
                <a:gd name="connsiteY77" fmla="*/ 779010 h 1310684"/>
                <a:gd name="connsiteX78" fmla="*/ 1072378 w 2520274"/>
                <a:gd name="connsiteY78" fmla="*/ 824204 h 1310684"/>
                <a:gd name="connsiteX79" fmla="*/ 1150432 w 2520274"/>
                <a:gd name="connsiteY79" fmla="*/ 824204 h 1310684"/>
                <a:gd name="connsiteX80" fmla="*/ 1150432 w 2520274"/>
                <a:gd name="connsiteY80" fmla="*/ 832395 h 1310684"/>
                <a:gd name="connsiteX81" fmla="*/ 1191532 w 2520274"/>
                <a:gd name="connsiteY81" fmla="*/ 832395 h 1310684"/>
                <a:gd name="connsiteX82" fmla="*/ 1191532 w 2520274"/>
                <a:gd name="connsiteY82" fmla="*/ 853758 h 1310684"/>
                <a:gd name="connsiteX83" fmla="*/ 1203028 w 2520274"/>
                <a:gd name="connsiteY83" fmla="*/ 853758 h 1310684"/>
                <a:gd name="connsiteX84" fmla="*/ 1203028 w 2520274"/>
                <a:gd name="connsiteY84" fmla="*/ 870237 h 1310684"/>
                <a:gd name="connsiteX85" fmla="*/ 1276986 w 2520274"/>
                <a:gd name="connsiteY85" fmla="*/ 870237 h 1310684"/>
                <a:gd name="connsiteX86" fmla="*/ 1276986 w 2520274"/>
                <a:gd name="connsiteY86" fmla="*/ 878428 h 1310684"/>
                <a:gd name="connsiteX87" fmla="*/ 1332887 w 2520274"/>
                <a:gd name="connsiteY87" fmla="*/ 878428 h 1310684"/>
                <a:gd name="connsiteX88" fmla="*/ 1332887 w 2520274"/>
                <a:gd name="connsiteY88" fmla="*/ 912126 h 1310684"/>
                <a:gd name="connsiteX89" fmla="*/ 1347689 w 2520274"/>
                <a:gd name="connsiteY89" fmla="*/ 912126 h 1310684"/>
                <a:gd name="connsiteX90" fmla="*/ 1347689 w 2520274"/>
                <a:gd name="connsiteY90" fmla="*/ 921155 h 1310684"/>
                <a:gd name="connsiteX91" fmla="*/ 1356718 w 2520274"/>
                <a:gd name="connsiteY91" fmla="*/ 921155 h 1310684"/>
                <a:gd name="connsiteX92" fmla="*/ 1356718 w 2520274"/>
                <a:gd name="connsiteY92" fmla="*/ 942519 h 1310684"/>
                <a:gd name="connsiteX93" fmla="*/ 1448735 w 2520274"/>
                <a:gd name="connsiteY93" fmla="*/ 942519 h 1310684"/>
                <a:gd name="connsiteX94" fmla="*/ 1448735 w 2520274"/>
                <a:gd name="connsiteY94" fmla="*/ 985246 h 1310684"/>
                <a:gd name="connsiteX95" fmla="*/ 1466842 w 2520274"/>
                <a:gd name="connsiteY95" fmla="*/ 985246 h 1310684"/>
                <a:gd name="connsiteX96" fmla="*/ 1466842 w 2520274"/>
                <a:gd name="connsiteY96" fmla="*/ 1001676 h 1310684"/>
                <a:gd name="connsiteX97" fmla="*/ 1476660 w 2520274"/>
                <a:gd name="connsiteY97" fmla="*/ 1001676 h 1310684"/>
                <a:gd name="connsiteX98" fmla="*/ 1476660 w 2520274"/>
                <a:gd name="connsiteY98" fmla="*/ 1028812 h 1310684"/>
                <a:gd name="connsiteX99" fmla="*/ 1579384 w 2520274"/>
                <a:gd name="connsiteY99" fmla="*/ 1028812 h 1310684"/>
                <a:gd name="connsiteX100" fmla="*/ 1579384 w 2520274"/>
                <a:gd name="connsiteY100" fmla="*/ 1052643 h 1310684"/>
                <a:gd name="connsiteX101" fmla="*/ 1613082 w 2520274"/>
                <a:gd name="connsiteY101" fmla="*/ 1052643 h 1310684"/>
                <a:gd name="connsiteX102" fmla="*/ 1613082 w 2520274"/>
                <a:gd name="connsiteY102" fmla="*/ 1069073 h 1310684"/>
                <a:gd name="connsiteX103" fmla="*/ 1673078 w 2520274"/>
                <a:gd name="connsiteY103" fmla="*/ 1069073 h 1310684"/>
                <a:gd name="connsiteX104" fmla="*/ 1673078 w 2520274"/>
                <a:gd name="connsiteY104" fmla="*/ 1077312 h 1310684"/>
                <a:gd name="connsiteX105" fmla="*/ 1734702 w 2520274"/>
                <a:gd name="connsiteY105" fmla="*/ 1077312 h 1310684"/>
                <a:gd name="connsiteX106" fmla="*/ 1734702 w 2520274"/>
                <a:gd name="connsiteY106" fmla="*/ 1096209 h 1310684"/>
                <a:gd name="connsiteX107" fmla="*/ 1761839 w 2520274"/>
                <a:gd name="connsiteY107" fmla="*/ 1096209 h 1310684"/>
                <a:gd name="connsiteX108" fmla="*/ 1761839 w 2520274"/>
                <a:gd name="connsiteY108" fmla="*/ 1112639 h 1310684"/>
                <a:gd name="connsiteX109" fmla="*/ 1867029 w 2520274"/>
                <a:gd name="connsiteY109" fmla="*/ 1112639 h 1310684"/>
                <a:gd name="connsiteX110" fmla="*/ 1867029 w 2520274"/>
                <a:gd name="connsiteY110" fmla="*/ 1129069 h 1310684"/>
                <a:gd name="connsiteX111" fmla="*/ 1888393 w 2520274"/>
                <a:gd name="connsiteY111" fmla="*/ 1129069 h 1310684"/>
                <a:gd name="connsiteX112" fmla="*/ 1888393 w 2520274"/>
                <a:gd name="connsiteY112" fmla="*/ 1137259 h 1310684"/>
                <a:gd name="connsiteX113" fmla="*/ 1935215 w 2520274"/>
                <a:gd name="connsiteY113" fmla="*/ 1137259 h 1310684"/>
                <a:gd name="connsiteX114" fmla="*/ 1935215 w 2520274"/>
                <a:gd name="connsiteY114" fmla="*/ 1150432 h 1310684"/>
                <a:gd name="connsiteX115" fmla="*/ 1977104 w 2520274"/>
                <a:gd name="connsiteY115" fmla="*/ 1150432 h 1310684"/>
                <a:gd name="connsiteX116" fmla="*/ 1977104 w 2520274"/>
                <a:gd name="connsiteY116" fmla="*/ 1189065 h 1310684"/>
                <a:gd name="connsiteX117" fmla="*/ 2007546 w 2520274"/>
                <a:gd name="connsiteY117" fmla="*/ 1189065 h 1310684"/>
                <a:gd name="connsiteX118" fmla="*/ 2007546 w 2520274"/>
                <a:gd name="connsiteY118" fmla="*/ 1203866 h 1310684"/>
                <a:gd name="connsiteX119" fmla="*/ 2111897 w 2520274"/>
                <a:gd name="connsiteY119" fmla="*/ 1203866 h 1310684"/>
                <a:gd name="connsiteX120" fmla="*/ 2111897 w 2520274"/>
                <a:gd name="connsiteY120" fmla="*/ 1229325 h 1310684"/>
                <a:gd name="connsiteX121" fmla="*/ 2211315 w 2520274"/>
                <a:gd name="connsiteY121" fmla="*/ 1229325 h 1310684"/>
                <a:gd name="connsiteX122" fmla="*/ 2211315 w 2520274"/>
                <a:gd name="connsiteY122" fmla="*/ 1249061 h 1310684"/>
                <a:gd name="connsiteX123" fmla="*/ 2240918 w 2520274"/>
                <a:gd name="connsiteY123" fmla="*/ 1249061 h 1310684"/>
                <a:gd name="connsiteX124" fmla="*/ 2240918 w 2520274"/>
                <a:gd name="connsiteY124" fmla="*/ 1274519 h 1310684"/>
                <a:gd name="connsiteX125" fmla="*/ 2249947 w 2520274"/>
                <a:gd name="connsiteY125" fmla="*/ 1274519 h 1310684"/>
                <a:gd name="connsiteX126" fmla="*/ 2249947 w 2520274"/>
                <a:gd name="connsiteY126" fmla="*/ 1310685 h 1310684"/>
                <a:gd name="connsiteX127" fmla="*/ 2520274 w 2520274"/>
                <a:gd name="connsiteY127" fmla="*/ 1310685 h 131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520274" h="1310684">
                  <a:moveTo>
                    <a:pt x="0" y="0"/>
                  </a:moveTo>
                  <a:lnTo>
                    <a:pt x="36165" y="0"/>
                  </a:lnTo>
                  <a:lnTo>
                    <a:pt x="36165" y="8190"/>
                  </a:lnTo>
                  <a:lnTo>
                    <a:pt x="57529" y="8190"/>
                  </a:lnTo>
                  <a:lnTo>
                    <a:pt x="57529" y="15591"/>
                  </a:lnTo>
                  <a:lnTo>
                    <a:pt x="87132" y="15591"/>
                  </a:lnTo>
                  <a:lnTo>
                    <a:pt x="87132" y="22992"/>
                  </a:lnTo>
                  <a:lnTo>
                    <a:pt x="122459" y="22992"/>
                  </a:lnTo>
                  <a:lnTo>
                    <a:pt x="122459" y="31231"/>
                  </a:lnTo>
                  <a:lnTo>
                    <a:pt x="142984" y="31231"/>
                  </a:lnTo>
                  <a:lnTo>
                    <a:pt x="142984" y="64930"/>
                  </a:lnTo>
                  <a:lnTo>
                    <a:pt x="166814" y="64930"/>
                  </a:lnTo>
                  <a:lnTo>
                    <a:pt x="166814" y="73120"/>
                  </a:lnTo>
                  <a:lnTo>
                    <a:pt x="179988" y="73120"/>
                  </a:lnTo>
                  <a:lnTo>
                    <a:pt x="179988" y="79682"/>
                  </a:lnTo>
                  <a:lnTo>
                    <a:pt x="194789" y="79682"/>
                  </a:lnTo>
                  <a:lnTo>
                    <a:pt x="194789" y="89550"/>
                  </a:lnTo>
                  <a:lnTo>
                    <a:pt x="260509" y="89550"/>
                  </a:lnTo>
                  <a:lnTo>
                    <a:pt x="260509" y="121620"/>
                  </a:lnTo>
                  <a:lnTo>
                    <a:pt x="279406" y="121620"/>
                  </a:lnTo>
                  <a:lnTo>
                    <a:pt x="279406" y="140517"/>
                  </a:lnTo>
                  <a:lnTo>
                    <a:pt x="312265" y="140517"/>
                  </a:lnTo>
                  <a:lnTo>
                    <a:pt x="312265" y="147079"/>
                  </a:lnTo>
                  <a:lnTo>
                    <a:pt x="318877" y="147079"/>
                  </a:lnTo>
                  <a:lnTo>
                    <a:pt x="318877" y="153641"/>
                  </a:lnTo>
                  <a:lnTo>
                    <a:pt x="389530" y="153641"/>
                  </a:lnTo>
                  <a:lnTo>
                    <a:pt x="389530" y="164347"/>
                  </a:lnTo>
                  <a:lnTo>
                    <a:pt x="398559" y="164347"/>
                  </a:lnTo>
                  <a:lnTo>
                    <a:pt x="398559" y="179939"/>
                  </a:lnTo>
                  <a:lnTo>
                    <a:pt x="407588" y="179939"/>
                  </a:lnTo>
                  <a:lnTo>
                    <a:pt x="407588" y="223505"/>
                  </a:lnTo>
                  <a:lnTo>
                    <a:pt x="424856" y="223505"/>
                  </a:lnTo>
                  <a:lnTo>
                    <a:pt x="424856" y="239096"/>
                  </a:lnTo>
                  <a:lnTo>
                    <a:pt x="481546" y="239096"/>
                  </a:lnTo>
                  <a:lnTo>
                    <a:pt x="481546" y="254736"/>
                  </a:lnTo>
                  <a:lnTo>
                    <a:pt x="501282" y="254736"/>
                  </a:lnTo>
                  <a:lnTo>
                    <a:pt x="501282" y="265393"/>
                  </a:lnTo>
                  <a:lnTo>
                    <a:pt x="521018" y="265393"/>
                  </a:lnTo>
                  <a:lnTo>
                    <a:pt x="521018" y="287596"/>
                  </a:lnTo>
                  <a:lnTo>
                    <a:pt x="534980" y="287596"/>
                  </a:lnTo>
                  <a:lnTo>
                    <a:pt x="534980" y="303236"/>
                  </a:lnTo>
                  <a:lnTo>
                    <a:pt x="543171" y="303236"/>
                  </a:lnTo>
                  <a:lnTo>
                    <a:pt x="543171" y="352526"/>
                  </a:lnTo>
                  <a:lnTo>
                    <a:pt x="640171" y="352526"/>
                  </a:lnTo>
                  <a:lnTo>
                    <a:pt x="640171" y="386224"/>
                  </a:lnTo>
                  <a:lnTo>
                    <a:pt x="656601" y="386224"/>
                  </a:lnTo>
                  <a:lnTo>
                    <a:pt x="656601" y="412522"/>
                  </a:lnTo>
                  <a:lnTo>
                    <a:pt x="673030" y="412522"/>
                  </a:lnTo>
                  <a:lnTo>
                    <a:pt x="673030" y="466745"/>
                  </a:lnTo>
                  <a:lnTo>
                    <a:pt x="751923" y="466745"/>
                  </a:lnTo>
                  <a:lnTo>
                    <a:pt x="751923" y="474935"/>
                  </a:lnTo>
                  <a:lnTo>
                    <a:pt x="786411" y="474935"/>
                  </a:lnTo>
                  <a:lnTo>
                    <a:pt x="786411" y="488947"/>
                  </a:lnTo>
                  <a:lnTo>
                    <a:pt x="794651" y="488947"/>
                  </a:lnTo>
                  <a:lnTo>
                    <a:pt x="794651" y="510311"/>
                  </a:lnTo>
                  <a:lnTo>
                    <a:pt x="804518" y="510311"/>
                  </a:lnTo>
                  <a:lnTo>
                    <a:pt x="804518" y="540704"/>
                  </a:lnTo>
                  <a:lnTo>
                    <a:pt x="811919" y="540704"/>
                  </a:lnTo>
                  <a:lnTo>
                    <a:pt x="811919" y="572725"/>
                  </a:lnTo>
                  <a:lnTo>
                    <a:pt x="825882" y="572725"/>
                  </a:lnTo>
                  <a:lnTo>
                    <a:pt x="825882" y="586737"/>
                  </a:lnTo>
                  <a:lnTo>
                    <a:pt x="881733" y="586737"/>
                  </a:lnTo>
                  <a:lnTo>
                    <a:pt x="881733" y="599022"/>
                  </a:lnTo>
                  <a:lnTo>
                    <a:pt x="916271" y="599022"/>
                  </a:lnTo>
                  <a:lnTo>
                    <a:pt x="916271" y="612196"/>
                  </a:lnTo>
                  <a:lnTo>
                    <a:pt x="926928" y="612196"/>
                  </a:lnTo>
                  <a:lnTo>
                    <a:pt x="926928" y="648361"/>
                  </a:lnTo>
                  <a:lnTo>
                    <a:pt x="937634" y="648361"/>
                  </a:lnTo>
                  <a:lnTo>
                    <a:pt x="937634" y="697650"/>
                  </a:lnTo>
                  <a:lnTo>
                    <a:pt x="949969" y="697650"/>
                  </a:lnTo>
                  <a:lnTo>
                    <a:pt x="949969" y="712452"/>
                  </a:lnTo>
                  <a:lnTo>
                    <a:pt x="983618" y="712452"/>
                  </a:lnTo>
                  <a:lnTo>
                    <a:pt x="983618" y="724787"/>
                  </a:lnTo>
                  <a:lnTo>
                    <a:pt x="1048548" y="724787"/>
                  </a:lnTo>
                  <a:lnTo>
                    <a:pt x="1048548" y="750245"/>
                  </a:lnTo>
                  <a:lnTo>
                    <a:pt x="1063349" y="750245"/>
                  </a:lnTo>
                  <a:lnTo>
                    <a:pt x="1063349" y="779010"/>
                  </a:lnTo>
                  <a:lnTo>
                    <a:pt x="1072378" y="779010"/>
                  </a:lnTo>
                  <a:lnTo>
                    <a:pt x="1072378" y="824204"/>
                  </a:lnTo>
                  <a:lnTo>
                    <a:pt x="1150432" y="824204"/>
                  </a:lnTo>
                  <a:lnTo>
                    <a:pt x="1150432" y="832395"/>
                  </a:lnTo>
                  <a:lnTo>
                    <a:pt x="1191532" y="832395"/>
                  </a:lnTo>
                  <a:lnTo>
                    <a:pt x="1191532" y="853758"/>
                  </a:lnTo>
                  <a:lnTo>
                    <a:pt x="1203028" y="853758"/>
                  </a:lnTo>
                  <a:lnTo>
                    <a:pt x="1203028" y="870237"/>
                  </a:lnTo>
                  <a:lnTo>
                    <a:pt x="1276986" y="870237"/>
                  </a:lnTo>
                  <a:lnTo>
                    <a:pt x="1276986" y="878428"/>
                  </a:lnTo>
                  <a:lnTo>
                    <a:pt x="1332887" y="878428"/>
                  </a:lnTo>
                  <a:lnTo>
                    <a:pt x="1332887" y="912126"/>
                  </a:lnTo>
                  <a:lnTo>
                    <a:pt x="1347689" y="912126"/>
                  </a:lnTo>
                  <a:lnTo>
                    <a:pt x="1347689" y="921155"/>
                  </a:lnTo>
                  <a:lnTo>
                    <a:pt x="1356718" y="921155"/>
                  </a:lnTo>
                  <a:lnTo>
                    <a:pt x="1356718" y="942519"/>
                  </a:lnTo>
                  <a:lnTo>
                    <a:pt x="1448735" y="942519"/>
                  </a:lnTo>
                  <a:lnTo>
                    <a:pt x="1448735" y="985246"/>
                  </a:lnTo>
                  <a:lnTo>
                    <a:pt x="1466842" y="985246"/>
                  </a:lnTo>
                  <a:lnTo>
                    <a:pt x="1466842" y="1001676"/>
                  </a:lnTo>
                  <a:lnTo>
                    <a:pt x="1476660" y="1001676"/>
                  </a:lnTo>
                  <a:lnTo>
                    <a:pt x="1476660" y="1028812"/>
                  </a:lnTo>
                  <a:lnTo>
                    <a:pt x="1579384" y="1028812"/>
                  </a:lnTo>
                  <a:lnTo>
                    <a:pt x="1579384" y="1052643"/>
                  </a:lnTo>
                  <a:lnTo>
                    <a:pt x="1613082" y="1052643"/>
                  </a:lnTo>
                  <a:lnTo>
                    <a:pt x="1613082" y="1069073"/>
                  </a:lnTo>
                  <a:lnTo>
                    <a:pt x="1673078" y="1069073"/>
                  </a:lnTo>
                  <a:lnTo>
                    <a:pt x="1673078" y="1077312"/>
                  </a:lnTo>
                  <a:lnTo>
                    <a:pt x="1734702" y="1077312"/>
                  </a:lnTo>
                  <a:lnTo>
                    <a:pt x="1734702" y="1096209"/>
                  </a:lnTo>
                  <a:lnTo>
                    <a:pt x="1761839" y="1096209"/>
                  </a:lnTo>
                  <a:lnTo>
                    <a:pt x="1761839" y="1112639"/>
                  </a:lnTo>
                  <a:lnTo>
                    <a:pt x="1867029" y="1112639"/>
                  </a:lnTo>
                  <a:lnTo>
                    <a:pt x="1867029" y="1129069"/>
                  </a:lnTo>
                  <a:lnTo>
                    <a:pt x="1888393" y="1129069"/>
                  </a:lnTo>
                  <a:lnTo>
                    <a:pt x="1888393" y="1137259"/>
                  </a:lnTo>
                  <a:lnTo>
                    <a:pt x="1935215" y="1137259"/>
                  </a:lnTo>
                  <a:lnTo>
                    <a:pt x="1935215" y="1150432"/>
                  </a:lnTo>
                  <a:lnTo>
                    <a:pt x="1977104" y="1150432"/>
                  </a:lnTo>
                  <a:lnTo>
                    <a:pt x="1977104" y="1189065"/>
                  </a:lnTo>
                  <a:lnTo>
                    <a:pt x="2007546" y="1189065"/>
                  </a:lnTo>
                  <a:lnTo>
                    <a:pt x="2007546" y="1203866"/>
                  </a:lnTo>
                  <a:lnTo>
                    <a:pt x="2111897" y="1203866"/>
                  </a:lnTo>
                  <a:lnTo>
                    <a:pt x="2111897" y="1229325"/>
                  </a:lnTo>
                  <a:lnTo>
                    <a:pt x="2211315" y="1229325"/>
                  </a:lnTo>
                  <a:lnTo>
                    <a:pt x="2211315" y="1249061"/>
                  </a:lnTo>
                  <a:lnTo>
                    <a:pt x="2240918" y="1249061"/>
                  </a:lnTo>
                  <a:lnTo>
                    <a:pt x="2240918" y="1274519"/>
                  </a:lnTo>
                  <a:lnTo>
                    <a:pt x="2249947" y="1274519"/>
                  </a:lnTo>
                  <a:lnTo>
                    <a:pt x="2249947" y="1310685"/>
                  </a:lnTo>
                  <a:lnTo>
                    <a:pt x="2520274" y="1310685"/>
                  </a:lnTo>
                </a:path>
              </a:pathLst>
            </a:custGeom>
            <a:no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4" name="Graphic 11">
              <a:extLst>
                <a:ext uri="{FF2B5EF4-FFF2-40B4-BE49-F238E27FC236}">
                  <a16:creationId xmlns:a16="http://schemas.microsoft.com/office/drawing/2014/main" id="{4BFEDA65-3458-F05B-C01E-B2C64519834A}"/>
                </a:ext>
              </a:extLst>
            </p:cNvPr>
            <p:cNvGrpSpPr/>
            <p:nvPr/>
          </p:nvGrpSpPr>
          <p:grpSpPr>
            <a:xfrm>
              <a:off x="1058876" y="3661178"/>
              <a:ext cx="41888" cy="41888"/>
              <a:chOff x="1058876" y="3661178"/>
              <a:chExt cx="41888" cy="41888"/>
            </a:xfrm>
          </p:grpSpPr>
          <p:sp>
            <p:nvSpPr>
              <p:cNvPr id="26" name="Freeform 25">
                <a:extLst>
                  <a:ext uri="{FF2B5EF4-FFF2-40B4-BE49-F238E27FC236}">
                    <a16:creationId xmlns:a16="http://schemas.microsoft.com/office/drawing/2014/main" id="{3C0A4E51-F249-5036-989A-27470BEC3A77}"/>
                  </a:ext>
                </a:extLst>
              </p:cNvPr>
              <p:cNvSpPr/>
              <p:nvPr/>
            </p:nvSpPr>
            <p:spPr>
              <a:xfrm>
                <a:off x="1058876" y="3682147"/>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Freeform 27">
                <a:extLst>
                  <a:ext uri="{FF2B5EF4-FFF2-40B4-BE49-F238E27FC236}">
                    <a16:creationId xmlns:a16="http://schemas.microsoft.com/office/drawing/2014/main" id="{E38FA7B7-7E1C-F23D-E5CE-186832008925}"/>
                  </a:ext>
                </a:extLst>
              </p:cNvPr>
              <p:cNvSpPr/>
              <p:nvPr/>
            </p:nvSpPr>
            <p:spPr>
              <a:xfrm>
                <a:off x="1079845" y="3661178"/>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9" name="Graphic 11">
              <a:extLst>
                <a:ext uri="{FF2B5EF4-FFF2-40B4-BE49-F238E27FC236}">
                  <a16:creationId xmlns:a16="http://schemas.microsoft.com/office/drawing/2014/main" id="{5A403C22-6D69-55BB-CB21-2DE6147627B0}"/>
                </a:ext>
              </a:extLst>
            </p:cNvPr>
            <p:cNvGrpSpPr/>
            <p:nvPr/>
          </p:nvGrpSpPr>
          <p:grpSpPr>
            <a:xfrm>
              <a:off x="1178868" y="3702277"/>
              <a:ext cx="41888" cy="41888"/>
              <a:chOff x="1178868" y="3702277"/>
              <a:chExt cx="41888" cy="41888"/>
            </a:xfrm>
          </p:grpSpPr>
          <p:sp>
            <p:nvSpPr>
              <p:cNvPr id="30" name="Freeform 29">
                <a:extLst>
                  <a:ext uri="{FF2B5EF4-FFF2-40B4-BE49-F238E27FC236}">
                    <a16:creationId xmlns:a16="http://schemas.microsoft.com/office/drawing/2014/main" id="{9F4C6085-3897-5C76-3F2C-584C715FEA59}"/>
                  </a:ext>
                </a:extLst>
              </p:cNvPr>
              <p:cNvSpPr/>
              <p:nvPr/>
            </p:nvSpPr>
            <p:spPr>
              <a:xfrm>
                <a:off x="1178868" y="3723197"/>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Freeform 30">
                <a:extLst>
                  <a:ext uri="{FF2B5EF4-FFF2-40B4-BE49-F238E27FC236}">
                    <a16:creationId xmlns:a16="http://schemas.microsoft.com/office/drawing/2014/main" id="{3206CEC8-014B-A82D-96EF-280D02892141}"/>
                  </a:ext>
                </a:extLst>
              </p:cNvPr>
              <p:cNvSpPr/>
              <p:nvPr/>
            </p:nvSpPr>
            <p:spPr>
              <a:xfrm>
                <a:off x="1199787" y="3702277"/>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2" name="Graphic 11">
              <a:extLst>
                <a:ext uri="{FF2B5EF4-FFF2-40B4-BE49-F238E27FC236}">
                  <a16:creationId xmlns:a16="http://schemas.microsoft.com/office/drawing/2014/main" id="{FE791693-BD63-AFA2-32FD-8E4DDC5E85CC}"/>
                </a:ext>
              </a:extLst>
            </p:cNvPr>
            <p:cNvGrpSpPr/>
            <p:nvPr/>
          </p:nvGrpSpPr>
          <p:grpSpPr>
            <a:xfrm>
              <a:off x="1182963" y="3726897"/>
              <a:ext cx="41888" cy="41937"/>
              <a:chOff x="1182963" y="3726897"/>
              <a:chExt cx="41888" cy="41937"/>
            </a:xfrm>
          </p:grpSpPr>
          <p:sp>
            <p:nvSpPr>
              <p:cNvPr id="33" name="Freeform 32">
                <a:extLst>
                  <a:ext uri="{FF2B5EF4-FFF2-40B4-BE49-F238E27FC236}">
                    <a16:creationId xmlns:a16="http://schemas.microsoft.com/office/drawing/2014/main" id="{4DD40073-60AE-0638-1D1C-C2DA30E19FD6}"/>
                  </a:ext>
                </a:extLst>
              </p:cNvPr>
              <p:cNvSpPr/>
              <p:nvPr/>
            </p:nvSpPr>
            <p:spPr>
              <a:xfrm>
                <a:off x="1182963" y="3747866"/>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 name="Freeform 33">
                <a:extLst>
                  <a:ext uri="{FF2B5EF4-FFF2-40B4-BE49-F238E27FC236}">
                    <a16:creationId xmlns:a16="http://schemas.microsoft.com/office/drawing/2014/main" id="{0A4C2657-3603-2902-3E24-59B161AB2E09}"/>
                  </a:ext>
                </a:extLst>
              </p:cNvPr>
              <p:cNvSpPr/>
              <p:nvPr/>
            </p:nvSpPr>
            <p:spPr>
              <a:xfrm>
                <a:off x="1203932" y="3726897"/>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5" name="Graphic 11">
              <a:extLst>
                <a:ext uri="{FF2B5EF4-FFF2-40B4-BE49-F238E27FC236}">
                  <a16:creationId xmlns:a16="http://schemas.microsoft.com/office/drawing/2014/main" id="{AC9B91BC-FEDD-6B9D-EE10-3C008DB67FF1}"/>
                </a:ext>
              </a:extLst>
            </p:cNvPr>
            <p:cNvGrpSpPr/>
            <p:nvPr/>
          </p:nvGrpSpPr>
          <p:grpSpPr>
            <a:xfrm>
              <a:off x="1300488" y="3767158"/>
              <a:ext cx="41888" cy="41937"/>
              <a:chOff x="1300488" y="3767158"/>
              <a:chExt cx="41888" cy="41937"/>
            </a:xfrm>
          </p:grpSpPr>
          <p:sp>
            <p:nvSpPr>
              <p:cNvPr id="36" name="Freeform 35">
                <a:extLst>
                  <a:ext uri="{FF2B5EF4-FFF2-40B4-BE49-F238E27FC236}">
                    <a16:creationId xmlns:a16="http://schemas.microsoft.com/office/drawing/2014/main" id="{A213C624-D955-D2A6-CF79-2F18ECC48CFD}"/>
                  </a:ext>
                </a:extLst>
              </p:cNvPr>
              <p:cNvSpPr/>
              <p:nvPr/>
            </p:nvSpPr>
            <p:spPr>
              <a:xfrm>
                <a:off x="1300488" y="3788127"/>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 name="Freeform 36">
                <a:extLst>
                  <a:ext uri="{FF2B5EF4-FFF2-40B4-BE49-F238E27FC236}">
                    <a16:creationId xmlns:a16="http://schemas.microsoft.com/office/drawing/2014/main" id="{828FAFB9-C1EC-888B-01FE-704A8A21682E}"/>
                  </a:ext>
                </a:extLst>
              </p:cNvPr>
              <p:cNvSpPr/>
              <p:nvPr/>
            </p:nvSpPr>
            <p:spPr>
              <a:xfrm>
                <a:off x="1321407" y="3767158"/>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8" name="Graphic 11">
              <a:extLst>
                <a:ext uri="{FF2B5EF4-FFF2-40B4-BE49-F238E27FC236}">
                  <a16:creationId xmlns:a16="http://schemas.microsoft.com/office/drawing/2014/main" id="{CBFEAB5A-CFA8-5B2B-511A-312399A69F6F}"/>
                </a:ext>
              </a:extLst>
            </p:cNvPr>
            <p:cNvGrpSpPr/>
            <p:nvPr/>
          </p:nvGrpSpPr>
          <p:grpSpPr>
            <a:xfrm>
              <a:off x="1465625" y="3898646"/>
              <a:ext cx="41937" cy="41937"/>
              <a:chOff x="1465625" y="3898646"/>
              <a:chExt cx="41937" cy="41937"/>
            </a:xfrm>
          </p:grpSpPr>
          <p:sp>
            <p:nvSpPr>
              <p:cNvPr id="39" name="Freeform 38">
                <a:extLst>
                  <a:ext uri="{FF2B5EF4-FFF2-40B4-BE49-F238E27FC236}">
                    <a16:creationId xmlns:a16="http://schemas.microsoft.com/office/drawing/2014/main" id="{4D1D48F8-679D-A30E-B4E1-5209EDE6CA56}"/>
                  </a:ext>
                </a:extLst>
              </p:cNvPr>
              <p:cNvSpPr/>
              <p:nvPr/>
            </p:nvSpPr>
            <p:spPr>
              <a:xfrm>
                <a:off x="1465625" y="3919615"/>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 name="Freeform 39">
                <a:extLst>
                  <a:ext uri="{FF2B5EF4-FFF2-40B4-BE49-F238E27FC236}">
                    <a16:creationId xmlns:a16="http://schemas.microsoft.com/office/drawing/2014/main" id="{54A22763-0ED4-266F-EAE7-96ABEE714A76}"/>
                  </a:ext>
                </a:extLst>
              </p:cNvPr>
              <p:cNvSpPr/>
              <p:nvPr/>
            </p:nvSpPr>
            <p:spPr>
              <a:xfrm>
                <a:off x="1486594" y="3898646"/>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41" name="Graphic 11">
              <a:extLst>
                <a:ext uri="{FF2B5EF4-FFF2-40B4-BE49-F238E27FC236}">
                  <a16:creationId xmlns:a16="http://schemas.microsoft.com/office/drawing/2014/main" id="{CCAC5509-7E47-0FF7-A894-5330B7314714}"/>
                </a:ext>
              </a:extLst>
            </p:cNvPr>
            <p:cNvGrpSpPr/>
            <p:nvPr/>
          </p:nvGrpSpPr>
          <p:grpSpPr>
            <a:xfrm>
              <a:off x="1543728" y="3922476"/>
              <a:ext cx="41888" cy="41937"/>
              <a:chOff x="1543728" y="3922476"/>
              <a:chExt cx="41888" cy="41937"/>
            </a:xfrm>
          </p:grpSpPr>
          <p:sp>
            <p:nvSpPr>
              <p:cNvPr id="42" name="Freeform 41">
                <a:extLst>
                  <a:ext uri="{FF2B5EF4-FFF2-40B4-BE49-F238E27FC236}">
                    <a16:creationId xmlns:a16="http://schemas.microsoft.com/office/drawing/2014/main" id="{715F58A9-25CE-A34B-D0CA-19FB98169C8F}"/>
                  </a:ext>
                </a:extLst>
              </p:cNvPr>
              <p:cNvSpPr/>
              <p:nvPr/>
            </p:nvSpPr>
            <p:spPr>
              <a:xfrm>
                <a:off x="1543728" y="3943445"/>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 name="Freeform 42">
                <a:extLst>
                  <a:ext uri="{FF2B5EF4-FFF2-40B4-BE49-F238E27FC236}">
                    <a16:creationId xmlns:a16="http://schemas.microsoft.com/office/drawing/2014/main" id="{98F43D60-46FD-F44D-A33E-7C33BA1AAD75}"/>
                  </a:ext>
                </a:extLst>
              </p:cNvPr>
              <p:cNvSpPr/>
              <p:nvPr/>
            </p:nvSpPr>
            <p:spPr>
              <a:xfrm>
                <a:off x="1564647" y="3922476"/>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44" name="Graphic 11">
              <a:extLst>
                <a:ext uri="{FF2B5EF4-FFF2-40B4-BE49-F238E27FC236}">
                  <a16:creationId xmlns:a16="http://schemas.microsoft.com/office/drawing/2014/main" id="{3FD9A549-03A4-9945-B3F2-8221B88B2FD9}"/>
                </a:ext>
              </a:extLst>
            </p:cNvPr>
            <p:cNvGrpSpPr/>
            <p:nvPr/>
          </p:nvGrpSpPr>
          <p:grpSpPr>
            <a:xfrm>
              <a:off x="1693274" y="4047402"/>
              <a:ext cx="41888" cy="41888"/>
              <a:chOff x="1693274" y="4047402"/>
              <a:chExt cx="41888" cy="41888"/>
            </a:xfrm>
          </p:grpSpPr>
          <p:sp>
            <p:nvSpPr>
              <p:cNvPr id="45" name="Freeform 44">
                <a:extLst>
                  <a:ext uri="{FF2B5EF4-FFF2-40B4-BE49-F238E27FC236}">
                    <a16:creationId xmlns:a16="http://schemas.microsoft.com/office/drawing/2014/main" id="{6DDA7016-B1CB-7A1A-B43F-AB49CB15291F}"/>
                  </a:ext>
                </a:extLst>
              </p:cNvPr>
              <p:cNvSpPr/>
              <p:nvPr/>
            </p:nvSpPr>
            <p:spPr>
              <a:xfrm>
                <a:off x="1693274" y="4068322"/>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 name="Freeform 45">
                <a:extLst>
                  <a:ext uri="{FF2B5EF4-FFF2-40B4-BE49-F238E27FC236}">
                    <a16:creationId xmlns:a16="http://schemas.microsoft.com/office/drawing/2014/main" id="{19A74E30-7610-46CF-EE3B-0E715496C73E}"/>
                  </a:ext>
                </a:extLst>
              </p:cNvPr>
              <p:cNvSpPr/>
              <p:nvPr/>
            </p:nvSpPr>
            <p:spPr>
              <a:xfrm>
                <a:off x="1714193" y="4047402"/>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47" name="Graphic 11">
              <a:extLst>
                <a:ext uri="{FF2B5EF4-FFF2-40B4-BE49-F238E27FC236}">
                  <a16:creationId xmlns:a16="http://schemas.microsoft.com/office/drawing/2014/main" id="{64202FD4-0446-E346-C2C5-EFED52791185}"/>
                </a:ext>
              </a:extLst>
            </p:cNvPr>
            <p:cNvGrpSpPr/>
            <p:nvPr/>
          </p:nvGrpSpPr>
          <p:grpSpPr>
            <a:xfrm>
              <a:off x="1716266" y="4106559"/>
              <a:ext cx="41937" cy="41888"/>
              <a:chOff x="1716266" y="4106559"/>
              <a:chExt cx="41937" cy="41888"/>
            </a:xfrm>
          </p:grpSpPr>
          <p:sp>
            <p:nvSpPr>
              <p:cNvPr id="48" name="Freeform 47">
                <a:extLst>
                  <a:ext uri="{FF2B5EF4-FFF2-40B4-BE49-F238E27FC236}">
                    <a16:creationId xmlns:a16="http://schemas.microsoft.com/office/drawing/2014/main" id="{9DE5C1BB-D39B-A94E-ECDC-5B7E52FFACD5}"/>
                  </a:ext>
                </a:extLst>
              </p:cNvPr>
              <p:cNvSpPr/>
              <p:nvPr/>
            </p:nvSpPr>
            <p:spPr>
              <a:xfrm>
                <a:off x="1716266" y="4127528"/>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 name="Freeform 48">
                <a:extLst>
                  <a:ext uri="{FF2B5EF4-FFF2-40B4-BE49-F238E27FC236}">
                    <a16:creationId xmlns:a16="http://schemas.microsoft.com/office/drawing/2014/main" id="{B79F67FF-C183-17DC-DA99-C198B18E00B7}"/>
                  </a:ext>
                </a:extLst>
              </p:cNvPr>
              <p:cNvSpPr/>
              <p:nvPr/>
            </p:nvSpPr>
            <p:spPr>
              <a:xfrm>
                <a:off x="1737235" y="4106559"/>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0" name="Graphic 11">
              <a:extLst>
                <a:ext uri="{FF2B5EF4-FFF2-40B4-BE49-F238E27FC236}">
                  <a16:creationId xmlns:a16="http://schemas.microsoft.com/office/drawing/2014/main" id="{13705337-547C-8EF0-7068-2168C0B8A7F4}"/>
                </a:ext>
              </a:extLst>
            </p:cNvPr>
            <p:cNvGrpSpPr/>
            <p:nvPr/>
          </p:nvGrpSpPr>
          <p:grpSpPr>
            <a:xfrm>
              <a:off x="1978403" y="4354733"/>
              <a:ext cx="41888" cy="41888"/>
              <a:chOff x="1978403" y="4354733"/>
              <a:chExt cx="41888" cy="41888"/>
            </a:xfrm>
          </p:grpSpPr>
          <p:sp>
            <p:nvSpPr>
              <p:cNvPr id="51" name="Freeform 50">
                <a:extLst>
                  <a:ext uri="{FF2B5EF4-FFF2-40B4-BE49-F238E27FC236}">
                    <a16:creationId xmlns:a16="http://schemas.microsoft.com/office/drawing/2014/main" id="{2DDF9EA6-3E11-835C-ACAB-5578272D8696}"/>
                  </a:ext>
                </a:extLst>
              </p:cNvPr>
              <p:cNvSpPr/>
              <p:nvPr/>
            </p:nvSpPr>
            <p:spPr>
              <a:xfrm>
                <a:off x="1978403" y="4375653"/>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 name="Freeform 51">
                <a:extLst>
                  <a:ext uri="{FF2B5EF4-FFF2-40B4-BE49-F238E27FC236}">
                    <a16:creationId xmlns:a16="http://schemas.microsoft.com/office/drawing/2014/main" id="{FF1B338C-3E02-275F-6328-6C7228564E13}"/>
                  </a:ext>
                </a:extLst>
              </p:cNvPr>
              <p:cNvSpPr/>
              <p:nvPr/>
            </p:nvSpPr>
            <p:spPr>
              <a:xfrm>
                <a:off x="1999372" y="4354733"/>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3" name="Graphic 11">
              <a:extLst>
                <a:ext uri="{FF2B5EF4-FFF2-40B4-BE49-F238E27FC236}">
                  <a16:creationId xmlns:a16="http://schemas.microsoft.com/office/drawing/2014/main" id="{F9F5968C-B1C1-BCCB-0E47-3C55C64C0B2C}"/>
                </a:ext>
              </a:extLst>
            </p:cNvPr>
            <p:cNvGrpSpPr/>
            <p:nvPr/>
          </p:nvGrpSpPr>
          <p:grpSpPr>
            <a:xfrm>
              <a:off x="2101651" y="4414680"/>
              <a:ext cx="41937" cy="41937"/>
              <a:chOff x="2101651" y="4414680"/>
              <a:chExt cx="41937" cy="41937"/>
            </a:xfrm>
          </p:grpSpPr>
          <p:sp>
            <p:nvSpPr>
              <p:cNvPr id="54" name="Freeform 53">
                <a:extLst>
                  <a:ext uri="{FF2B5EF4-FFF2-40B4-BE49-F238E27FC236}">
                    <a16:creationId xmlns:a16="http://schemas.microsoft.com/office/drawing/2014/main" id="{8DF21B82-A382-E4D2-6ECD-80008A412843}"/>
                  </a:ext>
                </a:extLst>
              </p:cNvPr>
              <p:cNvSpPr/>
              <p:nvPr/>
            </p:nvSpPr>
            <p:spPr>
              <a:xfrm>
                <a:off x="2101651" y="4435649"/>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 name="Freeform 54">
                <a:extLst>
                  <a:ext uri="{FF2B5EF4-FFF2-40B4-BE49-F238E27FC236}">
                    <a16:creationId xmlns:a16="http://schemas.microsoft.com/office/drawing/2014/main" id="{309E563E-D10A-5673-D52A-A97D6049001D}"/>
                  </a:ext>
                </a:extLst>
              </p:cNvPr>
              <p:cNvSpPr/>
              <p:nvPr/>
            </p:nvSpPr>
            <p:spPr>
              <a:xfrm>
                <a:off x="2122620" y="4414680"/>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6" name="Graphic 11">
              <a:extLst>
                <a:ext uri="{FF2B5EF4-FFF2-40B4-BE49-F238E27FC236}">
                  <a16:creationId xmlns:a16="http://schemas.microsoft.com/office/drawing/2014/main" id="{38EF2C8E-25CA-9DF0-0B3F-7FD15B5525CE}"/>
                </a:ext>
              </a:extLst>
            </p:cNvPr>
            <p:cNvGrpSpPr/>
            <p:nvPr/>
          </p:nvGrpSpPr>
          <p:grpSpPr>
            <a:xfrm>
              <a:off x="2118081" y="4474676"/>
              <a:ext cx="41937" cy="41937"/>
              <a:chOff x="2118081" y="4474676"/>
              <a:chExt cx="41937" cy="41937"/>
            </a:xfrm>
          </p:grpSpPr>
          <p:sp>
            <p:nvSpPr>
              <p:cNvPr id="57" name="Freeform 56">
                <a:extLst>
                  <a:ext uri="{FF2B5EF4-FFF2-40B4-BE49-F238E27FC236}">
                    <a16:creationId xmlns:a16="http://schemas.microsoft.com/office/drawing/2014/main" id="{DB4F3DEA-EE31-ED96-4720-AF3D910F3DFA}"/>
                  </a:ext>
                </a:extLst>
              </p:cNvPr>
              <p:cNvSpPr/>
              <p:nvPr/>
            </p:nvSpPr>
            <p:spPr>
              <a:xfrm>
                <a:off x="2118081" y="4495645"/>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 name="Freeform 57">
                <a:extLst>
                  <a:ext uri="{FF2B5EF4-FFF2-40B4-BE49-F238E27FC236}">
                    <a16:creationId xmlns:a16="http://schemas.microsoft.com/office/drawing/2014/main" id="{B41FA42D-E138-6F8B-A1EE-5048BAA557A5}"/>
                  </a:ext>
                </a:extLst>
              </p:cNvPr>
              <p:cNvSpPr/>
              <p:nvPr/>
            </p:nvSpPr>
            <p:spPr>
              <a:xfrm>
                <a:off x="2139050" y="4474676"/>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9" name="Graphic 11">
              <a:extLst>
                <a:ext uri="{FF2B5EF4-FFF2-40B4-BE49-F238E27FC236}">
                  <a16:creationId xmlns:a16="http://schemas.microsoft.com/office/drawing/2014/main" id="{F638587A-84AD-3820-DA4C-69ED379E3DAF}"/>
                </a:ext>
              </a:extLst>
            </p:cNvPr>
            <p:cNvGrpSpPr/>
            <p:nvPr/>
          </p:nvGrpSpPr>
          <p:grpSpPr>
            <a:xfrm>
              <a:off x="2238911" y="4510841"/>
              <a:ext cx="41888" cy="41937"/>
              <a:chOff x="2238911" y="4510841"/>
              <a:chExt cx="41888" cy="41937"/>
            </a:xfrm>
          </p:grpSpPr>
          <p:sp>
            <p:nvSpPr>
              <p:cNvPr id="60" name="Freeform 59">
                <a:extLst>
                  <a:ext uri="{FF2B5EF4-FFF2-40B4-BE49-F238E27FC236}">
                    <a16:creationId xmlns:a16="http://schemas.microsoft.com/office/drawing/2014/main" id="{2A75694E-5AD4-40B3-10C4-FEF34D40D38E}"/>
                  </a:ext>
                </a:extLst>
              </p:cNvPr>
              <p:cNvSpPr/>
              <p:nvPr/>
            </p:nvSpPr>
            <p:spPr>
              <a:xfrm>
                <a:off x="2238911" y="4531810"/>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 name="Freeform 60">
                <a:extLst>
                  <a:ext uri="{FF2B5EF4-FFF2-40B4-BE49-F238E27FC236}">
                    <a16:creationId xmlns:a16="http://schemas.microsoft.com/office/drawing/2014/main" id="{A10FB045-F240-E1FD-9B08-4CE28CF74E2C}"/>
                  </a:ext>
                </a:extLst>
              </p:cNvPr>
              <p:cNvSpPr/>
              <p:nvPr/>
            </p:nvSpPr>
            <p:spPr>
              <a:xfrm>
                <a:off x="2259831" y="4510841"/>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2" name="Graphic 11">
              <a:extLst>
                <a:ext uri="{FF2B5EF4-FFF2-40B4-BE49-F238E27FC236}">
                  <a16:creationId xmlns:a16="http://schemas.microsoft.com/office/drawing/2014/main" id="{A3D8B761-5A56-A882-A4C6-C2F423CD1B29}"/>
                </a:ext>
              </a:extLst>
            </p:cNvPr>
            <p:cNvGrpSpPr/>
            <p:nvPr/>
          </p:nvGrpSpPr>
          <p:grpSpPr>
            <a:xfrm>
              <a:off x="2264370" y="4533044"/>
              <a:ext cx="41888" cy="41888"/>
              <a:chOff x="2264370" y="4533044"/>
              <a:chExt cx="41888" cy="41888"/>
            </a:xfrm>
          </p:grpSpPr>
          <p:sp>
            <p:nvSpPr>
              <p:cNvPr id="63" name="Freeform 62">
                <a:extLst>
                  <a:ext uri="{FF2B5EF4-FFF2-40B4-BE49-F238E27FC236}">
                    <a16:creationId xmlns:a16="http://schemas.microsoft.com/office/drawing/2014/main" id="{30C971D4-FE65-A828-44B7-B5E6E0245222}"/>
                  </a:ext>
                </a:extLst>
              </p:cNvPr>
              <p:cNvSpPr/>
              <p:nvPr/>
            </p:nvSpPr>
            <p:spPr>
              <a:xfrm>
                <a:off x="2264370" y="4554013"/>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4" name="Freeform 63">
                <a:extLst>
                  <a:ext uri="{FF2B5EF4-FFF2-40B4-BE49-F238E27FC236}">
                    <a16:creationId xmlns:a16="http://schemas.microsoft.com/office/drawing/2014/main" id="{8FFCCA2B-67E3-4385-B837-C2FD0E683788}"/>
                  </a:ext>
                </a:extLst>
              </p:cNvPr>
              <p:cNvSpPr/>
              <p:nvPr/>
            </p:nvSpPr>
            <p:spPr>
              <a:xfrm>
                <a:off x="2285339" y="4533044"/>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5" name="Graphic 11">
              <a:extLst>
                <a:ext uri="{FF2B5EF4-FFF2-40B4-BE49-F238E27FC236}">
                  <a16:creationId xmlns:a16="http://schemas.microsoft.com/office/drawing/2014/main" id="{63A638E2-BF2E-70D8-8538-9476A0CB4944}"/>
                </a:ext>
              </a:extLst>
            </p:cNvPr>
            <p:cNvGrpSpPr/>
            <p:nvPr/>
          </p:nvGrpSpPr>
          <p:grpSpPr>
            <a:xfrm>
              <a:off x="2358064" y="4537978"/>
              <a:ext cx="41888" cy="41888"/>
              <a:chOff x="2358064" y="4537978"/>
              <a:chExt cx="41888" cy="41888"/>
            </a:xfrm>
          </p:grpSpPr>
          <p:sp>
            <p:nvSpPr>
              <p:cNvPr id="66" name="Freeform 65">
                <a:extLst>
                  <a:ext uri="{FF2B5EF4-FFF2-40B4-BE49-F238E27FC236}">
                    <a16:creationId xmlns:a16="http://schemas.microsoft.com/office/drawing/2014/main" id="{006B6807-68B1-4C3D-2D56-ACE02BC3F262}"/>
                  </a:ext>
                </a:extLst>
              </p:cNvPr>
              <p:cNvSpPr/>
              <p:nvPr/>
            </p:nvSpPr>
            <p:spPr>
              <a:xfrm>
                <a:off x="2358064" y="4558897"/>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7" name="Freeform 66">
                <a:extLst>
                  <a:ext uri="{FF2B5EF4-FFF2-40B4-BE49-F238E27FC236}">
                    <a16:creationId xmlns:a16="http://schemas.microsoft.com/office/drawing/2014/main" id="{D7846E0C-9C41-C190-3C10-E6425A6BBC53}"/>
                  </a:ext>
                </a:extLst>
              </p:cNvPr>
              <p:cNvSpPr/>
              <p:nvPr/>
            </p:nvSpPr>
            <p:spPr>
              <a:xfrm>
                <a:off x="2378984" y="4537978"/>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8" name="Graphic 11">
              <a:extLst>
                <a:ext uri="{FF2B5EF4-FFF2-40B4-BE49-F238E27FC236}">
                  <a16:creationId xmlns:a16="http://schemas.microsoft.com/office/drawing/2014/main" id="{26699BBD-3015-BE0A-E350-D9AE869C9F75}"/>
                </a:ext>
              </a:extLst>
            </p:cNvPr>
            <p:cNvGrpSpPr/>
            <p:nvPr/>
          </p:nvGrpSpPr>
          <p:grpSpPr>
            <a:xfrm>
              <a:off x="2376122" y="4574143"/>
              <a:ext cx="41937" cy="41888"/>
              <a:chOff x="2376122" y="4574143"/>
              <a:chExt cx="41937" cy="41888"/>
            </a:xfrm>
          </p:grpSpPr>
          <p:sp>
            <p:nvSpPr>
              <p:cNvPr id="69" name="Freeform 68">
                <a:extLst>
                  <a:ext uri="{FF2B5EF4-FFF2-40B4-BE49-F238E27FC236}">
                    <a16:creationId xmlns:a16="http://schemas.microsoft.com/office/drawing/2014/main" id="{8FE9CD49-77F6-D6DD-834E-91259889866E}"/>
                  </a:ext>
                </a:extLst>
              </p:cNvPr>
              <p:cNvSpPr/>
              <p:nvPr/>
            </p:nvSpPr>
            <p:spPr>
              <a:xfrm>
                <a:off x="2376122" y="4595063"/>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0" name="Freeform 69">
                <a:extLst>
                  <a:ext uri="{FF2B5EF4-FFF2-40B4-BE49-F238E27FC236}">
                    <a16:creationId xmlns:a16="http://schemas.microsoft.com/office/drawing/2014/main" id="{2D1AC0C5-B073-915F-0AF9-2F87FB65E926}"/>
                  </a:ext>
                </a:extLst>
              </p:cNvPr>
              <p:cNvSpPr/>
              <p:nvPr/>
            </p:nvSpPr>
            <p:spPr>
              <a:xfrm>
                <a:off x="2397091" y="4574143"/>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1" name="Graphic 11">
              <a:extLst>
                <a:ext uri="{FF2B5EF4-FFF2-40B4-BE49-F238E27FC236}">
                  <a16:creationId xmlns:a16="http://schemas.microsoft.com/office/drawing/2014/main" id="{107B3035-0622-8221-4C26-4B96BD7A8569}"/>
                </a:ext>
              </a:extLst>
            </p:cNvPr>
            <p:cNvGrpSpPr/>
            <p:nvPr/>
          </p:nvGrpSpPr>
          <p:grpSpPr>
            <a:xfrm>
              <a:off x="2379428" y="4576610"/>
              <a:ext cx="41888" cy="41888"/>
              <a:chOff x="2379428" y="4576610"/>
              <a:chExt cx="41888" cy="41888"/>
            </a:xfrm>
          </p:grpSpPr>
          <p:sp>
            <p:nvSpPr>
              <p:cNvPr id="72" name="Freeform 71">
                <a:extLst>
                  <a:ext uri="{FF2B5EF4-FFF2-40B4-BE49-F238E27FC236}">
                    <a16:creationId xmlns:a16="http://schemas.microsoft.com/office/drawing/2014/main" id="{BD8419AB-4750-B010-F97C-083FEB3732AF}"/>
                  </a:ext>
                </a:extLst>
              </p:cNvPr>
              <p:cNvSpPr/>
              <p:nvPr/>
            </p:nvSpPr>
            <p:spPr>
              <a:xfrm>
                <a:off x="2379428" y="4597530"/>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 name="Freeform 72">
                <a:extLst>
                  <a:ext uri="{FF2B5EF4-FFF2-40B4-BE49-F238E27FC236}">
                    <a16:creationId xmlns:a16="http://schemas.microsoft.com/office/drawing/2014/main" id="{37BBF35F-FD92-14B8-809B-520E25914217}"/>
                  </a:ext>
                </a:extLst>
              </p:cNvPr>
              <p:cNvSpPr/>
              <p:nvPr/>
            </p:nvSpPr>
            <p:spPr>
              <a:xfrm>
                <a:off x="2400348" y="4576610"/>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4" name="Graphic 11">
              <a:extLst>
                <a:ext uri="{FF2B5EF4-FFF2-40B4-BE49-F238E27FC236}">
                  <a16:creationId xmlns:a16="http://schemas.microsoft.com/office/drawing/2014/main" id="{9C6BE8FF-E13B-0341-255C-FB28189F8CB0}"/>
                </a:ext>
              </a:extLst>
            </p:cNvPr>
            <p:cNvGrpSpPr/>
            <p:nvPr/>
          </p:nvGrpSpPr>
          <p:grpSpPr>
            <a:xfrm>
              <a:off x="2491970" y="4616032"/>
              <a:ext cx="41937" cy="41888"/>
              <a:chOff x="2491970" y="4616032"/>
              <a:chExt cx="41937" cy="41888"/>
            </a:xfrm>
          </p:grpSpPr>
          <p:sp>
            <p:nvSpPr>
              <p:cNvPr id="75" name="Freeform 74">
                <a:extLst>
                  <a:ext uri="{FF2B5EF4-FFF2-40B4-BE49-F238E27FC236}">
                    <a16:creationId xmlns:a16="http://schemas.microsoft.com/office/drawing/2014/main" id="{01881CAF-456C-3B18-D1C2-7091213D4348}"/>
                  </a:ext>
                </a:extLst>
              </p:cNvPr>
              <p:cNvSpPr/>
              <p:nvPr/>
            </p:nvSpPr>
            <p:spPr>
              <a:xfrm>
                <a:off x="2491970" y="4637001"/>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 name="Freeform 75">
                <a:extLst>
                  <a:ext uri="{FF2B5EF4-FFF2-40B4-BE49-F238E27FC236}">
                    <a16:creationId xmlns:a16="http://schemas.microsoft.com/office/drawing/2014/main" id="{601B4B61-33B6-A91D-A306-B6536FB5F6B8}"/>
                  </a:ext>
                </a:extLst>
              </p:cNvPr>
              <p:cNvSpPr/>
              <p:nvPr/>
            </p:nvSpPr>
            <p:spPr>
              <a:xfrm>
                <a:off x="2512939" y="4616032"/>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7" name="Graphic 11">
              <a:extLst>
                <a:ext uri="{FF2B5EF4-FFF2-40B4-BE49-F238E27FC236}">
                  <a16:creationId xmlns:a16="http://schemas.microsoft.com/office/drawing/2014/main" id="{56C64A78-7A55-44D4-5C67-16B45BE927BB}"/>
                </a:ext>
              </a:extLst>
            </p:cNvPr>
            <p:cNvGrpSpPr/>
            <p:nvPr/>
          </p:nvGrpSpPr>
          <p:grpSpPr>
            <a:xfrm>
              <a:off x="2616896" y="4691619"/>
              <a:ext cx="41888" cy="41937"/>
              <a:chOff x="2616896" y="4691619"/>
              <a:chExt cx="41888" cy="41937"/>
            </a:xfrm>
          </p:grpSpPr>
          <p:sp>
            <p:nvSpPr>
              <p:cNvPr id="78" name="Freeform 77">
                <a:extLst>
                  <a:ext uri="{FF2B5EF4-FFF2-40B4-BE49-F238E27FC236}">
                    <a16:creationId xmlns:a16="http://schemas.microsoft.com/office/drawing/2014/main" id="{B448A7C9-F1B5-AA24-04D8-935D24706ED1}"/>
                  </a:ext>
                </a:extLst>
              </p:cNvPr>
              <p:cNvSpPr/>
              <p:nvPr/>
            </p:nvSpPr>
            <p:spPr>
              <a:xfrm>
                <a:off x="2616896" y="4712588"/>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 name="Freeform 78">
                <a:extLst>
                  <a:ext uri="{FF2B5EF4-FFF2-40B4-BE49-F238E27FC236}">
                    <a16:creationId xmlns:a16="http://schemas.microsoft.com/office/drawing/2014/main" id="{E68D7A0D-F18D-938A-2D95-BB446E51659D}"/>
                  </a:ext>
                </a:extLst>
              </p:cNvPr>
              <p:cNvSpPr/>
              <p:nvPr/>
            </p:nvSpPr>
            <p:spPr>
              <a:xfrm>
                <a:off x="2637865" y="4691619"/>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0" name="Graphic 11">
              <a:extLst>
                <a:ext uri="{FF2B5EF4-FFF2-40B4-BE49-F238E27FC236}">
                  <a16:creationId xmlns:a16="http://schemas.microsoft.com/office/drawing/2014/main" id="{7B95756E-7D7E-37ED-EFEB-CB5F21D6D55A}"/>
                </a:ext>
              </a:extLst>
            </p:cNvPr>
            <p:cNvGrpSpPr/>
            <p:nvPr/>
          </p:nvGrpSpPr>
          <p:grpSpPr>
            <a:xfrm>
              <a:off x="2640726" y="4712982"/>
              <a:ext cx="41888" cy="41937"/>
              <a:chOff x="2640726" y="4712982"/>
              <a:chExt cx="41888" cy="41937"/>
            </a:xfrm>
          </p:grpSpPr>
          <p:sp>
            <p:nvSpPr>
              <p:cNvPr id="81" name="Freeform 80">
                <a:extLst>
                  <a:ext uri="{FF2B5EF4-FFF2-40B4-BE49-F238E27FC236}">
                    <a16:creationId xmlns:a16="http://schemas.microsoft.com/office/drawing/2014/main" id="{EAF089CA-D533-EF55-9C79-1233FA4C63DC}"/>
                  </a:ext>
                </a:extLst>
              </p:cNvPr>
              <p:cNvSpPr/>
              <p:nvPr/>
            </p:nvSpPr>
            <p:spPr>
              <a:xfrm>
                <a:off x="2640726" y="4733951"/>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2" name="Freeform 81">
                <a:extLst>
                  <a:ext uri="{FF2B5EF4-FFF2-40B4-BE49-F238E27FC236}">
                    <a16:creationId xmlns:a16="http://schemas.microsoft.com/office/drawing/2014/main" id="{87E4A872-B260-8450-8E75-D9A7B4C8F4C4}"/>
                  </a:ext>
                </a:extLst>
              </p:cNvPr>
              <p:cNvSpPr/>
              <p:nvPr/>
            </p:nvSpPr>
            <p:spPr>
              <a:xfrm>
                <a:off x="2661695" y="4712982"/>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3" name="Graphic 11">
              <a:extLst>
                <a:ext uri="{FF2B5EF4-FFF2-40B4-BE49-F238E27FC236}">
                  <a16:creationId xmlns:a16="http://schemas.microsoft.com/office/drawing/2014/main" id="{A959537D-8CC6-5F85-5D2A-C1AC531742FC}"/>
                </a:ext>
              </a:extLst>
            </p:cNvPr>
            <p:cNvGrpSpPr/>
            <p:nvPr/>
          </p:nvGrpSpPr>
          <p:grpSpPr>
            <a:xfrm>
              <a:off x="2748384" y="4743424"/>
              <a:ext cx="41888" cy="41888"/>
              <a:chOff x="2748384" y="4743424"/>
              <a:chExt cx="41888" cy="41888"/>
            </a:xfrm>
          </p:grpSpPr>
          <p:sp>
            <p:nvSpPr>
              <p:cNvPr id="84" name="Freeform 83">
                <a:extLst>
                  <a:ext uri="{FF2B5EF4-FFF2-40B4-BE49-F238E27FC236}">
                    <a16:creationId xmlns:a16="http://schemas.microsoft.com/office/drawing/2014/main" id="{EFBBD266-C4CE-D9EB-7AF1-507BAF1697AB}"/>
                  </a:ext>
                </a:extLst>
              </p:cNvPr>
              <p:cNvSpPr/>
              <p:nvPr/>
            </p:nvSpPr>
            <p:spPr>
              <a:xfrm>
                <a:off x="2748384" y="4764344"/>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 name="Freeform 84">
                <a:extLst>
                  <a:ext uri="{FF2B5EF4-FFF2-40B4-BE49-F238E27FC236}">
                    <a16:creationId xmlns:a16="http://schemas.microsoft.com/office/drawing/2014/main" id="{92D72CC7-D4A4-5A91-73BA-56F8A47E74FA}"/>
                  </a:ext>
                </a:extLst>
              </p:cNvPr>
              <p:cNvSpPr/>
              <p:nvPr/>
            </p:nvSpPr>
            <p:spPr>
              <a:xfrm>
                <a:off x="2769353" y="4743424"/>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6" name="Graphic 11">
              <a:extLst>
                <a:ext uri="{FF2B5EF4-FFF2-40B4-BE49-F238E27FC236}">
                  <a16:creationId xmlns:a16="http://schemas.microsoft.com/office/drawing/2014/main" id="{6E3F46FA-F7BA-4A83-21B3-F40439C603CD}"/>
                </a:ext>
              </a:extLst>
            </p:cNvPr>
            <p:cNvGrpSpPr/>
            <p:nvPr/>
          </p:nvGrpSpPr>
          <p:grpSpPr>
            <a:xfrm>
              <a:off x="2751640" y="4743424"/>
              <a:ext cx="41937" cy="41888"/>
              <a:chOff x="2751640" y="4743424"/>
              <a:chExt cx="41937" cy="41888"/>
            </a:xfrm>
          </p:grpSpPr>
          <p:sp>
            <p:nvSpPr>
              <p:cNvPr id="87" name="Freeform 86">
                <a:extLst>
                  <a:ext uri="{FF2B5EF4-FFF2-40B4-BE49-F238E27FC236}">
                    <a16:creationId xmlns:a16="http://schemas.microsoft.com/office/drawing/2014/main" id="{B1219209-D5B0-0DF2-2E2A-F91C863F859F}"/>
                  </a:ext>
                </a:extLst>
              </p:cNvPr>
              <p:cNvSpPr/>
              <p:nvPr/>
            </p:nvSpPr>
            <p:spPr>
              <a:xfrm>
                <a:off x="2751640" y="4764344"/>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 name="Freeform 87">
                <a:extLst>
                  <a:ext uri="{FF2B5EF4-FFF2-40B4-BE49-F238E27FC236}">
                    <a16:creationId xmlns:a16="http://schemas.microsoft.com/office/drawing/2014/main" id="{193799EA-EB25-0CB2-D188-588697874873}"/>
                  </a:ext>
                </a:extLst>
              </p:cNvPr>
              <p:cNvSpPr/>
              <p:nvPr/>
            </p:nvSpPr>
            <p:spPr>
              <a:xfrm>
                <a:off x="2772609" y="4743424"/>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9" name="Graphic 11">
              <a:extLst>
                <a:ext uri="{FF2B5EF4-FFF2-40B4-BE49-F238E27FC236}">
                  <a16:creationId xmlns:a16="http://schemas.microsoft.com/office/drawing/2014/main" id="{F6956F54-06ED-E3B7-EF32-B522BF6CF536}"/>
                </a:ext>
              </a:extLst>
            </p:cNvPr>
            <p:cNvGrpSpPr/>
            <p:nvPr/>
          </p:nvGrpSpPr>
          <p:grpSpPr>
            <a:xfrm>
              <a:off x="2755784" y="4744214"/>
              <a:ext cx="41888" cy="41937"/>
              <a:chOff x="2755784" y="4744214"/>
              <a:chExt cx="41888" cy="41937"/>
            </a:xfrm>
          </p:grpSpPr>
          <p:sp>
            <p:nvSpPr>
              <p:cNvPr id="90" name="Freeform 89">
                <a:extLst>
                  <a:ext uri="{FF2B5EF4-FFF2-40B4-BE49-F238E27FC236}">
                    <a16:creationId xmlns:a16="http://schemas.microsoft.com/office/drawing/2014/main" id="{E26D2E54-391D-951F-EAD7-7B265D0FBB86}"/>
                  </a:ext>
                </a:extLst>
              </p:cNvPr>
              <p:cNvSpPr/>
              <p:nvPr/>
            </p:nvSpPr>
            <p:spPr>
              <a:xfrm>
                <a:off x="2755784" y="4765183"/>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 name="Freeform 90">
                <a:extLst>
                  <a:ext uri="{FF2B5EF4-FFF2-40B4-BE49-F238E27FC236}">
                    <a16:creationId xmlns:a16="http://schemas.microsoft.com/office/drawing/2014/main" id="{72544A10-A68D-4625-8FA6-1DCD47DA9018}"/>
                  </a:ext>
                </a:extLst>
              </p:cNvPr>
              <p:cNvSpPr/>
              <p:nvPr/>
            </p:nvSpPr>
            <p:spPr>
              <a:xfrm>
                <a:off x="2776704" y="4744214"/>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2" name="Graphic 11">
              <a:extLst>
                <a:ext uri="{FF2B5EF4-FFF2-40B4-BE49-F238E27FC236}">
                  <a16:creationId xmlns:a16="http://schemas.microsoft.com/office/drawing/2014/main" id="{2E8E33F8-C333-0A75-CE46-C21EC1C03478}"/>
                </a:ext>
              </a:extLst>
            </p:cNvPr>
            <p:cNvGrpSpPr/>
            <p:nvPr/>
          </p:nvGrpSpPr>
          <p:grpSpPr>
            <a:xfrm>
              <a:off x="2760718" y="4745052"/>
              <a:ext cx="41888" cy="41888"/>
              <a:chOff x="2760718" y="4745052"/>
              <a:chExt cx="41888" cy="41888"/>
            </a:xfrm>
          </p:grpSpPr>
          <p:sp>
            <p:nvSpPr>
              <p:cNvPr id="93" name="Freeform 92">
                <a:extLst>
                  <a:ext uri="{FF2B5EF4-FFF2-40B4-BE49-F238E27FC236}">
                    <a16:creationId xmlns:a16="http://schemas.microsoft.com/office/drawing/2014/main" id="{9A11FF64-C78C-EDE1-F578-AB52CFD21B45}"/>
                  </a:ext>
                </a:extLst>
              </p:cNvPr>
              <p:cNvSpPr/>
              <p:nvPr/>
            </p:nvSpPr>
            <p:spPr>
              <a:xfrm>
                <a:off x="2760718" y="4766021"/>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 name="Freeform 93">
                <a:extLst>
                  <a:ext uri="{FF2B5EF4-FFF2-40B4-BE49-F238E27FC236}">
                    <a16:creationId xmlns:a16="http://schemas.microsoft.com/office/drawing/2014/main" id="{80A013B4-A22A-1CCC-0165-1D3D37737113}"/>
                  </a:ext>
                </a:extLst>
              </p:cNvPr>
              <p:cNvSpPr/>
              <p:nvPr/>
            </p:nvSpPr>
            <p:spPr>
              <a:xfrm>
                <a:off x="2781638" y="4745052"/>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5" name="Graphic 11">
              <a:extLst>
                <a:ext uri="{FF2B5EF4-FFF2-40B4-BE49-F238E27FC236}">
                  <a16:creationId xmlns:a16="http://schemas.microsoft.com/office/drawing/2014/main" id="{5A365B30-8E6F-466F-C60C-167B4BE871C2}"/>
                </a:ext>
              </a:extLst>
            </p:cNvPr>
            <p:cNvGrpSpPr/>
            <p:nvPr/>
          </p:nvGrpSpPr>
          <p:grpSpPr>
            <a:xfrm>
              <a:off x="2764813" y="4745052"/>
              <a:ext cx="41888" cy="41888"/>
              <a:chOff x="2764813" y="4745052"/>
              <a:chExt cx="41888" cy="41888"/>
            </a:xfrm>
          </p:grpSpPr>
          <p:sp>
            <p:nvSpPr>
              <p:cNvPr id="96" name="Freeform 95">
                <a:extLst>
                  <a:ext uri="{FF2B5EF4-FFF2-40B4-BE49-F238E27FC236}">
                    <a16:creationId xmlns:a16="http://schemas.microsoft.com/office/drawing/2014/main" id="{4FEC943C-0E51-FDE9-2C58-2BB3306A68C6}"/>
                  </a:ext>
                </a:extLst>
              </p:cNvPr>
              <p:cNvSpPr/>
              <p:nvPr/>
            </p:nvSpPr>
            <p:spPr>
              <a:xfrm>
                <a:off x="2764813" y="4766021"/>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 name="Freeform 96">
                <a:extLst>
                  <a:ext uri="{FF2B5EF4-FFF2-40B4-BE49-F238E27FC236}">
                    <a16:creationId xmlns:a16="http://schemas.microsoft.com/office/drawing/2014/main" id="{25118F5C-FB29-02F8-5EFA-04142FD8B8FE}"/>
                  </a:ext>
                </a:extLst>
              </p:cNvPr>
              <p:cNvSpPr/>
              <p:nvPr/>
            </p:nvSpPr>
            <p:spPr>
              <a:xfrm>
                <a:off x="2785782" y="4745052"/>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8" name="Graphic 11">
              <a:extLst>
                <a:ext uri="{FF2B5EF4-FFF2-40B4-BE49-F238E27FC236}">
                  <a16:creationId xmlns:a16="http://schemas.microsoft.com/office/drawing/2014/main" id="{C0889E9D-EEE4-3907-728E-3F8C02FC25B0}"/>
                </a:ext>
              </a:extLst>
            </p:cNvPr>
            <p:cNvGrpSpPr/>
            <p:nvPr/>
          </p:nvGrpSpPr>
          <p:grpSpPr>
            <a:xfrm>
              <a:off x="2767280" y="4745052"/>
              <a:ext cx="41888" cy="41888"/>
              <a:chOff x="2767280" y="4745052"/>
              <a:chExt cx="41888" cy="41888"/>
            </a:xfrm>
          </p:grpSpPr>
          <p:sp>
            <p:nvSpPr>
              <p:cNvPr id="99" name="Freeform 98">
                <a:extLst>
                  <a:ext uri="{FF2B5EF4-FFF2-40B4-BE49-F238E27FC236}">
                    <a16:creationId xmlns:a16="http://schemas.microsoft.com/office/drawing/2014/main" id="{9EC98C37-F9B4-75BD-F6AB-EBAB75A26EB6}"/>
                  </a:ext>
                </a:extLst>
              </p:cNvPr>
              <p:cNvSpPr/>
              <p:nvPr/>
            </p:nvSpPr>
            <p:spPr>
              <a:xfrm>
                <a:off x="2767280" y="4766021"/>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 name="Freeform 99">
                <a:extLst>
                  <a:ext uri="{FF2B5EF4-FFF2-40B4-BE49-F238E27FC236}">
                    <a16:creationId xmlns:a16="http://schemas.microsoft.com/office/drawing/2014/main" id="{46E34E0E-C603-9143-0C4F-7D146FFFFEC5}"/>
                  </a:ext>
                </a:extLst>
              </p:cNvPr>
              <p:cNvSpPr/>
              <p:nvPr/>
            </p:nvSpPr>
            <p:spPr>
              <a:xfrm>
                <a:off x="2788249" y="4745052"/>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1" name="Graphic 11">
              <a:extLst>
                <a:ext uri="{FF2B5EF4-FFF2-40B4-BE49-F238E27FC236}">
                  <a16:creationId xmlns:a16="http://schemas.microsoft.com/office/drawing/2014/main" id="{D35514A6-B088-38FC-A311-8496C8F5648C}"/>
                </a:ext>
              </a:extLst>
            </p:cNvPr>
            <p:cNvGrpSpPr/>
            <p:nvPr/>
          </p:nvGrpSpPr>
          <p:grpSpPr>
            <a:xfrm>
              <a:off x="2770586" y="4745842"/>
              <a:ext cx="41888" cy="41937"/>
              <a:chOff x="2770586" y="4745842"/>
              <a:chExt cx="41888" cy="41937"/>
            </a:xfrm>
          </p:grpSpPr>
          <p:sp>
            <p:nvSpPr>
              <p:cNvPr id="102" name="Freeform 101">
                <a:extLst>
                  <a:ext uri="{FF2B5EF4-FFF2-40B4-BE49-F238E27FC236}">
                    <a16:creationId xmlns:a16="http://schemas.microsoft.com/office/drawing/2014/main" id="{53F5F4FB-E7FE-D8C2-F805-F17E6A5B0512}"/>
                  </a:ext>
                </a:extLst>
              </p:cNvPr>
              <p:cNvSpPr/>
              <p:nvPr/>
            </p:nvSpPr>
            <p:spPr>
              <a:xfrm>
                <a:off x="2770586" y="4766811"/>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 name="Freeform 102">
                <a:extLst>
                  <a:ext uri="{FF2B5EF4-FFF2-40B4-BE49-F238E27FC236}">
                    <a16:creationId xmlns:a16="http://schemas.microsoft.com/office/drawing/2014/main" id="{7D9568CF-8D15-D4AE-B749-17E01FB52BAE}"/>
                  </a:ext>
                </a:extLst>
              </p:cNvPr>
              <p:cNvSpPr/>
              <p:nvPr/>
            </p:nvSpPr>
            <p:spPr>
              <a:xfrm>
                <a:off x="2791506" y="4745842"/>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 name="Graphic 11">
              <a:extLst>
                <a:ext uri="{FF2B5EF4-FFF2-40B4-BE49-F238E27FC236}">
                  <a16:creationId xmlns:a16="http://schemas.microsoft.com/office/drawing/2014/main" id="{4A8837C3-5545-A095-5F4C-97A8499F37D2}"/>
                </a:ext>
              </a:extLst>
            </p:cNvPr>
            <p:cNvGrpSpPr/>
            <p:nvPr/>
          </p:nvGrpSpPr>
          <p:grpSpPr>
            <a:xfrm>
              <a:off x="2777148" y="4745842"/>
              <a:ext cx="41888" cy="41937"/>
              <a:chOff x="2777148" y="4745842"/>
              <a:chExt cx="41888" cy="41937"/>
            </a:xfrm>
          </p:grpSpPr>
          <p:sp>
            <p:nvSpPr>
              <p:cNvPr id="105" name="Freeform 104">
                <a:extLst>
                  <a:ext uri="{FF2B5EF4-FFF2-40B4-BE49-F238E27FC236}">
                    <a16:creationId xmlns:a16="http://schemas.microsoft.com/office/drawing/2014/main" id="{7F8EB59F-7807-FEB3-4839-D1C2CFC4075C}"/>
                  </a:ext>
                </a:extLst>
              </p:cNvPr>
              <p:cNvSpPr/>
              <p:nvPr/>
            </p:nvSpPr>
            <p:spPr>
              <a:xfrm>
                <a:off x="2777148" y="4766811"/>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 name="Freeform 105">
                <a:extLst>
                  <a:ext uri="{FF2B5EF4-FFF2-40B4-BE49-F238E27FC236}">
                    <a16:creationId xmlns:a16="http://schemas.microsoft.com/office/drawing/2014/main" id="{583705A7-9247-3875-660C-BDD2D1A7726F}"/>
                  </a:ext>
                </a:extLst>
              </p:cNvPr>
              <p:cNvSpPr/>
              <p:nvPr/>
            </p:nvSpPr>
            <p:spPr>
              <a:xfrm>
                <a:off x="2798068" y="4745842"/>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7" name="Graphic 11">
              <a:extLst>
                <a:ext uri="{FF2B5EF4-FFF2-40B4-BE49-F238E27FC236}">
                  <a16:creationId xmlns:a16="http://schemas.microsoft.com/office/drawing/2014/main" id="{E34F1AEF-CA67-2C59-4297-ED0DC47A4513}"/>
                </a:ext>
              </a:extLst>
            </p:cNvPr>
            <p:cNvGrpSpPr/>
            <p:nvPr/>
          </p:nvGrpSpPr>
          <p:grpSpPr>
            <a:xfrm>
              <a:off x="2773004" y="4745842"/>
              <a:ext cx="41937" cy="41937"/>
              <a:chOff x="2773004" y="4745842"/>
              <a:chExt cx="41937" cy="41937"/>
            </a:xfrm>
          </p:grpSpPr>
          <p:sp>
            <p:nvSpPr>
              <p:cNvPr id="108" name="Freeform 107">
                <a:extLst>
                  <a:ext uri="{FF2B5EF4-FFF2-40B4-BE49-F238E27FC236}">
                    <a16:creationId xmlns:a16="http://schemas.microsoft.com/office/drawing/2014/main" id="{1775DFC5-9669-7886-F62D-76D121D685B8}"/>
                  </a:ext>
                </a:extLst>
              </p:cNvPr>
              <p:cNvSpPr/>
              <p:nvPr/>
            </p:nvSpPr>
            <p:spPr>
              <a:xfrm>
                <a:off x="2773004" y="4766811"/>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 name="Freeform 108">
                <a:extLst>
                  <a:ext uri="{FF2B5EF4-FFF2-40B4-BE49-F238E27FC236}">
                    <a16:creationId xmlns:a16="http://schemas.microsoft.com/office/drawing/2014/main" id="{C38815D5-A4C9-3087-3139-17C39BEA94A7}"/>
                  </a:ext>
                </a:extLst>
              </p:cNvPr>
              <p:cNvSpPr/>
              <p:nvPr/>
            </p:nvSpPr>
            <p:spPr>
              <a:xfrm>
                <a:off x="2793973" y="4745842"/>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0" name="Graphic 11">
              <a:extLst>
                <a:ext uri="{FF2B5EF4-FFF2-40B4-BE49-F238E27FC236}">
                  <a16:creationId xmlns:a16="http://schemas.microsoft.com/office/drawing/2014/main" id="{87BD5215-8572-B522-25E3-5819CD21AB0B}"/>
                </a:ext>
              </a:extLst>
            </p:cNvPr>
            <p:cNvGrpSpPr/>
            <p:nvPr/>
          </p:nvGrpSpPr>
          <p:grpSpPr>
            <a:xfrm>
              <a:off x="2784549" y="4761482"/>
              <a:ext cx="41888" cy="41888"/>
              <a:chOff x="2784549" y="4761482"/>
              <a:chExt cx="41888" cy="41888"/>
            </a:xfrm>
          </p:grpSpPr>
          <p:sp>
            <p:nvSpPr>
              <p:cNvPr id="111" name="Freeform 110">
                <a:extLst>
                  <a:ext uri="{FF2B5EF4-FFF2-40B4-BE49-F238E27FC236}">
                    <a16:creationId xmlns:a16="http://schemas.microsoft.com/office/drawing/2014/main" id="{C43FA8EB-6A27-10BA-B3AD-4D2731103B40}"/>
                  </a:ext>
                </a:extLst>
              </p:cNvPr>
              <p:cNvSpPr/>
              <p:nvPr/>
            </p:nvSpPr>
            <p:spPr>
              <a:xfrm>
                <a:off x="2784549" y="4782451"/>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 name="Freeform 111">
                <a:extLst>
                  <a:ext uri="{FF2B5EF4-FFF2-40B4-BE49-F238E27FC236}">
                    <a16:creationId xmlns:a16="http://schemas.microsoft.com/office/drawing/2014/main" id="{493D9F48-9846-6AA7-2B79-2E343BE8EFC6}"/>
                  </a:ext>
                </a:extLst>
              </p:cNvPr>
              <p:cNvSpPr/>
              <p:nvPr/>
            </p:nvSpPr>
            <p:spPr>
              <a:xfrm>
                <a:off x="2805469" y="4761482"/>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3" name="Graphic 11">
              <a:extLst>
                <a:ext uri="{FF2B5EF4-FFF2-40B4-BE49-F238E27FC236}">
                  <a16:creationId xmlns:a16="http://schemas.microsoft.com/office/drawing/2014/main" id="{4C94CCB8-1A42-B867-F869-7E8BD5E05722}"/>
                </a:ext>
              </a:extLst>
            </p:cNvPr>
            <p:cNvGrpSpPr/>
            <p:nvPr/>
          </p:nvGrpSpPr>
          <p:grpSpPr>
            <a:xfrm>
              <a:off x="2781243" y="4761482"/>
              <a:ext cx="41888" cy="41888"/>
              <a:chOff x="2781243" y="4761482"/>
              <a:chExt cx="41888" cy="41888"/>
            </a:xfrm>
          </p:grpSpPr>
          <p:sp>
            <p:nvSpPr>
              <p:cNvPr id="114" name="Freeform 113">
                <a:extLst>
                  <a:ext uri="{FF2B5EF4-FFF2-40B4-BE49-F238E27FC236}">
                    <a16:creationId xmlns:a16="http://schemas.microsoft.com/office/drawing/2014/main" id="{56A83673-E32C-5ECF-7C5C-7B2F3BAF680C}"/>
                  </a:ext>
                </a:extLst>
              </p:cNvPr>
              <p:cNvSpPr/>
              <p:nvPr/>
            </p:nvSpPr>
            <p:spPr>
              <a:xfrm>
                <a:off x="2781243" y="4782451"/>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 name="Freeform 114">
                <a:extLst>
                  <a:ext uri="{FF2B5EF4-FFF2-40B4-BE49-F238E27FC236}">
                    <a16:creationId xmlns:a16="http://schemas.microsoft.com/office/drawing/2014/main" id="{EEB95026-13F1-5BA3-11A8-BDF7C3E2C01A}"/>
                  </a:ext>
                </a:extLst>
              </p:cNvPr>
              <p:cNvSpPr/>
              <p:nvPr/>
            </p:nvSpPr>
            <p:spPr>
              <a:xfrm>
                <a:off x="2802212" y="4761482"/>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6" name="Graphic 11">
              <a:extLst>
                <a:ext uri="{FF2B5EF4-FFF2-40B4-BE49-F238E27FC236}">
                  <a16:creationId xmlns:a16="http://schemas.microsoft.com/office/drawing/2014/main" id="{7793655A-A202-C2E7-A0F1-70FCFF56C79C}"/>
                </a:ext>
              </a:extLst>
            </p:cNvPr>
            <p:cNvGrpSpPr/>
            <p:nvPr/>
          </p:nvGrpSpPr>
          <p:grpSpPr>
            <a:xfrm>
              <a:off x="3017921" y="4830507"/>
              <a:ext cx="41888" cy="41888"/>
              <a:chOff x="3017921" y="4830507"/>
              <a:chExt cx="41888" cy="41888"/>
            </a:xfrm>
          </p:grpSpPr>
          <p:sp>
            <p:nvSpPr>
              <p:cNvPr id="117" name="Freeform 116">
                <a:extLst>
                  <a:ext uri="{FF2B5EF4-FFF2-40B4-BE49-F238E27FC236}">
                    <a16:creationId xmlns:a16="http://schemas.microsoft.com/office/drawing/2014/main" id="{A38F5B14-CA89-7C2E-8611-41016FA33987}"/>
                  </a:ext>
                </a:extLst>
              </p:cNvPr>
              <p:cNvSpPr/>
              <p:nvPr/>
            </p:nvSpPr>
            <p:spPr>
              <a:xfrm>
                <a:off x="3017921" y="4851476"/>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 name="Freeform 117">
                <a:extLst>
                  <a:ext uri="{FF2B5EF4-FFF2-40B4-BE49-F238E27FC236}">
                    <a16:creationId xmlns:a16="http://schemas.microsoft.com/office/drawing/2014/main" id="{FBC0B439-CB5C-4350-4722-796972152C1F}"/>
                  </a:ext>
                </a:extLst>
              </p:cNvPr>
              <p:cNvSpPr/>
              <p:nvPr/>
            </p:nvSpPr>
            <p:spPr>
              <a:xfrm>
                <a:off x="3038841" y="4830507"/>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9" name="Graphic 11">
              <a:extLst>
                <a:ext uri="{FF2B5EF4-FFF2-40B4-BE49-F238E27FC236}">
                  <a16:creationId xmlns:a16="http://schemas.microsoft.com/office/drawing/2014/main" id="{772DEAD9-8331-041B-AB3B-3CC33D04505C}"/>
                </a:ext>
              </a:extLst>
            </p:cNvPr>
            <p:cNvGrpSpPr/>
            <p:nvPr/>
          </p:nvGrpSpPr>
          <p:grpSpPr>
            <a:xfrm>
              <a:off x="3037607" y="4830507"/>
              <a:ext cx="41937" cy="41888"/>
              <a:chOff x="3037607" y="4830507"/>
              <a:chExt cx="41937" cy="41888"/>
            </a:xfrm>
          </p:grpSpPr>
          <p:sp>
            <p:nvSpPr>
              <p:cNvPr id="120" name="Freeform 119">
                <a:extLst>
                  <a:ext uri="{FF2B5EF4-FFF2-40B4-BE49-F238E27FC236}">
                    <a16:creationId xmlns:a16="http://schemas.microsoft.com/office/drawing/2014/main" id="{49F30B62-F56F-9343-92DF-087920EE7D08}"/>
                  </a:ext>
                </a:extLst>
              </p:cNvPr>
              <p:cNvSpPr/>
              <p:nvPr/>
            </p:nvSpPr>
            <p:spPr>
              <a:xfrm>
                <a:off x="3037607" y="4851476"/>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 name="Freeform 120">
                <a:extLst>
                  <a:ext uri="{FF2B5EF4-FFF2-40B4-BE49-F238E27FC236}">
                    <a16:creationId xmlns:a16="http://schemas.microsoft.com/office/drawing/2014/main" id="{64735E42-F4D4-64A7-9E3C-CC02BF4B232F}"/>
                  </a:ext>
                </a:extLst>
              </p:cNvPr>
              <p:cNvSpPr/>
              <p:nvPr/>
            </p:nvSpPr>
            <p:spPr>
              <a:xfrm>
                <a:off x="3058576" y="4830507"/>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2" name="Graphic 11">
              <a:extLst>
                <a:ext uri="{FF2B5EF4-FFF2-40B4-BE49-F238E27FC236}">
                  <a16:creationId xmlns:a16="http://schemas.microsoft.com/office/drawing/2014/main" id="{5A4198E0-DC72-8F53-48D7-FC49346C3942}"/>
                </a:ext>
              </a:extLst>
            </p:cNvPr>
            <p:cNvGrpSpPr/>
            <p:nvPr/>
          </p:nvGrpSpPr>
          <p:grpSpPr>
            <a:xfrm>
              <a:off x="3032674" y="4830507"/>
              <a:ext cx="41937" cy="41888"/>
              <a:chOff x="3032674" y="4830507"/>
              <a:chExt cx="41937" cy="41888"/>
            </a:xfrm>
          </p:grpSpPr>
          <p:sp>
            <p:nvSpPr>
              <p:cNvPr id="123" name="Freeform 122">
                <a:extLst>
                  <a:ext uri="{FF2B5EF4-FFF2-40B4-BE49-F238E27FC236}">
                    <a16:creationId xmlns:a16="http://schemas.microsoft.com/office/drawing/2014/main" id="{F07ED444-3902-FA10-98EE-CE5162123AD3}"/>
                  </a:ext>
                </a:extLst>
              </p:cNvPr>
              <p:cNvSpPr/>
              <p:nvPr/>
            </p:nvSpPr>
            <p:spPr>
              <a:xfrm>
                <a:off x="3032674" y="4851476"/>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 name="Freeform 123">
                <a:extLst>
                  <a:ext uri="{FF2B5EF4-FFF2-40B4-BE49-F238E27FC236}">
                    <a16:creationId xmlns:a16="http://schemas.microsoft.com/office/drawing/2014/main" id="{0AEB0BA6-D7DF-01A4-308B-86F9A44EF5AD}"/>
                  </a:ext>
                </a:extLst>
              </p:cNvPr>
              <p:cNvSpPr/>
              <p:nvPr/>
            </p:nvSpPr>
            <p:spPr>
              <a:xfrm>
                <a:off x="3053643" y="4830507"/>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5" name="Graphic 11">
              <a:extLst>
                <a:ext uri="{FF2B5EF4-FFF2-40B4-BE49-F238E27FC236}">
                  <a16:creationId xmlns:a16="http://schemas.microsoft.com/office/drawing/2014/main" id="{4CE72818-81D7-C895-8E9B-A2D7073C545C}"/>
                </a:ext>
              </a:extLst>
            </p:cNvPr>
            <p:cNvGrpSpPr/>
            <p:nvPr/>
          </p:nvGrpSpPr>
          <p:grpSpPr>
            <a:xfrm>
              <a:off x="3028578" y="4830507"/>
              <a:ext cx="41937" cy="41888"/>
              <a:chOff x="3028578" y="4830507"/>
              <a:chExt cx="41937" cy="41888"/>
            </a:xfrm>
          </p:grpSpPr>
          <p:sp>
            <p:nvSpPr>
              <p:cNvPr id="126" name="Freeform 125">
                <a:extLst>
                  <a:ext uri="{FF2B5EF4-FFF2-40B4-BE49-F238E27FC236}">
                    <a16:creationId xmlns:a16="http://schemas.microsoft.com/office/drawing/2014/main" id="{E42B286B-5219-B71A-ADAE-08434F775D73}"/>
                  </a:ext>
                </a:extLst>
              </p:cNvPr>
              <p:cNvSpPr/>
              <p:nvPr/>
            </p:nvSpPr>
            <p:spPr>
              <a:xfrm>
                <a:off x="3028578" y="4851476"/>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 name="Freeform 126">
                <a:extLst>
                  <a:ext uri="{FF2B5EF4-FFF2-40B4-BE49-F238E27FC236}">
                    <a16:creationId xmlns:a16="http://schemas.microsoft.com/office/drawing/2014/main" id="{BB96CA60-1951-5726-3F80-F5AB6EEC3CDB}"/>
                  </a:ext>
                </a:extLst>
              </p:cNvPr>
              <p:cNvSpPr/>
              <p:nvPr/>
            </p:nvSpPr>
            <p:spPr>
              <a:xfrm>
                <a:off x="3049547" y="4830507"/>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8" name="Graphic 11">
              <a:extLst>
                <a:ext uri="{FF2B5EF4-FFF2-40B4-BE49-F238E27FC236}">
                  <a16:creationId xmlns:a16="http://schemas.microsoft.com/office/drawing/2014/main" id="{C8DB262E-9751-FEF0-AF04-601BFDFEF801}"/>
                </a:ext>
              </a:extLst>
            </p:cNvPr>
            <p:cNvGrpSpPr/>
            <p:nvPr/>
          </p:nvGrpSpPr>
          <p:grpSpPr>
            <a:xfrm>
              <a:off x="3063510" y="4863367"/>
              <a:ext cx="41888" cy="41937"/>
              <a:chOff x="3063510" y="4863367"/>
              <a:chExt cx="41888" cy="41937"/>
            </a:xfrm>
          </p:grpSpPr>
          <p:sp>
            <p:nvSpPr>
              <p:cNvPr id="129" name="Freeform 128">
                <a:extLst>
                  <a:ext uri="{FF2B5EF4-FFF2-40B4-BE49-F238E27FC236}">
                    <a16:creationId xmlns:a16="http://schemas.microsoft.com/office/drawing/2014/main" id="{5B563059-28AA-94D4-79A6-FF0BFEB679AF}"/>
                  </a:ext>
                </a:extLst>
              </p:cNvPr>
              <p:cNvSpPr/>
              <p:nvPr/>
            </p:nvSpPr>
            <p:spPr>
              <a:xfrm>
                <a:off x="3063510" y="4884336"/>
                <a:ext cx="41888" cy="4933"/>
              </a:xfrm>
              <a:custGeom>
                <a:avLst/>
                <a:gdLst>
                  <a:gd name="connsiteX0" fmla="*/ 0 w 41888"/>
                  <a:gd name="connsiteY0" fmla="*/ 0 h 4933"/>
                  <a:gd name="connsiteX1" fmla="*/ 41888 w 41888"/>
                  <a:gd name="connsiteY1" fmla="*/ 0 h 4933"/>
                </a:gdLst>
                <a:ahLst/>
                <a:cxnLst>
                  <a:cxn ang="0">
                    <a:pos x="connsiteX0" y="connsiteY0"/>
                  </a:cxn>
                  <a:cxn ang="0">
                    <a:pos x="connsiteX1" y="connsiteY1"/>
                  </a:cxn>
                </a:cxnLst>
                <a:rect l="l" t="t" r="r" b="b"/>
                <a:pathLst>
                  <a:path w="41888" h="4933">
                    <a:moveTo>
                      <a:pt x="0" y="0"/>
                    </a:moveTo>
                    <a:lnTo>
                      <a:pt x="4188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 name="Freeform 129">
                <a:extLst>
                  <a:ext uri="{FF2B5EF4-FFF2-40B4-BE49-F238E27FC236}">
                    <a16:creationId xmlns:a16="http://schemas.microsoft.com/office/drawing/2014/main" id="{A14B8644-6A95-3A66-C6B0-015753208070}"/>
                  </a:ext>
                </a:extLst>
              </p:cNvPr>
              <p:cNvSpPr/>
              <p:nvPr/>
            </p:nvSpPr>
            <p:spPr>
              <a:xfrm>
                <a:off x="3084479" y="4863367"/>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31" name="Graphic 11">
              <a:extLst>
                <a:ext uri="{FF2B5EF4-FFF2-40B4-BE49-F238E27FC236}">
                  <a16:creationId xmlns:a16="http://schemas.microsoft.com/office/drawing/2014/main" id="{356678CA-6345-0541-5DFF-830C7EEA0D60}"/>
                </a:ext>
              </a:extLst>
            </p:cNvPr>
            <p:cNvGrpSpPr/>
            <p:nvPr/>
          </p:nvGrpSpPr>
          <p:grpSpPr>
            <a:xfrm>
              <a:off x="3279614" y="4909400"/>
              <a:ext cx="41937" cy="41888"/>
              <a:chOff x="3279614" y="4909400"/>
              <a:chExt cx="41937" cy="41888"/>
            </a:xfrm>
          </p:grpSpPr>
          <p:sp>
            <p:nvSpPr>
              <p:cNvPr id="132" name="Freeform 131">
                <a:extLst>
                  <a:ext uri="{FF2B5EF4-FFF2-40B4-BE49-F238E27FC236}">
                    <a16:creationId xmlns:a16="http://schemas.microsoft.com/office/drawing/2014/main" id="{E41DC41C-387E-82E8-0BBE-7260456DB924}"/>
                  </a:ext>
                </a:extLst>
              </p:cNvPr>
              <p:cNvSpPr/>
              <p:nvPr/>
            </p:nvSpPr>
            <p:spPr>
              <a:xfrm>
                <a:off x="3279614" y="4930369"/>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 name="Freeform 132">
                <a:extLst>
                  <a:ext uri="{FF2B5EF4-FFF2-40B4-BE49-F238E27FC236}">
                    <a16:creationId xmlns:a16="http://schemas.microsoft.com/office/drawing/2014/main" id="{36571656-DBA1-B00F-0C32-2FE5EDC3B461}"/>
                  </a:ext>
                </a:extLst>
              </p:cNvPr>
              <p:cNvSpPr/>
              <p:nvPr/>
            </p:nvSpPr>
            <p:spPr>
              <a:xfrm>
                <a:off x="3300583" y="4909400"/>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34" name="Graphic 11">
              <a:extLst>
                <a:ext uri="{FF2B5EF4-FFF2-40B4-BE49-F238E27FC236}">
                  <a16:creationId xmlns:a16="http://schemas.microsoft.com/office/drawing/2014/main" id="{5A8B2023-5029-789B-5DED-01F3028FB475}"/>
                </a:ext>
              </a:extLst>
            </p:cNvPr>
            <p:cNvGrpSpPr/>
            <p:nvPr/>
          </p:nvGrpSpPr>
          <p:grpSpPr>
            <a:xfrm>
              <a:off x="3294416" y="4969396"/>
              <a:ext cx="41937" cy="41888"/>
              <a:chOff x="3294416" y="4969396"/>
              <a:chExt cx="41937" cy="41888"/>
            </a:xfrm>
          </p:grpSpPr>
          <p:sp>
            <p:nvSpPr>
              <p:cNvPr id="135" name="Freeform 134">
                <a:extLst>
                  <a:ext uri="{FF2B5EF4-FFF2-40B4-BE49-F238E27FC236}">
                    <a16:creationId xmlns:a16="http://schemas.microsoft.com/office/drawing/2014/main" id="{2095EA9D-06BF-DC5A-14FD-D86908DED5A3}"/>
                  </a:ext>
                </a:extLst>
              </p:cNvPr>
              <p:cNvSpPr/>
              <p:nvPr/>
            </p:nvSpPr>
            <p:spPr>
              <a:xfrm>
                <a:off x="3294416" y="4990316"/>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 name="Freeform 135">
                <a:extLst>
                  <a:ext uri="{FF2B5EF4-FFF2-40B4-BE49-F238E27FC236}">
                    <a16:creationId xmlns:a16="http://schemas.microsoft.com/office/drawing/2014/main" id="{CCA66F2C-104B-49D9-CBEA-AAFD1535DBDE}"/>
                  </a:ext>
                </a:extLst>
              </p:cNvPr>
              <p:cNvSpPr/>
              <p:nvPr/>
            </p:nvSpPr>
            <p:spPr>
              <a:xfrm>
                <a:off x="3315385" y="4969396"/>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37" name="Graphic 11">
              <a:extLst>
                <a:ext uri="{FF2B5EF4-FFF2-40B4-BE49-F238E27FC236}">
                  <a16:creationId xmlns:a16="http://schemas.microsoft.com/office/drawing/2014/main" id="{F92BFFD1-DDB4-F48E-A7DF-AEBEF2F293B1}"/>
                </a:ext>
              </a:extLst>
            </p:cNvPr>
            <p:cNvGrpSpPr/>
            <p:nvPr/>
          </p:nvGrpSpPr>
          <p:grpSpPr>
            <a:xfrm>
              <a:off x="3298511" y="4969396"/>
              <a:ext cx="41937" cy="41888"/>
              <a:chOff x="3298511" y="4969396"/>
              <a:chExt cx="41937" cy="41888"/>
            </a:xfrm>
          </p:grpSpPr>
          <p:sp>
            <p:nvSpPr>
              <p:cNvPr id="138" name="Freeform 137">
                <a:extLst>
                  <a:ext uri="{FF2B5EF4-FFF2-40B4-BE49-F238E27FC236}">
                    <a16:creationId xmlns:a16="http://schemas.microsoft.com/office/drawing/2014/main" id="{A9684762-6FD5-B521-BDDC-3E938882F2D2}"/>
                  </a:ext>
                </a:extLst>
              </p:cNvPr>
              <p:cNvSpPr/>
              <p:nvPr/>
            </p:nvSpPr>
            <p:spPr>
              <a:xfrm>
                <a:off x="3298511" y="4990316"/>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 name="Freeform 138">
                <a:extLst>
                  <a:ext uri="{FF2B5EF4-FFF2-40B4-BE49-F238E27FC236}">
                    <a16:creationId xmlns:a16="http://schemas.microsoft.com/office/drawing/2014/main" id="{B501FA23-BC2B-04A3-8051-76597125FEE3}"/>
                  </a:ext>
                </a:extLst>
              </p:cNvPr>
              <p:cNvSpPr/>
              <p:nvPr/>
            </p:nvSpPr>
            <p:spPr>
              <a:xfrm>
                <a:off x="3319480" y="4969396"/>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40" name="Graphic 11">
              <a:extLst>
                <a:ext uri="{FF2B5EF4-FFF2-40B4-BE49-F238E27FC236}">
                  <a16:creationId xmlns:a16="http://schemas.microsoft.com/office/drawing/2014/main" id="{B504F1BD-42E8-5279-2540-3F9A60A9E04F}"/>
                </a:ext>
              </a:extLst>
            </p:cNvPr>
            <p:cNvGrpSpPr/>
            <p:nvPr/>
          </p:nvGrpSpPr>
          <p:grpSpPr>
            <a:xfrm>
              <a:off x="3545057" y="4970185"/>
              <a:ext cx="41888" cy="41937"/>
              <a:chOff x="3545057" y="4970185"/>
              <a:chExt cx="41888" cy="41937"/>
            </a:xfrm>
          </p:grpSpPr>
          <p:sp>
            <p:nvSpPr>
              <p:cNvPr id="141" name="Freeform 140">
                <a:extLst>
                  <a:ext uri="{FF2B5EF4-FFF2-40B4-BE49-F238E27FC236}">
                    <a16:creationId xmlns:a16="http://schemas.microsoft.com/office/drawing/2014/main" id="{86C6736E-EAC7-52F2-6775-5AF543DEF70C}"/>
                  </a:ext>
                </a:extLst>
              </p:cNvPr>
              <p:cNvSpPr/>
              <p:nvPr/>
            </p:nvSpPr>
            <p:spPr>
              <a:xfrm>
                <a:off x="3545057" y="4991154"/>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 name="Freeform 141">
                <a:extLst>
                  <a:ext uri="{FF2B5EF4-FFF2-40B4-BE49-F238E27FC236}">
                    <a16:creationId xmlns:a16="http://schemas.microsoft.com/office/drawing/2014/main" id="{B9FE2615-989E-4503-7131-B6F5A74BBF04}"/>
                  </a:ext>
                </a:extLst>
              </p:cNvPr>
              <p:cNvSpPr/>
              <p:nvPr/>
            </p:nvSpPr>
            <p:spPr>
              <a:xfrm>
                <a:off x="3566026" y="4970185"/>
                <a:ext cx="4933" cy="41937"/>
              </a:xfrm>
              <a:custGeom>
                <a:avLst/>
                <a:gdLst>
                  <a:gd name="connsiteX0" fmla="*/ 0 w 4933"/>
                  <a:gd name="connsiteY0" fmla="*/ 0 h 41937"/>
                  <a:gd name="connsiteX1" fmla="*/ 0 w 4933"/>
                  <a:gd name="connsiteY1" fmla="*/ 41938 h 41937"/>
                </a:gdLst>
                <a:ahLst/>
                <a:cxnLst>
                  <a:cxn ang="0">
                    <a:pos x="connsiteX0" y="connsiteY0"/>
                  </a:cxn>
                  <a:cxn ang="0">
                    <a:pos x="connsiteX1" y="connsiteY1"/>
                  </a:cxn>
                </a:cxnLst>
                <a:rect l="l" t="t" r="r" b="b"/>
                <a:pathLst>
                  <a:path w="4933" h="41937">
                    <a:moveTo>
                      <a:pt x="0" y="0"/>
                    </a:moveTo>
                    <a:lnTo>
                      <a:pt x="0" y="41938"/>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43" name="Graphic 11">
              <a:extLst>
                <a:ext uri="{FF2B5EF4-FFF2-40B4-BE49-F238E27FC236}">
                  <a16:creationId xmlns:a16="http://schemas.microsoft.com/office/drawing/2014/main" id="{B33DC493-4A90-ED62-4BEE-806649FD65B4}"/>
                </a:ext>
              </a:extLst>
            </p:cNvPr>
            <p:cNvGrpSpPr/>
            <p:nvPr/>
          </p:nvGrpSpPr>
          <p:grpSpPr>
            <a:xfrm>
              <a:off x="3023645" y="4830507"/>
              <a:ext cx="41937" cy="41888"/>
              <a:chOff x="3023645" y="4830507"/>
              <a:chExt cx="41937" cy="41888"/>
            </a:xfrm>
          </p:grpSpPr>
          <p:sp>
            <p:nvSpPr>
              <p:cNvPr id="144" name="Freeform 143">
                <a:extLst>
                  <a:ext uri="{FF2B5EF4-FFF2-40B4-BE49-F238E27FC236}">
                    <a16:creationId xmlns:a16="http://schemas.microsoft.com/office/drawing/2014/main" id="{51DD91A8-20B7-0464-C5C0-0DB27FFEECEA}"/>
                  </a:ext>
                </a:extLst>
              </p:cNvPr>
              <p:cNvSpPr/>
              <p:nvPr/>
            </p:nvSpPr>
            <p:spPr>
              <a:xfrm>
                <a:off x="3023645" y="4851476"/>
                <a:ext cx="41937" cy="4933"/>
              </a:xfrm>
              <a:custGeom>
                <a:avLst/>
                <a:gdLst>
                  <a:gd name="connsiteX0" fmla="*/ 0 w 41937"/>
                  <a:gd name="connsiteY0" fmla="*/ 0 h 4933"/>
                  <a:gd name="connsiteX1" fmla="*/ 41938 w 41937"/>
                  <a:gd name="connsiteY1" fmla="*/ 0 h 4933"/>
                </a:gdLst>
                <a:ahLst/>
                <a:cxnLst>
                  <a:cxn ang="0">
                    <a:pos x="connsiteX0" y="connsiteY0"/>
                  </a:cxn>
                  <a:cxn ang="0">
                    <a:pos x="connsiteX1" y="connsiteY1"/>
                  </a:cxn>
                </a:cxnLst>
                <a:rect l="l" t="t" r="r" b="b"/>
                <a:pathLst>
                  <a:path w="41937" h="4933">
                    <a:moveTo>
                      <a:pt x="0" y="0"/>
                    </a:moveTo>
                    <a:lnTo>
                      <a:pt x="41938"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5" name="Freeform 144">
                <a:extLst>
                  <a:ext uri="{FF2B5EF4-FFF2-40B4-BE49-F238E27FC236}">
                    <a16:creationId xmlns:a16="http://schemas.microsoft.com/office/drawing/2014/main" id="{7C1A80C5-999F-4B20-6977-27C40E981352}"/>
                  </a:ext>
                </a:extLst>
              </p:cNvPr>
              <p:cNvSpPr/>
              <p:nvPr/>
            </p:nvSpPr>
            <p:spPr>
              <a:xfrm>
                <a:off x="3044614" y="4830507"/>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46" name="Graphic 11">
              <a:extLst>
                <a:ext uri="{FF2B5EF4-FFF2-40B4-BE49-F238E27FC236}">
                  <a16:creationId xmlns:a16="http://schemas.microsoft.com/office/drawing/2014/main" id="{8D52FF27-12BD-81E0-F118-740CA1F28F43}"/>
                </a:ext>
              </a:extLst>
            </p:cNvPr>
            <p:cNvGrpSpPr/>
            <p:nvPr/>
          </p:nvGrpSpPr>
          <p:grpSpPr>
            <a:xfrm>
              <a:off x="3020388" y="4830507"/>
              <a:ext cx="41888" cy="41888"/>
              <a:chOff x="3020388" y="4830507"/>
              <a:chExt cx="41888" cy="41888"/>
            </a:xfrm>
          </p:grpSpPr>
          <p:sp>
            <p:nvSpPr>
              <p:cNvPr id="147" name="Freeform 146">
                <a:extLst>
                  <a:ext uri="{FF2B5EF4-FFF2-40B4-BE49-F238E27FC236}">
                    <a16:creationId xmlns:a16="http://schemas.microsoft.com/office/drawing/2014/main" id="{68E292DD-F104-E255-C55F-4CF2D774C5FF}"/>
                  </a:ext>
                </a:extLst>
              </p:cNvPr>
              <p:cNvSpPr/>
              <p:nvPr/>
            </p:nvSpPr>
            <p:spPr>
              <a:xfrm>
                <a:off x="3020388" y="4851476"/>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8" name="Freeform 147">
                <a:extLst>
                  <a:ext uri="{FF2B5EF4-FFF2-40B4-BE49-F238E27FC236}">
                    <a16:creationId xmlns:a16="http://schemas.microsoft.com/office/drawing/2014/main" id="{B4B68B7B-C1F7-F1E7-F1E9-CB4369D4B680}"/>
                  </a:ext>
                </a:extLst>
              </p:cNvPr>
              <p:cNvSpPr/>
              <p:nvPr/>
            </p:nvSpPr>
            <p:spPr>
              <a:xfrm>
                <a:off x="3041308" y="4830507"/>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49" name="Graphic 11">
              <a:extLst>
                <a:ext uri="{FF2B5EF4-FFF2-40B4-BE49-F238E27FC236}">
                  <a16:creationId xmlns:a16="http://schemas.microsoft.com/office/drawing/2014/main" id="{D512D6C7-C4D1-C94D-B321-A3941ACF5FFC}"/>
                </a:ext>
              </a:extLst>
            </p:cNvPr>
            <p:cNvGrpSpPr/>
            <p:nvPr/>
          </p:nvGrpSpPr>
          <p:grpSpPr>
            <a:xfrm>
              <a:off x="2502676" y="4640701"/>
              <a:ext cx="41888" cy="41888"/>
              <a:chOff x="2502676" y="4640701"/>
              <a:chExt cx="41888" cy="41888"/>
            </a:xfrm>
          </p:grpSpPr>
          <p:sp>
            <p:nvSpPr>
              <p:cNvPr id="150" name="Freeform 149">
                <a:extLst>
                  <a:ext uri="{FF2B5EF4-FFF2-40B4-BE49-F238E27FC236}">
                    <a16:creationId xmlns:a16="http://schemas.microsoft.com/office/drawing/2014/main" id="{D5ED4E79-FA36-7B41-5F36-6BE6CF6F7061}"/>
                  </a:ext>
                </a:extLst>
              </p:cNvPr>
              <p:cNvSpPr/>
              <p:nvPr/>
            </p:nvSpPr>
            <p:spPr>
              <a:xfrm>
                <a:off x="2502676" y="4661621"/>
                <a:ext cx="41888" cy="4933"/>
              </a:xfrm>
              <a:custGeom>
                <a:avLst/>
                <a:gdLst>
                  <a:gd name="connsiteX0" fmla="*/ 0 w 41888"/>
                  <a:gd name="connsiteY0" fmla="*/ 0 h 4933"/>
                  <a:gd name="connsiteX1" fmla="*/ 41889 w 41888"/>
                  <a:gd name="connsiteY1" fmla="*/ 0 h 4933"/>
                </a:gdLst>
                <a:ahLst/>
                <a:cxnLst>
                  <a:cxn ang="0">
                    <a:pos x="connsiteX0" y="connsiteY0"/>
                  </a:cxn>
                  <a:cxn ang="0">
                    <a:pos x="connsiteX1" y="connsiteY1"/>
                  </a:cxn>
                </a:cxnLst>
                <a:rect l="l" t="t" r="r" b="b"/>
                <a:pathLst>
                  <a:path w="41888" h="4933">
                    <a:moveTo>
                      <a:pt x="0" y="0"/>
                    </a:moveTo>
                    <a:lnTo>
                      <a:pt x="41889"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1" name="Freeform 150">
                <a:extLst>
                  <a:ext uri="{FF2B5EF4-FFF2-40B4-BE49-F238E27FC236}">
                    <a16:creationId xmlns:a16="http://schemas.microsoft.com/office/drawing/2014/main" id="{5AFB9921-9C60-EEC3-BF00-761544B0AD64}"/>
                  </a:ext>
                </a:extLst>
              </p:cNvPr>
              <p:cNvSpPr/>
              <p:nvPr/>
            </p:nvSpPr>
            <p:spPr>
              <a:xfrm>
                <a:off x="2523645" y="4640701"/>
                <a:ext cx="4933" cy="41888"/>
              </a:xfrm>
              <a:custGeom>
                <a:avLst/>
                <a:gdLst>
                  <a:gd name="connsiteX0" fmla="*/ 0 w 4933"/>
                  <a:gd name="connsiteY0" fmla="*/ 0 h 41888"/>
                  <a:gd name="connsiteX1" fmla="*/ 0 w 4933"/>
                  <a:gd name="connsiteY1" fmla="*/ 41889 h 41888"/>
                </a:gdLst>
                <a:ahLst/>
                <a:cxnLst>
                  <a:cxn ang="0">
                    <a:pos x="connsiteX0" y="connsiteY0"/>
                  </a:cxn>
                  <a:cxn ang="0">
                    <a:pos x="connsiteX1" y="connsiteY1"/>
                  </a:cxn>
                </a:cxnLst>
                <a:rect l="l" t="t" r="r" b="b"/>
                <a:pathLst>
                  <a:path w="4933" h="41888">
                    <a:moveTo>
                      <a:pt x="0" y="0"/>
                    </a:moveTo>
                    <a:lnTo>
                      <a:pt x="0" y="41889"/>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sp>
        <p:nvSpPr>
          <p:cNvPr id="152" name="Freeform 151">
            <a:extLst>
              <a:ext uri="{FF2B5EF4-FFF2-40B4-BE49-F238E27FC236}">
                <a16:creationId xmlns:a16="http://schemas.microsoft.com/office/drawing/2014/main" id="{2771CFCE-7DC0-2316-B184-9E00FF6A3BB9}"/>
              </a:ext>
            </a:extLst>
          </p:cNvPr>
          <p:cNvSpPr/>
          <p:nvPr/>
        </p:nvSpPr>
        <p:spPr>
          <a:xfrm>
            <a:off x="813701" y="3784053"/>
            <a:ext cx="3017773" cy="1432255"/>
          </a:xfrm>
          <a:custGeom>
            <a:avLst/>
            <a:gdLst>
              <a:gd name="connsiteX0" fmla="*/ 0 w 2580023"/>
              <a:gd name="connsiteY0" fmla="*/ 0 h 1432255"/>
              <a:gd name="connsiteX1" fmla="*/ 0 w 2580023"/>
              <a:gd name="connsiteY1" fmla="*/ 1432255 h 1432255"/>
              <a:gd name="connsiteX2" fmla="*/ 2580024 w 2580023"/>
              <a:gd name="connsiteY2" fmla="*/ 1432255 h 1432255"/>
            </a:gdLst>
            <a:ahLst/>
            <a:cxnLst>
              <a:cxn ang="0">
                <a:pos x="connsiteX0" y="connsiteY0"/>
              </a:cxn>
              <a:cxn ang="0">
                <a:pos x="connsiteX1" y="connsiteY1"/>
              </a:cxn>
              <a:cxn ang="0">
                <a:pos x="connsiteX2" y="connsiteY2"/>
              </a:cxn>
            </a:cxnLst>
            <a:rect l="l" t="t" r="r" b="b"/>
            <a:pathLst>
              <a:path w="2580023" h="1432255">
                <a:moveTo>
                  <a:pt x="0" y="0"/>
                </a:moveTo>
                <a:lnTo>
                  <a:pt x="0" y="1432255"/>
                </a:lnTo>
                <a:lnTo>
                  <a:pt x="2580024" y="1432255"/>
                </a:lnTo>
              </a:path>
            </a:pathLst>
          </a:custGeom>
          <a:noFill/>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3" name="Freeform 152">
            <a:extLst>
              <a:ext uri="{FF2B5EF4-FFF2-40B4-BE49-F238E27FC236}">
                <a16:creationId xmlns:a16="http://schemas.microsoft.com/office/drawing/2014/main" id="{D8B32A78-B961-40A5-E5DA-4EEA0B9624DB}"/>
              </a:ext>
            </a:extLst>
          </p:cNvPr>
          <p:cNvSpPr/>
          <p:nvPr/>
        </p:nvSpPr>
        <p:spPr>
          <a:xfrm>
            <a:off x="753567" y="3786520"/>
            <a:ext cx="61287" cy="4933"/>
          </a:xfrm>
          <a:custGeom>
            <a:avLst/>
            <a:gdLst>
              <a:gd name="connsiteX0" fmla="*/ 52398 w 52397"/>
              <a:gd name="connsiteY0" fmla="*/ 0 h 4933"/>
              <a:gd name="connsiteX1" fmla="*/ 0 w 52397"/>
              <a:gd name="connsiteY1" fmla="*/ 0 h 4933"/>
            </a:gdLst>
            <a:ahLst/>
            <a:cxnLst>
              <a:cxn ang="0">
                <a:pos x="connsiteX0" y="connsiteY0"/>
              </a:cxn>
              <a:cxn ang="0">
                <a:pos x="connsiteX1" y="connsiteY1"/>
              </a:cxn>
            </a:cxnLst>
            <a:rect l="l" t="t" r="r" b="b"/>
            <a:pathLst>
              <a:path w="52397" h="4933">
                <a:moveTo>
                  <a:pt x="52398"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4" name="Freeform 153">
            <a:extLst>
              <a:ext uri="{FF2B5EF4-FFF2-40B4-BE49-F238E27FC236}">
                <a16:creationId xmlns:a16="http://schemas.microsoft.com/office/drawing/2014/main" id="{D0D942C3-1ACB-F33F-4DAD-BEE6115E89DD}"/>
              </a:ext>
            </a:extLst>
          </p:cNvPr>
          <p:cNvSpPr/>
          <p:nvPr/>
        </p:nvSpPr>
        <p:spPr>
          <a:xfrm>
            <a:off x="753567" y="4072537"/>
            <a:ext cx="61287" cy="4933"/>
          </a:xfrm>
          <a:custGeom>
            <a:avLst/>
            <a:gdLst>
              <a:gd name="connsiteX0" fmla="*/ 52398 w 52397"/>
              <a:gd name="connsiteY0" fmla="*/ 0 h 4933"/>
              <a:gd name="connsiteX1" fmla="*/ 0 w 52397"/>
              <a:gd name="connsiteY1" fmla="*/ 0 h 4933"/>
            </a:gdLst>
            <a:ahLst/>
            <a:cxnLst>
              <a:cxn ang="0">
                <a:pos x="connsiteX0" y="connsiteY0"/>
              </a:cxn>
              <a:cxn ang="0">
                <a:pos x="connsiteX1" y="connsiteY1"/>
              </a:cxn>
            </a:cxnLst>
            <a:rect l="l" t="t" r="r" b="b"/>
            <a:pathLst>
              <a:path w="52397" h="4933">
                <a:moveTo>
                  <a:pt x="52398"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5" name="Freeform 154">
            <a:extLst>
              <a:ext uri="{FF2B5EF4-FFF2-40B4-BE49-F238E27FC236}">
                <a16:creationId xmlns:a16="http://schemas.microsoft.com/office/drawing/2014/main" id="{F12401D6-B523-6D94-48AA-4E96E1740584}"/>
              </a:ext>
            </a:extLst>
          </p:cNvPr>
          <p:cNvSpPr/>
          <p:nvPr/>
        </p:nvSpPr>
        <p:spPr>
          <a:xfrm>
            <a:off x="753567" y="4358604"/>
            <a:ext cx="61287" cy="4933"/>
          </a:xfrm>
          <a:custGeom>
            <a:avLst/>
            <a:gdLst>
              <a:gd name="connsiteX0" fmla="*/ 52398 w 52397"/>
              <a:gd name="connsiteY0" fmla="*/ 0 h 4933"/>
              <a:gd name="connsiteX1" fmla="*/ 0 w 52397"/>
              <a:gd name="connsiteY1" fmla="*/ 0 h 4933"/>
            </a:gdLst>
            <a:ahLst/>
            <a:cxnLst>
              <a:cxn ang="0">
                <a:pos x="connsiteX0" y="connsiteY0"/>
              </a:cxn>
              <a:cxn ang="0">
                <a:pos x="connsiteX1" y="connsiteY1"/>
              </a:cxn>
            </a:cxnLst>
            <a:rect l="l" t="t" r="r" b="b"/>
            <a:pathLst>
              <a:path w="52397" h="4933">
                <a:moveTo>
                  <a:pt x="52398"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6" name="Freeform 155">
            <a:extLst>
              <a:ext uri="{FF2B5EF4-FFF2-40B4-BE49-F238E27FC236}">
                <a16:creationId xmlns:a16="http://schemas.microsoft.com/office/drawing/2014/main" id="{BD3BB5B8-CFEF-00D9-696B-EE750A7AB4D2}"/>
              </a:ext>
            </a:extLst>
          </p:cNvPr>
          <p:cNvSpPr/>
          <p:nvPr/>
        </p:nvSpPr>
        <p:spPr>
          <a:xfrm>
            <a:off x="753567" y="4644620"/>
            <a:ext cx="61287" cy="4933"/>
          </a:xfrm>
          <a:custGeom>
            <a:avLst/>
            <a:gdLst>
              <a:gd name="connsiteX0" fmla="*/ 52398 w 52397"/>
              <a:gd name="connsiteY0" fmla="*/ 0 h 4933"/>
              <a:gd name="connsiteX1" fmla="*/ 0 w 52397"/>
              <a:gd name="connsiteY1" fmla="*/ 0 h 4933"/>
            </a:gdLst>
            <a:ahLst/>
            <a:cxnLst>
              <a:cxn ang="0">
                <a:pos x="connsiteX0" y="connsiteY0"/>
              </a:cxn>
              <a:cxn ang="0">
                <a:pos x="connsiteX1" y="connsiteY1"/>
              </a:cxn>
            </a:cxnLst>
            <a:rect l="l" t="t" r="r" b="b"/>
            <a:pathLst>
              <a:path w="52397" h="4933">
                <a:moveTo>
                  <a:pt x="52398"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7" name="Freeform 156">
            <a:extLst>
              <a:ext uri="{FF2B5EF4-FFF2-40B4-BE49-F238E27FC236}">
                <a16:creationId xmlns:a16="http://schemas.microsoft.com/office/drawing/2014/main" id="{9FAC5834-B3CB-928A-421D-CE57D3E3DE40}"/>
              </a:ext>
            </a:extLst>
          </p:cNvPr>
          <p:cNvSpPr/>
          <p:nvPr/>
        </p:nvSpPr>
        <p:spPr>
          <a:xfrm>
            <a:off x="753567" y="4930687"/>
            <a:ext cx="61287" cy="4933"/>
          </a:xfrm>
          <a:custGeom>
            <a:avLst/>
            <a:gdLst>
              <a:gd name="connsiteX0" fmla="*/ 52398 w 52397"/>
              <a:gd name="connsiteY0" fmla="*/ 0 h 4933"/>
              <a:gd name="connsiteX1" fmla="*/ 0 w 52397"/>
              <a:gd name="connsiteY1" fmla="*/ 0 h 4933"/>
            </a:gdLst>
            <a:ahLst/>
            <a:cxnLst>
              <a:cxn ang="0">
                <a:pos x="connsiteX0" y="connsiteY0"/>
              </a:cxn>
              <a:cxn ang="0">
                <a:pos x="connsiteX1" y="connsiteY1"/>
              </a:cxn>
            </a:cxnLst>
            <a:rect l="l" t="t" r="r" b="b"/>
            <a:pathLst>
              <a:path w="52397" h="4933">
                <a:moveTo>
                  <a:pt x="52398"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8" name="Freeform 157">
            <a:extLst>
              <a:ext uri="{FF2B5EF4-FFF2-40B4-BE49-F238E27FC236}">
                <a16:creationId xmlns:a16="http://schemas.microsoft.com/office/drawing/2014/main" id="{9912CBEF-5BCE-0174-2EAB-9D4747177AE5}"/>
              </a:ext>
            </a:extLst>
          </p:cNvPr>
          <p:cNvSpPr/>
          <p:nvPr/>
        </p:nvSpPr>
        <p:spPr>
          <a:xfrm>
            <a:off x="753567" y="5216753"/>
            <a:ext cx="61287" cy="4933"/>
          </a:xfrm>
          <a:custGeom>
            <a:avLst/>
            <a:gdLst>
              <a:gd name="connsiteX0" fmla="*/ 52398 w 52397"/>
              <a:gd name="connsiteY0" fmla="*/ 0 h 4933"/>
              <a:gd name="connsiteX1" fmla="*/ 0 w 52397"/>
              <a:gd name="connsiteY1" fmla="*/ 0 h 4933"/>
            </a:gdLst>
            <a:ahLst/>
            <a:cxnLst>
              <a:cxn ang="0">
                <a:pos x="connsiteX0" y="connsiteY0"/>
              </a:cxn>
              <a:cxn ang="0">
                <a:pos x="connsiteX1" y="connsiteY1"/>
              </a:cxn>
            </a:cxnLst>
            <a:rect l="l" t="t" r="r" b="b"/>
            <a:pathLst>
              <a:path w="52397" h="4933">
                <a:moveTo>
                  <a:pt x="52398"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9" name="Freeform 158">
            <a:extLst>
              <a:ext uri="{FF2B5EF4-FFF2-40B4-BE49-F238E27FC236}">
                <a16:creationId xmlns:a16="http://schemas.microsoft.com/office/drawing/2014/main" id="{52F43ED6-93DD-13E0-4E1A-4148334C88C2}"/>
              </a:ext>
            </a:extLst>
          </p:cNvPr>
          <p:cNvSpPr/>
          <p:nvPr/>
        </p:nvSpPr>
        <p:spPr>
          <a:xfrm>
            <a:off x="814336" y="5216309"/>
            <a:ext cx="5770" cy="52348"/>
          </a:xfrm>
          <a:custGeom>
            <a:avLst/>
            <a:gdLst>
              <a:gd name="connsiteX0" fmla="*/ 0 w 4933"/>
              <a:gd name="connsiteY0" fmla="*/ 0 h 52348"/>
              <a:gd name="connsiteX1" fmla="*/ 0 w 4933"/>
              <a:gd name="connsiteY1" fmla="*/ 52348 h 52348"/>
            </a:gdLst>
            <a:ahLst/>
            <a:cxnLst>
              <a:cxn ang="0">
                <a:pos x="connsiteX0" y="connsiteY0"/>
              </a:cxn>
              <a:cxn ang="0">
                <a:pos x="connsiteX1" y="connsiteY1"/>
              </a:cxn>
            </a:cxnLst>
            <a:rect l="l" t="t" r="r" b="b"/>
            <a:pathLst>
              <a:path w="4933" h="52348">
                <a:moveTo>
                  <a:pt x="0" y="0"/>
                </a:moveTo>
                <a:lnTo>
                  <a:pt x="0" y="52348"/>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0" name="Freeform 159">
            <a:extLst>
              <a:ext uri="{FF2B5EF4-FFF2-40B4-BE49-F238E27FC236}">
                <a16:creationId xmlns:a16="http://schemas.microsoft.com/office/drawing/2014/main" id="{49DBDA70-C56B-7634-0FE0-25078F957BD9}"/>
              </a:ext>
            </a:extLst>
          </p:cNvPr>
          <p:cNvSpPr/>
          <p:nvPr/>
        </p:nvSpPr>
        <p:spPr>
          <a:xfrm>
            <a:off x="1149516" y="5216309"/>
            <a:ext cx="5770" cy="52348"/>
          </a:xfrm>
          <a:custGeom>
            <a:avLst/>
            <a:gdLst>
              <a:gd name="connsiteX0" fmla="*/ 0 w 4933"/>
              <a:gd name="connsiteY0" fmla="*/ 0 h 52348"/>
              <a:gd name="connsiteX1" fmla="*/ 0 w 4933"/>
              <a:gd name="connsiteY1" fmla="*/ 52348 h 52348"/>
            </a:gdLst>
            <a:ahLst/>
            <a:cxnLst>
              <a:cxn ang="0">
                <a:pos x="connsiteX0" y="connsiteY0"/>
              </a:cxn>
              <a:cxn ang="0">
                <a:pos x="connsiteX1" y="connsiteY1"/>
              </a:cxn>
            </a:cxnLst>
            <a:rect l="l" t="t" r="r" b="b"/>
            <a:pathLst>
              <a:path w="4933" h="52348">
                <a:moveTo>
                  <a:pt x="0" y="0"/>
                </a:moveTo>
                <a:lnTo>
                  <a:pt x="0" y="52348"/>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1" name="Freeform 160">
            <a:extLst>
              <a:ext uri="{FF2B5EF4-FFF2-40B4-BE49-F238E27FC236}">
                <a16:creationId xmlns:a16="http://schemas.microsoft.com/office/drawing/2014/main" id="{1C88DFEC-6FB8-059D-5C2E-AC317B0CF891}"/>
              </a:ext>
            </a:extLst>
          </p:cNvPr>
          <p:cNvSpPr/>
          <p:nvPr/>
        </p:nvSpPr>
        <p:spPr>
          <a:xfrm>
            <a:off x="1484752" y="5216309"/>
            <a:ext cx="5770" cy="52348"/>
          </a:xfrm>
          <a:custGeom>
            <a:avLst/>
            <a:gdLst>
              <a:gd name="connsiteX0" fmla="*/ 0 w 4933"/>
              <a:gd name="connsiteY0" fmla="*/ 0 h 52348"/>
              <a:gd name="connsiteX1" fmla="*/ 0 w 4933"/>
              <a:gd name="connsiteY1" fmla="*/ 52348 h 52348"/>
            </a:gdLst>
            <a:ahLst/>
            <a:cxnLst>
              <a:cxn ang="0">
                <a:pos x="connsiteX0" y="connsiteY0"/>
              </a:cxn>
              <a:cxn ang="0">
                <a:pos x="connsiteX1" y="connsiteY1"/>
              </a:cxn>
            </a:cxnLst>
            <a:rect l="l" t="t" r="r" b="b"/>
            <a:pathLst>
              <a:path w="4933" h="52348">
                <a:moveTo>
                  <a:pt x="0" y="0"/>
                </a:moveTo>
                <a:lnTo>
                  <a:pt x="0" y="52348"/>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2" name="Freeform 161">
            <a:extLst>
              <a:ext uri="{FF2B5EF4-FFF2-40B4-BE49-F238E27FC236}">
                <a16:creationId xmlns:a16="http://schemas.microsoft.com/office/drawing/2014/main" id="{277FE03D-8345-4476-36A9-9A7657B3F456}"/>
              </a:ext>
            </a:extLst>
          </p:cNvPr>
          <p:cNvSpPr/>
          <p:nvPr/>
        </p:nvSpPr>
        <p:spPr>
          <a:xfrm>
            <a:off x="1819933" y="5216309"/>
            <a:ext cx="5770" cy="52348"/>
          </a:xfrm>
          <a:custGeom>
            <a:avLst/>
            <a:gdLst>
              <a:gd name="connsiteX0" fmla="*/ 0 w 4933"/>
              <a:gd name="connsiteY0" fmla="*/ 0 h 52348"/>
              <a:gd name="connsiteX1" fmla="*/ 0 w 4933"/>
              <a:gd name="connsiteY1" fmla="*/ 52348 h 52348"/>
            </a:gdLst>
            <a:ahLst/>
            <a:cxnLst>
              <a:cxn ang="0">
                <a:pos x="connsiteX0" y="connsiteY0"/>
              </a:cxn>
              <a:cxn ang="0">
                <a:pos x="connsiteX1" y="connsiteY1"/>
              </a:cxn>
            </a:cxnLst>
            <a:rect l="l" t="t" r="r" b="b"/>
            <a:pathLst>
              <a:path w="4933" h="52348">
                <a:moveTo>
                  <a:pt x="0" y="0"/>
                </a:moveTo>
                <a:lnTo>
                  <a:pt x="0" y="52348"/>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 name="Freeform 162">
            <a:extLst>
              <a:ext uri="{FF2B5EF4-FFF2-40B4-BE49-F238E27FC236}">
                <a16:creationId xmlns:a16="http://schemas.microsoft.com/office/drawing/2014/main" id="{0EED9BCE-F0B6-6721-314D-01430CB07C2F}"/>
              </a:ext>
            </a:extLst>
          </p:cNvPr>
          <p:cNvSpPr/>
          <p:nvPr/>
        </p:nvSpPr>
        <p:spPr>
          <a:xfrm>
            <a:off x="2155170" y="5216309"/>
            <a:ext cx="5770" cy="52348"/>
          </a:xfrm>
          <a:custGeom>
            <a:avLst/>
            <a:gdLst>
              <a:gd name="connsiteX0" fmla="*/ 0 w 4933"/>
              <a:gd name="connsiteY0" fmla="*/ 0 h 52348"/>
              <a:gd name="connsiteX1" fmla="*/ 0 w 4933"/>
              <a:gd name="connsiteY1" fmla="*/ 52348 h 52348"/>
            </a:gdLst>
            <a:ahLst/>
            <a:cxnLst>
              <a:cxn ang="0">
                <a:pos x="connsiteX0" y="connsiteY0"/>
              </a:cxn>
              <a:cxn ang="0">
                <a:pos x="connsiteX1" y="connsiteY1"/>
              </a:cxn>
            </a:cxnLst>
            <a:rect l="l" t="t" r="r" b="b"/>
            <a:pathLst>
              <a:path w="4933" h="52348">
                <a:moveTo>
                  <a:pt x="0" y="0"/>
                </a:moveTo>
                <a:lnTo>
                  <a:pt x="0" y="52348"/>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4" name="Freeform 163">
            <a:extLst>
              <a:ext uri="{FF2B5EF4-FFF2-40B4-BE49-F238E27FC236}">
                <a16:creationId xmlns:a16="http://schemas.microsoft.com/office/drawing/2014/main" id="{3AD0E10B-BB65-64F9-76AD-5B2ED19D4190}"/>
              </a:ext>
            </a:extLst>
          </p:cNvPr>
          <p:cNvSpPr/>
          <p:nvPr/>
        </p:nvSpPr>
        <p:spPr>
          <a:xfrm>
            <a:off x="2490351" y="5216309"/>
            <a:ext cx="5770" cy="52348"/>
          </a:xfrm>
          <a:custGeom>
            <a:avLst/>
            <a:gdLst>
              <a:gd name="connsiteX0" fmla="*/ 0 w 4933"/>
              <a:gd name="connsiteY0" fmla="*/ 0 h 52348"/>
              <a:gd name="connsiteX1" fmla="*/ 0 w 4933"/>
              <a:gd name="connsiteY1" fmla="*/ 52348 h 52348"/>
            </a:gdLst>
            <a:ahLst/>
            <a:cxnLst>
              <a:cxn ang="0">
                <a:pos x="connsiteX0" y="connsiteY0"/>
              </a:cxn>
              <a:cxn ang="0">
                <a:pos x="connsiteX1" y="connsiteY1"/>
              </a:cxn>
            </a:cxnLst>
            <a:rect l="l" t="t" r="r" b="b"/>
            <a:pathLst>
              <a:path w="4933" h="52348">
                <a:moveTo>
                  <a:pt x="0" y="0"/>
                </a:moveTo>
                <a:lnTo>
                  <a:pt x="0" y="52348"/>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5" name="Freeform 164">
            <a:extLst>
              <a:ext uri="{FF2B5EF4-FFF2-40B4-BE49-F238E27FC236}">
                <a16:creationId xmlns:a16="http://schemas.microsoft.com/office/drawing/2014/main" id="{449EAB78-0E6E-FBFB-6552-0532C4847243}"/>
              </a:ext>
            </a:extLst>
          </p:cNvPr>
          <p:cNvSpPr/>
          <p:nvPr/>
        </p:nvSpPr>
        <p:spPr>
          <a:xfrm>
            <a:off x="2825588" y="5216309"/>
            <a:ext cx="5770" cy="52348"/>
          </a:xfrm>
          <a:custGeom>
            <a:avLst/>
            <a:gdLst>
              <a:gd name="connsiteX0" fmla="*/ 0 w 4933"/>
              <a:gd name="connsiteY0" fmla="*/ 0 h 52348"/>
              <a:gd name="connsiteX1" fmla="*/ 0 w 4933"/>
              <a:gd name="connsiteY1" fmla="*/ 52348 h 52348"/>
            </a:gdLst>
            <a:ahLst/>
            <a:cxnLst>
              <a:cxn ang="0">
                <a:pos x="connsiteX0" y="connsiteY0"/>
              </a:cxn>
              <a:cxn ang="0">
                <a:pos x="connsiteX1" y="connsiteY1"/>
              </a:cxn>
            </a:cxnLst>
            <a:rect l="l" t="t" r="r" b="b"/>
            <a:pathLst>
              <a:path w="4933" h="52348">
                <a:moveTo>
                  <a:pt x="0" y="0"/>
                </a:moveTo>
                <a:lnTo>
                  <a:pt x="0" y="52348"/>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6" name="Freeform 165">
            <a:extLst>
              <a:ext uri="{FF2B5EF4-FFF2-40B4-BE49-F238E27FC236}">
                <a16:creationId xmlns:a16="http://schemas.microsoft.com/office/drawing/2014/main" id="{14F1FA8A-6503-F657-4EBC-DBC4623BAE6B}"/>
              </a:ext>
            </a:extLst>
          </p:cNvPr>
          <p:cNvSpPr/>
          <p:nvPr/>
        </p:nvSpPr>
        <p:spPr>
          <a:xfrm>
            <a:off x="3160826" y="5216309"/>
            <a:ext cx="5770" cy="52348"/>
          </a:xfrm>
          <a:custGeom>
            <a:avLst/>
            <a:gdLst>
              <a:gd name="connsiteX0" fmla="*/ 0 w 4933"/>
              <a:gd name="connsiteY0" fmla="*/ 0 h 52348"/>
              <a:gd name="connsiteX1" fmla="*/ 0 w 4933"/>
              <a:gd name="connsiteY1" fmla="*/ 52348 h 52348"/>
            </a:gdLst>
            <a:ahLst/>
            <a:cxnLst>
              <a:cxn ang="0">
                <a:pos x="connsiteX0" y="connsiteY0"/>
              </a:cxn>
              <a:cxn ang="0">
                <a:pos x="connsiteX1" y="connsiteY1"/>
              </a:cxn>
            </a:cxnLst>
            <a:rect l="l" t="t" r="r" b="b"/>
            <a:pathLst>
              <a:path w="4933" h="52348">
                <a:moveTo>
                  <a:pt x="0" y="0"/>
                </a:moveTo>
                <a:lnTo>
                  <a:pt x="0" y="52348"/>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7" name="Freeform 166">
            <a:extLst>
              <a:ext uri="{FF2B5EF4-FFF2-40B4-BE49-F238E27FC236}">
                <a16:creationId xmlns:a16="http://schemas.microsoft.com/office/drawing/2014/main" id="{2D82CB48-8F61-6DC2-F7A4-1A3E22F9729B}"/>
              </a:ext>
            </a:extLst>
          </p:cNvPr>
          <p:cNvSpPr/>
          <p:nvPr/>
        </p:nvSpPr>
        <p:spPr>
          <a:xfrm>
            <a:off x="3496005" y="5216309"/>
            <a:ext cx="5770" cy="52348"/>
          </a:xfrm>
          <a:custGeom>
            <a:avLst/>
            <a:gdLst>
              <a:gd name="connsiteX0" fmla="*/ 0 w 4933"/>
              <a:gd name="connsiteY0" fmla="*/ 0 h 52348"/>
              <a:gd name="connsiteX1" fmla="*/ 0 w 4933"/>
              <a:gd name="connsiteY1" fmla="*/ 52348 h 52348"/>
            </a:gdLst>
            <a:ahLst/>
            <a:cxnLst>
              <a:cxn ang="0">
                <a:pos x="connsiteX0" y="connsiteY0"/>
              </a:cxn>
              <a:cxn ang="0">
                <a:pos x="connsiteX1" y="connsiteY1"/>
              </a:cxn>
            </a:cxnLst>
            <a:rect l="l" t="t" r="r" b="b"/>
            <a:pathLst>
              <a:path w="4933" h="52348">
                <a:moveTo>
                  <a:pt x="0" y="0"/>
                </a:moveTo>
                <a:lnTo>
                  <a:pt x="0" y="52348"/>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8" name="Freeform 167">
            <a:extLst>
              <a:ext uri="{FF2B5EF4-FFF2-40B4-BE49-F238E27FC236}">
                <a16:creationId xmlns:a16="http://schemas.microsoft.com/office/drawing/2014/main" id="{B30B35BC-8D6C-F262-8EC7-CCD9A3807926}"/>
              </a:ext>
            </a:extLst>
          </p:cNvPr>
          <p:cNvSpPr/>
          <p:nvPr/>
        </p:nvSpPr>
        <p:spPr>
          <a:xfrm>
            <a:off x="3831243" y="5213842"/>
            <a:ext cx="5770" cy="54815"/>
          </a:xfrm>
          <a:custGeom>
            <a:avLst/>
            <a:gdLst>
              <a:gd name="connsiteX0" fmla="*/ 0 w 4933"/>
              <a:gd name="connsiteY0" fmla="*/ 0 h 54815"/>
              <a:gd name="connsiteX1" fmla="*/ 0 w 4933"/>
              <a:gd name="connsiteY1" fmla="*/ 54815 h 54815"/>
            </a:gdLst>
            <a:ahLst/>
            <a:cxnLst>
              <a:cxn ang="0">
                <a:pos x="connsiteX0" y="connsiteY0"/>
              </a:cxn>
              <a:cxn ang="0">
                <a:pos x="connsiteX1" y="connsiteY1"/>
              </a:cxn>
            </a:cxnLst>
            <a:rect l="l" t="t" r="r" b="b"/>
            <a:pathLst>
              <a:path w="4933" h="54815">
                <a:moveTo>
                  <a:pt x="0" y="0"/>
                </a:moveTo>
                <a:lnTo>
                  <a:pt x="0" y="5481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364" name="Group 363">
            <a:extLst>
              <a:ext uri="{FF2B5EF4-FFF2-40B4-BE49-F238E27FC236}">
                <a16:creationId xmlns:a16="http://schemas.microsoft.com/office/drawing/2014/main" id="{92C809DC-76BC-32D0-C839-3D08CDC9837F}"/>
              </a:ext>
            </a:extLst>
          </p:cNvPr>
          <p:cNvGrpSpPr/>
          <p:nvPr/>
        </p:nvGrpSpPr>
        <p:grpSpPr>
          <a:xfrm>
            <a:off x="820510" y="3761752"/>
            <a:ext cx="2829292" cy="1101933"/>
            <a:chOff x="1081226" y="3656688"/>
            <a:chExt cx="2418883" cy="1101933"/>
          </a:xfrm>
        </p:grpSpPr>
        <p:grpSp>
          <p:nvGrpSpPr>
            <p:cNvPr id="363" name="Group 362">
              <a:extLst>
                <a:ext uri="{FF2B5EF4-FFF2-40B4-BE49-F238E27FC236}">
                  <a16:creationId xmlns:a16="http://schemas.microsoft.com/office/drawing/2014/main" id="{2759085A-D2CF-B6E1-1BF9-7D1DA92B2C22}"/>
                </a:ext>
              </a:extLst>
            </p:cNvPr>
            <p:cNvGrpSpPr/>
            <p:nvPr/>
          </p:nvGrpSpPr>
          <p:grpSpPr>
            <a:xfrm>
              <a:off x="1081226" y="3656688"/>
              <a:ext cx="2394312" cy="1077114"/>
              <a:chOff x="1081226" y="3656688"/>
              <a:chExt cx="2394312" cy="1077114"/>
            </a:xfrm>
          </p:grpSpPr>
          <p:sp>
            <p:nvSpPr>
              <p:cNvPr id="169" name="Freeform 168">
                <a:extLst>
                  <a:ext uri="{FF2B5EF4-FFF2-40B4-BE49-F238E27FC236}">
                    <a16:creationId xmlns:a16="http://schemas.microsoft.com/office/drawing/2014/main" id="{06411CAD-BC76-D2EF-194B-8DB700E0E89C}"/>
                  </a:ext>
                </a:extLst>
              </p:cNvPr>
              <p:cNvSpPr/>
              <p:nvPr/>
            </p:nvSpPr>
            <p:spPr>
              <a:xfrm>
                <a:off x="1081226" y="3680272"/>
                <a:ext cx="2394312" cy="1053530"/>
              </a:xfrm>
              <a:custGeom>
                <a:avLst/>
                <a:gdLst>
                  <a:gd name="connsiteX0" fmla="*/ 0 w 2394312"/>
                  <a:gd name="connsiteY0" fmla="*/ 0 h 1053530"/>
                  <a:gd name="connsiteX1" fmla="*/ 124038 w 2394312"/>
                  <a:gd name="connsiteY1" fmla="*/ 0 h 1053530"/>
                  <a:gd name="connsiteX2" fmla="*/ 124038 w 2394312"/>
                  <a:gd name="connsiteY2" fmla="*/ 17811 h 1053530"/>
                  <a:gd name="connsiteX3" fmla="*/ 234458 w 2394312"/>
                  <a:gd name="connsiteY3" fmla="*/ 17811 h 1053530"/>
                  <a:gd name="connsiteX4" fmla="*/ 234458 w 2394312"/>
                  <a:gd name="connsiteY4" fmla="*/ 27679 h 1053530"/>
                  <a:gd name="connsiteX5" fmla="*/ 249260 w 2394312"/>
                  <a:gd name="connsiteY5" fmla="*/ 27679 h 1053530"/>
                  <a:gd name="connsiteX6" fmla="*/ 249260 w 2394312"/>
                  <a:gd name="connsiteY6" fmla="*/ 33353 h 1053530"/>
                  <a:gd name="connsiteX7" fmla="*/ 270475 w 2394312"/>
                  <a:gd name="connsiteY7" fmla="*/ 33353 h 1053530"/>
                  <a:gd name="connsiteX8" fmla="*/ 270475 w 2394312"/>
                  <a:gd name="connsiteY8" fmla="*/ 40211 h 1053530"/>
                  <a:gd name="connsiteX9" fmla="*/ 305407 w 2394312"/>
                  <a:gd name="connsiteY9" fmla="*/ 40211 h 1053530"/>
                  <a:gd name="connsiteX10" fmla="*/ 305407 w 2394312"/>
                  <a:gd name="connsiteY10" fmla="*/ 48155 h 1053530"/>
                  <a:gd name="connsiteX11" fmla="*/ 380501 w 2394312"/>
                  <a:gd name="connsiteY11" fmla="*/ 48155 h 1053530"/>
                  <a:gd name="connsiteX12" fmla="*/ 380501 w 2394312"/>
                  <a:gd name="connsiteY12" fmla="*/ 62562 h 1053530"/>
                  <a:gd name="connsiteX13" fmla="*/ 388839 w 2394312"/>
                  <a:gd name="connsiteY13" fmla="*/ 62562 h 1053530"/>
                  <a:gd name="connsiteX14" fmla="*/ 388839 w 2394312"/>
                  <a:gd name="connsiteY14" fmla="*/ 86886 h 1053530"/>
                  <a:gd name="connsiteX15" fmla="*/ 499654 w 2394312"/>
                  <a:gd name="connsiteY15" fmla="*/ 86886 h 1053530"/>
                  <a:gd name="connsiteX16" fmla="*/ 499654 w 2394312"/>
                  <a:gd name="connsiteY16" fmla="*/ 111160 h 1053530"/>
                  <a:gd name="connsiteX17" fmla="*/ 515590 w 2394312"/>
                  <a:gd name="connsiteY17" fmla="*/ 111160 h 1053530"/>
                  <a:gd name="connsiteX18" fmla="*/ 515590 w 2394312"/>
                  <a:gd name="connsiteY18" fmla="*/ 149842 h 1053530"/>
                  <a:gd name="connsiteX19" fmla="*/ 531527 w 2394312"/>
                  <a:gd name="connsiteY19" fmla="*/ 149842 h 1053530"/>
                  <a:gd name="connsiteX20" fmla="*/ 531527 w 2394312"/>
                  <a:gd name="connsiteY20" fmla="*/ 168788 h 1053530"/>
                  <a:gd name="connsiteX21" fmla="*/ 583875 w 2394312"/>
                  <a:gd name="connsiteY21" fmla="*/ 168788 h 1053530"/>
                  <a:gd name="connsiteX22" fmla="*/ 583875 w 2394312"/>
                  <a:gd name="connsiteY22" fmla="*/ 176386 h 1053530"/>
                  <a:gd name="connsiteX23" fmla="*/ 612294 w 2394312"/>
                  <a:gd name="connsiteY23" fmla="*/ 176386 h 1053530"/>
                  <a:gd name="connsiteX24" fmla="*/ 612294 w 2394312"/>
                  <a:gd name="connsiteY24" fmla="*/ 182455 h 1053530"/>
                  <a:gd name="connsiteX25" fmla="*/ 634694 w 2394312"/>
                  <a:gd name="connsiteY25" fmla="*/ 182455 h 1053530"/>
                  <a:gd name="connsiteX26" fmla="*/ 634694 w 2394312"/>
                  <a:gd name="connsiteY26" fmla="*/ 191582 h 1053530"/>
                  <a:gd name="connsiteX27" fmla="*/ 641503 w 2394312"/>
                  <a:gd name="connsiteY27" fmla="*/ 191582 h 1053530"/>
                  <a:gd name="connsiteX28" fmla="*/ 641503 w 2394312"/>
                  <a:gd name="connsiteY28" fmla="*/ 205989 h 1053530"/>
                  <a:gd name="connsiteX29" fmla="*/ 651371 w 2394312"/>
                  <a:gd name="connsiteY29" fmla="*/ 205989 h 1053530"/>
                  <a:gd name="connsiteX30" fmla="*/ 651371 w 2394312"/>
                  <a:gd name="connsiteY30" fmla="*/ 216252 h 1053530"/>
                  <a:gd name="connsiteX31" fmla="*/ 658623 w 2394312"/>
                  <a:gd name="connsiteY31" fmla="*/ 216252 h 1053530"/>
                  <a:gd name="connsiteX32" fmla="*/ 658623 w 2394312"/>
                  <a:gd name="connsiteY32" fmla="*/ 227254 h 1053530"/>
                  <a:gd name="connsiteX33" fmla="*/ 671501 w 2394312"/>
                  <a:gd name="connsiteY33" fmla="*/ 227254 h 1053530"/>
                  <a:gd name="connsiteX34" fmla="*/ 671501 w 2394312"/>
                  <a:gd name="connsiteY34" fmla="*/ 236727 h 1053530"/>
                  <a:gd name="connsiteX35" fmla="*/ 680579 w 2394312"/>
                  <a:gd name="connsiteY35" fmla="*/ 236727 h 1053530"/>
                  <a:gd name="connsiteX36" fmla="*/ 680579 w 2394312"/>
                  <a:gd name="connsiteY36" fmla="*/ 243191 h 1053530"/>
                  <a:gd name="connsiteX37" fmla="*/ 729178 w 2394312"/>
                  <a:gd name="connsiteY37" fmla="*/ 243191 h 1053530"/>
                  <a:gd name="connsiteX38" fmla="*/ 729178 w 2394312"/>
                  <a:gd name="connsiteY38" fmla="*/ 254933 h 1053530"/>
                  <a:gd name="connsiteX39" fmla="*/ 735592 w 2394312"/>
                  <a:gd name="connsiteY39" fmla="*/ 254933 h 1053530"/>
                  <a:gd name="connsiteX40" fmla="*/ 735592 w 2394312"/>
                  <a:gd name="connsiteY40" fmla="*/ 264061 h 1053530"/>
                  <a:gd name="connsiteX41" fmla="*/ 759127 w 2394312"/>
                  <a:gd name="connsiteY41" fmla="*/ 264061 h 1053530"/>
                  <a:gd name="connsiteX42" fmla="*/ 759127 w 2394312"/>
                  <a:gd name="connsiteY42" fmla="*/ 269735 h 1053530"/>
                  <a:gd name="connsiteX43" fmla="*/ 774668 w 2394312"/>
                  <a:gd name="connsiteY43" fmla="*/ 269735 h 1053530"/>
                  <a:gd name="connsiteX44" fmla="*/ 774668 w 2394312"/>
                  <a:gd name="connsiteY44" fmla="*/ 275064 h 1053530"/>
                  <a:gd name="connsiteX45" fmla="*/ 782661 w 2394312"/>
                  <a:gd name="connsiteY45" fmla="*/ 275064 h 1053530"/>
                  <a:gd name="connsiteX46" fmla="*/ 782661 w 2394312"/>
                  <a:gd name="connsiteY46" fmla="*/ 281478 h 1053530"/>
                  <a:gd name="connsiteX47" fmla="*/ 789124 w 2394312"/>
                  <a:gd name="connsiteY47" fmla="*/ 281478 h 1053530"/>
                  <a:gd name="connsiteX48" fmla="*/ 789124 w 2394312"/>
                  <a:gd name="connsiteY48" fmla="*/ 292135 h 1053530"/>
                  <a:gd name="connsiteX49" fmla="*/ 895351 w 2394312"/>
                  <a:gd name="connsiteY49" fmla="*/ 292135 h 1053530"/>
                  <a:gd name="connsiteX50" fmla="*/ 895351 w 2394312"/>
                  <a:gd name="connsiteY50" fmla="*/ 304618 h 1053530"/>
                  <a:gd name="connsiteX51" fmla="*/ 903294 w 2394312"/>
                  <a:gd name="connsiteY51" fmla="*/ 304618 h 1053530"/>
                  <a:gd name="connsiteX52" fmla="*/ 903294 w 2394312"/>
                  <a:gd name="connsiteY52" fmla="*/ 323613 h 1053530"/>
                  <a:gd name="connsiteX53" fmla="*/ 914297 w 2394312"/>
                  <a:gd name="connsiteY53" fmla="*/ 323613 h 1053530"/>
                  <a:gd name="connsiteX54" fmla="*/ 914297 w 2394312"/>
                  <a:gd name="connsiteY54" fmla="*/ 332346 h 1053530"/>
                  <a:gd name="connsiteX55" fmla="*/ 920760 w 2394312"/>
                  <a:gd name="connsiteY55" fmla="*/ 332346 h 1053530"/>
                  <a:gd name="connsiteX56" fmla="*/ 920760 w 2394312"/>
                  <a:gd name="connsiteY56" fmla="*/ 347888 h 1053530"/>
                  <a:gd name="connsiteX57" fmla="*/ 934773 w 2394312"/>
                  <a:gd name="connsiteY57" fmla="*/ 347888 h 1053530"/>
                  <a:gd name="connsiteX58" fmla="*/ 934773 w 2394312"/>
                  <a:gd name="connsiteY58" fmla="*/ 353562 h 1053530"/>
                  <a:gd name="connsiteX59" fmla="*/ 953028 w 2394312"/>
                  <a:gd name="connsiteY59" fmla="*/ 353562 h 1053530"/>
                  <a:gd name="connsiteX60" fmla="*/ 953028 w 2394312"/>
                  <a:gd name="connsiteY60" fmla="*/ 358890 h 1053530"/>
                  <a:gd name="connsiteX61" fmla="*/ 982236 w 2394312"/>
                  <a:gd name="connsiteY61" fmla="*/ 358890 h 1053530"/>
                  <a:gd name="connsiteX62" fmla="*/ 982236 w 2394312"/>
                  <a:gd name="connsiteY62" fmla="*/ 364959 h 1053530"/>
                  <a:gd name="connsiteX63" fmla="*/ 1028122 w 2394312"/>
                  <a:gd name="connsiteY63" fmla="*/ 364959 h 1053530"/>
                  <a:gd name="connsiteX64" fmla="*/ 1028122 w 2394312"/>
                  <a:gd name="connsiteY64" fmla="*/ 410499 h 1053530"/>
                  <a:gd name="connsiteX65" fmla="*/ 1049732 w 2394312"/>
                  <a:gd name="connsiteY65" fmla="*/ 410499 h 1053530"/>
                  <a:gd name="connsiteX66" fmla="*/ 1049732 w 2394312"/>
                  <a:gd name="connsiteY66" fmla="*/ 444246 h 1053530"/>
                  <a:gd name="connsiteX67" fmla="*/ 1062659 w 2394312"/>
                  <a:gd name="connsiteY67" fmla="*/ 444246 h 1053530"/>
                  <a:gd name="connsiteX68" fmla="*/ 1062659 w 2394312"/>
                  <a:gd name="connsiteY68" fmla="*/ 454114 h 1053530"/>
                  <a:gd name="connsiteX69" fmla="*/ 1071737 w 2394312"/>
                  <a:gd name="connsiteY69" fmla="*/ 454114 h 1053530"/>
                  <a:gd name="connsiteX70" fmla="*/ 1071737 w 2394312"/>
                  <a:gd name="connsiteY70" fmla="*/ 462058 h 1053530"/>
                  <a:gd name="connsiteX71" fmla="*/ 1144610 w 2394312"/>
                  <a:gd name="connsiteY71" fmla="*/ 462058 h 1053530"/>
                  <a:gd name="connsiteX72" fmla="*/ 1144610 w 2394312"/>
                  <a:gd name="connsiteY72" fmla="*/ 470051 h 1053530"/>
                  <a:gd name="connsiteX73" fmla="*/ 1155613 w 2394312"/>
                  <a:gd name="connsiteY73" fmla="*/ 470051 h 1053530"/>
                  <a:gd name="connsiteX74" fmla="*/ 1155613 w 2394312"/>
                  <a:gd name="connsiteY74" fmla="*/ 478389 h 1053530"/>
                  <a:gd name="connsiteX75" fmla="*/ 1176088 w 2394312"/>
                  <a:gd name="connsiteY75" fmla="*/ 478389 h 1053530"/>
                  <a:gd name="connsiteX76" fmla="*/ 1176088 w 2394312"/>
                  <a:gd name="connsiteY76" fmla="*/ 490526 h 1053530"/>
                  <a:gd name="connsiteX77" fmla="*/ 1193160 w 2394312"/>
                  <a:gd name="connsiteY77" fmla="*/ 490526 h 1053530"/>
                  <a:gd name="connsiteX78" fmla="*/ 1193160 w 2394312"/>
                  <a:gd name="connsiteY78" fmla="*/ 498864 h 1053530"/>
                  <a:gd name="connsiteX79" fmla="*/ 1201893 w 2394312"/>
                  <a:gd name="connsiteY79" fmla="*/ 498864 h 1053530"/>
                  <a:gd name="connsiteX80" fmla="*/ 1201893 w 2394312"/>
                  <a:gd name="connsiteY80" fmla="*/ 506857 h 1053530"/>
                  <a:gd name="connsiteX81" fmla="*/ 1223503 w 2394312"/>
                  <a:gd name="connsiteY81" fmla="*/ 506857 h 1053530"/>
                  <a:gd name="connsiteX82" fmla="*/ 1223503 w 2394312"/>
                  <a:gd name="connsiteY82" fmla="*/ 516725 h 1053530"/>
                  <a:gd name="connsiteX83" fmla="*/ 1245903 w 2394312"/>
                  <a:gd name="connsiteY83" fmla="*/ 516725 h 1053530"/>
                  <a:gd name="connsiteX84" fmla="*/ 1245903 w 2394312"/>
                  <a:gd name="connsiteY84" fmla="*/ 523534 h 1053530"/>
                  <a:gd name="connsiteX85" fmla="*/ 1286509 w 2394312"/>
                  <a:gd name="connsiteY85" fmla="*/ 523534 h 1053530"/>
                  <a:gd name="connsiteX86" fmla="*/ 1286509 w 2394312"/>
                  <a:gd name="connsiteY86" fmla="*/ 534142 h 1053530"/>
                  <a:gd name="connsiteX87" fmla="*/ 1298991 w 2394312"/>
                  <a:gd name="connsiteY87" fmla="*/ 534142 h 1053530"/>
                  <a:gd name="connsiteX88" fmla="*/ 1298991 w 2394312"/>
                  <a:gd name="connsiteY88" fmla="*/ 543269 h 1053530"/>
                  <a:gd name="connsiteX89" fmla="*/ 1312658 w 2394312"/>
                  <a:gd name="connsiteY89" fmla="*/ 543269 h 1053530"/>
                  <a:gd name="connsiteX90" fmla="*/ 1312658 w 2394312"/>
                  <a:gd name="connsiteY90" fmla="*/ 574007 h 1053530"/>
                  <a:gd name="connsiteX91" fmla="*/ 1321786 w 2394312"/>
                  <a:gd name="connsiteY91" fmla="*/ 574007 h 1053530"/>
                  <a:gd name="connsiteX92" fmla="*/ 1321786 w 2394312"/>
                  <a:gd name="connsiteY92" fmla="*/ 586145 h 1053530"/>
                  <a:gd name="connsiteX93" fmla="*/ 1350995 w 2394312"/>
                  <a:gd name="connsiteY93" fmla="*/ 586145 h 1053530"/>
                  <a:gd name="connsiteX94" fmla="*/ 1350995 w 2394312"/>
                  <a:gd name="connsiteY94" fmla="*/ 594088 h 1053530"/>
                  <a:gd name="connsiteX95" fmla="*/ 1369941 w 2394312"/>
                  <a:gd name="connsiteY95" fmla="*/ 594088 h 1053530"/>
                  <a:gd name="connsiteX96" fmla="*/ 1369941 w 2394312"/>
                  <a:gd name="connsiteY96" fmla="*/ 598677 h 1053530"/>
                  <a:gd name="connsiteX97" fmla="*/ 1426877 w 2394312"/>
                  <a:gd name="connsiteY97" fmla="*/ 598677 h 1053530"/>
                  <a:gd name="connsiteX98" fmla="*/ 1426877 w 2394312"/>
                  <a:gd name="connsiteY98" fmla="*/ 607755 h 1053530"/>
                  <a:gd name="connsiteX99" fmla="*/ 1438620 w 2394312"/>
                  <a:gd name="connsiteY99" fmla="*/ 607755 h 1053530"/>
                  <a:gd name="connsiteX100" fmla="*/ 1438620 w 2394312"/>
                  <a:gd name="connsiteY100" fmla="*/ 619547 h 1053530"/>
                  <a:gd name="connsiteX101" fmla="*/ 1448093 w 2394312"/>
                  <a:gd name="connsiteY101" fmla="*/ 619547 h 1053530"/>
                  <a:gd name="connsiteX102" fmla="*/ 1448093 w 2394312"/>
                  <a:gd name="connsiteY102" fmla="*/ 632425 h 1053530"/>
                  <a:gd name="connsiteX103" fmla="*/ 1454951 w 2394312"/>
                  <a:gd name="connsiteY103" fmla="*/ 632425 h 1053530"/>
                  <a:gd name="connsiteX104" fmla="*/ 1454951 w 2394312"/>
                  <a:gd name="connsiteY104" fmla="*/ 653690 h 1053530"/>
                  <a:gd name="connsiteX105" fmla="*/ 1506560 w 2394312"/>
                  <a:gd name="connsiteY105" fmla="*/ 653690 h 1053530"/>
                  <a:gd name="connsiteX106" fmla="*/ 1506560 w 2394312"/>
                  <a:gd name="connsiteY106" fmla="*/ 658969 h 1053530"/>
                  <a:gd name="connsiteX107" fmla="*/ 1547116 w 2394312"/>
                  <a:gd name="connsiteY107" fmla="*/ 658969 h 1053530"/>
                  <a:gd name="connsiteX108" fmla="*/ 1547116 w 2394312"/>
                  <a:gd name="connsiteY108" fmla="*/ 666172 h 1053530"/>
                  <a:gd name="connsiteX109" fmla="*/ 1563842 w 2394312"/>
                  <a:gd name="connsiteY109" fmla="*/ 666172 h 1053530"/>
                  <a:gd name="connsiteX110" fmla="*/ 1563842 w 2394312"/>
                  <a:gd name="connsiteY110" fmla="*/ 680974 h 1053530"/>
                  <a:gd name="connsiteX111" fmla="*/ 1577114 w 2394312"/>
                  <a:gd name="connsiteY111" fmla="*/ 680974 h 1053530"/>
                  <a:gd name="connsiteX112" fmla="*/ 1577114 w 2394312"/>
                  <a:gd name="connsiteY112" fmla="*/ 691976 h 1053530"/>
                  <a:gd name="connsiteX113" fmla="*/ 1652602 w 2394312"/>
                  <a:gd name="connsiteY113" fmla="*/ 691976 h 1053530"/>
                  <a:gd name="connsiteX114" fmla="*/ 1652602 w 2394312"/>
                  <a:gd name="connsiteY114" fmla="*/ 698834 h 1053530"/>
                  <a:gd name="connsiteX115" fmla="*/ 1689014 w 2394312"/>
                  <a:gd name="connsiteY115" fmla="*/ 698834 h 1053530"/>
                  <a:gd name="connsiteX116" fmla="*/ 1689014 w 2394312"/>
                  <a:gd name="connsiteY116" fmla="*/ 705643 h 1053530"/>
                  <a:gd name="connsiteX117" fmla="*/ 1726561 w 2394312"/>
                  <a:gd name="connsiteY117" fmla="*/ 705643 h 1053530"/>
                  <a:gd name="connsiteX118" fmla="*/ 1726561 w 2394312"/>
                  <a:gd name="connsiteY118" fmla="*/ 712847 h 1053530"/>
                  <a:gd name="connsiteX119" fmla="*/ 1757694 w 2394312"/>
                  <a:gd name="connsiteY119" fmla="*/ 712847 h 1053530"/>
                  <a:gd name="connsiteX120" fmla="*/ 1757694 w 2394312"/>
                  <a:gd name="connsiteY120" fmla="*/ 719705 h 1053530"/>
                  <a:gd name="connsiteX121" fmla="*/ 1802099 w 2394312"/>
                  <a:gd name="connsiteY121" fmla="*/ 719705 h 1053530"/>
                  <a:gd name="connsiteX122" fmla="*/ 1802099 w 2394312"/>
                  <a:gd name="connsiteY122" fmla="*/ 731842 h 1053530"/>
                  <a:gd name="connsiteX123" fmla="*/ 1821785 w 2394312"/>
                  <a:gd name="connsiteY123" fmla="*/ 731842 h 1053530"/>
                  <a:gd name="connsiteX124" fmla="*/ 1821785 w 2394312"/>
                  <a:gd name="connsiteY124" fmla="*/ 740920 h 1053530"/>
                  <a:gd name="connsiteX125" fmla="*/ 1885926 w 2394312"/>
                  <a:gd name="connsiteY125" fmla="*/ 740920 h 1053530"/>
                  <a:gd name="connsiteX126" fmla="*/ 1885926 w 2394312"/>
                  <a:gd name="connsiteY126" fmla="*/ 755327 h 1053530"/>
                  <a:gd name="connsiteX127" fmla="*/ 1958750 w 2394312"/>
                  <a:gd name="connsiteY127" fmla="*/ 755327 h 1053530"/>
                  <a:gd name="connsiteX128" fmla="*/ 1958750 w 2394312"/>
                  <a:gd name="connsiteY128" fmla="*/ 768254 h 1053530"/>
                  <a:gd name="connsiteX129" fmla="*/ 1973551 w 2394312"/>
                  <a:gd name="connsiteY129" fmla="*/ 768254 h 1053530"/>
                  <a:gd name="connsiteX130" fmla="*/ 1973551 w 2394312"/>
                  <a:gd name="connsiteY130" fmla="*/ 807725 h 1053530"/>
                  <a:gd name="connsiteX131" fmla="*/ 2039961 w 2394312"/>
                  <a:gd name="connsiteY131" fmla="*/ 807725 h 1053530"/>
                  <a:gd name="connsiteX132" fmla="*/ 2039961 w 2394312"/>
                  <a:gd name="connsiteY132" fmla="*/ 830865 h 1053530"/>
                  <a:gd name="connsiteX133" fmla="*/ 2230409 w 2394312"/>
                  <a:gd name="connsiteY133" fmla="*/ 830865 h 1053530"/>
                  <a:gd name="connsiteX134" fmla="*/ 2230409 w 2394312"/>
                  <a:gd name="connsiteY134" fmla="*/ 902160 h 1053530"/>
                  <a:gd name="connsiteX135" fmla="*/ 2241412 w 2394312"/>
                  <a:gd name="connsiteY135" fmla="*/ 902160 h 1053530"/>
                  <a:gd name="connsiteX136" fmla="*/ 2241412 w 2394312"/>
                  <a:gd name="connsiteY136" fmla="*/ 923030 h 1053530"/>
                  <a:gd name="connsiteX137" fmla="*/ 2319564 w 2394312"/>
                  <a:gd name="connsiteY137" fmla="*/ 923030 h 1053530"/>
                  <a:gd name="connsiteX138" fmla="*/ 2319564 w 2394312"/>
                  <a:gd name="connsiteY138" fmla="*/ 1053531 h 1053530"/>
                  <a:gd name="connsiteX139" fmla="*/ 2394312 w 2394312"/>
                  <a:gd name="connsiteY139" fmla="*/ 1053531 h 1053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2394312" h="1053530">
                    <a:moveTo>
                      <a:pt x="0" y="0"/>
                    </a:moveTo>
                    <a:lnTo>
                      <a:pt x="124038" y="0"/>
                    </a:lnTo>
                    <a:lnTo>
                      <a:pt x="124038" y="17811"/>
                    </a:lnTo>
                    <a:lnTo>
                      <a:pt x="234458" y="17811"/>
                    </a:lnTo>
                    <a:lnTo>
                      <a:pt x="234458" y="27679"/>
                    </a:lnTo>
                    <a:lnTo>
                      <a:pt x="249260" y="27679"/>
                    </a:lnTo>
                    <a:lnTo>
                      <a:pt x="249260" y="33353"/>
                    </a:lnTo>
                    <a:lnTo>
                      <a:pt x="270475" y="33353"/>
                    </a:lnTo>
                    <a:lnTo>
                      <a:pt x="270475" y="40211"/>
                    </a:lnTo>
                    <a:lnTo>
                      <a:pt x="305407" y="40211"/>
                    </a:lnTo>
                    <a:lnTo>
                      <a:pt x="305407" y="48155"/>
                    </a:lnTo>
                    <a:lnTo>
                      <a:pt x="380501" y="48155"/>
                    </a:lnTo>
                    <a:lnTo>
                      <a:pt x="380501" y="62562"/>
                    </a:lnTo>
                    <a:lnTo>
                      <a:pt x="388839" y="62562"/>
                    </a:lnTo>
                    <a:lnTo>
                      <a:pt x="388839" y="86886"/>
                    </a:lnTo>
                    <a:lnTo>
                      <a:pt x="499654" y="86886"/>
                    </a:lnTo>
                    <a:lnTo>
                      <a:pt x="499654" y="111160"/>
                    </a:lnTo>
                    <a:lnTo>
                      <a:pt x="515590" y="111160"/>
                    </a:lnTo>
                    <a:lnTo>
                      <a:pt x="515590" y="149842"/>
                    </a:lnTo>
                    <a:lnTo>
                      <a:pt x="531527" y="149842"/>
                    </a:lnTo>
                    <a:lnTo>
                      <a:pt x="531527" y="168788"/>
                    </a:lnTo>
                    <a:lnTo>
                      <a:pt x="583875" y="168788"/>
                    </a:lnTo>
                    <a:lnTo>
                      <a:pt x="583875" y="176386"/>
                    </a:lnTo>
                    <a:lnTo>
                      <a:pt x="612294" y="176386"/>
                    </a:lnTo>
                    <a:lnTo>
                      <a:pt x="612294" y="182455"/>
                    </a:lnTo>
                    <a:lnTo>
                      <a:pt x="634694" y="182455"/>
                    </a:lnTo>
                    <a:lnTo>
                      <a:pt x="634694" y="191582"/>
                    </a:lnTo>
                    <a:lnTo>
                      <a:pt x="641503" y="191582"/>
                    </a:lnTo>
                    <a:lnTo>
                      <a:pt x="641503" y="205989"/>
                    </a:lnTo>
                    <a:lnTo>
                      <a:pt x="651371" y="205989"/>
                    </a:lnTo>
                    <a:lnTo>
                      <a:pt x="651371" y="216252"/>
                    </a:lnTo>
                    <a:lnTo>
                      <a:pt x="658623" y="216252"/>
                    </a:lnTo>
                    <a:lnTo>
                      <a:pt x="658623" y="227254"/>
                    </a:lnTo>
                    <a:lnTo>
                      <a:pt x="671501" y="227254"/>
                    </a:lnTo>
                    <a:lnTo>
                      <a:pt x="671501" y="236727"/>
                    </a:lnTo>
                    <a:lnTo>
                      <a:pt x="680579" y="236727"/>
                    </a:lnTo>
                    <a:lnTo>
                      <a:pt x="680579" y="243191"/>
                    </a:lnTo>
                    <a:lnTo>
                      <a:pt x="729178" y="243191"/>
                    </a:lnTo>
                    <a:lnTo>
                      <a:pt x="729178" y="254933"/>
                    </a:lnTo>
                    <a:lnTo>
                      <a:pt x="735592" y="254933"/>
                    </a:lnTo>
                    <a:lnTo>
                      <a:pt x="735592" y="264061"/>
                    </a:lnTo>
                    <a:lnTo>
                      <a:pt x="759127" y="264061"/>
                    </a:lnTo>
                    <a:lnTo>
                      <a:pt x="759127" y="269735"/>
                    </a:lnTo>
                    <a:lnTo>
                      <a:pt x="774668" y="269735"/>
                    </a:lnTo>
                    <a:lnTo>
                      <a:pt x="774668" y="275064"/>
                    </a:lnTo>
                    <a:lnTo>
                      <a:pt x="782661" y="275064"/>
                    </a:lnTo>
                    <a:lnTo>
                      <a:pt x="782661" y="281478"/>
                    </a:lnTo>
                    <a:lnTo>
                      <a:pt x="789124" y="281478"/>
                    </a:lnTo>
                    <a:lnTo>
                      <a:pt x="789124" y="292135"/>
                    </a:lnTo>
                    <a:lnTo>
                      <a:pt x="895351" y="292135"/>
                    </a:lnTo>
                    <a:lnTo>
                      <a:pt x="895351" y="304618"/>
                    </a:lnTo>
                    <a:lnTo>
                      <a:pt x="903294" y="304618"/>
                    </a:lnTo>
                    <a:lnTo>
                      <a:pt x="903294" y="323613"/>
                    </a:lnTo>
                    <a:lnTo>
                      <a:pt x="914297" y="323613"/>
                    </a:lnTo>
                    <a:lnTo>
                      <a:pt x="914297" y="332346"/>
                    </a:lnTo>
                    <a:lnTo>
                      <a:pt x="920760" y="332346"/>
                    </a:lnTo>
                    <a:lnTo>
                      <a:pt x="920760" y="347888"/>
                    </a:lnTo>
                    <a:lnTo>
                      <a:pt x="934773" y="347888"/>
                    </a:lnTo>
                    <a:lnTo>
                      <a:pt x="934773" y="353562"/>
                    </a:lnTo>
                    <a:lnTo>
                      <a:pt x="953028" y="353562"/>
                    </a:lnTo>
                    <a:lnTo>
                      <a:pt x="953028" y="358890"/>
                    </a:lnTo>
                    <a:lnTo>
                      <a:pt x="982236" y="358890"/>
                    </a:lnTo>
                    <a:lnTo>
                      <a:pt x="982236" y="364959"/>
                    </a:lnTo>
                    <a:lnTo>
                      <a:pt x="1028122" y="364959"/>
                    </a:lnTo>
                    <a:lnTo>
                      <a:pt x="1028122" y="410499"/>
                    </a:lnTo>
                    <a:lnTo>
                      <a:pt x="1049732" y="410499"/>
                    </a:lnTo>
                    <a:lnTo>
                      <a:pt x="1049732" y="444246"/>
                    </a:lnTo>
                    <a:lnTo>
                      <a:pt x="1062659" y="444246"/>
                    </a:lnTo>
                    <a:lnTo>
                      <a:pt x="1062659" y="454114"/>
                    </a:lnTo>
                    <a:lnTo>
                      <a:pt x="1071737" y="454114"/>
                    </a:lnTo>
                    <a:lnTo>
                      <a:pt x="1071737" y="462058"/>
                    </a:lnTo>
                    <a:lnTo>
                      <a:pt x="1144610" y="462058"/>
                    </a:lnTo>
                    <a:lnTo>
                      <a:pt x="1144610" y="470051"/>
                    </a:lnTo>
                    <a:lnTo>
                      <a:pt x="1155613" y="470051"/>
                    </a:lnTo>
                    <a:lnTo>
                      <a:pt x="1155613" y="478389"/>
                    </a:lnTo>
                    <a:lnTo>
                      <a:pt x="1176088" y="478389"/>
                    </a:lnTo>
                    <a:lnTo>
                      <a:pt x="1176088" y="490526"/>
                    </a:lnTo>
                    <a:lnTo>
                      <a:pt x="1193160" y="490526"/>
                    </a:lnTo>
                    <a:lnTo>
                      <a:pt x="1193160" y="498864"/>
                    </a:lnTo>
                    <a:lnTo>
                      <a:pt x="1201893" y="498864"/>
                    </a:lnTo>
                    <a:lnTo>
                      <a:pt x="1201893" y="506857"/>
                    </a:lnTo>
                    <a:lnTo>
                      <a:pt x="1223503" y="506857"/>
                    </a:lnTo>
                    <a:lnTo>
                      <a:pt x="1223503" y="516725"/>
                    </a:lnTo>
                    <a:lnTo>
                      <a:pt x="1245903" y="516725"/>
                    </a:lnTo>
                    <a:lnTo>
                      <a:pt x="1245903" y="523534"/>
                    </a:lnTo>
                    <a:lnTo>
                      <a:pt x="1286509" y="523534"/>
                    </a:lnTo>
                    <a:lnTo>
                      <a:pt x="1286509" y="534142"/>
                    </a:lnTo>
                    <a:lnTo>
                      <a:pt x="1298991" y="534142"/>
                    </a:lnTo>
                    <a:lnTo>
                      <a:pt x="1298991" y="543269"/>
                    </a:lnTo>
                    <a:lnTo>
                      <a:pt x="1312658" y="543269"/>
                    </a:lnTo>
                    <a:lnTo>
                      <a:pt x="1312658" y="574007"/>
                    </a:lnTo>
                    <a:lnTo>
                      <a:pt x="1321786" y="574007"/>
                    </a:lnTo>
                    <a:lnTo>
                      <a:pt x="1321786" y="586145"/>
                    </a:lnTo>
                    <a:lnTo>
                      <a:pt x="1350995" y="586145"/>
                    </a:lnTo>
                    <a:lnTo>
                      <a:pt x="1350995" y="594088"/>
                    </a:lnTo>
                    <a:lnTo>
                      <a:pt x="1369941" y="594088"/>
                    </a:lnTo>
                    <a:lnTo>
                      <a:pt x="1369941" y="598677"/>
                    </a:lnTo>
                    <a:lnTo>
                      <a:pt x="1426877" y="598677"/>
                    </a:lnTo>
                    <a:lnTo>
                      <a:pt x="1426877" y="607755"/>
                    </a:lnTo>
                    <a:lnTo>
                      <a:pt x="1438620" y="607755"/>
                    </a:lnTo>
                    <a:lnTo>
                      <a:pt x="1438620" y="619547"/>
                    </a:lnTo>
                    <a:lnTo>
                      <a:pt x="1448093" y="619547"/>
                    </a:lnTo>
                    <a:lnTo>
                      <a:pt x="1448093" y="632425"/>
                    </a:lnTo>
                    <a:lnTo>
                      <a:pt x="1454951" y="632425"/>
                    </a:lnTo>
                    <a:lnTo>
                      <a:pt x="1454951" y="653690"/>
                    </a:lnTo>
                    <a:lnTo>
                      <a:pt x="1506560" y="653690"/>
                    </a:lnTo>
                    <a:lnTo>
                      <a:pt x="1506560" y="658969"/>
                    </a:lnTo>
                    <a:lnTo>
                      <a:pt x="1547116" y="658969"/>
                    </a:lnTo>
                    <a:lnTo>
                      <a:pt x="1547116" y="666172"/>
                    </a:lnTo>
                    <a:lnTo>
                      <a:pt x="1563842" y="666172"/>
                    </a:lnTo>
                    <a:lnTo>
                      <a:pt x="1563842" y="680974"/>
                    </a:lnTo>
                    <a:lnTo>
                      <a:pt x="1577114" y="680974"/>
                    </a:lnTo>
                    <a:lnTo>
                      <a:pt x="1577114" y="691976"/>
                    </a:lnTo>
                    <a:lnTo>
                      <a:pt x="1652602" y="691976"/>
                    </a:lnTo>
                    <a:lnTo>
                      <a:pt x="1652602" y="698834"/>
                    </a:lnTo>
                    <a:lnTo>
                      <a:pt x="1689014" y="698834"/>
                    </a:lnTo>
                    <a:lnTo>
                      <a:pt x="1689014" y="705643"/>
                    </a:lnTo>
                    <a:lnTo>
                      <a:pt x="1726561" y="705643"/>
                    </a:lnTo>
                    <a:lnTo>
                      <a:pt x="1726561" y="712847"/>
                    </a:lnTo>
                    <a:lnTo>
                      <a:pt x="1757694" y="712847"/>
                    </a:lnTo>
                    <a:lnTo>
                      <a:pt x="1757694" y="719705"/>
                    </a:lnTo>
                    <a:lnTo>
                      <a:pt x="1802099" y="719705"/>
                    </a:lnTo>
                    <a:lnTo>
                      <a:pt x="1802099" y="731842"/>
                    </a:lnTo>
                    <a:lnTo>
                      <a:pt x="1821785" y="731842"/>
                    </a:lnTo>
                    <a:lnTo>
                      <a:pt x="1821785" y="740920"/>
                    </a:lnTo>
                    <a:lnTo>
                      <a:pt x="1885926" y="740920"/>
                    </a:lnTo>
                    <a:lnTo>
                      <a:pt x="1885926" y="755327"/>
                    </a:lnTo>
                    <a:lnTo>
                      <a:pt x="1958750" y="755327"/>
                    </a:lnTo>
                    <a:lnTo>
                      <a:pt x="1958750" y="768254"/>
                    </a:lnTo>
                    <a:lnTo>
                      <a:pt x="1973551" y="768254"/>
                    </a:lnTo>
                    <a:lnTo>
                      <a:pt x="1973551" y="807725"/>
                    </a:lnTo>
                    <a:lnTo>
                      <a:pt x="2039961" y="807725"/>
                    </a:lnTo>
                    <a:lnTo>
                      <a:pt x="2039961" y="830865"/>
                    </a:lnTo>
                    <a:lnTo>
                      <a:pt x="2230409" y="830865"/>
                    </a:lnTo>
                    <a:lnTo>
                      <a:pt x="2230409" y="902160"/>
                    </a:lnTo>
                    <a:lnTo>
                      <a:pt x="2241412" y="902160"/>
                    </a:lnTo>
                    <a:lnTo>
                      <a:pt x="2241412" y="923030"/>
                    </a:lnTo>
                    <a:lnTo>
                      <a:pt x="2319564" y="923030"/>
                    </a:lnTo>
                    <a:lnTo>
                      <a:pt x="2319564" y="1053531"/>
                    </a:lnTo>
                    <a:lnTo>
                      <a:pt x="2394312" y="1053531"/>
                    </a:lnTo>
                  </a:path>
                </a:pathLst>
              </a:custGeom>
              <a:noFill/>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0" name="Freeform 169">
                <a:extLst>
                  <a:ext uri="{FF2B5EF4-FFF2-40B4-BE49-F238E27FC236}">
                    <a16:creationId xmlns:a16="http://schemas.microsoft.com/office/drawing/2014/main" id="{0666FB6C-96EA-9C38-5F70-363D5CB35EE5}"/>
                  </a:ext>
                </a:extLst>
              </p:cNvPr>
              <p:cNvSpPr/>
              <p:nvPr/>
            </p:nvSpPr>
            <p:spPr>
              <a:xfrm>
                <a:off x="1231512" y="3672477"/>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71" name="Graphic 11">
                <a:extLst>
                  <a:ext uri="{FF2B5EF4-FFF2-40B4-BE49-F238E27FC236}">
                    <a16:creationId xmlns:a16="http://schemas.microsoft.com/office/drawing/2014/main" id="{7B6DDA7D-3810-8573-0E9F-11542CEBAA9E}"/>
                  </a:ext>
                </a:extLst>
              </p:cNvPr>
              <p:cNvGrpSpPr/>
              <p:nvPr/>
            </p:nvGrpSpPr>
            <p:grpSpPr>
              <a:xfrm>
                <a:off x="1161204" y="3656688"/>
                <a:ext cx="49388" cy="49437"/>
                <a:chOff x="1161204" y="3656688"/>
                <a:chExt cx="49388" cy="49437"/>
              </a:xfrm>
            </p:grpSpPr>
            <p:sp>
              <p:nvSpPr>
                <p:cNvPr id="172" name="Freeform 171">
                  <a:extLst>
                    <a:ext uri="{FF2B5EF4-FFF2-40B4-BE49-F238E27FC236}">
                      <a16:creationId xmlns:a16="http://schemas.microsoft.com/office/drawing/2014/main" id="{9DCB6F1F-9BF0-C86B-E613-42FE566C70E4}"/>
                    </a:ext>
                  </a:extLst>
                </p:cNvPr>
                <p:cNvSpPr/>
                <p:nvPr/>
              </p:nvSpPr>
              <p:spPr>
                <a:xfrm>
                  <a:off x="1185923" y="3656688"/>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3" name="Freeform 172">
                  <a:extLst>
                    <a:ext uri="{FF2B5EF4-FFF2-40B4-BE49-F238E27FC236}">
                      <a16:creationId xmlns:a16="http://schemas.microsoft.com/office/drawing/2014/main" id="{4B81D022-3FC9-B299-8DEF-A8D4CCC89D0F}"/>
                    </a:ext>
                  </a:extLst>
                </p:cNvPr>
                <p:cNvSpPr/>
                <p:nvPr/>
              </p:nvSpPr>
              <p:spPr>
                <a:xfrm>
                  <a:off x="1161204" y="368140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74" name="Graphic 11">
                <a:extLst>
                  <a:ext uri="{FF2B5EF4-FFF2-40B4-BE49-F238E27FC236}">
                    <a16:creationId xmlns:a16="http://schemas.microsoft.com/office/drawing/2014/main" id="{00FA909D-1A1B-D588-2E70-3146476152EA}"/>
                  </a:ext>
                </a:extLst>
              </p:cNvPr>
              <p:cNvGrpSpPr/>
              <p:nvPr/>
            </p:nvGrpSpPr>
            <p:grpSpPr>
              <a:xfrm>
                <a:off x="1169345" y="3656688"/>
                <a:ext cx="49388" cy="49437"/>
                <a:chOff x="1169345" y="3656688"/>
                <a:chExt cx="49388" cy="49437"/>
              </a:xfrm>
            </p:grpSpPr>
            <p:sp>
              <p:nvSpPr>
                <p:cNvPr id="175" name="Freeform 174">
                  <a:extLst>
                    <a:ext uri="{FF2B5EF4-FFF2-40B4-BE49-F238E27FC236}">
                      <a16:creationId xmlns:a16="http://schemas.microsoft.com/office/drawing/2014/main" id="{26BD3946-8F41-64F2-4FFD-79943FA70048}"/>
                    </a:ext>
                  </a:extLst>
                </p:cNvPr>
                <p:cNvSpPr/>
                <p:nvPr/>
              </p:nvSpPr>
              <p:spPr>
                <a:xfrm>
                  <a:off x="1194064" y="3656688"/>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 name="Freeform 175">
                  <a:extLst>
                    <a:ext uri="{FF2B5EF4-FFF2-40B4-BE49-F238E27FC236}">
                      <a16:creationId xmlns:a16="http://schemas.microsoft.com/office/drawing/2014/main" id="{FE12B4B5-F528-C9A2-36E7-B2DC610BC477}"/>
                    </a:ext>
                  </a:extLst>
                </p:cNvPr>
                <p:cNvSpPr/>
                <p:nvPr/>
              </p:nvSpPr>
              <p:spPr>
                <a:xfrm>
                  <a:off x="1169345" y="368140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77" name="Graphic 11">
                <a:extLst>
                  <a:ext uri="{FF2B5EF4-FFF2-40B4-BE49-F238E27FC236}">
                    <a16:creationId xmlns:a16="http://schemas.microsoft.com/office/drawing/2014/main" id="{331DA3C7-49E8-CD15-4D89-913B73E32812}"/>
                  </a:ext>
                </a:extLst>
              </p:cNvPr>
              <p:cNvGrpSpPr/>
              <p:nvPr/>
            </p:nvGrpSpPr>
            <p:grpSpPr>
              <a:xfrm>
                <a:off x="1172404" y="3656688"/>
                <a:ext cx="49388" cy="49437"/>
                <a:chOff x="1172404" y="3656688"/>
                <a:chExt cx="49388" cy="49437"/>
              </a:xfrm>
            </p:grpSpPr>
            <p:sp>
              <p:nvSpPr>
                <p:cNvPr id="178" name="Freeform 177">
                  <a:extLst>
                    <a:ext uri="{FF2B5EF4-FFF2-40B4-BE49-F238E27FC236}">
                      <a16:creationId xmlns:a16="http://schemas.microsoft.com/office/drawing/2014/main" id="{FED03F05-C24C-ADEC-BF4A-6E3453CA1AA6}"/>
                    </a:ext>
                  </a:extLst>
                </p:cNvPr>
                <p:cNvSpPr/>
                <p:nvPr/>
              </p:nvSpPr>
              <p:spPr>
                <a:xfrm>
                  <a:off x="1197123" y="3656688"/>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 name="Freeform 178">
                  <a:extLst>
                    <a:ext uri="{FF2B5EF4-FFF2-40B4-BE49-F238E27FC236}">
                      <a16:creationId xmlns:a16="http://schemas.microsoft.com/office/drawing/2014/main" id="{680CE3CB-15FF-D67E-7055-6D9B3F7EDFEB}"/>
                    </a:ext>
                  </a:extLst>
                </p:cNvPr>
                <p:cNvSpPr/>
                <p:nvPr/>
              </p:nvSpPr>
              <p:spPr>
                <a:xfrm>
                  <a:off x="1172404" y="368140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80" name="Graphic 11">
                <a:extLst>
                  <a:ext uri="{FF2B5EF4-FFF2-40B4-BE49-F238E27FC236}">
                    <a16:creationId xmlns:a16="http://schemas.microsoft.com/office/drawing/2014/main" id="{EC8F6E02-D8B4-1811-9649-B3496BF2CB88}"/>
                  </a:ext>
                </a:extLst>
              </p:cNvPr>
              <p:cNvGrpSpPr/>
              <p:nvPr/>
            </p:nvGrpSpPr>
            <p:grpSpPr>
              <a:xfrm>
                <a:off x="1185627" y="3664829"/>
                <a:ext cx="49437" cy="49437"/>
                <a:chOff x="1185627" y="3664829"/>
                <a:chExt cx="49437" cy="49437"/>
              </a:xfrm>
            </p:grpSpPr>
            <p:sp>
              <p:nvSpPr>
                <p:cNvPr id="181" name="Freeform 180">
                  <a:extLst>
                    <a:ext uri="{FF2B5EF4-FFF2-40B4-BE49-F238E27FC236}">
                      <a16:creationId xmlns:a16="http://schemas.microsoft.com/office/drawing/2014/main" id="{4F46DDB7-E327-D4BD-49D3-215F2D1B6BB6}"/>
                    </a:ext>
                  </a:extLst>
                </p:cNvPr>
                <p:cNvSpPr/>
                <p:nvPr/>
              </p:nvSpPr>
              <p:spPr>
                <a:xfrm>
                  <a:off x="1210346" y="3664829"/>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 name="Freeform 181">
                  <a:extLst>
                    <a:ext uri="{FF2B5EF4-FFF2-40B4-BE49-F238E27FC236}">
                      <a16:creationId xmlns:a16="http://schemas.microsoft.com/office/drawing/2014/main" id="{B6A09825-5910-6400-7632-F9E1173F2A0C}"/>
                    </a:ext>
                  </a:extLst>
                </p:cNvPr>
                <p:cNvSpPr/>
                <p:nvPr/>
              </p:nvSpPr>
              <p:spPr>
                <a:xfrm>
                  <a:off x="1185627" y="3689548"/>
                  <a:ext cx="49437" cy="4933"/>
                </a:xfrm>
                <a:custGeom>
                  <a:avLst/>
                  <a:gdLst>
                    <a:gd name="connsiteX0" fmla="*/ 49438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83" name="Graphic 11">
                <a:extLst>
                  <a:ext uri="{FF2B5EF4-FFF2-40B4-BE49-F238E27FC236}">
                    <a16:creationId xmlns:a16="http://schemas.microsoft.com/office/drawing/2014/main" id="{474411B7-36CF-5691-1BFF-E15793806A0C}"/>
                  </a:ext>
                </a:extLst>
              </p:cNvPr>
              <p:cNvGrpSpPr/>
              <p:nvPr/>
            </p:nvGrpSpPr>
            <p:grpSpPr>
              <a:xfrm>
                <a:off x="1437748" y="3716290"/>
                <a:ext cx="49437" cy="49388"/>
                <a:chOff x="1437748" y="3716290"/>
                <a:chExt cx="49437" cy="49388"/>
              </a:xfrm>
            </p:grpSpPr>
            <p:sp>
              <p:nvSpPr>
                <p:cNvPr id="184" name="Freeform 183">
                  <a:extLst>
                    <a:ext uri="{FF2B5EF4-FFF2-40B4-BE49-F238E27FC236}">
                      <a16:creationId xmlns:a16="http://schemas.microsoft.com/office/drawing/2014/main" id="{B2FFC096-93A2-3198-7FCE-94382730E8FF}"/>
                    </a:ext>
                  </a:extLst>
                </p:cNvPr>
                <p:cNvSpPr/>
                <p:nvPr/>
              </p:nvSpPr>
              <p:spPr>
                <a:xfrm>
                  <a:off x="1462467" y="3716290"/>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5" name="Freeform 184">
                  <a:extLst>
                    <a:ext uri="{FF2B5EF4-FFF2-40B4-BE49-F238E27FC236}">
                      <a16:creationId xmlns:a16="http://schemas.microsoft.com/office/drawing/2014/main" id="{6E3BB983-031D-DC79-E2B1-D2F0B5AFCF8A}"/>
                    </a:ext>
                  </a:extLst>
                </p:cNvPr>
                <p:cNvSpPr/>
                <p:nvPr/>
              </p:nvSpPr>
              <p:spPr>
                <a:xfrm>
                  <a:off x="1437748" y="3741008"/>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86" name="Graphic 11">
                <a:extLst>
                  <a:ext uri="{FF2B5EF4-FFF2-40B4-BE49-F238E27FC236}">
                    <a16:creationId xmlns:a16="http://schemas.microsoft.com/office/drawing/2014/main" id="{BCD6DBA4-B89D-31DE-27F9-0F6E049E474D}"/>
                  </a:ext>
                </a:extLst>
              </p:cNvPr>
              <p:cNvGrpSpPr/>
              <p:nvPr/>
            </p:nvGrpSpPr>
            <p:grpSpPr>
              <a:xfrm>
                <a:off x="1445938" y="3741748"/>
                <a:ext cx="49388" cy="49437"/>
                <a:chOff x="1445938" y="3741748"/>
                <a:chExt cx="49388" cy="49437"/>
              </a:xfrm>
            </p:grpSpPr>
            <p:sp>
              <p:nvSpPr>
                <p:cNvPr id="187" name="Freeform 186">
                  <a:extLst>
                    <a:ext uri="{FF2B5EF4-FFF2-40B4-BE49-F238E27FC236}">
                      <a16:creationId xmlns:a16="http://schemas.microsoft.com/office/drawing/2014/main" id="{C1B07DC5-8217-7E46-6088-D9FC476C198B}"/>
                    </a:ext>
                  </a:extLst>
                </p:cNvPr>
                <p:cNvSpPr/>
                <p:nvPr/>
              </p:nvSpPr>
              <p:spPr>
                <a:xfrm>
                  <a:off x="1470608" y="3741748"/>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8" name="Freeform 187">
                  <a:extLst>
                    <a:ext uri="{FF2B5EF4-FFF2-40B4-BE49-F238E27FC236}">
                      <a16:creationId xmlns:a16="http://schemas.microsoft.com/office/drawing/2014/main" id="{04E21C65-0F66-1876-E56C-64B89347C572}"/>
                    </a:ext>
                  </a:extLst>
                </p:cNvPr>
                <p:cNvSpPr/>
                <p:nvPr/>
              </p:nvSpPr>
              <p:spPr>
                <a:xfrm>
                  <a:off x="1445938" y="376646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89" name="Graphic 11">
                <a:extLst>
                  <a:ext uri="{FF2B5EF4-FFF2-40B4-BE49-F238E27FC236}">
                    <a16:creationId xmlns:a16="http://schemas.microsoft.com/office/drawing/2014/main" id="{85095660-6D74-03BE-D7E6-6F7F1FE83DBF}"/>
                  </a:ext>
                </a:extLst>
              </p:cNvPr>
              <p:cNvGrpSpPr/>
              <p:nvPr/>
            </p:nvGrpSpPr>
            <p:grpSpPr>
              <a:xfrm>
                <a:off x="1467302" y="3741748"/>
                <a:ext cx="49388" cy="49437"/>
                <a:chOff x="1467302" y="3741748"/>
                <a:chExt cx="49388" cy="49437"/>
              </a:xfrm>
            </p:grpSpPr>
            <p:sp>
              <p:nvSpPr>
                <p:cNvPr id="190" name="Freeform 189">
                  <a:extLst>
                    <a:ext uri="{FF2B5EF4-FFF2-40B4-BE49-F238E27FC236}">
                      <a16:creationId xmlns:a16="http://schemas.microsoft.com/office/drawing/2014/main" id="{F09E0906-1112-0DF7-CFFC-1840D73622E9}"/>
                    </a:ext>
                  </a:extLst>
                </p:cNvPr>
                <p:cNvSpPr/>
                <p:nvPr/>
              </p:nvSpPr>
              <p:spPr>
                <a:xfrm>
                  <a:off x="1492021" y="3741748"/>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1" name="Freeform 190">
                  <a:extLst>
                    <a:ext uri="{FF2B5EF4-FFF2-40B4-BE49-F238E27FC236}">
                      <a16:creationId xmlns:a16="http://schemas.microsoft.com/office/drawing/2014/main" id="{5D2DB8B6-89FD-C71E-E82F-10B3E49EC446}"/>
                    </a:ext>
                  </a:extLst>
                </p:cNvPr>
                <p:cNvSpPr/>
                <p:nvPr/>
              </p:nvSpPr>
              <p:spPr>
                <a:xfrm>
                  <a:off x="1467302" y="376646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92" name="Graphic 11">
                <a:extLst>
                  <a:ext uri="{FF2B5EF4-FFF2-40B4-BE49-F238E27FC236}">
                    <a16:creationId xmlns:a16="http://schemas.microsoft.com/office/drawing/2014/main" id="{25FB606E-9FA5-1258-26BE-286DB24F9432}"/>
                  </a:ext>
                </a:extLst>
              </p:cNvPr>
              <p:cNvGrpSpPr/>
              <p:nvPr/>
            </p:nvGrpSpPr>
            <p:grpSpPr>
              <a:xfrm>
                <a:off x="1562033" y="3767750"/>
                <a:ext cx="49437" cy="49388"/>
                <a:chOff x="1562033" y="3767750"/>
                <a:chExt cx="49437" cy="49388"/>
              </a:xfrm>
            </p:grpSpPr>
            <p:sp>
              <p:nvSpPr>
                <p:cNvPr id="193" name="Freeform 192">
                  <a:extLst>
                    <a:ext uri="{FF2B5EF4-FFF2-40B4-BE49-F238E27FC236}">
                      <a16:creationId xmlns:a16="http://schemas.microsoft.com/office/drawing/2014/main" id="{910BE676-1AEC-89D1-F3AD-7FB15197F876}"/>
                    </a:ext>
                  </a:extLst>
                </p:cNvPr>
                <p:cNvSpPr/>
                <p:nvPr/>
              </p:nvSpPr>
              <p:spPr>
                <a:xfrm>
                  <a:off x="1586751" y="3767750"/>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4" name="Freeform 193">
                  <a:extLst>
                    <a:ext uri="{FF2B5EF4-FFF2-40B4-BE49-F238E27FC236}">
                      <a16:creationId xmlns:a16="http://schemas.microsoft.com/office/drawing/2014/main" id="{E7B36F1D-665F-7796-1EC4-135D6CBAFF78}"/>
                    </a:ext>
                  </a:extLst>
                </p:cNvPr>
                <p:cNvSpPr/>
                <p:nvPr/>
              </p:nvSpPr>
              <p:spPr>
                <a:xfrm>
                  <a:off x="1562033" y="3792419"/>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95" name="Graphic 11">
                <a:extLst>
                  <a:ext uri="{FF2B5EF4-FFF2-40B4-BE49-F238E27FC236}">
                    <a16:creationId xmlns:a16="http://schemas.microsoft.com/office/drawing/2014/main" id="{DDB60610-143B-AC54-E646-C940CD5D32BD}"/>
                  </a:ext>
                </a:extLst>
              </p:cNvPr>
              <p:cNvGrpSpPr/>
              <p:nvPr/>
            </p:nvGrpSpPr>
            <p:grpSpPr>
              <a:xfrm>
                <a:off x="1601257" y="3824786"/>
                <a:ext cx="49388" cy="49388"/>
                <a:chOff x="1601257" y="3824786"/>
                <a:chExt cx="49388" cy="49388"/>
              </a:xfrm>
            </p:grpSpPr>
            <p:sp>
              <p:nvSpPr>
                <p:cNvPr id="196" name="Freeform 195">
                  <a:extLst>
                    <a:ext uri="{FF2B5EF4-FFF2-40B4-BE49-F238E27FC236}">
                      <a16:creationId xmlns:a16="http://schemas.microsoft.com/office/drawing/2014/main" id="{7742CD7E-9DFE-2ABB-3195-75BC5216939D}"/>
                    </a:ext>
                  </a:extLst>
                </p:cNvPr>
                <p:cNvSpPr/>
                <p:nvPr/>
              </p:nvSpPr>
              <p:spPr>
                <a:xfrm>
                  <a:off x="1625976" y="3824786"/>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7" name="Freeform 196">
                  <a:extLst>
                    <a:ext uri="{FF2B5EF4-FFF2-40B4-BE49-F238E27FC236}">
                      <a16:creationId xmlns:a16="http://schemas.microsoft.com/office/drawing/2014/main" id="{B93F77A2-6998-031A-A3D7-023CF7A6B50F}"/>
                    </a:ext>
                  </a:extLst>
                </p:cNvPr>
                <p:cNvSpPr/>
                <p:nvPr/>
              </p:nvSpPr>
              <p:spPr>
                <a:xfrm>
                  <a:off x="1601257" y="3849504"/>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98" name="Graphic 11">
                <a:extLst>
                  <a:ext uri="{FF2B5EF4-FFF2-40B4-BE49-F238E27FC236}">
                    <a16:creationId xmlns:a16="http://schemas.microsoft.com/office/drawing/2014/main" id="{5060FB4E-8192-2B66-717B-E3FFDD2284D3}"/>
                  </a:ext>
                </a:extLst>
              </p:cNvPr>
              <p:cNvGrpSpPr/>
              <p:nvPr/>
            </p:nvGrpSpPr>
            <p:grpSpPr>
              <a:xfrm>
                <a:off x="2085122" y="4043800"/>
                <a:ext cx="49388" cy="49388"/>
                <a:chOff x="2085122" y="4043800"/>
                <a:chExt cx="49388" cy="49388"/>
              </a:xfrm>
            </p:grpSpPr>
            <p:sp>
              <p:nvSpPr>
                <p:cNvPr id="199" name="Freeform 198">
                  <a:extLst>
                    <a:ext uri="{FF2B5EF4-FFF2-40B4-BE49-F238E27FC236}">
                      <a16:creationId xmlns:a16="http://schemas.microsoft.com/office/drawing/2014/main" id="{0BC1F641-0F18-6AE7-79F7-5C3F051AE036}"/>
                    </a:ext>
                  </a:extLst>
                </p:cNvPr>
                <p:cNvSpPr/>
                <p:nvPr/>
              </p:nvSpPr>
              <p:spPr>
                <a:xfrm>
                  <a:off x="2109841" y="4043800"/>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0" name="Freeform 199">
                  <a:extLst>
                    <a:ext uri="{FF2B5EF4-FFF2-40B4-BE49-F238E27FC236}">
                      <a16:creationId xmlns:a16="http://schemas.microsoft.com/office/drawing/2014/main" id="{BF63A9A0-9B05-7243-93B7-3D2FFB96D38F}"/>
                    </a:ext>
                  </a:extLst>
                </p:cNvPr>
                <p:cNvSpPr/>
                <p:nvPr/>
              </p:nvSpPr>
              <p:spPr>
                <a:xfrm>
                  <a:off x="2085122" y="4068470"/>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01" name="Graphic 11">
                <a:extLst>
                  <a:ext uri="{FF2B5EF4-FFF2-40B4-BE49-F238E27FC236}">
                    <a16:creationId xmlns:a16="http://schemas.microsoft.com/office/drawing/2014/main" id="{E020DEC8-DBB9-92CB-4D26-4C11E8DB81AA}"/>
                  </a:ext>
                </a:extLst>
              </p:cNvPr>
              <p:cNvGrpSpPr/>
              <p:nvPr/>
            </p:nvGrpSpPr>
            <p:grpSpPr>
              <a:xfrm>
                <a:off x="2095335" y="4065707"/>
                <a:ext cx="49388" cy="49388"/>
                <a:chOff x="2095335" y="4065707"/>
                <a:chExt cx="49388" cy="49388"/>
              </a:xfrm>
            </p:grpSpPr>
            <p:sp>
              <p:nvSpPr>
                <p:cNvPr id="202" name="Freeform 201">
                  <a:extLst>
                    <a:ext uri="{FF2B5EF4-FFF2-40B4-BE49-F238E27FC236}">
                      <a16:creationId xmlns:a16="http://schemas.microsoft.com/office/drawing/2014/main" id="{6CF5F40C-AF43-5FC6-BF63-F33110A0A490}"/>
                    </a:ext>
                  </a:extLst>
                </p:cNvPr>
                <p:cNvSpPr/>
                <p:nvPr/>
              </p:nvSpPr>
              <p:spPr>
                <a:xfrm>
                  <a:off x="2120005" y="4065707"/>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3" name="Freeform 202">
                  <a:extLst>
                    <a:ext uri="{FF2B5EF4-FFF2-40B4-BE49-F238E27FC236}">
                      <a16:creationId xmlns:a16="http://schemas.microsoft.com/office/drawing/2014/main" id="{40723065-3FB6-F64B-8665-1E6EDC007194}"/>
                    </a:ext>
                  </a:extLst>
                </p:cNvPr>
                <p:cNvSpPr/>
                <p:nvPr/>
              </p:nvSpPr>
              <p:spPr>
                <a:xfrm>
                  <a:off x="2095335" y="4090376"/>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04" name="Graphic 11">
                <a:extLst>
                  <a:ext uri="{FF2B5EF4-FFF2-40B4-BE49-F238E27FC236}">
                    <a16:creationId xmlns:a16="http://schemas.microsoft.com/office/drawing/2014/main" id="{1AE7BA3E-4DF6-1B1E-E8E7-25FDE104568A}"/>
                  </a:ext>
                </a:extLst>
              </p:cNvPr>
              <p:cNvGrpSpPr/>
              <p:nvPr/>
            </p:nvGrpSpPr>
            <p:grpSpPr>
              <a:xfrm>
                <a:off x="2236395" y="4140060"/>
                <a:ext cx="49388" cy="49388"/>
                <a:chOff x="2236395" y="4140060"/>
                <a:chExt cx="49388" cy="49388"/>
              </a:xfrm>
            </p:grpSpPr>
            <p:sp>
              <p:nvSpPr>
                <p:cNvPr id="205" name="Freeform 204">
                  <a:extLst>
                    <a:ext uri="{FF2B5EF4-FFF2-40B4-BE49-F238E27FC236}">
                      <a16:creationId xmlns:a16="http://schemas.microsoft.com/office/drawing/2014/main" id="{0EBE38BB-8A3D-8E01-AEA8-50185698DF5C}"/>
                    </a:ext>
                  </a:extLst>
                </p:cNvPr>
                <p:cNvSpPr/>
                <p:nvPr/>
              </p:nvSpPr>
              <p:spPr>
                <a:xfrm>
                  <a:off x="2261114" y="4140060"/>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6" name="Freeform 205">
                  <a:extLst>
                    <a:ext uri="{FF2B5EF4-FFF2-40B4-BE49-F238E27FC236}">
                      <a16:creationId xmlns:a16="http://schemas.microsoft.com/office/drawing/2014/main" id="{9BE2160E-C8C5-6EE6-3101-932F1A64E40A}"/>
                    </a:ext>
                  </a:extLst>
                </p:cNvPr>
                <p:cNvSpPr/>
                <p:nvPr/>
              </p:nvSpPr>
              <p:spPr>
                <a:xfrm>
                  <a:off x="2236395" y="4164779"/>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07" name="Graphic 11">
                <a:extLst>
                  <a:ext uri="{FF2B5EF4-FFF2-40B4-BE49-F238E27FC236}">
                    <a16:creationId xmlns:a16="http://schemas.microsoft.com/office/drawing/2014/main" id="{34D70CC4-302A-FE7F-435E-392EEC5BCC7C}"/>
                  </a:ext>
                </a:extLst>
              </p:cNvPr>
              <p:cNvGrpSpPr/>
              <p:nvPr/>
            </p:nvGrpSpPr>
            <p:grpSpPr>
              <a:xfrm>
                <a:off x="2322491" y="4174696"/>
                <a:ext cx="49388" cy="49388"/>
                <a:chOff x="2322491" y="4174696"/>
                <a:chExt cx="49388" cy="49388"/>
              </a:xfrm>
            </p:grpSpPr>
            <p:sp>
              <p:nvSpPr>
                <p:cNvPr id="208" name="Freeform 207">
                  <a:extLst>
                    <a:ext uri="{FF2B5EF4-FFF2-40B4-BE49-F238E27FC236}">
                      <a16:creationId xmlns:a16="http://schemas.microsoft.com/office/drawing/2014/main" id="{CF659692-A88A-BB2A-3917-C74F1597CA8F}"/>
                    </a:ext>
                  </a:extLst>
                </p:cNvPr>
                <p:cNvSpPr/>
                <p:nvPr/>
              </p:nvSpPr>
              <p:spPr>
                <a:xfrm>
                  <a:off x="2347161" y="4174696"/>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 name="Freeform 208">
                  <a:extLst>
                    <a:ext uri="{FF2B5EF4-FFF2-40B4-BE49-F238E27FC236}">
                      <a16:creationId xmlns:a16="http://schemas.microsoft.com/office/drawing/2014/main" id="{544DBA2C-A466-FDA6-EAE4-B037A022865A}"/>
                    </a:ext>
                  </a:extLst>
                </p:cNvPr>
                <p:cNvSpPr/>
                <p:nvPr/>
              </p:nvSpPr>
              <p:spPr>
                <a:xfrm>
                  <a:off x="2322491" y="4199366"/>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10" name="Graphic 11">
                <a:extLst>
                  <a:ext uri="{FF2B5EF4-FFF2-40B4-BE49-F238E27FC236}">
                    <a16:creationId xmlns:a16="http://schemas.microsoft.com/office/drawing/2014/main" id="{CA97C6E9-D310-C3F6-C5B8-79C12FCD187E}"/>
                  </a:ext>
                </a:extLst>
              </p:cNvPr>
              <p:cNvGrpSpPr/>
              <p:nvPr/>
            </p:nvGrpSpPr>
            <p:grpSpPr>
              <a:xfrm>
                <a:off x="2356584" y="4192014"/>
                <a:ext cx="49437" cy="49388"/>
                <a:chOff x="2356584" y="4192014"/>
                <a:chExt cx="49437" cy="49388"/>
              </a:xfrm>
            </p:grpSpPr>
            <p:sp>
              <p:nvSpPr>
                <p:cNvPr id="211" name="Freeform 210">
                  <a:extLst>
                    <a:ext uri="{FF2B5EF4-FFF2-40B4-BE49-F238E27FC236}">
                      <a16:creationId xmlns:a16="http://schemas.microsoft.com/office/drawing/2014/main" id="{29FE0A88-4EDE-ACBF-4D90-CB125C0D75B4}"/>
                    </a:ext>
                  </a:extLst>
                </p:cNvPr>
                <p:cNvSpPr/>
                <p:nvPr/>
              </p:nvSpPr>
              <p:spPr>
                <a:xfrm>
                  <a:off x="2381303" y="4192014"/>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2" name="Freeform 211">
                  <a:extLst>
                    <a:ext uri="{FF2B5EF4-FFF2-40B4-BE49-F238E27FC236}">
                      <a16:creationId xmlns:a16="http://schemas.microsoft.com/office/drawing/2014/main" id="{87F85757-D3BE-0643-C4BC-F1C7A2CD63BF}"/>
                    </a:ext>
                  </a:extLst>
                </p:cNvPr>
                <p:cNvSpPr/>
                <p:nvPr/>
              </p:nvSpPr>
              <p:spPr>
                <a:xfrm>
                  <a:off x="2356584" y="4216683"/>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13" name="Graphic 11">
                <a:extLst>
                  <a:ext uri="{FF2B5EF4-FFF2-40B4-BE49-F238E27FC236}">
                    <a16:creationId xmlns:a16="http://schemas.microsoft.com/office/drawing/2014/main" id="{2B4A4E6F-0D38-8C2D-CF55-4185A9D5CB41}"/>
                  </a:ext>
                </a:extLst>
              </p:cNvPr>
              <p:cNvGrpSpPr/>
              <p:nvPr/>
            </p:nvGrpSpPr>
            <p:grpSpPr>
              <a:xfrm>
                <a:off x="2372373" y="4228179"/>
                <a:ext cx="49437" cy="49388"/>
                <a:chOff x="2372373" y="4228179"/>
                <a:chExt cx="49437" cy="49388"/>
              </a:xfrm>
            </p:grpSpPr>
            <p:sp>
              <p:nvSpPr>
                <p:cNvPr id="214" name="Freeform 213">
                  <a:extLst>
                    <a:ext uri="{FF2B5EF4-FFF2-40B4-BE49-F238E27FC236}">
                      <a16:creationId xmlns:a16="http://schemas.microsoft.com/office/drawing/2014/main" id="{8D8BFA64-B0AF-D84D-F615-1A85B622C2E2}"/>
                    </a:ext>
                  </a:extLst>
                </p:cNvPr>
                <p:cNvSpPr/>
                <p:nvPr/>
              </p:nvSpPr>
              <p:spPr>
                <a:xfrm>
                  <a:off x="2397091" y="422817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5" name="Freeform 214">
                  <a:extLst>
                    <a:ext uri="{FF2B5EF4-FFF2-40B4-BE49-F238E27FC236}">
                      <a16:creationId xmlns:a16="http://schemas.microsoft.com/office/drawing/2014/main" id="{3E538BEE-7AF4-BBD6-42B7-0EF74F37E289}"/>
                    </a:ext>
                  </a:extLst>
                </p:cNvPr>
                <p:cNvSpPr/>
                <p:nvPr/>
              </p:nvSpPr>
              <p:spPr>
                <a:xfrm>
                  <a:off x="2372373" y="4252849"/>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16" name="Graphic 11">
                <a:extLst>
                  <a:ext uri="{FF2B5EF4-FFF2-40B4-BE49-F238E27FC236}">
                    <a16:creationId xmlns:a16="http://schemas.microsoft.com/office/drawing/2014/main" id="{D5C600C9-2A94-2A10-BC1F-44FC4E0BC1AB}"/>
                  </a:ext>
                </a:extLst>
              </p:cNvPr>
              <p:cNvGrpSpPr/>
              <p:nvPr/>
            </p:nvGrpSpPr>
            <p:grpSpPr>
              <a:xfrm>
                <a:off x="2375974" y="4236320"/>
                <a:ext cx="49388" cy="49388"/>
                <a:chOff x="2375974" y="4236320"/>
                <a:chExt cx="49388" cy="49388"/>
              </a:xfrm>
            </p:grpSpPr>
            <p:sp>
              <p:nvSpPr>
                <p:cNvPr id="217" name="Freeform 216">
                  <a:extLst>
                    <a:ext uri="{FF2B5EF4-FFF2-40B4-BE49-F238E27FC236}">
                      <a16:creationId xmlns:a16="http://schemas.microsoft.com/office/drawing/2014/main" id="{8C77879C-44D0-99B9-C55F-974EF661F613}"/>
                    </a:ext>
                  </a:extLst>
                </p:cNvPr>
                <p:cNvSpPr/>
                <p:nvPr/>
              </p:nvSpPr>
              <p:spPr>
                <a:xfrm>
                  <a:off x="2400644" y="4236320"/>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8" name="Freeform 217">
                  <a:extLst>
                    <a:ext uri="{FF2B5EF4-FFF2-40B4-BE49-F238E27FC236}">
                      <a16:creationId xmlns:a16="http://schemas.microsoft.com/office/drawing/2014/main" id="{893F8E9F-8DD6-F650-EEF2-28F42291CC28}"/>
                    </a:ext>
                  </a:extLst>
                </p:cNvPr>
                <p:cNvSpPr/>
                <p:nvPr/>
              </p:nvSpPr>
              <p:spPr>
                <a:xfrm>
                  <a:off x="2375974" y="4261039"/>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19" name="Graphic 11">
                <a:extLst>
                  <a:ext uri="{FF2B5EF4-FFF2-40B4-BE49-F238E27FC236}">
                    <a16:creationId xmlns:a16="http://schemas.microsoft.com/office/drawing/2014/main" id="{300CB6BC-79FC-F8A6-BCFB-3E0531D0D157}"/>
                  </a:ext>
                </a:extLst>
              </p:cNvPr>
              <p:cNvGrpSpPr/>
              <p:nvPr/>
            </p:nvGrpSpPr>
            <p:grpSpPr>
              <a:xfrm>
                <a:off x="2479339" y="4253638"/>
                <a:ext cx="49388" cy="49388"/>
                <a:chOff x="2479339" y="4253638"/>
                <a:chExt cx="49388" cy="49388"/>
              </a:xfrm>
            </p:grpSpPr>
            <p:sp>
              <p:nvSpPr>
                <p:cNvPr id="220" name="Freeform 219">
                  <a:extLst>
                    <a:ext uri="{FF2B5EF4-FFF2-40B4-BE49-F238E27FC236}">
                      <a16:creationId xmlns:a16="http://schemas.microsoft.com/office/drawing/2014/main" id="{8F37B085-E095-A912-8179-8D13398CB0DA}"/>
                    </a:ext>
                  </a:extLst>
                </p:cNvPr>
                <p:cNvSpPr/>
                <p:nvPr/>
              </p:nvSpPr>
              <p:spPr>
                <a:xfrm>
                  <a:off x="2504058" y="4253638"/>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1" name="Freeform 220">
                  <a:extLst>
                    <a:ext uri="{FF2B5EF4-FFF2-40B4-BE49-F238E27FC236}">
                      <a16:creationId xmlns:a16="http://schemas.microsoft.com/office/drawing/2014/main" id="{6BA21C20-5119-1049-3680-7B32992BC227}"/>
                    </a:ext>
                  </a:extLst>
                </p:cNvPr>
                <p:cNvSpPr/>
                <p:nvPr/>
              </p:nvSpPr>
              <p:spPr>
                <a:xfrm>
                  <a:off x="2479339" y="427835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 name="Graphic 11">
                <a:extLst>
                  <a:ext uri="{FF2B5EF4-FFF2-40B4-BE49-F238E27FC236}">
                    <a16:creationId xmlns:a16="http://schemas.microsoft.com/office/drawing/2014/main" id="{53D0C36F-61EF-1A87-D18B-FB18E1CD5709}"/>
                  </a:ext>
                </a:extLst>
              </p:cNvPr>
              <p:cNvGrpSpPr/>
              <p:nvPr/>
            </p:nvGrpSpPr>
            <p:grpSpPr>
              <a:xfrm>
                <a:off x="2492611" y="4259756"/>
                <a:ext cx="49388" cy="49388"/>
                <a:chOff x="2492611" y="4259756"/>
                <a:chExt cx="49388" cy="49388"/>
              </a:xfrm>
            </p:grpSpPr>
            <p:sp>
              <p:nvSpPr>
                <p:cNvPr id="223" name="Freeform 222">
                  <a:extLst>
                    <a:ext uri="{FF2B5EF4-FFF2-40B4-BE49-F238E27FC236}">
                      <a16:creationId xmlns:a16="http://schemas.microsoft.com/office/drawing/2014/main" id="{EB54B38C-470E-1F15-4704-A40271E74C99}"/>
                    </a:ext>
                  </a:extLst>
                </p:cNvPr>
                <p:cNvSpPr/>
                <p:nvPr/>
              </p:nvSpPr>
              <p:spPr>
                <a:xfrm>
                  <a:off x="2517281" y="4259756"/>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4" name="Freeform 223">
                  <a:extLst>
                    <a:ext uri="{FF2B5EF4-FFF2-40B4-BE49-F238E27FC236}">
                      <a16:creationId xmlns:a16="http://schemas.microsoft.com/office/drawing/2014/main" id="{DB654ED6-AFCD-C432-1153-42B7002571E5}"/>
                    </a:ext>
                  </a:extLst>
                </p:cNvPr>
                <p:cNvSpPr/>
                <p:nvPr/>
              </p:nvSpPr>
              <p:spPr>
                <a:xfrm>
                  <a:off x="2492611" y="4284426"/>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5" name="Graphic 11">
                <a:extLst>
                  <a:ext uri="{FF2B5EF4-FFF2-40B4-BE49-F238E27FC236}">
                    <a16:creationId xmlns:a16="http://schemas.microsoft.com/office/drawing/2014/main" id="{0B8AD28E-3375-3336-E5CE-6BBBBF55F3CD}"/>
                  </a:ext>
                </a:extLst>
              </p:cNvPr>
              <p:cNvGrpSpPr/>
              <p:nvPr/>
            </p:nvGrpSpPr>
            <p:grpSpPr>
              <a:xfrm>
                <a:off x="2486493" y="4259756"/>
                <a:ext cx="49388" cy="49388"/>
                <a:chOff x="2486493" y="4259756"/>
                <a:chExt cx="49388" cy="49388"/>
              </a:xfrm>
            </p:grpSpPr>
            <p:sp>
              <p:nvSpPr>
                <p:cNvPr id="226" name="Freeform 225">
                  <a:extLst>
                    <a:ext uri="{FF2B5EF4-FFF2-40B4-BE49-F238E27FC236}">
                      <a16:creationId xmlns:a16="http://schemas.microsoft.com/office/drawing/2014/main" id="{845BC218-58E3-C4D1-426F-C48084425D70}"/>
                    </a:ext>
                  </a:extLst>
                </p:cNvPr>
                <p:cNvSpPr/>
                <p:nvPr/>
              </p:nvSpPr>
              <p:spPr>
                <a:xfrm>
                  <a:off x="2511163" y="4259756"/>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7" name="Freeform 226">
                  <a:extLst>
                    <a:ext uri="{FF2B5EF4-FFF2-40B4-BE49-F238E27FC236}">
                      <a16:creationId xmlns:a16="http://schemas.microsoft.com/office/drawing/2014/main" id="{A34DD18D-68A0-4CF3-5604-BEB4F329C7B6}"/>
                    </a:ext>
                  </a:extLst>
                </p:cNvPr>
                <p:cNvSpPr/>
                <p:nvPr/>
              </p:nvSpPr>
              <p:spPr>
                <a:xfrm>
                  <a:off x="2486493" y="4284426"/>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8" name="Graphic 11">
                <a:extLst>
                  <a:ext uri="{FF2B5EF4-FFF2-40B4-BE49-F238E27FC236}">
                    <a16:creationId xmlns:a16="http://schemas.microsoft.com/office/drawing/2014/main" id="{ABE0A8B9-8941-AE30-B053-89E7B76391C8}"/>
                  </a:ext>
                </a:extLst>
              </p:cNvPr>
              <p:cNvGrpSpPr/>
              <p:nvPr/>
            </p:nvGrpSpPr>
            <p:grpSpPr>
              <a:xfrm>
                <a:off x="2501246" y="4278604"/>
                <a:ext cx="49388" cy="49388"/>
                <a:chOff x="2501246" y="4278604"/>
                <a:chExt cx="49388" cy="49388"/>
              </a:xfrm>
            </p:grpSpPr>
            <p:sp>
              <p:nvSpPr>
                <p:cNvPr id="229" name="Freeform 228">
                  <a:extLst>
                    <a:ext uri="{FF2B5EF4-FFF2-40B4-BE49-F238E27FC236}">
                      <a16:creationId xmlns:a16="http://schemas.microsoft.com/office/drawing/2014/main" id="{01474B81-42F7-B16C-3E67-FD4B60F9188F}"/>
                    </a:ext>
                  </a:extLst>
                </p:cNvPr>
                <p:cNvSpPr/>
                <p:nvPr/>
              </p:nvSpPr>
              <p:spPr>
                <a:xfrm>
                  <a:off x="2525964" y="4278604"/>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0" name="Freeform 229">
                  <a:extLst>
                    <a:ext uri="{FF2B5EF4-FFF2-40B4-BE49-F238E27FC236}">
                      <a16:creationId xmlns:a16="http://schemas.microsoft.com/office/drawing/2014/main" id="{1EE20031-0DED-C8B2-AD67-A99055748328}"/>
                    </a:ext>
                  </a:extLst>
                </p:cNvPr>
                <p:cNvSpPr/>
                <p:nvPr/>
              </p:nvSpPr>
              <p:spPr>
                <a:xfrm>
                  <a:off x="2501246" y="4303273"/>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31" name="Graphic 11">
                <a:extLst>
                  <a:ext uri="{FF2B5EF4-FFF2-40B4-BE49-F238E27FC236}">
                    <a16:creationId xmlns:a16="http://schemas.microsoft.com/office/drawing/2014/main" id="{04111BF8-8C83-1BF1-AF3B-D13CB3FA9235}"/>
                  </a:ext>
                </a:extLst>
              </p:cNvPr>
              <p:cNvGrpSpPr/>
              <p:nvPr/>
            </p:nvGrpSpPr>
            <p:grpSpPr>
              <a:xfrm>
                <a:off x="2515011" y="4306628"/>
                <a:ext cx="49388" cy="49388"/>
                <a:chOff x="2515011" y="4306628"/>
                <a:chExt cx="49388" cy="49388"/>
              </a:xfrm>
            </p:grpSpPr>
            <p:sp>
              <p:nvSpPr>
                <p:cNvPr id="232" name="Freeform 231">
                  <a:extLst>
                    <a:ext uri="{FF2B5EF4-FFF2-40B4-BE49-F238E27FC236}">
                      <a16:creationId xmlns:a16="http://schemas.microsoft.com/office/drawing/2014/main" id="{B54DC50E-FB94-B6AA-9AAC-C3E3A13B23F8}"/>
                    </a:ext>
                  </a:extLst>
                </p:cNvPr>
                <p:cNvSpPr/>
                <p:nvPr/>
              </p:nvSpPr>
              <p:spPr>
                <a:xfrm>
                  <a:off x="2539680" y="4306628"/>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3" name="Freeform 232">
                  <a:extLst>
                    <a:ext uri="{FF2B5EF4-FFF2-40B4-BE49-F238E27FC236}">
                      <a16:creationId xmlns:a16="http://schemas.microsoft.com/office/drawing/2014/main" id="{34374B6E-8D6C-584B-7DDF-1AF4939D569B}"/>
                    </a:ext>
                  </a:extLst>
                </p:cNvPr>
                <p:cNvSpPr/>
                <p:nvPr/>
              </p:nvSpPr>
              <p:spPr>
                <a:xfrm>
                  <a:off x="2515011" y="433129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34" name="Graphic 11">
                <a:extLst>
                  <a:ext uri="{FF2B5EF4-FFF2-40B4-BE49-F238E27FC236}">
                    <a16:creationId xmlns:a16="http://schemas.microsoft.com/office/drawing/2014/main" id="{2E609BA3-12DE-EEA8-80EB-0AA916988666}"/>
                  </a:ext>
                </a:extLst>
              </p:cNvPr>
              <p:cNvGrpSpPr/>
              <p:nvPr/>
            </p:nvGrpSpPr>
            <p:grpSpPr>
              <a:xfrm>
                <a:off x="2505834" y="4306628"/>
                <a:ext cx="49388" cy="49388"/>
                <a:chOff x="2505834" y="4306628"/>
                <a:chExt cx="49388" cy="49388"/>
              </a:xfrm>
            </p:grpSpPr>
            <p:sp>
              <p:nvSpPr>
                <p:cNvPr id="235" name="Freeform 234">
                  <a:extLst>
                    <a:ext uri="{FF2B5EF4-FFF2-40B4-BE49-F238E27FC236}">
                      <a16:creationId xmlns:a16="http://schemas.microsoft.com/office/drawing/2014/main" id="{57641FB8-CD5F-7E30-02DE-6662DC6F9B31}"/>
                    </a:ext>
                  </a:extLst>
                </p:cNvPr>
                <p:cNvSpPr/>
                <p:nvPr/>
              </p:nvSpPr>
              <p:spPr>
                <a:xfrm>
                  <a:off x="2530553" y="4306628"/>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6" name="Freeform 235">
                  <a:extLst>
                    <a:ext uri="{FF2B5EF4-FFF2-40B4-BE49-F238E27FC236}">
                      <a16:creationId xmlns:a16="http://schemas.microsoft.com/office/drawing/2014/main" id="{5EA4C29E-6018-287E-0EC5-1E867249FB84}"/>
                    </a:ext>
                  </a:extLst>
                </p:cNvPr>
                <p:cNvSpPr/>
                <p:nvPr/>
              </p:nvSpPr>
              <p:spPr>
                <a:xfrm>
                  <a:off x="2505834" y="433129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37" name="Graphic 11">
                <a:extLst>
                  <a:ext uri="{FF2B5EF4-FFF2-40B4-BE49-F238E27FC236}">
                    <a16:creationId xmlns:a16="http://schemas.microsoft.com/office/drawing/2014/main" id="{3099C7C1-64FD-80E0-8A35-64968A3593BC}"/>
                  </a:ext>
                </a:extLst>
              </p:cNvPr>
              <p:cNvGrpSpPr/>
              <p:nvPr/>
            </p:nvGrpSpPr>
            <p:grpSpPr>
              <a:xfrm>
                <a:off x="2613294" y="4319604"/>
                <a:ext cx="49388" cy="49388"/>
                <a:chOff x="2613294" y="4319604"/>
                <a:chExt cx="49388" cy="49388"/>
              </a:xfrm>
            </p:grpSpPr>
            <p:sp>
              <p:nvSpPr>
                <p:cNvPr id="238" name="Freeform 237">
                  <a:extLst>
                    <a:ext uri="{FF2B5EF4-FFF2-40B4-BE49-F238E27FC236}">
                      <a16:creationId xmlns:a16="http://schemas.microsoft.com/office/drawing/2014/main" id="{81BD870E-2908-9854-216A-7CDCFC0771EB}"/>
                    </a:ext>
                  </a:extLst>
                </p:cNvPr>
                <p:cNvSpPr/>
                <p:nvPr/>
              </p:nvSpPr>
              <p:spPr>
                <a:xfrm>
                  <a:off x="2638013" y="4319604"/>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9" name="Freeform 238">
                  <a:extLst>
                    <a:ext uri="{FF2B5EF4-FFF2-40B4-BE49-F238E27FC236}">
                      <a16:creationId xmlns:a16="http://schemas.microsoft.com/office/drawing/2014/main" id="{6144A08A-7DF3-1DF0-4FBD-31C7DC54F14B}"/>
                    </a:ext>
                  </a:extLst>
                </p:cNvPr>
                <p:cNvSpPr/>
                <p:nvPr/>
              </p:nvSpPr>
              <p:spPr>
                <a:xfrm>
                  <a:off x="2613294" y="4344274"/>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40" name="Graphic 11">
                <a:extLst>
                  <a:ext uri="{FF2B5EF4-FFF2-40B4-BE49-F238E27FC236}">
                    <a16:creationId xmlns:a16="http://schemas.microsoft.com/office/drawing/2014/main" id="{B4C3C3B9-08C1-6C04-D2FB-1F2B9E5E7CB3}"/>
                  </a:ext>
                </a:extLst>
              </p:cNvPr>
              <p:cNvGrpSpPr/>
              <p:nvPr/>
            </p:nvGrpSpPr>
            <p:grpSpPr>
              <a:xfrm>
                <a:off x="2621978" y="4323157"/>
                <a:ext cx="49388" cy="49388"/>
                <a:chOff x="2621978" y="4323157"/>
                <a:chExt cx="49388" cy="49388"/>
              </a:xfrm>
            </p:grpSpPr>
            <p:sp>
              <p:nvSpPr>
                <p:cNvPr id="241" name="Freeform 240">
                  <a:extLst>
                    <a:ext uri="{FF2B5EF4-FFF2-40B4-BE49-F238E27FC236}">
                      <a16:creationId xmlns:a16="http://schemas.microsoft.com/office/drawing/2014/main" id="{88990E8E-FD78-2C4C-9A1F-F99E03B3F19A}"/>
                    </a:ext>
                  </a:extLst>
                </p:cNvPr>
                <p:cNvSpPr/>
                <p:nvPr/>
              </p:nvSpPr>
              <p:spPr>
                <a:xfrm>
                  <a:off x="2646647" y="4323157"/>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2" name="Freeform 241">
                  <a:extLst>
                    <a:ext uri="{FF2B5EF4-FFF2-40B4-BE49-F238E27FC236}">
                      <a16:creationId xmlns:a16="http://schemas.microsoft.com/office/drawing/2014/main" id="{63E64D36-1609-68CF-3902-5B53DF375E6B}"/>
                    </a:ext>
                  </a:extLst>
                </p:cNvPr>
                <p:cNvSpPr/>
                <p:nvPr/>
              </p:nvSpPr>
              <p:spPr>
                <a:xfrm>
                  <a:off x="2621978" y="4347875"/>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43" name="Graphic 11">
                <a:extLst>
                  <a:ext uri="{FF2B5EF4-FFF2-40B4-BE49-F238E27FC236}">
                    <a16:creationId xmlns:a16="http://schemas.microsoft.com/office/drawing/2014/main" id="{B1A646FD-3410-4B47-7780-310F30FADDBF}"/>
                  </a:ext>
                </a:extLst>
              </p:cNvPr>
              <p:cNvGrpSpPr/>
              <p:nvPr/>
            </p:nvGrpSpPr>
            <p:grpSpPr>
              <a:xfrm>
                <a:off x="2631105" y="4328781"/>
                <a:ext cx="49437" cy="49388"/>
                <a:chOff x="2631105" y="4328781"/>
                <a:chExt cx="49437" cy="49388"/>
              </a:xfrm>
            </p:grpSpPr>
            <p:sp>
              <p:nvSpPr>
                <p:cNvPr id="244" name="Freeform 243">
                  <a:extLst>
                    <a:ext uri="{FF2B5EF4-FFF2-40B4-BE49-F238E27FC236}">
                      <a16:creationId xmlns:a16="http://schemas.microsoft.com/office/drawing/2014/main" id="{D98802C1-53C7-81F6-E091-8A5339DFF908}"/>
                    </a:ext>
                  </a:extLst>
                </p:cNvPr>
                <p:cNvSpPr/>
                <p:nvPr/>
              </p:nvSpPr>
              <p:spPr>
                <a:xfrm>
                  <a:off x="2655824" y="4328781"/>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5" name="Freeform 244">
                  <a:extLst>
                    <a:ext uri="{FF2B5EF4-FFF2-40B4-BE49-F238E27FC236}">
                      <a16:creationId xmlns:a16="http://schemas.microsoft.com/office/drawing/2014/main" id="{EE227FCB-C698-1797-2921-584D1F1F60CC}"/>
                    </a:ext>
                  </a:extLst>
                </p:cNvPr>
                <p:cNvSpPr/>
                <p:nvPr/>
              </p:nvSpPr>
              <p:spPr>
                <a:xfrm>
                  <a:off x="2631105" y="4353451"/>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46" name="Graphic 11">
                <a:extLst>
                  <a:ext uri="{FF2B5EF4-FFF2-40B4-BE49-F238E27FC236}">
                    <a16:creationId xmlns:a16="http://schemas.microsoft.com/office/drawing/2014/main" id="{054259B9-3E13-A50D-472D-211D3A7FAA59}"/>
                  </a:ext>
                </a:extLst>
              </p:cNvPr>
              <p:cNvGrpSpPr/>
              <p:nvPr/>
            </p:nvGrpSpPr>
            <p:grpSpPr>
              <a:xfrm>
                <a:off x="2633671" y="4343040"/>
                <a:ext cx="49388" cy="49388"/>
                <a:chOff x="2633671" y="4343040"/>
                <a:chExt cx="49388" cy="49388"/>
              </a:xfrm>
            </p:grpSpPr>
            <p:sp>
              <p:nvSpPr>
                <p:cNvPr id="247" name="Freeform 246">
                  <a:extLst>
                    <a:ext uri="{FF2B5EF4-FFF2-40B4-BE49-F238E27FC236}">
                      <a16:creationId xmlns:a16="http://schemas.microsoft.com/office/drawing/2014/main" id="{CE5087B7-8E86-2A7D-4B02-AD3CEE316498}"/>
                    </a:ext>
                  </a:extLst>
                </p:cNvPr>
                <p:cNvSpPr/>
                <p:nvPr/>
              </p:nvSpPr>
              <p:spPr>
                <a:xfrm>
                  <a:off x="2658390" y="4343040"/>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8" name="Freeform 247">
                  <a:extLst>
                    <a:ext uri="{FF2B5EF4-FFF2-40B4-BE49-F238E27FC236}">
                      <a16:creationId xmlns:a16="http://schemas.microsoft.com/office/drawing/2014/main" id="{D74DA671-9A0B-ABAA-34C8-A520909E82E1}"/>
                    </a:ext>
                  </a:extLst>
                </p:cNvPr>
                <p:cNvSpPr/>
                <p:nvPr/>
              </p:nvSpPr>
              <p:spPr>
                <a:xfrm>
                  <a:off x="2633671" y="4367709"/>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49" name="Graphic 11">
                <a:extLst>
                  <a:ext uri="{FF2B5EF4-FFF2-40B4-BE49-F238E27FC236}">
                    <a16:creationId xmlns:a16="http://schemas.microsoft.com/office/drawing/2014/main" id="{E25D7815-9194-5F8B-835E-76EF09818F51}"/>
                  </a:ext>
                </a:extLst>
              </p:cNvPr>
              <p:cNvGrpSpPr/>
              <p:nvPr/>
            </p:nvGrpSpPr>
            <p:grpSpPr>
              <a:xfrm>
                <a:off x="2641318" y="4343040"/>
                <a:ext cx="49388" cy="49388"/>
                <a:chOff x="2641318" y="4343040"/>
                <a:chExt cx="49388" cy="49388"/>
              </a:xfrm>
            </p:grpSpPr>
            <p:sp>
              <p:nvSpPr>
                <p:cNvPr id="250" name="Freeform 249">
                  <a:extLst>
                    <a:ext uri="{FF2B5EF4-FFF2-40B4-BE49-F238E27FC236}">
                      <a16:creationId xmlns:a16="http://schemas.microsoft.com/office/drawing/2014/main" id="{5CEA92B6-ECEF-DF32-45AE-75CA99E64F82}"/>
                    </a:ext>
                  </a:extLst>
                </p:cNvPr>
                <p:cNvSpPr/>
                <p:nvPr/>
              </p:nvSpPr>
              <p:spPr>
                <a:xfrm>
                  <a:off x="2666037" y="4343040"/>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1" name="Freeform 250">
                  <a:extLst>
                    <a:ext uri="{FF2B5EF4-FFF2-40B4-BE49-F238E27FC236}">
                      <a16:creationId xmlns:a16="http://schemas.microsoft.com/office/drawing/2014/main" id="{54FC90EA-251A-754C-B193-931673C42B12}"/>
                    </a:ext>
                  </a:extLst>
                </p:cNvPr>
                <p:cNvSpPr/>
                <p:nvPr/>
              </p:nvSpPr>
              <p:spPr>
                <a:xfrm>
                  <a:off x="2641318" y="4367709"/>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52" name="Graphic 11">
                <a:extLst>
                  <a:ext uri="{FF2B5EF4-FFF2-40B4-BE49-F238E27FC236}">
                    <a16:creationId xmlns:a16="http://schemas.microsoft.com/office/drawing/2014/main" id="{5E3503A3-3C7E-C0E2-8C0B-D97CF0526841}"/>
                  </a:ext>
                </a:extLst>
              </p:cNvPr>
              <p:cNvGrpSpPr/>
              <p:nvPr/>
            </p:nvGrpSpPr>
            <p:grpSpPr>
              <a:xfrm>
                <a:off x="2649459" y="4343040"/>
                <a:ext cx="49388" cy="49388"/>
                <a:chOff x="2649459" y="4343040"/>
                <a:chExt cx="49388" cy="49388"/>
              </a:xfrm>
            </p:grpSpPr>
            <p:sp>
              <p:nvSpPr>
                <p:cNvPr id="253" name="Freeform 252">
                  <a:extLst>
                    <a:ext uri="{FF2B5EF4-FFF2-40B4-BE49-F238E27FC236}">
                      <a16:creationId xmlns:a16="http://schemas.microsoft.com/office/drawing/2014/main" id="{C42CA904-8363-2D67-8C6F-DF684183D7E2}"/>
                    </a:ext>
                  </a:extLst>
                </p:cNvPr>
                <p:cNvSpPr/>
                <p:nvPr/>
              </p:nvSpPr>
              <p:spPr>
                <a:xfrm>
                  <a:off x="2674178" y="4343040"/>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4" name="Freeform 253">
                  <a:extLst>
                    <a:ext uri="{FF2B5EF4-FFF2-40B4-BE49-F238E27FC236}">
                      <a16:creationId xmlns:a16="http://schemas.microsoft.com/office/drawing/2014/main" id="{DAD39426-CD94-5E99-3575-57A5C2FB58F9}"/>
                    </a:ext>
                  </a:extLst>
                </p:cNvPr>
                <p:cNvSpPr/>
                <p:nvPr/>
              </p:nvSpPr>
              <p:spPr>
                <a:xfrm>
                  <a:off x="2649459" y="4367709"/>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55" name="Graphic 11">
                <a:extLst>
                  <a:ext uri="{FF2B5EF4-FFF2-40B4-BE49-F238E27FC236}">
                    <a16:creationId xmlns:a16="http://schemas.microsoft.com/office/drawing/2014/main" id="{B713CB06-8D7B-258F-431F-A85E448A5ECC}"/>
                  </a:ext>
                </a:extLst>
              </p:cNvPr>
              <p:cNvGrpSpPr/>
              <p:nvPr/>
            </p:nvGrpSpPr>
            <p:grpSpPr>
              <a:xfrm>
                <a:off x="2658636" y="4343040"/>
                <a:ext cx="49388" cy="49388"/>
                <a:chOff x="2658636" y="4343040"/>
                <a:chExt cx="49388" cy="49388"/>
              </a:xfrm>
            </p:grpSpPr>
            <p:sp>
              <p:nvSpPr>
                <p:cNvPr id="256" name="Freeform 255">
                  <a:extLst>
                    <a:ext uri="{FF2B5EF4-FFF2-40B4-BE49-F238E27FC236}">
                      <a16:creationId xmlns:a16="http://schemas.microsoft.com/office/drawing/2014/main" id="{D8C92ABF-8309-8DD0-46E6-033B84781E9C}"/>
                    </a:ext>
                  </a:extLst>
                </p:cNvPr>
                <p:cNvSpPr/>
                <p:nvPr/>
              </p:nvSpPr>
              <p:spPr>
                <a:xfrm>
                  <a:off x="2683355" y="4343040"/>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 name="Freeform 256">
                  <a:extLst>
                    <a:ext uri="{FF2B5EF4-FFF2-40B4-BE49-F238E27FC236}">
                      <a16:creationId xmlns:a16="http://schemas.microsoft.com/office/drawing/2014/main" id="{5366D0A5-44C6-45CF-4DF6-61A75C41CDB2}"/>
                    </a:ext>
                  </a:extLst>
                </p:cNvPr>
                <p:cNvSpPr/>
                <p:nvPr/>
              </p:nvSpPr>
              <p:spPr>
                <a:xfrm>
                  <a:off x="2658636" y="4367709"/>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58" name="Graphic 11">
                <a:extLst>
                  <a:ext uri="{FF2B5EF4-FFF2-40B4-BE49-F238E27FC236}">
                    <a16:creationId xmlns:a16="http://schemas.microsoft.com/office/drawing/2014/main" id="{B690DFF2-204C-2F62-0218-F65337052411}"/>
                  </a:ext>
                </a:extLst>
              </p:cNvPr>
              <p:cNvGrpSpPr/>
              <p:nvPr/>
            </p:nvGrpSpPr>
            <p:grpSpPr>
              <a:xfrm>
                <a:off x="2682072" y="4343040"/>
                <a:ext cx="49388" cy="49388"/>
                <a:chOff x="2682072" y="4343040"/>
                <a:chExt cx="49388" cy="49388"/>
              </a:xfrm>
            </p:grpSpPr>
            <p:sp>
              <p:nvSpPr>
                <p:cNvPr id="259" name="Freeform 258">
                  <a:extLst>
                    <a:ext uri="{FF2B5EF4-FFF2-40B4-BE49-F238E27FC236}">
                      <a16:creationId xmlns:a16="http://schemas.microsoft.com/office/drawing/2014/main" id="{70468511-263B-C588-E225-5D71A16C86E9}"/>
                    </a:ext>
                  </a:extLst>
                </p:cNvPr>
                <p:cNvSpPr/>
                <p:nvPr/>
              </p:nvSpPr>
              <p:spPr>
                <a:xfrm>
                  <a:off x="2706742" y="4343040"/>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 name="Freeform 259">
                  <a:extLst>
                    <a:ext uri="{FF2B5EF4-FFF2-40B4-BE49-F238E27FC236}">
                      <a16:creationId xmlns:a16="http://schemas.microsoft.com/office/drawing/2014/main" id="{8A50F6AB-5B2C-526E-04EA-CAFD10597CAC}"/>
                    </a:ext>
                  </a:extLst>
                </p:cNvPr>
                <p:cNvSpPr/>
                <p:nvPr/>
              </p:nvSpPr>
              <p:spPr>
                <a:xfrm>
                  <a:off x="2682072" y="4367709"/>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61" name="Graphic 11">
                <a:extLst>
                  <a:ext uri="{FF2B5EF4-FFF2-40B4-BE49-F238E27FC236}">
                    <a16:creationId xmlns:a16="http://schemas.microsoft.com/office/drawing/2014/main" id="{C97B7754-3549-C592-EBBC-A8F74D7DCA0A}"/>
                  </a:ext>
                </a:extLst>
              </p:cNvPr>
              <p:cNvGrpSpPr/>
              <p:nvPr/>
            </p:nvGrpSpPr>
            <p:grpSpPr>
              <a:xfrm>
                <a:off x="2746755" y="4355769"/>
                <a:ext cx="49388" cy="49388"/>
                <a:chOff x="2746755" y="4355769"/>
                <a:chExt cx="49388" cy="49388"/>
              </a:xfrm>
            </p:grpSpPr>
            <p:sp>
              <p:nvSpPr>
                <p:cNvPr id="262" name="Freeform 261">
                  <a:extLst>
                    <a:ext uri="{FF2B5EF4-FFF2-40B4-BE49-F238E27FC236}">
                      <a16:creationId xmlns:a16="http://schemas.microsoft.com/office/drawing/2014/main" id="{55CBB04E-B8D5-C081-1E7E-BF40A8994B48}"/>
                    </a:ext>
                  </a:extLst>
                </p:cNvPr>
                <p:cNvSpPr/>
                <p:nvPr/>
              </p:nvSpPr>
              <p:spPr>
                <a:xfrm>
                  <a:off x="2771425" y="435576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3" name="Freeform 262">
                  <a:extLst>
                    <a:ext uri="{FF2B5EF4-FFF2-40B4-BE49-F238E27FC236}">
                      <a16:creationId xmlns:a16="http://schemas.microsoft.com/office/drawing/2014/main" id="{1C1C411B-C829-3BF1-165A-6E0B0E1B5BC4}"/>
                    </a:ext>
                  </a:extLst>
                </p:cNvPr>
                <p:cNvSpPr/>
                <p:nvPr/>
              </p:nvSpPr>
              <p:spPr>
                <a:xfrm>
                  <a:off x="2746755" y="4380439"/>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64" name="Graphic 11">
                <a:extLst>
                  <a:ext uri="{FF2B5EF4-FFF2-40B4-BE49-F238E27FC236}">
                    <a16:creationId xmlns:a16="http://schemas.microsoft.com/office/drawing/2014/main" id="{E3D0B793-8902-5B76-39FC-A79A78F68F98}"/>
                  </a:ext>
                </a:extLst>
              </p:cNvPr>
              <p:cNvGrpSpPr/>
              <p:nvPr/>
            </p:nvGrpSpPr>
            <p:grpSpPr>
              <a:xfrm>
                <a:off x="2755390" y="4360851"/>
                <a:ext cx="49437" cy="49388"/>
                <a:chOff x="2755390" y="4360851"/>
                <a:chExt cx="49437" cy="49388"/>
              </a:xfrm>
            </p:grpSpPr>
            <p:sp>
              <p:nvSpPr>
                <p:cNvPr id="265" name="Freeform 264">
                  <a:extLst>
                    <a:ext uri="{FF2B5EF4-FFF2-40B4-BE49-F238E27FC236}">
                      <a16:creationId xmlns:a16="http://schemas.microsoft.com/office/drawing/2014/main" id="{65A6BAF3-0FAC-5C6E-5590-D20F800721FD}"/>
                    </a:ext>
                  </a:extLst>
                </p:cNvPr>
                <p:cNvSpPr/>
                <p:nvPr/>
              </p:nvSpPr>
              <p:spPr>
                <a:xfrm>
                  <a:off x="2780108" y="4360851"/>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6" name="Freeform 265">
                  <a:extLst>
                    <a:ext uri="{FF2B5EF4-FFF2-40B4-BE49-F238E27FC236}">
                      <a16:creationId xmlns:a16="http://schemas.microsoft.com/office/drawing/2014/main" id="{8B5D5A90-CED9-C5D8-6E4F-CABACFA0AEB0}"/>
                    </a:ext>
                  </a:extLst>
                </p:cNvPr>
                <p:cNvSpPr/>
                <p:nvPr/>
              </p:nvSpPr>
              <p:spPr>
                <a:xfrm>
                  <a:off x="2755390" y="4385570"/>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67" name="Graphic 11">
                <a:extLst>
                  <a:ext uri="{FF2B5EF4-FFF2-40B4-BE49-F238E27FC236}">
                    <a16:creationId xmlns:a16="http://schemas.microsoft.com/office/drawing/2014/main" id="{8445187F-C31B-9C2F-3BE0-9212791A0079}"/>
                  </a:ext>
                </a:extLst>
              </p:cNvPr>
              <p:cNvGrpSpPr/>
              <p:nvPr/>
            </p:nvGrpSpPr>
            <p:grpSpPr>
              <a:xfrm>
                <a:off x="2762544" y="4360851"/>
                <a:ext cx="49388" cy="49388"/>
                <a:chOff x="2762544" y="4360851"/>
                <a:chExt cx="49388" cy="49388"/>
              </a:xfrm>
            </p:grpSpPr>
            <p:sp>
              <p:nvSpPr>
                <p:cNvPr id="268" name="Freeform 267">
                  <a:extLst>
                    <a:ext uri="{FF2B5EF4-FFF2-40B4-BE49-F238E27FC236}">
                      <a16:creationId xmlns:a16="http://schemas.microsoft.com/office/drawing/2014/main" id="{7E03900D-5064-B5BC-489D-6E8BA5F543B5}"/>
                    </a:ext>
                  </a:extLst>
                </p:cNvPr>
                <p:cNvSpPr/>
                <p:nvPr/>
              </p:nvSpPr>
              <p:spPr>
                <a:xfrm>
                  <a:off x="2787213" y="4360851"/>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9" name="Freeform 268">
                  <a:extLst>
                    <a:ext uri="{FF2B5EF4-FFF2-40B4-BE49-F238E27FC236}">
                      <a16:creationId xmlns:a16="http://schemas.microsoft.com/office/drawing/2014/main" id="{AB4A4079-5164-F2DC-3C6D-5217FD5CF723}"/>
                    </a:ext>
                  </a:extLst>
                </p:cNvPr>
                <p:cNvSpPr/>
                <p:nvPr/>
              </p:nvSpPr>
              <p:spPr>
                <a:xfrm>
                  <a:off x="2762544" y="4385570"/>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70" name="Graphic 11">
                <a:extLst>
                  <a:ext uri="{FF2B5EF4-FFF2-40B4-BE49-F238E27FC236}">
                    <a16:creationId xmlns:a16="http://schemas.microsoft.com/office/drawing/2014/main" id="{28B93FBA-581B-ACD8-638E-569073022387}"/>
                  </a:ext>
                </a:extLst>
              </p:cNvPr>
              <p:cNvGrpSpPr/>
              <p:nvPr/>
            </p:nvGrpSpPr>
            <p:grpSpPr>
              <a:xfrm>
                <a:off x="2769649" y="4360851"/>
                <a:ext cx="49437" cy="49388"/>
                <a:chOff x="2769649" y="4360851"/>
                <a:chExt cx="49437" cy="49388"/>
              </a:xfrm>
            </p:grpSpPr>
            <p:sp>
              <p:nvSpPr>
                <p:cNvPr id="271" name="Freeform 270">
                  <a:extLst>
                    <a:ext uri="{FF2B5EF4-FFF2-40B4-BE49-F238E27FC236}">
                      <a16:creationId xmlns:a16="http://schemas.microsoft.com/office/drawing/2014/main" id="{693C3A52-B314-7A27-D228-D641745F93C6}"/>
                    </a:ext>
                  </a:extLst>
                </p:cNvPr>
                <p:cNvSpPr/>
                <p:nvPr/>
              </p:nvSpPr>
              <p:spPr>
                <a:xfrm>
                  <a:off x="2794367" y="4360851"/>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2" name="Freeform 271">
                  <a:extLst>
                    <a:ext uri="{FF2B5EF4-FFF2-40B4-BE49-F238E27FC236}">
                      <a16:creationId xmlns:a16="http://schemas.microsoft.com/office/drawing/2014/main" id="{81D49BF7-0F89-92E9-546B-C40C91BC0EF9}"/>
                    </a:ext>
                  </a:extLst>
                </p:cNvPr>
                <p:cNvSpPr/>
                <p:nvPr/>
              </p:nvSpPr>
              <p:spPr>
                <a:xfrm>
                  <a:off x="2769649" y="4385570"/>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73" name="Graphic 11">
                <a:extLst>
                  <a:ext uri="{FF2B5EF4-FFF2-40B4-BE49-F238E27FC236}">
                    <a16:creationId xmlns:a16="http://schemas.microsoft.com/office/drawing/2014/main" id="{ADEA8CCF-6C8F-5C6D-4EB9-C935C4281365}"/>
                  </a:ext>
                </a:extLst>
              </p:cNvPr>
              <p:cNvGrpSpPr/>
              <p:nvPr/>
            </p:nvGrpSpPr>
            <p:grpSpPr>
              <a:xfrm>
                <a:off x="2777789" y="4360851"/>
                <a:ext cx="49437" cy="49388"/>
                <a:chOff x="2777789" y="4360851"/>
                <a:chExt cx="49437" cy="49388"/>
              </a:xfrm>
            </p:grpSpPr>
            <p:sp>
              <p:nvSpPr>
                <p:cNvPr id="274" name="Freeform 273">
                  <a:extLst>
                    <a:ext uri="{FF2B5EF4-FFF2-40B4-BE49-F238E27FC236}">
                      <a16:creationId xmlns:a16="http://schemas.microsoft.com/office/drawing/2014/main" id="{997376F3-5086-1B96-C2D3-489C10227E85}"/>
                    </a:ext>
                  </a:extLst>
                </p:cNvPr>
                <p:cNvSpPr/>
                <p:nvPr/>
              </p:nvSpPr>
              <p:spPr>
                <a:xfrm>
                  <a:off x="2802508" y="4360851"/>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5" name="Freeform 274">
                  <a:extLst>
                    <a:ext uri="{FF2B5EF4-FFF2-40B4-BE49-F238E27FC236}">
                      <a16:creationId xmlns:a16="http://schemas.microsoft.com/office/drawing/2014/main" id="{7F7AA192-B749-A979-ABCD-F153703CCCC6}"/>
                    </a:ext>
                  </a:extLst>
                </p:cNvPr>
                <p:cNvSpPr/>
                <p:nvPr/>
              </p:nvSpPr>
              <p:spPr>
                <a:xfrm>
                  <a:off x="2777789" y="4385570"/>
                  <a:ext cx="49437" cy="4933"/>
                </a:xfrm>
                <a:custGeom>
                  <a:avLst/>
                  <a:gdLst>
                    <a:gd name="connsiteX0" fmla="*/ 49438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76" name="Graphic 11">
                <a:extLst>
                  <a:ext uri="{FF2B5EF4-FFF2-40B4-BE49-F238E27FC236}">
                    <a16:creationId xmlns:a16="http://schemas.microsoft.com/office/drawing/2014/main" id="{94EC0506-8070-ABCD-193B-455A1480C60F}"/>
                  </a:ext>
                </a:extLst>
              </p:cNvPr>
              <p:cNvGrpSpPr/>
              <p:nvPr/>
            </p:nvGrpSpPr>
            <p:grpSpPr>
              <a:xfrm>
                <a:off x="2783907" y="4360851"/>
                <a:ext cx="49437" cy="49388"/>
                <a:chOff x="2783907" y="4360851"/>
                <a:chExt cx="49437" cy="49388"/>
              </a:xfrm>
            </p:grpSpPr>
            <p:sp>
              <p:nvSpPr>
                <p:cNvPr id="277" name="Freeform 276">
                  <a:extLst>
                    <a:ext uri="{FF2B5EF4-FFF2-40B4-BE49-F238E27FC236}">
                      <a16:creationId xmlns:a16="http://schemas.microsoft.com/office/drawing/2014/main" id="{8D9A0AFC-1A84-23BC-991C-93E3ECA9DC85}"/>
                    </a:ext>
                  </a:extLst>
                </p:cNvPr>
                <p:cNvSpPr/>
                <p:nvPr/>
              </p:nvSpPr>
              <p:spPr>
                <a:xfrm>
                  <a:off x="2808626" y="4360851"/>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8" name="Freeform 277">
                  <a:extLst>
                    <a:ext uri="{FF2B5EF4-FFF2-40B4-BE49-F238E27FC236}">
                      <a16:creationId xmlns:a16="http://schemas.microsoft.com/office/drawing/2014/main" id="{3C5917EE-7408-889A-FF91-0887C9E8986D}"/>
                    </a:ext>
                  </a:extLst>
                </p:cNvPr>
                <p:cNvSpPr/>
                <p:nvPr/>
              </p:nvSpPr>
              <p:spPr>
                <a:xfrm>
                  <a:off x="2783907" y="4385570"/>
                  <a:ext cx="49437" cy="4933"/>
                </a:xfrm>
                <a:custGeom>
                  <a:avLst/>
                  <a:gdLst>
                    <a:gd name="connsiteX0" fmla="*/ 49438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79" name="Graphic 11">
                <a:extLst>
                  <a:ext uri="{FF2B5EF4-FFF2-40B4-BE49-F238E27FC236}">
                    <a16:creationId xmlns:a16="http://schemas.microsoft.com/office/drawing/2014/main" id="{F235B621-8BE1-97F2-E67C-8C480912ED7B}"/>
                  </a:ext>
                </a:extLst>
              </p:cNvPr>
              <p:cNvGrpSpPr/>
              <p:nvPr/>
            </p:nvGrpSpPr>
            <p:grpSpPr>
              <a:xfrm>
                <a:off x="2805320" y="4359322"/>
                <a:ext cx="49388" cy="49388"/>
                <a:chOff x="2805320" y="4359322"/>
                <a:chExt cx="49388" cy="49388"/>
              </a:xfrm>
            </p:grpSpPr>
            <p:sp>
              <p:nvSpPr>
                <p:cNvPr id="280" name="Freeform 279">
                  <a:extLst>
                    <a:ext uri="{FF2B5EF4-FFF2-40B4-BE49-F238E27FC236}">
                      <a16:creationId xmlns:a16="http://schemas.microsoft.com/office/drawing/2014/main" id="{99929A60-A67B-A59F-CE2E-2A9D0D4B1327}"/>
                    </a:ext>
                  </a:extLst>
                </p:cNvPr>
                <p:cNvSpPr/>
                <p:nvPr/>
              </p:nvSpPr>
              <p:spPr>
                <a:xfrm>
                  <a:off x="2830039" y="4359322"/>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1" name="Freeform 280">
                  <a:extLst>
                    <a:ext uri="{FF2B5EF4-FFF2-40B4-BE49-F238E27FC236}">
                      <a16:creationId xmlns:a16="http://schemas.microsoft.com/office/drawing/2014/main" id="{7D21D4EB-23A9-3949-5302-B030A806CB9E}"/>
                    </a:ext>
                  </a:extLst>
                </p:cNvPr>
                <p:cNvSpPr/>
                <p:nvPr/>
              </p:nvSpPr>
              <p:spPr>
                <a:xfrm>
                  <a:off x="2805320" y="4384041"/>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82" name="Graphic 11">
                <a:extLst>
                  <a:ext uri="{FF2B5EF4-FFF2-40B4-BE49-F238E27FC236}">
                    <a16:creationId xmlns:a16="http://schemas.microsoft.com/office/drawing/2014/main" id="{3A0083C3-D45F-7305-4AB6-98C1D398B2F5}"/>
                  </a:ext>
                </a:extLst>
              </p:cNvPr>
              <p:cNvGrpSpPr/>
              <p:nvPr/>
            </p:nvGrpSpPr>
            <p:grpSpPr>
              <a:xfrm>
                <a:off x="2814991" y="4371558"/>
                <a:ext cx="49388" cy="49388"/>
                <a:chOff x="2814991" y="4371558"/>
                <a:chExt cx="49388" cy="49388"/>
              </a:xfrm>
            </p:grpSpPr>
            <p:sp>
              <p:nvSpPr>
                <p:cNvPr id="283" name="Freeform 282">
                  <a:extLst>
                    <a:ext uri="{FF2B5EF4-FFF2-40B4-BE49-F238E27FC236}">
                      <a16:creationId xmlns:a16="http://schemas.microsoft.com/office/drawing/2014/main" id="{CC20240E-5F88-F197-1D02-83D1DEB8BB2A}"/>
                    </a:ext>
                  </a:extLst>
                </p:cNvPr>
                <p:cNvSpPr/>
                <p:nvPr/>
              </p:nvSpPr>
              <p:spPr>
                <a:xfrm>
                  <a:off x="2839710" y="4371558"/>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4" name="Freeform 283">
                  <a:extLst>
                    <a:ext uri="{FF2B5EF4-FFF2-40B4-BE49-F238E27FC236}">
                      <a16:creationId xmlns:a16="http://schemas.microsoft.com/office/drawing/2014/main" id="{47DAA070-37D0-2B6F-6EC4-06F50367DA33}"/>
                    </a:ext>
                  </a:extLst>
                </p:cNvPr>
                <p:cNvSpPr/>
                <p:nvPr/>
              </p:nvSpPr>
              <p:spPr>
                <a:xfrm>
                  <a:off x="2814991" y="439622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85" name="Graphic 11">
                <a:extLst>
                  <a:ext uri="{FF2B5EF4-FFF2-40B4-BE49-F238E27FC236}">
                    <a16:creationId xmlns:a16="http://schemas.microsoft.com/office/drawing/2014/main" id="{4C697AE4-5EB9-20C8-B0C7-01085104C717}"/>
                  </a:ext>
                </a:extLst>
              </p:cNvPr>
              <p:cNvGrpSpPr/>
              <p:nvPr/>
            </p:nvGrpSpPr>
            <p:grpSpPr>
              <a:xfrm>
                <a:off x="2903110" y="4396523"/>
                <a:ext cx="49388" cy="49388"/>
                <a:chOff x="2903110" y="4396523"/>
                <a:chExt cx="49388" cy="49388"/>
              </a:xfrm>
            </p:grpSpPr>
            <p:sp>
              <p:nvSpPr>
                <p:cNvPr id="286" name="Freeform 285">
                  <a:extLst>
                    <a:ext uri="{FF2B5EF4-FFF2-40B4-BE49-F238E27FC236}">
                      <a16:creationId xmlns:a16="http://schemas.microsoft.com/office/drawing/2014/main" id="{3980CDAA-E7C5-00B1-C7CD-434B1FA5978F}"/>
                    </a:ext>
                  </a:extLst>
                </p:cNvPr>
                <p:cNvSpPr/>
                <p:nvPr/>
              </p:nvSpPr>
              <p:spPr>
                <a:xfrm>
                  <a:off x="2927829" y="4396523"/>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7" name="Freeform 286">
                  <a:extLst>
                    <a:ext uri="{FF2B5EF4-FFF2-40B4-BE49-F238E27FC236}">
                      <a16:creationId xmlns:a16="http://schemas.microsoft.com/office/drawing/2014/main" id="{422733EC-80ED-5414-9CA6-D5774CA04A53}"/>
                    </a:ext>
                  </a:extLst>
                </p:cNvPr>
                <p:cNvSpPr/>
                <p:nvPr/>
              </p:nvSpPr>
              <p:spPr>
                <a:xfrm>
                  <a:off x="2903110" y="4421193"/>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88" name="Graphic 11">
                <a:extLst>
                  <a:ext uri="{FF2B5EF4-FFF2-40B4-BE49-F238E27FC236}">
                    <a16:creationId xmlns:a16="http://schemas.microsoft.com/office/drawing/2014/main" id="{2255B187-EBAE-AA7D-BFDA-91E58CC7474C}"/>
                  </a:ext>
                </a:extLst>
              </p:cNvPr>
              <p:cNvGrpSpPr/>
              <p:nvPr/>
            </p:nvGrpSpPr>
            <p:grpSpPr>
              <a:xfrm>
                <a:off x="2910757" y="4396523"/>
                <a:ext cx="49388" cy="49388"/>
                <a:chOff x="2910757" y="4396523"/>
                <a:chExt cx="49388" cy="49388"/>
              </a:xfrm>
            </p:grpSpPr>
            <p:sp>
              <p:nvSpPr>
                <p:cNvPr id="289" name="Freeform 288">
                  <a:extLst>
                    <a:ext uri="{FF2B5EF4-FFF2-40B4-BE49-F238E27FC236}">
                      <a16:creationId xmlns:a16="http://schemas.microsoft.com/office/drawing/2014/main" id="{8E1BA904-595B-28B1-2C38-14995B64BD51}"/>
                    </a:ext>
                  </a:extLst>
                </p:cNvPr>
                <p:cNvSpPr/>
                <p:nvPr/>
              </p:nvSpPr>
              <p:spPr>
                <a:xfrm>
                  <a:off x="2935427" y="4396523"/>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0" name="Freeform 289">
                  <a:extLst>
                    <a:ext uri="{FF2B5EF4-FFF2-40B4-BE49-F238E27FC236}">
                      <a16:creationId xmlns:a16="http://schemas.microsoft.com/office/drawing/2014/main" id="{7CE3D413-15E4-8377-5AA0-C28098CD0B4C}"/>
                    </a:ext>
                  </a:extLst>
                </p:cNvPr>
                <p:cNvSpPr/>
                <p:nvPr/>
              </p:nvSpPr>
              <p:spPr>
                <a:xfrm>
                  <a:off x="2910757" y="4421193"/>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91" name="Graphic 11">
                <a:extLst>
                  <a:ext uri="{FF2B5EF4-FFF2-40B4-BE49-F238E27FC236}">
                    <a16:creationId xmlns:a16="http://schemas.microsoft.com/office/drawing/2014/main" id="{9B37356B-A617-4BFA-ECBD-D504F79B3F3D}"/>
                  </a:ext>
                </a:extLst>
              </p:cNvPr>
              <p:cNvGrpSpPr/>
              <p:nvPr/>
            </p:nvGrpSpPr>
            <p:grpSpPr>
              <a:xfrm>
                <a:off x="2918898" y="4396523"/>
                <a:ext cx="49388" cy="49388"/>
                <a:chOff x="2918898" y="4396523"/>
                <a:chExt cx="49388" cy="49388"/>
              </a:xfrm>
            </p:grpSpPr>
            <p:sp>
              <p:nvSpPr>
                <p:cNvPr id="292" name="Freeform 291">
                  <a:extLst>
                    <a:ext uri="{FF2B5EF4-FFF2-40B4-BE49-F238E27FC236}">
                      <a16:creationId xmlns:a16="http://schemas.microsoft.com/office/drawing/2014/main" id="{006D597C-8096-7AD0-F6C9-915B1D346E34}"/>
                    </a:ext>
                  </a:extLst>
                </p:cNvPr>
                <p:cNvSpPr/>
                <p:nvPr/>
              </p:nvSpPr>
              <p:spPr>
                <a:xfrm>
                  <a:off x="2943617" y="4396523"/>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3" name="Freeform 292">
                  <a:extLst>
                    <a:ext uri="{FF2B5EF4-FFF2-40B4-BE49-F238E27FC236}">
                      <a16:creationId xmlns:a16="http://schemas.microsoft.com/office/drawing/2014/main" id="{A4D5D1BF-5A92-6FD1-3912-FD52A3C9763E}"/>
                    </a:ext>
                  </a:extLst>
                </p:cNvPr>
                <p:cNvSpPr/>
                <p:nvPr/>
              </p:nvSpPr>
              <p:spPr>
                <a:xfrm>
                  <a:off x="2918898" y="4421193"/>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94" name="Graphic 11">
                <a:extLst>
                  <a:ext uri="{FF2B5EF4-FFF2-40B4-BE49-F238E27FC236}">
                    <a16:creationId xmlns:a16="http://schemas.microsoft.com/office/drawing/2014/main" id="{169F77A8-61E5-20EC-BEE5-D508C434FB4D}"/>
                  </a:ext>
                </a:extLst>
              </p:cNvPr>
              <p:cNvGrpSpPr/>
              <p:nvPr/>
            </p:nvGrpSpPr>
            <p:grpSpPr>
              <a:xfrm>
                <a:off x="2927039" y="4396523"/>
                <a:ext cx="49388" cy="49388"/>
                <a:chOff x="2927039" y="4396523"/>
                <a:chExt cx="49388" cy="49388"/>
              </a:xfrm>
            </p:grpSpPr>
            <p:sp>
              <p:nvSpPr>
                <p:cNvPr id="295" name="Freeform 294">
                  <a:extLst>
                    <a:ext uri="{FF2B5EF4-FFF2-40B4-BE49-F238E27FC236}">
                      <a16:creationId xmlns:a16="http://schemas.microsoft.com/office/drawing/2014/main" id="{D89D75AC-9EDC-0720-9C18-36BFE5D5D41D}"/>
                    </a:ext>
                  </a:extLst>
                </p:cNvPr>
                <p:cNvSpPr/>
                <p:nvPr/>
              </p:nvSpPr>
              <p:spPr>
                <a:xfrm>
                  <a:off x="2951758" y="4396523"/>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6" name="Freeform 295">
                  <a:extLst>
                    <a:ext uri="{FF2B5EF4-FFF2-40B4-BE49-F238E27FC236}">
                      <a16:creationId xmlns:a16="http://schemas.microsoft.com/office/drawing/2014/main" id="{19E99FE6-4019-45A6-3042-4507CCA09920}"/>
                    </a:ext>
                  </a:extLst>
                </p:cNvPr>
                <p:cNvSpPr/>
                <p:nvPr/>
              </p:nvSpPr>
              <p:spPr>
                <a:xfrm>
                  <a:off x="2927039" y="4421193"/>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97" name="Graphic 11">
                <a:extLst>
                  <a:ext uri="{FF2B5EF4-FFF2-40B4-BE49-F238E27FC236}">
                    <a16:creationId xmlns:a16="http://schemas.microsoft.com/office/drawing/2014/main" id="{3FBE5E01-F6F9-5AC2-EB04-BFB6E78C899A}"/>
                  </a:ext>
                </a:extLst>
              </p:cNvPr>
              <p:cNvGrpSpPr/>
              <p:nvPr/>
            </p:nvGrpSpPr>
            <p:grpSpPr>
              <a:xfrm>
                <a:off x="2933651" y="4396523"/>
                <a:ext cx="49437" cy="49388"/>
                <a:chOff x="2933651" y="4396523"/>
                <a:chExt cx="49437" cy="49388"/>
              </a:xfrm>
            </p:grpSpPr>
            <p:sp>
              <p:nvSpPr>
                <p:cNvPr id="298" name="Freeform 297">
                  <a:extLst>
                    <a:ext uri="{FF2B5EF4-FFF2-40B4-BE49-F238E27FC236}">
                      <a16:creationId xmlns:a16="http://schemas.microsoft.com/office/drawing/2014/main" id="{DBB1E47C-3604-6E5D-E495-89B2FEAB0C1F}"/>
                    </a:ext>
                  </a:extLst>
                </p:cNvPr>
                <p:cNvSpPr/>
                <p:nvPr/>
              </p:nvSpPr>
              <p:spPr>
                <a:xfrm>
                  <a:off x="2958369" y="4396523"/>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9" name="Freeform 298">
                  <a:extLst>
                    <a:ext uri="{FF2B5EF4-FFF2-40B4-BE49-F238E27FC236}">
                      <a16:creationId xmlns:a16="http://schemas.microsoft.com/office/drawing/2014/main" id="{F213C1DB-EEB5-1562-56F8-629FA0957C31}"/>
                    </a:ext>
                  </a:extLst>
                </p:cNvPr>
                <p:cNvSpPr/>
                <p:nvPr/>
              </p:nvSpPr>
              <p:spPr>
                <a:xfrm>
                  <a:off x="2933651" y="4421193"/>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00" name="Graphic 11">
                <a:extLst>
                  <a:ext uri="{FF2B5EF4-FFF2-40B4-BE49-F238E27FC236}">
                    <a16:creationId xmlns:a16="http://schemas.microsoft.com/office/drawing/2014/main" id="{B201068A-1657-A0CD-D047-073138B6B073}"/>
                  </a:ext>
                </a:extLst>
              </p:cNvPr>
              <p:cNvGrpSpPr/>
              <p:nvPr/>
            </p:nvGrpSpPr>
            <p:grpSpPr>
              <a:xfrm>
                <a:off x="2988663" y="4410782"/>
                <a:ext cx="49437" cy="49388"/>
                <a:chOff x="2988663" y="4410782"/>
                <a:chExt cx="49437" cy="49388"/>
              </a:xfrm>
            </p:grpSpPr>
            <p:sp>
              <p:nvSpPr>
                <p:cNvPr id="301" name="Freeform 300">
                  <a:extLst>
                    <a:ext uri="{FF2B5EF4-FFF2-40B4-BE49-F238E27FC236}">
                      <a16:creationId xmlns:a16="http://schemas.microsoft.com/office/drawing/2014/main" id="{14135D54-D14C-51CE-2358-F9A2A237BC0A}"/>
                    </a:ext>
                  </a:extLst>
                </p:cNvPr>
                <p:cNvSpPr/>
                <p:nvPr/>
              </p:nvSpPr>
              <p:spPr>
                <a:xfrm>
                  <a:off x="3013382" y="4410782"/>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2" name="Freeform 301">
                  <a:extLst>
                    <a:ext uri="{FF2B5EF4-FFF2-40B4-BE49-F238E27FC236}">
                      <a16:creationId xmlns:a16="http://schemas.microsoft.com/office/drawing/2014/main" id="{C1495C4A-E1D1-AB95-3E57-13E819197A57}"/>
                    </a:ext>
                  </a:extLst>
                </p:cNvPr>
                <p:cNvSpPr/>
                <p:nvPr/>
              </p:nvSpPr>
              <p:spPr>
                <a:xfrm>
                  <a:off x="2988663" y="4435452"/>
                  <a:ext cx="49437" cy="4933"/>
                </a:xfrm>
                <a:custGeom>
                  <a:avLst/>
                  <a:gdLst>
                    <a:gd name="connsiteX0" fmla="*/ 49438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03" name="Graphic 11">
                <a:extLst>
                  <a:ext uri="{FF2B5EF4-FFF2-40B4-BE49-F238E27FC236}">
                    <a16:creationId xmlns:a16="http://schemas.microsoft.com/office/drawing/2014/main" id="{9B7956BB-C094-1130-B0F7-EB989A8EAE37}"/>
                  </a:ext>
                </a:extLst>
              </p:cNvPr>
              <p:cNvGrpSpPr/>
              <p:nvPr/>
            </p:nvGrpSpPr>
            <p:grpSpPr>
              <a:xfrm>
                <a:off x="3010570" y="4412312"/>
                <a:ext cx="49388" cy="49388"/>
                <a:chOff x="3010570" y="4412312"/>
                <a:chExt cx="49388" cy="49388"/>
              </a:xfrm>
            </p:grpSpPr>
            <p:sp>
              <p:nvSpPr>
                <p:cNvPr id="304" name="Freeform 303">
                  <a:extLst>
                    <a:ext uri="{FF2B5EF4-FFF2-40B4-BE49-F238E27FC236}">
                      <a16:creationId xmlns:a16="http://schemas.microsoft.com/office/drawing/2014/main" id="{BE231534-95A1-9A99-AA17-9E78CDFD5FC7}"/>
                    </a:ext>
                  </a:extLst>
                </p:cNvPr>
                <p:cNvSpPr/>
                <p:nvPr/>
              </p:nvSpPr>
              <p:spPr>
                <a:xfrm>
                  <a:off x="3035289" y="4412312"/>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5" name="Freeform 304">
                  <a:extLst>
                    <a:ext uri="{FF2B5EF4-FFF2-40B4-BE49-F238E27FC236}">
                      <a16:creationId xmlns:a16="http://schemas.microsoft.com/office/drawing/2014/main" id="{5D399EF9-4B05-B7F1-56EF-4DB55BE13983}"/>
                    </a:ext>
                  </a:extLst>
                </p:cNvPr>
                <p:cNvSpPr/>
                <p:nvPr/>
              </p:nvSpPr>
              <p:spPr>
                <a:xfrm>
                  <a:off x="3010570" y="4436981"/>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06" name="Graphic 11">
                <a:extLst>
                  <a:ext uri="{FF2B5EF4-FFF2-40B4-BE49-F238E27FC236}">
                    <a16:creationId xmlns:a16="http://schemas.microsoft.com/office/drawing/2014/main" id="{35C0FD64-9BB9-DB77-B352-E81C9D213446}"/>
                  </a:ext>
                </a:extLst>
              </p:cNvPr>
              <p:cNvGrpSpPr/>
              <p:nvPr/>
            </p:nvGrpSpPr>
            <p:grpSpPr>
              <a:xfrm>
                <a:off x="3029417" y="4417394"/>
                <a:ext cx="49388" cy="49388"/>
                <a:chOff x="3029417" y="4417394"/>
                <a:chExt cx="49388" cy="49388"/>
              </a:xfrm>
            </p:grpSpPr>
            <p:sp>
              <p:nvSpPr>
                <p:cNvPr id="307" name="Freeform 306">
                  <a:extLst>
                    <a:ext uri="{FF2B5EF4-FFF2-40B4-BE49-F238E27FC236}">
                      <a16:creationId xmlns:a16="http://schemas.microsoft.com/office/drawing/2014/main" id="{E52A8296-878E-C7C6-9EF6-FEEA2C24B02F}"/>
                    </a:ext>
                  </a:extLst>
                </p:cNvPr>
                <p:cNvSpPr/>
                <p:nvPr/>
              </p:nvSpPr>
              <p:spPr>
                <a:xfrm>
                  <a:off x="3054136" y="4417394"/>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8" name="Freeform 307">
                  <a:extLst>
                    <a:ext uri="{FF2B5EF4-FFF2-40B4-BE49-F238E27FC236}">
                      <a16:creationId xmlns:a16="http://schemas.microsoft.com/office/drawing/2014/main" id="{86DBE9B8-8973-5084-E349-98662A49996A}"/>
                    </a:ext>
                  </a:extLst>
                </p:cNvPr>
                <p:cNvSpPr/>
                <p:nvPr/>
              </p:nvSpPr>
              <p:spPr>
                <a:xfrm>
                  <a:off x="3029417" y="4442063"/>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09" name="Graphic 11">
                <a:extLst>
                  <a:ext uri="{FF2B5EF4-FFF2-40B4-BE49-F238E27FC236}">
                    <a16:creationId xmlns:a16="http://schemas.microsoft.com/office/drawing/2014/main" id="{94948C06-4995-E37F-3A75-3C30ED8BF6AB}"/>
                  </a:ext>
                </a:extLst>
              </p:cNvPr>
              <p:cNvGrpSpPr/>
              <p:nvPr/>
            </p:nvGrpSpPr>
            <p:grpSpPr>
              <a:xfrm>
                <a:off x="3036029" y="4461206"/>
                <a:ext cx="49437" cy="49388"/>
                <a:chOff x="3036029" y="4461206"/>
                <a:chExt cx="49437" cy="49388"/>
              </a:xfrm>
            </p:grpSpPr>
            <p:sp>
              <p:nvSpPr>
                <p:cNvPr id="310" name="Freeform 309">
                  <a:extLst>
                    <a:ext uri="{FF2B5EF4-FFF2-40B4-BE49-F238E27FC236}">
                      <a16:creationId xmlns:a16="http://schemas.microsoft.com/office/drawing/2014/main" id="{0ED534AA-AE2C-E36B-811E-8603254CB0B1}"/>
                    </a:ext>
                  </a:extLst>
                </p:cNvPr>
                <p:cNvSpPr/>
                <p:nvPr/>
              </p:nvSpPr>
              <p:spPr>
                <a:xfrm>
                  <a:off x="3060747" y="4461206"/>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1" name="Freeform 310">
                  <a:extLst>
                    <a:ext uri="{FF2B5EF4-FFF2-40B4-BE49-F238E27FC236}">
                      <a16:creationId xmlns:a16="http://schemas.microsoft.com/office/drawing/2014/main" id="{DCBB296A-F361-7084-9D1D-65466561AF76}"/>
                    </a:ext>
                  </a:extLst>
                </p:cNvPr>
                <p:cNvSpPr/>
                <p:nvPr/>
              </p:nvSpPr>
              <p:spPr>
                <a:xfrm>
                  <a:off x="3036029" y="4485876"/>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12" name="Graphic 11">
                <a:extLst>
                  <a:ext uri="{FF2B5EF4-FFF2-40B4-BE49-F238E27FC236}">
                    <a16:creationId xmlns:a16="http://schemas.microsoft.com/office/drawing/2014/main" id="{1ED6C1DC-1E99-9318-D071-32916B691E2D}"/>
                  </a:ext>
                </a:extLst>
              </p:cNvPr>
              <p:cNvGrpSpPr/>
              <p:nvPr/>
            </p:nvGrpSpPr>
            <p:grpSpPr>
              <a:xfrm>
                <a:off x="3056406" y="4462193"/>
                <a:ext cx="49437" cy="49437"/>
                <a:chOff x="3056406" y="4462193"/>
                <a:chExt cx="49437" cy="49437"/>
              </a:xfrm>
            </p:grpSpPr>
            <p:sp>
              <p:nvSpPr>
                <p:cNvPr id="313" name="Freeform 312">
                  <a:extLst>
                    <a:ext uri="{FF2B5EF4-FFF2-40B4-BE49-F238E27FC236}">
                      <a16:creationId xmlns:a16="http://schemas.microsoft.com/office/drawing/2014/main" id="{AC1B6D40-A464-43DA-092B-5DEF4AA07BEF}"/>
                    </a:ext>
                  </a:extLst>
                </p:cNvPr>
                <p:cNvSpPr/>
                <p:nvPr/>
              </p:nvSpPr>
              <p:spPr>
                <a:xfrm>
                  <a:off x="3081124" y="4462193"/>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4" name="Freeform 313">
                  <a:extLst>
                    <a:ext uri="{FF2B5EF4-FFF2-40B4-BE49-F238E27FC236}">
                      <a16:creationId xmlns:a16="http://schemas.microsoft.com/office/drawing/2014/main" id="{2059FCFD-601F-CA1C-1402-CDA254269160}"/>
                    </a:ext>
                  </a:extLst>
                </p:cNvPr>
                <p:cNvSpPr/>
                <p:nvPr/>
              </p:nvSpPr>
              <p:spPr>
                <a:xfrm>
                  <a:off x="3056406" y="4486912"/>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15" name="Graphic 11">
                <a:extLst>
                  <a:ext uri="{FF2B5EF4-FFF2-40B4-BE49-F238E27FC236}">
                    <a16:creationId xmlns:a16="http://schemas.microsoft.com/office/drawing/2014/main" id="{FB0513FE-E964-6CB0-7355-3370D0919BA5}"/>
                  </a:ext>
                </a:extLst>
              </p:cNvPr>
              <p:cNvGrpSpPr/>
              <p:nvPr/>
            </p:nvGrpSpPr>
            <p:grpSpPr>
              <a:xfrm>
                <a:off x="3087588" y="4462193"/>
                <a:ext cx="49388" cy="49437"/>
                <a:chOff x="3087588" y="4462193"/>
                <a:chExt cx="49388" cy="49437"/>
              </a:xfrm>
            </p:grpSpPr>
            <p:sp>
              <p:nvSpPr>
                <p:cNvPr id="316" name="Freeform 315">
                  <a:extLst>
                    <a:ext uri="{FF2B5EF4-FFF2-40B4-BE49-F238E27FC236}">
                      <a16:creationId xmlns:a16="http://schemas.microsoft.com/office/drawing/2014/main" id="{C20F2648-1B87-B47E-AC03-442CA367F169}"/>
                    </a:ext>
                  </a:extLst>
                </p:cNvPr>
                <p:cNvSpPr/>
                <p:nvPr/>
              </p:nvSpPr>
              <p:spPr>
                <a:xfrm>
                  <a:off x="3112257" y="4462193"/>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7" name="Freeform 316">
                  <a:extLst>
                    <a:ext uri="{FF2B5EF4-FFF2-40B4-BE49-F238E27FC236}">
                      <a16:creationId xmlns:a16="http://schemas.microsoft.com/office/drawing/2014/main" id="{EA137FBF-1BC0-19A6-CF74-3ED5B08A85AE}"/>
                    </a:ext>
                  </a:extLst>
                </p:cNvPr>
                <p:cNvSpPr/>
                <p:nvPr/>
              </p:nvSpPr>
              <p:spPr>
                <a:xfrm>
                  <a:off x="3087588" y="4486912"/>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18" name="Graphic 11">
                <a:extLst>
                  <a:ext uri="{FF2B5EF4-FFF2-40B4-BE49-F238E27FC236}">
                    <a16:creationId xmlns:a16="http://schemas.microsoft.com/office/drawing/2014/main" id="{60B99DDB-4203-29A4-3C86-D9F04E944772}"/>
                  </a:ext>
                </a:extLst>
              </p:cNvPr>
              <p:cNvGrpSpPr/>
              <p:nvPr/>
            </p:nvGrpSpPr>
            <p:grpSpPr>
              <a:xfrm>
                <a:off x="3094199" y="4462193"/>
                <a:ext cx="49388" cy="49437"/>
                <a:chOff x="3094199" y="4462193"/>
                <a:chExt cx="49388" cy="49437"/>
              </a:xfrm>
            </p:grpSpPr>
            <p:sp>
              <p:nvSpPr>
                <p:cNvPr id="319" name="Freeform 318">
                  <a:extLst>
                    <a:ext uri="{FF2B5EF4-FFF2-40B4-BE49-F238E27FC236}">
                      <a16:creationId xmlns:a16="http://schemas.microsoft.com/office/drawing/2014/main" id="{B761DB0C-F167-8DE7-DA63-50BF7570D7CA}"/>
                    </a:ext>
                  </a:extLst>
                </p:cNvPr>
                <p:cNvSpPr/>
                <p:nvPr/>
              </p:nvSpPr>
              <p:spPr>
                <a:xfrm>
                  <a:off x="3118868" y="4462193"/>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0" name="Freeform 319">
                  <a:extLst>
                    <a:ext uri="{FF2B5EF4-FFF2-40B4-BE49-F238E27FC236}">
                      <a16:creationId xmlns:a16="http://schemas.microsoft.com/office/drawing/2014/main" id="{7DFCEB33-EEE6-B5BA-88E2-32A10783A843}"/>
                    </a:ext>
                  </a:extLst>
                </p:cNvPr>
                <p:cNvSpPr/>
                <p:nvPr/>
              </p:nvSpPr>
              <p:spPr>
                <a:xfrm>
                  <a:off x="3094199" y="4486912"/>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21" name="Graphic 11">
                <a:extLst>
                  <a:ext uri="{FF2B5EF4-FFF2-40B4-BE49-F238E27FC236}">
                    <a16:creationId xmlns:a16="http://schemas.microsoft.com/office/drawing/2014/main" id="{EFA6A69B-5ABA-4D0B-D7A4-CAA22699F385}"/>
                  </a:ext>
                </a:extLst>
              </p:cNvPr>
              <p:cNvGrpSpPr/>
              <p:nvPr/>
            </p:nvGrpSpPr>
            <p:grpSpPr>
              <a:xfrm>
                <a:off x="3140035" y="4487159"/>
                <a:ext cx="49388" cy="49388"/>
                <a:chOff x="3140035" y="4487159"/>
                <a:chExt cx="49388" cy="49388"/>
              </a:xfrm>
            </p:grpSpPr>
            <p:sp>
              <p:nvSpPr>
                <p:cNvPr id="322" name="Freeform 321">
                  <a:extLst>
                    <a:ext uri="{FF2B5EF4-FFF2-40B4-BE49-F238E27FC236}">
                      <a16:creationId xmlns:a16="http://schemas.microsoft.com/office/drawing/2014/main" id="{D1EE0F30-0FA1-5772-F630-FC5FD12B91E8}"/>
                    </a:ext>
                  </a:extLst>
                </p:cNvPr>
                <p:cNvSpPr/>
                <p:nvPr/>
              </p:nvSpPr>
              <p:spPr>
                <a:xfrm>
                  <a:off x="3164754" y="448715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3" name="Freeform 322">
                  <a:extLst>
                    <a:ext uri="{FF2B5EF4-FFF2-40B4-BE49-F238E27FC236}">
                      <a16:creationId xmlns:a16="http://schemas.microsoft.com/office/drawing/2014/main" id="{1ABB234D-AAC8-2EA8-CDC3-6FA23DFBAEF4}"/>
                    </a:ext>
                  </a:extLst>
                </p:cNvPr>
                <p:cNvSpPr/>
                <p:nvPr/>
              </p:nvSpPr>
              <p:spPr>
                <a:xfrm>
                  <a:off x="3140035" y="451187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24" name="Graphic 11">
                <a:extLst>
                  <a:ext uri="{FF2B5EF4-FFF2-40B4-BE49-F238E27FC236}">
                    <a16:creationId xmlns:a16="http://schemas.microsoft.com/office/drawing/2014/main" id="{8234E4EC-ABEB-E8CB-8BEC-06B5BC821CEF}"/>
                  </a:ext>
                </a:extLst>
              </p:cNvPr>
              <p:cNvGrpSpPr/>
              <p:nvPr/>
            </p:nvGrpSpPr>
            <p:grpSpPr>
              <a:xfrm>
                <a:off x="3146153" y="4487159"/>
                <a:ext cx="49388" cy="49388"/>
                <a:chOff x="3146153" y="4487159"/>
                <a:chExt cx="49388" cy="49388"/>
              </a:xfrm>
            </p:grpSpPr>
            <p:sp>
              <p:nvSpPr>
                <p:cNvPr id="325" name="Freeform 324">
                  <a:extLst>
                    <a:ext uri="{FF2B5EF4-FFF2-40B4-BE49-F238E27FC236}">
                      <a16:creationId xmlns:a16="http://schemas.microsoft.com/office/drawing/2014/main" id="{7B62DCBC-5A74-1299-C773-44F93D2C0693}"/>
                    </a:ext>
                  </a:extLst>
                </p:cNvPr>
                <p:cNvSpPr/>
                <p:nvPr/>
              </p:nvSpPr>
              <p:spPr>
                <a:xfrm>
                  <a:off x="3170822" y="448715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6" name="Freeform 325">
                  <a:extLst>
                    <a:ext uri="{FF2B5EF4-FFF2-40B4-BE49-F238E27FC236}">
                      <a16:creationId xmlns:a16="http://schemas.microsoft.com/office/drawing/2014/main" id="{6F9DEF22-8E82-492F-4528-6E7DE7349C94}"/>
                    </a:ext>
                  </a:extLst>
                </p:cNvPr>
                <p:cNvSpPr/>
                <p:nvPr/>
              </p:nvSpPr>
              <p:spPr>
                <a:xfrm>
                  <a:off x="3146153" y="451187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27" name="Graphic 11">
                <a:extLst>
                  <a:ext uri="{FF2B5EF4-FFF2-40B4-BE49-F238E27FC236}">
                    <a16:creationId xmlns:a16="http://schemas.microsoft.com/office/drawing/2014/main" id="{CA0EAD2B-3F06-B9A5-812E-5AE19F1FC085}"/>
                  </a:ext>
                </a:extLst>
              </p:cNvPr>
              <p:cNvGrpSpPr/>
              <p:nvPr/>
            </p:nvGrpSpPr>
            <p:grpSpPr>
              <a:xfrm>
                <a:off x="3161398" y="4487159"/>
                <a:ext cx="49437" cy="49388"/>
                <a:chOff x="3161398" y="4487159"/>
                <a:chExt cx="49437" cy="49388"/>
              </a:xfrm>
            </p:grpSpPr>
            <p:sp>
              <p:nvSpPr>
                <p:cNvPr id="328" name="Freeform 327">
                  <a:extLst>
                    <a:ext uri="{FF2B5EF4-FFF2-40B4-BE49-F238E27FC236}">
                      <a16:creationId xmlns:a16="http://schemas.microsoft.com/office/drawing/2014/main" id="{C5D505CE-1327-3A00-9D27-5907027C2F5B}"/>
                    </a:ext>
                  </a:extLst>
                </p:cNvPr>
                <p:cNvSpPr/>
                <p:nvPr/>
              </p:nvSpPr>
              <p:spPr>
                <a:xfrm>
                  <a:off x="3186117" y="448715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9" name="Freeform 328">
                  <a:extLst>
                    <a:ext uri="{FF2B5EF4-FFF2-40B4-BE49-F238E27FC236}">
                      <a16:creationId xmlns:a16="http://schemas.microsoft.com/office/drawing/2014/main" id="{11FECFB6-45DF-175B-AAD6-C414FC9CA48B}"/>
                    </a:ext>
                  </a:extLst>
                </p:cNvPr>
                <p:cNvSpPr/>
                <p:nvPr/>
              </p:nvSpPr>
              <p:spPr>
                <a:xfrm>
                  <a:off x="3161398" y="4511877"/>
                  <a:ext cx="49437" cy="4933"/>
                </a:xfrm>
                <a:custGeom>
                  <a:avLst/>
                  <a:gdLst>
                    <a:gd name="connsiteX0" fmla="*/ 49438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30" name="Graphic 11">
                <a:extLst>
                  <a:ext uri="{FF2B5EF4-FFF2-40B4-BE49-F238E27FC236}">
                    <a16:creationId xmlns:a16="http://schemas.microsoft.com/office/drawing/2014/main" id="{0AA46170-8E0C-434B-B21B-D02ACA5A39D8}"/>
                  </a:ext>
                </a:extLst>
              </p:cNvPr>
              <p:cNvGrpSpPr/>
              <p:nvPr/>
            </p:nvGrpSpPr>
            <p:grpSpPr>
              <a:xfrm>
                <a:off x="3183848" y="4487159"/>
                <a:ext cx="49388" cy="49388"/>
                <a:chOff x="3183848" y="4487159"/>
                <a:chExt cx="49388" cy="49388"/>
              </a:xfrm>
            </p:grpSpPr>
            <p:sp>
              <p:nvSpPr>
                <p:cNvPr id="331" name="Freeform 330">
                  <a:extLst>
                    <a:ext uri="{FF2B5EF4-FFF2-40B4-BE49-F238E27FC236}">
                      <a16:creationId xmlns:a16="http://schemas.microsoft.com/office/drawing/2014/main" id="{B2427584-DB31-7DCB-E194-AFC647F4DF78}"/>
                    </a:ext>
                  </a:extLst>
                </p:cNvPr>
                <p:cNvSpPr/>
                <p:nvPr/>
              </p:nvSpPr>
              <p:spPr>
                <a:xfrm>
                  <a:off x="3208517" y="448715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2" name="Freeform 331">
                  <a:extLst>
                    <a:ext uri="{FF2B5EF4-FFF2-40B4-BE49-F238E27FC236}">
                      <a16:creationId xmlns:a16="http://schemas.microsoft.com/office/drawing/2014/main" id="{B47A59FD-5C53-F44A-2A24-23BB7912F6EB}"/>
                    </a:ext>
                  </a:extLst>
                </p:cNvPr>
                <p:cNvSpPr/>
                <p:nvPr/>
              </p:nvSpPr>
              <p:spPr>
                <a:xfrm>
                  <a:off x="3183848" y="451187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33" name="Graphic 11">
                <a:extLst>
                  <a:ext uri="{FF2B5EF4-FFF2-40B4-BE49-F238E27FC236}">
                    <a16:creationId xmlns:a16="http://schemas.microsoft.com/office/drawing/2014/main" id="{A9AAB8A2-5D78-449A-E79E-5D16681D7E7C}"/>
                  </a:ext>
                </a:extLst>
              </p:cNvPr>
              <p:cNvGrpSpPr/>
              <p:nvPr/>
            </p:nvGrpSpPr>
            <p:grpSpPr>
              <a:xfrm>
                <a:off x="3221000" y="4487159"/>
                <a:ext cx="49437" cy="49388"/>
                <a:chOff x="3221000" y="4487159"/>
                <a:chExt cx="49437" cy="49388"/>
              </a:xfrm>
            </p:grpSpPr>
            <p:sp>
              <p:nvSpPr>
                <p:cNvPr id="334" name="Freeform 333">
                  <a:extLst>
                    <a:ext uri="{FF2B5EF4-FFF2-40B4-BE49-F238E27FC236}">
                      <a16:creationId xmlns:a16="http://schemas.microsoft.com/office/drawing/2014/main" id="{81BBAD9C-329E-3852-A85F-E56B49780720}"/>
                    </a:ext>
                  </a:extLst>
                </p:cNvPr>
                <p:cNvSpPr/>
                <p:nvPr/>
              </p:nvSpPr>
              <p:spPr>
                <a:xfrm>
                  <a:off x="3245718" y="448715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5" name="Freeform 334">
                  <a:extLst>
                    <a:ext uri="{FF2B5EF4-FFF2-40B4-BE49-F238E27FC236}">
                      <a16:creationId xmlns:a16="http://schemas.microsoft.com/office/drawing/2014/main" id="{B780FB19-3185-FA77-6A52-CF1839685FF2}"/>
                    </a:ext>
                  </a:extLst>
                </p:cNvPr>
                <p:cNvSpPr/>
                <p:nvPr/>
              </p:nvSpPr>
              <p:spPr>
                <a:xfrm>
                  <a:off x="3221000" y="4511877"/>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36" name="Graphic 11">
                <a:extLst>
                  <a:ext uri="{FF2B5EF4-FFF2-40B4-BE49-F238E27FC236}">
                    <a16:creationId xmlns:a16="http://schemas.microsoft.com/office/drawing/2014/main" id="{EB648570-EA3E-78F7-4369-1F8617DFC771}"/>
                  </a:ext>
                </a:extLst>
              </p:cNvPr>
              <p:cNvGrpSpPr/>
              <p:nvPr/>
            </p:nvGrpSpPr>
            <p:grpSpPr>
              <a:xfrm>
                <a:off x="3259188" y="4487159"/>
                <a:ext cx="49437" cy="49388"/>
                <a:chOff x="3259188" y="4487159"/>
                <a:chExt cx="49437" cy="49388"/>
              </a:xfrm>
            </p:grpSpPr>
            <p:sp>
              <p:nvSpPr>
                <p:cNvPr id="337" name="Freeform 336">
                  <a:extLst>
                    <a:ext uri="{FF2B5EF4-FFF2-40B4-BE49-F238E27FC236}">
                      <a16:creationId xmlns:a16="http://schemas.microsoft.com/office/drawing/2014/main" id="{F8A141CB-6702-5135-E620-5B25D9C1CF0D}"/>
                    </a:ext>
                  </a:extLst>
                </p:cNvPr>
                <p:cNvSpPr/>
                <p:nvPr/>
              </p:nvSpPr>
              <p:spPr>
                <a:xfrm>
                  <a:off x="3283907" y="448715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8" name="Freeform 337">
                  <a:extLst>
                    <a:ext uri="{FF2B5EF4-FFF2-40B4-BE49-F238E27FC236}">
                      <a16:creationId xmlns:a16="http://schemas.microsoft.com/office/drawing/2014/main" id="{DFEFE592-EF02-E9C5-F9E9-18E9E6FE25F5}"/>
                    </a:ext>
                  </a:extLst>
                </p:cNvPr>
                <p:cNvSpPr/>
                <p:nvPr/>
              </p:nvSpPr>
              <p:spPr>
                <a:xfrm>
                  <a:off x="3259188" y="4511877"/>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39" name="Graphic 11">
                <a:extLst>
                  <a:ext uri="{FF2B5EF4-FFF2-40B4-BE49-F238E27FC236}">
                    <a16:creationId xmlns:a16="http://schemas.microsoft.com/office/drawing/2014/main" id="{5BBFCD93-DAEE-D77C-50C6-E45DDCE2A19D}"/>
                  </a:ext>
                </a:extLst>
              </p:cNvPr>
              <p:cNvGrpSpPr/>
              <p:nvPr/>
            </p:nvGrpSpPr>
            <p:grpSpPr>
              <a:xfrm>
                <a:off x="3283167" y="4487159"/>
                <a:ext cx="49388" cy="49388"/>
                <a:chOff x="3283167" y="4487159"/>
                <a:chExt cx="49388" cy="49388"/>
              </a:xfrm>
            </p:grpSpPr>
            <p:sp>
              <p:nvSpPr>
                <p:cNvPr id="340" name="Freeform 339">
                  <a:extLst>
                    <a:ext uri="{FF2B5EF4-FFF2-40B4-BE49-F238E27FC236}">
                      <a16:creationId xmlns:a16="http://schemas.microsoft.com/office/drawing/2014/main" id="{07A02160-0441-025E-2C6D-923DFEB8D81A}"/>
                    </a:ext>
                  </a:extLst>
                </p:cNvPr>
                <p:cNvSpPr/>
                <p:nvPr/>
              </p:nvSpPr>
              <p:spPr>
                <a:xfrm>
                  <a:off x="3307836" y="448715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1" name="Freeform 340">
                  <a:extLst>
                    <a:ext uri="{FF2B5EF4-FFF2-40B4-BE49-F238E27FC236}">
                      <a16:creationId xmlns:a16="http://schemas.microsoft.com/office/drawing/2014/main" id="{1931D8E6-999D-C72C-F0A6-675642CE823E}"/>
                    </a:ext>
                  </a:extLst>
                </p:cNvPr>
                <p:cNvSpPr/>
                <p:nvPr/>
              </p:nvSpPr>
              <p:spPr>
                <a:xfrm>
                  <a:off x="3283167" y="451187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42" name="Graphic 11">
                <a:extLst>
                  <a:ext uri="{FF2B5EF4-FFF2-40B4-BE49-F238E27FC236}">
                    <a16:creationId xmlns:a16="http://schemas.microsoft.com/office/drawing/2014/main" id="{2B705DBA-B3EE-DB7B-E268-B2751EA0FB30}"/>
                  </a:ext>
                </a:extLst>
              </p:cNvPr>
              <p:cNvGrpSpPr/>
              <p:nvPr/>
            </p:nvGrpSpPr>
            <p:grpSpPr>
              <a:xfrm>
                <a:off x="3290814" y="4533488"/>
                <a:ext cx="49388" cy="49437"/>
                <a:chOff x="3290814" y="4533488"/>
                <a:chExt cx="49388" cy="49437"/>
              </a:xfrm>
            </p:grpSpPr>
            <p:sp>
              <p:nvSpPr>
                <p:cNvPr id="343" name="Freeform 342">
                  <a:extLst>
                    <a:ext uri="{FF2B5EF4-FFF2-40B4-BE49-F238E27FC236}">
                      <a16:creationId xmlns:a16="http://schemas.microsoft.com/office/drawing/2014/main" id="{F1259434-A5BD-5CC5-21D2-AF2863BFC222}"/>
                    </a:ext>
                  </a:extLst>
                </p:cNvPr>
                <p:cNvSpPr/>
                <p:nvPr/>
              </p:nvSpPr>
              <p:spPr>
                <a:xfrm>
                  <a:off x="3315483" y="4533488"/>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 name="Freeform 343">
                  <a:extLst>
                    <a:ext uri="{FF2B5EF4-FFF2-40B4-BE49-F238E27FC236}">
                      <a16:creationId xmlns:a16="http://schemas.microsoft.com/office/drawing/2014/main" id="{94D21DC7-41BA-47EB-F0A7-EA9C4B874347}"/>
                    </a:ext>
                  </a:extLst>
                </p:cNvPr>
                <p:cNvSpPr/>
                <p:nvPr/>
              </p:nvSpPr>
              <p:spPr>
                <a:xfrm>
                  <a:off x="3290814" y="4558207"/>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45" name="Graphic 11">
                <a:extLst>
                  <a:ext uri="{FF2B5EF4-FFF2-40B4-BE49-F238E27FC236}">
                    <a16:creationId xmlns:a16="http://schemas.microsoft.com/office/drawing/2014/main" id="{B5062FB1-33FA-2E9F-1FF9-E30381055414}"/>
                  </a:ext>
                </a:extLst>
              </p:cNvPr>
              <p:cNvGrpSpPr/>
              <p:nvPr/>
            </p:nvGrpSpPr>
            <p:grpSpPr>
              <a:xfrm>
                <a:off x="3296883" y="4578830"/>
                <a:ext cx="49437" cy="49437"/>
                <a:chOff x="3296883" y="4578830"/>
                <a:chExt cx="49437" cy="49437"/>
              </a:xfrm>
            </p:grpSpPr>
            <p:sp>
              <p:nvSpPr>
                <p:cNvPr id="346" name="Freeform 345">
                  <a:extLst>
                    <a:ext uri="{FF2B5EF4-FFF2-40B4-BE49-F238E27FC236}">
                      <a16:creationId xmlns:a16="http://schemas.microsoft.com/office/drawing/2014/main" id="{CAD6CD0B-ADA8-3BC9-5D19-32795A99CD46}"/>
                    </a:ext>
                  </a:extLst>
                </p:cNvPr>
                <p:cNvSpPr/>
                <p:nvPr/>
              </p:nvSpPr>
              <p:spPr>
                <a:xfrm>
                  <a:off x="3321601" y="4578830"/>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 name="Freeform 346">
                  <a:extLst>
                    <a:ext uri="{FF2B5EF4-FFF2-40B4-BE49-F238E27FC236}">
                      <a16:creationId xmlns:a16="http://schemas.microsoft.com/office/drawing/2014/main" id="{40B5A6F0-B92F-CCCE-BE50-B7EFAD1A8C5A}"/>
                    </a:ext>
                  </a:extLst>
                </p:cNvPr>
                <p:cNvSpPr/>
                <p:nvPr/>
              </p:nvSpPr>
              <p:spPr>
                <a:xfrm>
                  <a:off x="3296883" y="4603549"/>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48" name="Graphic 11">
                <a:extLst>
                  <a:ext uri="{FF2B5EF4-FFF2-40B4-BE49-F238E27FC236}">
                    <a16:creationId xmlns:a16="http://schemas.microsoft.com/office/drawing/2014/main" id="{78AE6AEF-F7B9-93AF-78BF-0184AF821A38}"/>
                  </a:ext>
                </a:extLst>
              </p:cNvPr>
              <p:cNvGrpSpPr/>
              <p:nvPr/>
            </p:nvGrpSpPr>
            <p:grpSpPr>
              <a:xfrm>
                <a:off x="3337143" y="4578830"/>
                <a:ext cx="49388" cy="49437"/>
                <a:chOff x="3337143" y="4578830"/>
                <a:chExt cx="49388" cy="49437"/>
              </a:xfrm>
            </p:grpSpPr>
            <p:sp>
              <p:nvSpPr>
                <p:cNvPr id="349" name="Freeform 348">
                  <a:extLst>
                    <a:ext uri="{FF2B5EF4-FFF2-40B4-BE49-F238E27FC236}">
                      <a16:creationId xmlns:a16="http://schemas.microsoft.com/office/drawing/2014/main" id="{93A91CA7-946F-C07B-8A12-DDFA6CE6960D}"/>
                    </a:ext>
                  </a:extLst>
                </p:cNvPr>
                <p:cNvSpPr/>
                <p:nvPr/>
              </p:nvSpPr>
              <p:spPr>
                <a:xfrm>
                  <a:off x="3361862" y="4578830"/>
                  <a:ext cx="4933" cy="49437"/>
                </a:xfrm>
                <a:custGeom>
                  <a:avLst/>
                  <a:gdLst>
                    <a:gd name="connsiteX0" fmla="*/ 0 w 4933"/>
                    <a:gd name="connsiteY0" fmla="*/ 0 h 49437"/>
                    <a:gd name="connsiteX1" fmla="*/ 0 w 4933"/>
                    <a:gd name="connsiteY1" fmla="*/ 49437 h 49437"/>
                  </a:gdLst>
                  <a:ahLst/>
                  <a:cxnLst>
                    <a:cxn ang="0">
                      <a:pos x="connsiteX0" y="connsiteY0"/>
                    </a:cxn>
                    <a:cxn ang="0">
                      <a:pos x="connsiteX1" y="connsiteY1"/>
                    </a:cxn>
                  </a:cxnLst>
                  <a:rect l="l" t="t" r="r" b="b"/>
                  <a:pathLst>
                    <a:path w="4933" h="49437">
                      <a:moveTo>
                        <a:pt x="0" y="0"/>
                      </a:moveTo>
                      <a:lnTo>
                        <a:pt x="0" y="4943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 name="Freeform 349">
                  <a:extLst>
                    <a:ext uri="{FF2B5EF4-FFF2-40B4-BE49-F238E27FC236}">
                      <a16:creationId xmlns:a16="http://schemas.microsoft.com/office/drawing/2014/main" id="{72E6A5F8-DCCC-A0E7-2374-D95559A5ED0B}"/>
                    </a:ext>
                  </a:extLst>
                </p:cNvPr>
                <p:cNvSpPr/>
                <p:nvPr/>
              </p:nvSpPr>
              <p:spPr>
                <a:xfrm>
                  <a:off x="3337143" y="4603549"/>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grpSp>
          <p:nvGrpSpPr>
            <p:cNvPr id="351" name="Graphic 11">
              <a:extLst>
                <a:ext uri="{FF2B5EF4-FFF2-40B4-BE49-F238E27FC236}">
                  <a16:creationId xmlns:a16="http://schemas.microsoft.com/office/drawing/2014/main" id="{27E0ED11-E4A2-8EA3-F5C0-076E3351BE1F}"/>
                </a:ext>
              </a:extLst>
            </p:cNvPr>
            <p:cNvGrpSpPr/>
            <p:nvPr/>
          </p:nvGrpSpPr>
          <p:grpSpPr>
            <a:xfrm>
              <a:off x="3421167" y="4708739"/>
              <a:ext cx="49437" cy="49388"/>
              <a:chOff x="3421167" y="4708739"/>
              <a:chExt cx="49437" cy="49388"/>
            </a:xfrm>
          </p:grpSpPr>
          <p:sp>
            <p:nvSpPr>
              <p:cNvPr id="352" name="Freeform 351">
                <a:extLst>
                  <a:ext uri="{FF2B5EF4-FFF2-40B4-BE49-F238E27FC236}">
                    <a16:creationId xmlns:a16="http://schemas.microsoft.com/office/drawing/2014/main" id="{37F3A4BB-4DCD-495E-5487-C9D5B5818825}"/>
                  </a:ext>
                </a:extLst>
              </p:cNvPr>
              <p:cNvSpPr/>
              <p:nvPr/>
            </p:nvSpPr>
            <p:spPr>
              <a:xfrm>
                <a:off x="3445886" y="470873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3" name="Freeform 352">
                <a:extLst>
                  <a:ext uri="{FF2B5EF4-FFF2-40B4-BE49-F238E27FC236}">
                    <a16:creationId xmlns:a16="http://schemas.microsoft.com/office/drawing/2014/main" id="{FDE9E5B6-E6A8-7268-6013-451168BF107E}"/>
                  </a:ext>
                </a:extLst>
              </p:cNvPr>
              <p:cNvSpPr/>
              <p:nvPr/>
            </p:nvSpPr>
            <p:spPr>
              <a:xfrm>
                <a:off x="3421167" y="4733409"/>
                <a:ext cx="49437" cy="4933"/>
              </a:xfrm>
              <a:custGeom>
                <a:avLst/>
                <a:gdLst>
                  <a:gd name="connsiteX0" fmla="*/ 49437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7"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54" name="Graphic 11">
              <a:extLst>
                <a:ext uri="{FF2B5EF4-FFF2-40B4-BE49-F238E27FC236}">
                  <a16:creationId xmlns:a16="http://schemas.microsoft.com/office/drawing/2014/main" id="{2B5B2719-FB4F-2CC7-5BD9-F0367E0B0783}"/>
                </a:ext>
              </a:extLst>
            </p:cNvPr>
            <p:cNvGrpSpPr/>
            <p:nvPr/>
          </p:nvGrpSpPr>
          <p:grpSpPr>
            <a:xfrm>
              <a:off x="3430838" y="4708739"/>
              <a:ext cx="49437" cy="49388"/>
              <a:chOff x="3430838" y="4708739"/>
              <a:chExt cx="49437" cy="49388"/>
            </a:xfrm>
          </p:grpSpPr>
          <p:sp>
            <p:nvSpPr>
              <p:cNvPr id="355" name="Freeform 354">
                <a:extLst>
                  <a:ext uri="{FF2B5EF4-FFF2-40B4-BE49-F238E27FC236}">
                    <a16:creationId xmlns:a16="http://schemas.microsoft.com/office/drawing/2014/main" id="{B421A355-2CBC-6C72-7ADF-8EA2E2ED74C5}"/>
                  </a:ext>
                </a:extLst>
              </p:cNvPr>
              <p:cNvSpPr/>
              <p:nvPr/>
            </p:nvSpPr>
            <p:spPr>
              <a:xfrm>
                <a:off x="3455556" y="4708739"/>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6" name="Freeform 355">
                <a:extLst>
                  <a:ext uri="{FF2B5EF4-FFF2-40B4-BE49-F238E27FC236}">
                    <a16:creationId xmlns:a16="http://schemas.microsoft.com/office/drawing/2014/main" id="{DAC14AE4-B19A-BC0F-8FF5-DA347D4046ED}"/>
                  </a:ext>
                </a:extLst>
              </p:cNvPr>
              <p:cNvSpPr/>
              <p:nvPr/>
            </p:nvSpPr>
            <p:spPr>
              <a:xfrm>
                <a:off x="3430838" y="4733409"/>
                <a:ext cx="49437" cy="4933"/>
              </a:xfrm>
              <a:custGeom>
                <a:avLst/>
                <a:gdLst>
                  <a:gd name="connsiteX0" fmla="*/ 49438 w 49437"/>
                  <a:gd name="connsiteY0" fmla="*/ 0 h 4933"/>
                  <a:gd name="connsiteX1" fmla="*/ 0 w 49437"/>
                  <a:gd name="connsiteY1" fmla="*/ 0 h 4933"/>
                </a:gdLst>
                <a:ahLst/>
                <a:cxnLst>
                  <a:cxn ang="0">
                    <a:pos x="connsiteX0" y="connsiteY0"/>
                  </a:cxn>
                  <a:cxn ang="0">
                    <a:pos x="connsiteX1" y="connsiteY1"/>
                  </a:cxn>
                </a:cxnLst>
                <a:rect l="l" t="t" r="r" b="b"/>
                <a:pathLst>
                  <a:path w="49437" h="4933">
                    <a:moveTo>
                      <a:pt x="4943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57" name="Graphic 11">
              <a:extLst>
                <a:ext uri="{FF2B5EF4-FFF2-40B4-BE49-F238E27FC236}">
                  <a16:creationId xmlns:a16="http://schemas.microsoft.com/office/drawing/2014/main" id="{71874EF4-8B4C-07B7-F288-8E5972F06D87}"/>
                </a:ext>
              </a:extLst>
            </p:cNvPr>
            <p:cNvGrpSpPr/>
            <p:nvPr/>
          </p:nvGrpSpPr>
          <p:grpSpPr>
            <a:xfrm>
              <a:off x="3435969" y="4709233"/>
              <a:ext cx="49388" cy="49388"/>
              <a:chOff x="3435969" y="4709233"/>
              <a:chExt cx="49388" cy="49388"/>
            </a:xfrm>
          </p:grpSpPr>
          <p:sp>
            <p:nvSpPr>
              <p:cNvPr id="358" name="Freeform 357">
                <a:extLst>
                  <a:ext uri="{FF2B5EF4-FFF2-40B4-BE49-F238E27FC236}">
                    <a16:creationId xmlns:a16="http://schemas.microsoft.com/office/drawing/2014/main" id="{EAA8E1FA-4053-9AE9-F62D-E836E7FCB698}"/>
                  </a:ext>
                </a:extLst>
              </p:cNvPr>
              <p:cNvSpPr/>
              <p:nvPr/>
            </p:nvSpPr>
            <p:spPr>
              <a:xfrm>
                <a:off x="3460638" y="4709233"/>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 name="Freeform 358">
                <a:extLst>
                  <a:ext uri="{FF2B5EF4-FFF2-40B4-BE49-F238E27FC236}">
                    <a16:creationId xmlns:a16="http://schemas.microsoft.com/office/drawing/2014/main" id="{54273C6C-BEA5-8377-8496-54ACA0750BD8}"/>
                  </a:ext>
                </a:extLst>
              </p:cNvPr>
              <p:cNvSpPr/>
              <p:nvPr/>
            </p:nvSpPr>
            <p:spPr>
              <a:xfrm>
                <a:off x="3435969" y="4733951"/>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60" name="Graphic 11">
              <a:extLst>
                <a:ext uri="{FF2B5EF4-FFF2-40B4-BE49-F238E27FC236}">
                  <a16:creationId xmlns:a16="http://schemas.microsoft.com/office/drawing/2014/main" id="{D7A2C601-686D-B000-F0C6-F012D92BDC52}"/>
                </a:ext>
              </a:extLst>
            </p:cNvPr>
            <p:cNvGrpSpPr/>
            <p:nvPr/>
          </p:nvGrpSpPr>
          <p:grpSpPr>
            <a:xfrm>
              <a:off x="3450721" y="4709233"/>
              <a:ext cx="49388" cy="49388"/>
              <a:chOff x="3450721" y="4709233"/>
              <a:chExt cx="49388" cy="49388"/>
            </a:xfrm>
          </p:grpSpPr>
          <p:sp>
            <p:nvSpPr>
              <p:cNvPr id="361" name="Freeform 360">
                <a:extLst>
                  <a:ext uri="{FF2B5EF4-FFF2-40B4-BE49-F238E27FC236}">
                    <a16:creationId xmlns:a16="http://schemas.microsoft.com/office/drawing/2014/main" id="{F0201FB2-A3F2-8CEB-78AE-AE6A32A773F3}"/>
                  </a:ext>
                </a:extLst>
              </p:cNvPr>
              <p:cNvSpPr/>
              <p:nvPr/>
            </p:nvSpPr>
            <p:spPr>
              <a:xfrm>
                <a:off x="3475440" y="4709233"/>
                <a:ext cx="4933" cy="49388"/>
              </a:xfrm>
              <a:custGeom>
                <a:avLst/>
                <a:gdLst>
                  <a:gd name="connsiteX0" fmla="*/ 0 w 4933"/>
                  <a:gd name="connsiteY0" fmla="*/ 0 h 49388"/>
                  <a:gd name="connsiteX1" fmla="*/ 0 w 4933"/>
                  <a:gd name="connsiteY1" fmla="*/ 49388 h 49388"/>
                </a:gdLst>
                <a:ahLst/>
                <a:cxnLst>
                  <a:cxn ang="0">
                    <a:pos x="connsiteX0" y="connsiteY0"/>
                  </a:cxn>
                  <a:cxn ang="0">
                    <a:pos x="connsiteX1" y="connsiteY1"/>
                  </a:cxn>
                </a:cxnLst>
                <a:rect l="l" t="t" r="r" b="b"/>
                <a:pathLst>
                  <a:path w="4933" h="49388">
                    <a:moveTo>
                      <a:pt x="0" y="0"/>
                    </a:moveTo>
                    <a:lnTo>
                      <a:pt x="0" y="49388"/>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 name="Freeform 361">
                <a:extLst>
                  <a:ext uri="{FF2B5EF4-FFF2-40B4-BE49-F238E27FC236}">
                    <a16:creationId xmlns:a16="http://schemas.microsoft.com/office/drawing/2014/main" id="{2F7A163A-2B32-222E-DA20-BC82CC2AA5BB}"/>
                  </a:ext>
                </a:extLst>
              </p:cNvPr>
              <p:cNvSpPr/>
              <p:nvPr/>
            </p:nvSpPr>
            <p:spPr>
              <a:xfrm>
                <a:off x="3450721" y="4733951"/>
                <a:ext cx="49388" cy="4933"/>
              </a:xfrm>
              <a:custGeom>
                <a:avLst/>
                <a:gdLst>
                  <a:gd name="connsiteX0" fmla="*/ 49388 w 49388"/>
                  <a:gd name="connsiteY0" fmla="*/ 0 h 4933"/>
                  <a:gd name="connsiteX1" fmla="*/ 0 w 49388"/>
                  <a:gd name="connsiteY1" fmla="*/ 0 h 4933"/>
                </a:gdLst>
                <a:ahLst/>
                <a:cxnLst>
                  <a:cxn ang="0">
                    <a:pos x="connsiteX0" y="connsiteY0"/>
                  </a:cxn>
                  <a:cxn ang="0">
                    <a:pos x="connsiteX1" y="connsiteY1"/>
                  </a:cxn>
                </a:cxnLst>
                <a:rect l="l" t="t" r="r" b="b"/>
                <a:pathLst>
                  <a:path w="49388" h="4933">
                    <a:moveTo>
                      <a:pt x="49388" y="0"/>
                    </a:moveTo>
                    <a:lnTo>
                      <a:pt x="0"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sp>
        <p:nvSpPr>
          <p:cNvPr id="16" name="TextBox 15">
            <a:extLst>
              <a:ext uri="{FF2B5EF4-FFF2-40B4-BE49-F238E27FC236}">
                <a16:creationId xmlns:a16="http://schemas.microsoft.com/office/drawing/2014/main" id="{C146361A-C774-0F0D-7010-6375F7CADA0A}"/>
              </a:ext>
            </a:extLst>
          </p:cNvPr>
          <p:cNvSpPr txBox="1"/>
          <p:nvPr/>
        </p:nvSpPr>
        <p:spPr>
          <a:xfrm>
            <a:off x="173267" y="5158782"/>
            <a:ext cx="580611"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365" name="TextBox 364">
            <a:extLst>
              <a:ext uri="{FF2B5EF4-FFF2-40B4-BE49-F238E27FC236}">
                <a16:creationId xmlns:a16="http://schemas.microsoft.com/office/drawing/2014/main" id="{B9AD0C34-3474-0B6A-D893-D856FDAFC51C}"/>
              </a:ext>
            </a:extLst>
          </p:cNvPr>
          <p:cNvSpPr txBox="1"/>
          <p:nvPr/>
        </p:nvSpPr>
        <p:spPr>
          <a:xfrm>
            <a:off x="173267" y="4870822"/>
            <a:ext cx="580611"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2</a:t>
            </a:r>
          </a:p>
        </p:txBody>
      </p:sp>
      <p:sp>
        <p:nvSpPr>
          <p:cNvPr id="366" name="TextBox 365">
            <a:extLst>
              <a:ext uri="{FF2B5EF4-FFF2-40B4-BE49-F238E27FC236}">
                <a16:creationId xmlns:a16="http://schemas.microsoft.com/office/drawing/2014/main" id="{246C15C8-2ED9-12AA-AF47-942B6E0F4D8A}"/>
              </a:ext>
            </a:extLst>
          </p:cNvPr>
          <p:cNvSpPr txBox="1"/>
          <p:nvPr/>
        </p:nvSpPr>
        <p:spPr>
          <a:xfrm>
            <a:off x="173267" y="4592966"/>
            <a:ext cx="580611"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4</a:t>
            </a:r>
          </a:p>
        </p:txBody>
      </p:sp>
      <p:sp>
        <p:nvSpPr>
          <p:cNvPr id="367" name="TextBox 366">
            <a:extLst>
              <a:ext uri="{FF2B5EF4-FFF2-40B4-BE49-F238E27FC236}">
                <a16:creationId xmlns:a16="http://schemas.microsoft.com/office/drawing/2014/main" id="{62A772C1-B7DC-0C3B-50D9-41FB9FC82F26}"/>
              </a:ext>
            </a:extLst>
          </p:cNvPr>
          <p:cNvSpPr txBox="1"/>
          <p:nvPr/>
        </p:nvSpPr>
        <p:spPr>
          <a:xfrm>
            <a:off x="173267" y="4320161"/>
            <a:ext cx="580611"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a:t>
            </a:r>
          </a:p>
        </p:txBody>
      </p:sp>
      <p:sp>
        <p:nvSpPr>
          <p:cNvPr id="368" name="TextBox 367">
            <a:extLst>
              <a:ext uri="{FF2B5EF4-FFF2-40B4-BE49-F238E27FC236}">
                <a16:creationId xmlns:a16="http://schemas.microsoft.com/office/drawing/2014/main" id="{20CEBE85-CBBD-08B5-E377-46473F44622A}"/>
              </a:ext>
            </a:extLst>
          </p:cNvPr>
          <p:cNvSpPr txBox="1"/>
          <p:nvPr/>
        </p:nvSpPr>
        <p:spPr>
          <a:xfrm>
            <a:off x="173267" y="4022097"/>
            <a:ext cx="580611"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8</a:t>
            </a:r>
          </a:p>
        </p:txBody>
      </p:sp>
      <p:sp>
        <p:nvSpPr>
          <p:cNvPr id="369" name="TextBox 368">
            <a:extLst>
              <a:ext uri="{FF2B5EF4-FFF2-40B4-BE49-F238E27FC236}">
                <a16:creationId xmlns:a16="http://schemas.microsoft.com/office/drawing/2014/main" id="{7FC17425-7B1D-7D7E-1897-F551BB9B9C51}"/>
              </a:ext>
            </a:extLst>
          </p:cNvPr>
          <p:cNvSpPr txBox="1"/>
          <p:nvPr/>
        </p:nvSpPr>
        <p:spPr>
          <a:xfrm>
            <a:off x="173267" y="3734137"/>
            <a:ext cx="580611"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370" name="TextBox 369">
            <a:extLst>
              <a:ext uri="{FF2B5EF4-FFF2-40B4-BE49-F238E27FC236}">
                <a16:creationId xmlns:a16="http://schemas.microsoft.com/office/drawing/2014/main" id="{31DC43E3-BFC8-19A1-58E0-B98D9B7ADC9F}"/>
              </a:ext>
            </a:extLst>
          </p:cNvPr>
          <p:cNvSpPr txBox="1"/>
          <p:nvPr/>
        </p:nvSpPr>
        <p:spPr>
          <a:xfrm>
            <a:off x="654905" y="5307709"/>
            <a:ext cx="31759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371" name="TextBox 370">
            <a:extLst>
              <a:ext uri="{FF2B5EF4-FFF2-40B4-BE49-F238E27FC236}">
                <a16:creationId xmlns:a16="http://schemas.microsoft.com/office/drawing/2014/main" id="{B50B35BF-CBDD-A1E2-5AC0-9686A6357F67}"/>
              </a:ext>
            </a:extLst>
          </p:cNvPr>
          <p:cNvSpPr txBox="1"/>
          <p:nvPr/>
        </p:nvSpPr>
        <p:spPr>
          <a:xfrm>
            <a:off x="991723" y="5307709"/>
            <a:ext cx="31759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372" name="TextBox 371">
            <a:extLst>
              <a:ext uri="{FF2B5EF4-FFF2-40B4-BE49-F238E27FC236}">
                <a16:creationId xmlns:a16="http://schemas.microsoft.com/office/drawing/2014/main" id="{A2701545-1346-2F0E-3CBD-51DC578907D5}"/>
              </a:ext>
            </a:extLst>
          </p:cNvPr>
          <p:cNvSpPr txBox="1"/>
          <p:nvPr/>
        </p:nvSpPr>
        <p:spPr>
          <a:xfrm>
            <a:off x="1322633" y="5307709"/>
            <a:ext cx="31759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373" name="TextBox 372">
            <a:extLst>
              <a:ext uri="{FF2B5EF4-FFF2-40B4-BE49-F238E27FC236}">
                <a16:creationId xmlns:a16="http://schemas.microsoft.com/office/drawing/2014/main" id="{B20E48F3-1095-92A8-8228-D4EDDC5F9584}"/>
              </a:ext>
            </a:extLst>
          </p:cNvPr>
          <p:cNvSpPr txBox="1"/>
          <p:nvPr/>
        </p:nvSpPr>
        <p:spPr>
          <a:xfrm>
            <a:off x="1671269" y="5307709"/>
            <a:ext cx="31759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p>
        </p:txBody>
      </p:sp>
      <p:sp>
        <p:nvSpPr>
          <p:cNvPr id="374" name="TextBox 373">
            <a:extLst>
              <a:ext uri="{FF2B5EF4-FFF2-40B4-BE49-F238E27FC236}">
                <a16:creationId xmlns:a16="http://schemas.microsoft.com/office/drawing/2014/main" id="{F66E471F-CCE9-745E-10DD-DDBC7776DBF0}"/>
              </a:ext>
            </a:extLst>
          </p:cNvPr>
          <p:cNvSpPr txBox="1"/>
          <p:nvPr/>
        </p:nvSpPr>
        <p:spPr>
          <a:xfrm>
            <a:off x="1996270" y="5307709"/>
            <a:ext cx="31759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375" name="TextBox 374">
            <a:extLst>
              <a:ext uri="{FF2B5EF4-FFF2-40B4-BE49-F238E27FC236}">
                <a16:creationId xmlns:a16="http://schemas.microsoft.com/office/drawing/2014/main" id="{5E73494C-FA70-B7B4-13B1-B482FF0DF164}"/>
              </a:ext>
            </a:extLst>
          </p:cNvPr>
          <p:cNvSpPr txBox="1"/>
          <p:nvPr/>
        </p:nvSpPr>
        <p:spPr>
          <a:xfrm>
            <a:off x="2333088" y="5307709"/>
            <a:ext cx="31759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376" name="TextBox 375">
            <a:extLst>
              <a:ext uri="{FF2B5EF4-FFF2-40B4-BE49-F238E27FC236}">
                <a16:creationId xmlns:a16="http://schemas.microsoft.com/office/drawing/2014/main" id="{228B86EB-A235-8BFF-217E-84AFAD5D6B47}"/>
              </a:ext>
            </a:extLst>
          </p:cNvPr>
          <p:cNvSpPr txBox="1"/>
          <p:nvPr/>
        </p:nvSpPr>
        <p:spPr>
          <a:xfrm>
            <a:off x="2669906" y="5307709"/>
            <a:ext cx="31759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sp>
        <p:nvSpPr>
          <p:cNvPr id="377" name="TextBox 376">
            <a:extLst>
              <a:ext uri="{FF2B5EF4-FFF2-40B4-BE49-F238E27FC236}">
                <a16:creationId xmlns:a16="http://schemas.microsoft.com/office/drawing/2014/main" id="{5D08EE65-86C4-92B5-A831-C72A4C4C334B}"/>
              </a:ext>
            </a:extLst>
          </p:cNvPr>
          <p:cNvSpPr txBox="1"/>
          <p:nvPr/>
        </p:nvSpPr>
        <p:spPr>
          <a:xfrm>
            <a:off x="3000815" y="5307709"/>
            <a:ext cx="31759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a:t>
            </a:r>
          </a:p>
        </p:txBody>
      </p:sp>
      <p:sp>
        <p:nvSpPr>
          <p:cNvPr id="378" name="TextBox 377">
            <a:extLst>
              <a:ext uri="{FF2B5EF4-FFF2-40B4-BE49-F238E27FC236}">
                <a16:creationId xmlns:a16="http://schemas.microsoft.com/office/drawing/2014/main" id="{7DCF8127-EA67-D2D1-FB7B-11EAF48D2323}"/>
              </a:ext>
            </a:extLst>
          </p:cNvPr>
          <p:cNvSpPr txBox="1"/>
          <p:nvPr/>
        </p:nvSpPr>
        <p:spPr>
          <a:xfrm>
            <a:off x="3343542" y="5307709"/>
            <a:ext cx="31759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379" name="TextBox 378">
            <a:extLst>
              <a:ext uri="{FF2B5EF4-FFF2-40B4-BE49-F238E27FC236}">
                <a16:creationId xmlns:a16="http://schemas.microsoft.com/office/drawing/2014/main" id="{468FD656-3981-772C-EBC2-078980FED7B4}"/>
              </a:ext>
            </a:extLst>
          </p:cNvPr>
          <p:cNvSpPr txBox="1"/>
          <p:nvPr/>
        </p:nvSpPr>
        <p:spPr>
          <a:xfrm>
            <a:off x="3680360" y="5307709"/>
            <a:ext cx="31759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a:t>
            </a:r>
          </a:p>
        </p:txBody>
      </p:sp>
      <p:sp>
        <p:nvSpPr>
          <p:cNvPr id="381" name="TextBox 380">
            <a:extLst>
              <a:ext uri="{FF2B5EF4-FFF2-40B4-BE49-F238E27FC236}">
                <a16:creationId xmlns:a16="http://schemas.microsoft.com/office/drawing/2014/main" id="{BED1D85E-AA5C-A988-5918-13EA52A87C51}"/>
              </a:ext>
            </a:extLst>
          </p:cNvPr>
          <p:cNvSpPr txBox="1"/>
          <p:nvPr/>
        </p:nvSpPr>
        <p:spPr>
          <a:xfrm>
            <a:off x="2319162" y="3893745"/>
            <a:ext cx="1515082" cy="184666"/>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 18.9 months</a:t>
            </a:r>
          </a:p>
        </p:txBody>
      </p:sp>
      <p:sp>
        <p:nvSpPr>
          <p:cNvPr id="382" name="TextBox 381">
            <a:extLst>
              <a:ext uri="{FF2B5EF4-FFF2-40B4-BE49-F238E27FC236}">
                <a16:creationId xmlns:a16="http://schemas.microsoft.com/office/drawing/2014/main" id="{E640BAB0-D7A4-5A6F-37CE-1DDD376A4610}"/>
              </a:ext>
            </a:extLst>
          </p:cNvPr>
          <p:cNvSpPr txBox="1"/>
          <p:nvPr/>
        </p:nvSpPr>
        <p:spPr>
          <a:xfrm>
            <a:off x="3011354" y="4347664"/>
            <a:ext cx="836510" cy="12311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p>
        </p:txBody>
      </p:sp>
      <p:sp>
        <p:nvSpPr>
          <p:cNvPr id="383" name="TextBox 382">
            <a:extLst>
              <a:ext uri="{FF2B5EF4-FFF2-40B4-BE49-F238E27FC236}">
                <a16:creationId xmlns:a16="http://schemas.microsoft.com/office/drawing/2014/main" id="{C9C5D5D4-85F7-47C0-0082-4DED26A581D0}"/>
              </a:ext>
            </a:extLst>
          </p:cNvPr>
          <p:cNvSpPr txBox="1"/>
          <p:nvPr/>
        </p:nvSpPr>
        <p:spPr>
          <a:xfrm>
            <a:off x="1523370" y="4981118"/>
            <a:ext cx="1513746" cy="123111"/>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andard EGFR TKI</a:t>
            </a:r>
          </a:p>
        </p:txBody>
      </p:sp>
      <p:sp>
        <p:nvSpPr>
          <p:cNvPr id="384" name="Rectangle 383">
            <a:extLst>
              <a:ext uri="{FF2B5EF4-FFF2-40B4-BE49-F238E27FC236}">
                <a16:creationId xmlns:a16="http://schemas.microsoft.com/office/drawing/2014/main" id="{20C6ED6F-59E7-CC3F-D6BB-6CE31AFF118A}"/>
              </a:ext>
            </a:extLst>
          </p:cNvPr>
          <p:cNvSpPr/>
          <p:nvPr/>
        </p:nvSpPr>
        <p:spPr>
          <a:xfrm>
            <a:off x="885378" y="3734057"/>
            <a:ext cx="1175909" cy="597294"/>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385" name="Table 384">
            <a:extLst>
              <a:ext uri="{FF2B5EF4-FFF2-40B4-BE49-F238E27FC236}">
                <a16:creationId xmlns:a16="http://schemas.microsoft.com/office/drawing/2014/main" id="{295FCB95-BA49-2CA3-8AC3-0711B1FC8E10}"/>
              </a:ext>
            </a:extLst>
          </p:cNvPr>
          <p:cNvGraphicFramePr>
            <a:graphicFrameLocks noGrp="1"/>
          </p:cNvGraphicFramePr>
          <p:nvPr/>
        </p:nvGraphicFramePr>
        <p:xfrm>
          <a:off x="685992" y="5750040"/>
          <a:ext cx="3384000" cy="360000"/>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1314269448"/>
                    </a:ext>
                  </a:extLst>
                </a:gridCol>
                <a:gridCol w="396000">
                  <a:extLst>
                    <a:ext uri="{9D8B030D-6E8A-4147-A177-3AD203B41FA5}">
                      <a16:colId xmlns:a16="http://schemas.microsoft.com/office/drawing/2014/main" val="116629626"/>
                    </a:ext>
                  </a:extLst>
                </a:gridCol>
                <a:gridCol w="252000">
                  <a:extLst>
                    <a:ext uri="{9D8B030D-6E8A-4147-A177-3AD203B41FA5}">
                      <a16:colId xmlns:a16="http://schemas.microsoft.com/office/drawing/2014/main" val="2991798050"/>
                    </a:ext>
                  </a:extLst>
                </a:gridCol>
                <a:gridCol w="468000">
                  <a:extLst>
                    <a:ext uri="{9D8B030D-6E8A-4147-A177-3AD203B41FA5}">
                      <a16:colId xmlns:a16="http://schemas.microsoft.com/office/drawing/2014/main" val="1214577513"/>
                    </a:ext>
                  </a:extLst>
                </a:gridCol>
                <a:gridCol w="180000">
                  <a:extLst>
                    <a:ext uri="{9D8B030D-6E8A-4147-A177-3AD203B41FA5}">
                      <a16:colId xmlns:a16="http://schemas.microsoft.com/office/drawing/2014/main" val="2137396224"/>
                    </a:ext>
                  </a:extLst>
                </a:gridCol>
                <a:gridCol w="468000">
                  <a:extLst>
                    <a:ext uri="{9D8B030D-6E8A-4147-A177-3AD203B41FA5}">
                      <a16:colId xmlns:a16="http://schemas.microsoft.com/office/drawing/2014/main" val="2884935801"/>
                    </a:ext>
                  </a:extLst>
                </a:gridCol>
                <a:gridCol w="180000">
                  <a:extLst>
                    <a:ext uri="{9D8B030D-6E8A-4147-A177-3AD203B41FA5}">
                      <a16:colId xmlns:a16="http://schemas.microsoft.com/office/drawing/2014/main" val="3447660963"/>
                    </a:ext>
                  </a:extLst>
                </a:gridCol>
                <a:gridCol w="504000">
                  <a:extLst>
                    <a:ext uri="{9D8B030D-6E8A-4147-A177-3AD203B41FA5}">
                      <a16:colId xmlns:a16="http://schemas.microsoft.com/office/drawing/2014/main" val="1372302851"/>
                    </a:ext>
                  </a:extLst>
                </a:gridCol>
                <a:gridCol w="180000">
                  <a:extLst>
                    <a:ext uri="{9D8B030D-6E8A-4147-A177-3AD203B41FA5}">
                      <a16:colId xmlns:a16="http://schemas.microsoft.com/office/drawing/2014/main" val="564489534"/>
                    </a:ext>
                  </a:extLst>
                </a:gridCol>
                <a:gridCol w="468000">
                  <a:extLst>
                    <a:ext uri="{9D8B030D-6E8A-4147-A177-3AD203B41FA5}">
                      <a16:colId xmlns:a16="http://schemas.microsoft.com/office/drawing/2014/main" val="1486906339"/>
                    </a:ext>
                  </a:extLst>
                </a:gridCol>
              </a:tblGrid>
              <a:tr h="180000">
                <a:tc>
                  <a:txBody>
                    <a:bodyPr/>
                    <a:lstStyle/>
                    <a:p>
                      <a:pPr algn="ctr"/>
                      <a:r>
                        <a:rPr lang="en-US" sz="800" b="0" dirty="0">
                          <a:solidFill>
                            <a:schemeClr val="tx1"/>
                          </a:solidFill>
                          <a:latin typeface="Arial "/>
                        </a:rPr>
                        <a:t>279</a:t>
                      </a:r>
                    </a:p>
                  </a:txBody>
                  <a:tcPr marL="0" marR="0" marT="0" marB="0"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26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23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21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17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13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7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2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0</a:t>
                      </a:r>
                    </a:p>
                  </a:txBody>
                  <a:tcPr marL="0" marR="0" marT="0" marB="0" anchor="ctr">
                    <a:lnL w="6350" cap="flat" cmpd="sng" algn="ctr">
                      <a:no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9576515"/>
                  </a:ext>
                </a:extLst>
              </a:tr>
              <a:tr h="180000">
                <a:tc>
                  <a:txBody>
                    <a:bodyPr/>
                    <a:lstStyle/>
                    <a:p>
                      <a:pPr algn="ctr"/>
                      <a:r>
                        <a:rPr lang="en-US" sz="800" b="0" dirty="0">
                          <a:solidFill>
                            <a:schemeClr val="tx1"/>
                          </a:solidFill>
                          <a:latin typeface="Arial "/>
                        </a:rPr>
                        <a:t>277</a:t>
                      </a:r>
                    </a:p>
                  </a:txBody>
                  <a:tcPr marL="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23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19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15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10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7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3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1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latin typeface="Arial "/>
                        </a:rPr>
                        <a:t>0</a:t>
                      </a:r>
                    </a:p>
                  </a:txBody>
                  <a:tcPr marL="0" marR="0" marT="0" marB="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5938405"/>
                  </a:ext>
                </a:extLst>
              </a:tr>
            </a:tbl>
          </a:graphicData>
        </a:graphic>
      </p:graphicFrame>
      <p:sp>
        <p:nvSpPr>
          <p:cNvPr id="386" name="TextBox 385">
            <a:extLst>
              <a:ext uri="{FF2B5EF4-FFF2-40B4-BE49-F238E27FC236}">
                <a16:creationId xmlns:a16="http://schemas.microsoft.com/office/drawing/2014/main" id="{8836C3CA-C8D3-64A1-8EA0-76E976CF10CC}"/>
              </a:ext>
            </a:extLst>
          </p:cNvPr>
          <p:cNvSpPr txBox="1"/>
          <p:nvPr/>
        </p:nvSpPr>
        <p:spPr>
          <a:xfrm>
            <a:off x="358801" y="5633333"/>
            <a:ext cx="754810" cy="123111"/>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at risk:</a:t>
            </a:r>
          </a:p>
        </p:txBody>
      </p:sp>
      <p:grpSp>
        <p:nvGrpSpPr>
          <p:cNvPr id="454" name="Group 453">
            <a:extLst>
              <a:ext uri="{FF2B5EF4-FFF2-40B4-BE49-F238E27FC236}">
                <a16:creationId xmlns:a16="http://schemas.microsoft.com/office/drawing/2014/main" id="{DD317A6B-37AC-27D2-33DC-CF03D3DE7AA5}"/>
              </a:ext>
            </a:extLst>
          </p:cNvPr>
          <p:cNvGrpSpPr/>
          <p:nvPr/>
        </p:nvGrpSpPr>
        <p:grpSpPr>
          <a:xfrm>
            <a:off x="850232" y="2795456"/>
            <a:ext cx="121950" cy="698732"/>
            <a:chOff x="850232" y="2728781"/>
            <a:chExt cx="44843" cy="256935"/>
          </a:xfrm>
        </p:grpSpPr>
        <p:sp>
          <p:nvSpPr>
            <p:cNvPr id="410" name="Freeform 409">
              <a:extLst>
                <a:ext uri="{FF2B5EF4-FFF2-40B4-BE49-F238E27FC236}">
                  <a16:creationId xmlns:a16="http://schemas.microsoft.com/office/drawing/2014/main" id="{2F415445-2136-16AC-EAC2-3F9E8D8D1B97}"/>
                </a:ext>
              </a:extLst>
            </p:cNvPr>
            <p:cNvSpPr/>
            <p:nvPr/>
          </p:nvSpPr>
          <p:spPr>
            <a:xfrm>
              <a:off x="850232" y="2728781"/>
              <a:ext cx="44843" cy="44843"/>
            </a:xfrm>
            <a:custGeom>
              <a:avLst/>
              <a:gdLst>
                <a:gd name="connsiteX0" fmla="*/ 0 w 44843"/>
                <a:gd name="connsiteY0" fmla="*/ 0 h 44843"/>
                <a:gd name="connsiteX1" fmla="*/ 44844 w 44843"/>
                <a:gd name="connsiteY1" fmla="*/ 0 h 44843"/>
                <a:gd name="connsiteX2" fmla="*/ 44844 w 44843"/>
                <a:gd name="connsiteY2" fmla="*/ 44844 h 44843"/>
                <a:gd name="connsiteX3" fmla="*/ 0 w 44843"/>
                <a:gd name="connsiteY3" fmla="*/ 44844 h 44843"/>
              </a:gdLst>
              <a:ahLst/>
              <a:cxnLst>
                <a:cxn ang="0">
                  <a:pos x="connsiteX0" y="connsiteY0"/>
                </a:cxn>
                <a:cxn ang="0">
                  <a:pos x="connsiteX1" y="connsiteY1"/>
                </a:cxn>
                <a:cxn ang="0">
                  <a:pos x="connsiteX2" y="connsiteY2"/>
                </a:cxn>
                <a:cxn ang="0">
                  <a:pos x="connsiteX3" y="connsiteY3"/>
                </a:cxn>
              </a:cxnLst>
              <a:rect l="l" t="t" r="r" b="b"/>
              <a:pathLst>
                <a:path w="44843" h="44843">
                  <a:moveTo>
                    <a:pt x="0" y="0"/>
                  </a:moveTo>
                  <a:lnTo>
                    <a:pt x="44844" y="0"/>
                  </a:lnTo>
                  <a:lnTo>
                    <a:pt x="44844" y="44844"/>
                  </a:lnTo>
                  <a:lnTo>
                    <a:pt x="0" y="44844"/>
                  </a:lnTo>
                  <a:close/>
                </a:path>
              </a:pathLst>
            </a:custGeom>
            <a:solidFill>
              <a:srgbClr val="EB170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1" name="Freeform 410">
              <a:extLst>
                <a:ext uri="{FF2B5EF4-FFF2-40B4-BE49-F238E27FC236}">
                  <a16:creationId xmlns:a16="http://schemas.microsoft.com/office/drawing/2014/main" id="{DCA1D69E-156F-B51B-5F95-9077ACFFA01E}"/>
                </a:ext>
              </a:extLst>
            </p:cNvPr>
            <p:cNvSpPr/>
            <p:nvPr/>
          </p:nvSpPr>
          <p:spPr>
            <a:xfrm>
              <a:off x="850232" y="2781259"/>
              <a:ext cx="44843" cy="44843"/>
            </a:xfrm>
            <a:custGeom>
              <a:avLst/>
              <a:gdLst>
                <a:gd name="connsiteX0" fmla="*/ 0 w 44843"/>
                <a:gd name="connsiteY0" fmla="*/ 0 h 44843"/>
                <a:gd name="connsiteX1" fmla="*/ 44844 w 44843"/>
                <a:gd name="connsiteY1" fmla="*/ 0 h 44843"/>
                <a:gd name="connsiteX2" fmla="*/ 44844 w 44843"/>
                <a:gd name="connsiteY2" fmla="*/ 44844 h 44843"/>
                <a:gd name="connsiteX3" fmla="*/ 0 w 44843"/>
                <a:gd name="connsiteY3" fmla="*/ 44844 h 44843"/>
              </a:gdLst>
              <a:ahLst/>
              <a:cxnLst>
                <a:cxn ang="0">
                  <a:pos x="connsiteX0" y="connsiteY0"/>
                </a:cxn>
                <a:cxn ang="0">
                  <a:pos x="connsiteX1" y="connsiteY1"/>
                </a:cxn>
                <a:cxn ang="0">
                  <a:pos x="connsiteX2" y="connsiteY2"/>
                </a:cxn>
                <a:cxn ang="0">
                  <a:pos x="connsiteX3" y="connsiteY3"/>
                </a:cxn>
              </a:cxnLst>
              <a:rect l="l" t="t" r="r" b="b"/>
              <a:pathLst>
                <a:path w="44843" h="44843">
                  <a:moveTo>
                    <a:pt x="0" y="0"/>
                  </a:moveTo>
                  <a:lnTo>
                    <a:pt x="44844" y="0"/>
                  </a:lnTo>
                  <a:lnTo>
                    <a:pt x="44844" y="44844"/>
                  </a:lnTo>
                  <a:lnTo>
                    <a:pt x="0" y="44844"/>
                  </a:lnTo>
                  <a:close/>
                </a:path>
              </a:pathLst>
            </a:custGeom>
            <a:solidFill>
              <a:srgbClr val="007CB4"/>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2" name="Freeform 411">
              <a:extLst>
                <a:ext uri="{FF2B5EF4-FFF2-40B4-BE49-F238E27FC236}">
                  <a16:creationId xmlns:a16="http://schemas.microsoft.com/office/drawing/2014/main" id="{E6EF22E0-0248-E84D-E619-AF4EB577459A}"/>
                </a:ext>
              </a:extLst>
            </p:cNvPr>
            <p:cNvSpPr/>
            <p:nvPr/>
          </p:nvSpPr>
          <p:spPr>
            <a:xfrm>
              <a:off x="850232" y="2834478"/>
              <a:ext cx="44843" cy="44843"/>
            </a:xfrm>
            <a:custGeom>
              <a:avLst/>
              <a:gdLst>
                <a:gd name="connsiteX0" fmla="*/ 0 w 44843"/>
                <a:gd name="connsiteY0" fmla="*/ 0 h 44843"/>
                <a:gd name="connsiteX1" fmla="*/ 44844 w 44843"/>
                <a:gd name="connsiteY1" fmla="*/ 0 h 44843"/>
                <a:gd name="connsiteX2" fmla="*/ 44844 w 44843"/>
                <a:gd name="connsiteY2" fmla="*/ 44844 h 44843"/>
                <a:gd name="connsiteX3" fmla="*/ 0 w 44843"/>
                <a:gd name="connsiteY3" fmla="*/ 44844 h 44843"/>
              </a:gdLst>
              <a:ahLst/>
              <a:cxnLst>
                <a:cxn ang="0">
                  <a:pos x="connsiteX0" y="connsiteY0"/>
                </a:cxn>
                <a:cxn ang="0">
                  <a:pos x="connsiteX1" y="connsiteY1"/>
                </a:cxn>
                <a:cxn ang="0">
                  <a:pos x="connsiteX2" y="connsiteY2"/>
                </a:cxn>
                <a:cxn ang="0">
                  <a:pos x="connsiteX3" y="connsiteY3"/>
                </a:cxn>
              </a:cxnLst>
              <a:rect l="l" t="t" r="r" b="b"/>
              <a:pathLst>
                <a:path w="44843" h="44843">
                  <a:moveTo>
                    <a:pt x="0" y="0"/>
                  </a:moveTo>
                  <a:lnTo>
                    <a:pt x="44844" y="0"/>
                  </a:lnTo>
                  <a:lnTo>
                    <a:pt x="44844" y="44844"/>
                  </a:lnTo>
                  <a:lnTo>
                    <a:pt x="0" y="44844"/>
                  </a:lnTo>
                  <a:close/>
                </a:path>
              </a:pathLst>
            </a:custGeom>
            <a:solidFill>
              <a:srgbClr val="DFC3F3"/>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3" name="Freeform 412">
              <a:extLst>
                <a:ext uri="{FF2B5EF4-FFF2-40B4-BE49-F238E27FC236}">
                  <a16:creationId xmlns:a16="http://schemas.microsoft.com/office/drawing/2014/main" id="{66898088-7F4B-D407-D4D5-B93591B30438}"/>
                </a:ext>
              </a:extLst>
            </p:cNvPr>
            <p:cNvSpPr/>
            <p:nvPr/>
          </p:nvSpPr>
          <p:spPr>
            <a:xfrm>
              <a:off x="850232" y="2888439"/>
              <a:ext cx="44843" cy="44843"/>
            </a:xfrm>
            <a:custGeom>
              <a:avLst/>
              <a:gdLst>
                <a:gd name="connsiteX0" fmla="*/ 0 w 44843"/>
                <a:gd name="connsiteY0" fmla="*/ 0 h 44843"/>
                <a:gd name="connsiteX1" fmla="*/ 44844 w 44843"/>
                <a:gd name="connsiteY1" fmla="*/ 0 h 44843"/>
                <a:gd name="connsiteX2" fmla="*/ 44844 w 44843"/>
                <a:gd name="connsiteY2" fmla="*/ 44844 h 44843"/>
                <a:gd name="connsiteX3" fmla="*/ 0 w 44843"/>
                <a:gd name="connsiteY3" fmla="*/ 44844 h 44843"/>
              </a:gdLst>
              <a:ahLst/>
              <a:cxnLst>
                <a:cxn ang="0">
                  <a:pos x="connsiteX0" y="connsiteY0"/>
                </a:cxn>
                <a:cxn ang="0">
                  <a:pos x="connsiteX1" y="connsiteY1"/>
                </a:cxn>
                <a:cxn ang="0">
                  <a:pos x="connsiteX2" y="connsiteY2"/>
                </a:cxn>
                <a:cxn ang="0">
                  <a:pos x="connsiteX3" y="connsiteY3"/>
                </a:cxn>
              </a:cxnLst>
              <a:rect l="l" t="t" r="r" b="b"/>
              <a:pathLst>
                <a:path w="44843" h="44843">
                  <a:moveTo>
                    <a:pt x="0" y="0"/>
                  </a:moveTo>
                  <a:lnTo>
                    <a:pt x="44844" y="0"/>
                  </a:lnTo>
                  <a:lnTo>
                    <a:pt x="44844" y="44844"/>
                  </a:lnTo>
                  <a:lnTo>
                    <a:pt x="0" y="44844"/>
                  </a:lnTo>
                  <a:close/>
                </a:path>
              </a:pathLst>
            </a:custGeom>
            <a:solidFill>
              <a:schemeClr val="accent4"/>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4" name="Freeform 413">
              <a:extLst>
                <a:ext uri="{FF2B5EF4-FFF2-40B4-BE49-F238E27FC236}">
                  <a16:creationId xmlns:a16="http://schemas.microsoft.com/office/drawing/2014/main" id="{F2180D03-133D-E76B-4E3C-0F2230BF8BA9}"/>
                </a:ext>
              </a:extLst>
            </p:cNvPr>
            <p:cNvSpPr/>
            <p:nvPr/>
          </p:nvSpPr>
          <p:spPr>
            <a:xfrm>
              <a:off x="850232" y="2940873"/>
              <a:ext cx="44843" cy="44843"/>
            </a:xfrm>
            <a:custGeom>
              <a:avLst/>
              <a:gdLst>
                <a:gd name="connsiteX0" fmla="*/ 0 w 44843"/>
                <a:gd name="connsiteY0" fmla="*/ 0 h 44843"/>
                <a:gd name="connsiteX1" fmla="*/ 44844 w 44843"/>
                <a:gd name="connsiteY1" fmla="*/ 0 h 44843"/>
                <a:gd name="connsiteX2" fmla="*/ 44844 w 44843"/>
                <a:gd name="connsiteY2" fmla="*/ 44844 h 44843"/>
                <a:gd name="connsiteX3" fmla="*/ 0 w 44843"/>
                <a:gd name="connsiteY3" fmla="*/ 44844 h 44843"/>
              </a:gdLst>
              <a:ahLst/>
              <a:cxnLst>
                <a:cxn ang="0">
                  <a:pos x="connsiteX0" y="connsiteY0"/>
                </a:cxn>
                <a:cxn ang="0">
                  <a:pos x="connsiteX1" y="connsiteY1"/>
                </a:cxn>
                <a:cxn ang="0">
                  <a:pos x="connsiteX2" y="connsiteY2"/>
                </a:cxn>
                <a:cxn ang="0">
                  <a:pos x="connsiteX3" y="connsiteY3"/>
                </a:cxn>
              </a:cxnLst>
              <a:rect l="l" t="t" r="r" b="b"/>
              <a:pathLst>
                <a:path w="44843" h="44843">
                  <a:moveTo>
                    <a:pt x="0" y="0"/>
                  </a:moveTo>
                  <a:lnTo>
                    <a:pt x="44844" y="0"/>
                  </a:lnTo>
                  <a:lnTo>
                    <a:pt x="44844" y="44844"/>
                  </a:lnTo>
                  <a:lnTo>
                    <a:pt x="0" y="44844"/>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 name="Group 4">
            <a:extLst>
              <a:ext uri="{FF2B5EF4-FFF2-40B4-BE49-F238E27FC236}">
                <a16:creationId xmlns:a16="http://schemas.microsoft.com/office/drawing/2014/main" id="{C9F2A581-18DD-5448-5CC6-D25D7D038B69}"/>
              </a:ext>
            </a:extLst>
          </p:cNvPr>
          <p:cNvGrpSpPr/>
          <p:nvPr/>
        </p:nvGrpSpPr>
        <p:grpSpPr>
          <a:xfrm>
            <a:off x="227726" y="1352306"/>
            <a:ext cx="3761972" cy="2121574"/>
            <a:chOff x="227726" y="1580490"/>
            <a:chExt cx="3761972" cy="1824713"/>
          </a:xfrm>
        </p:grpSpPr>
        <p:sp>
          <p:nvSpPr>
            <p:cNvPr id="403" name="Freeform 402">
              <a:extLst>
                <a:ext uri="{FF2B5EF4-FFF2-40B4-BE49-F238E27FC236}">
                  <a16:creationId xmlns:a16="http://schemas.microsoft.com/office/drawing/2014/main" id="{EA01A925-608F-F804-B155-5AABE2AB3FC6}"/>
                </a:ext>
              </a:extLst>
            </p:cNvPr>
            <p:cNvSpPr/>
            <p:nvPr/>
          </p:nvSpPr>
          <p:spPr>
            <a:xfrm>
              <a:off x="860614" y="2448681"/>
              <a:ext cx="3128603" cy="558324"/>
            </a:xfrm>
            <a:custGeom>
              <a:avLst/>
              <a:gdLst>
                <a:gd name="connsiteX0" fmla="*/ 3018719 w 3128603"/>
                <a:gd name="connsiteY0" fmla="*/ 349 h 558324"/>
                <a:gd name="connsiteX1" fmla="*/ 0 w 3128603"/>
                <a:gd name="connsiteY1" fmla="*/ 349 h 558324"/>
                <a:gd name="connsiteX2" fmla="*/ 0 w 3128603"/>
                <a:gd name="connsiteY2" fmla="*/ 19935 h 558324"/>
                <a:gd name="connsiteX3" fmla="*/ 8681 w 3128603"/>
                <a:gd name="connsiteY3" fmla="*/ 19935 h 558324"/>
                <a:gd name="connsiteX4" fmla="*/ 8681 w 3128603"/>
                <a:gd name="connsiteY4" fmla="*/ 25345 h 558324"/>
                <a:gd name="connsiteX5" fmla="*/ 22815 w 3128603"/>
                <a:gd name="connsiteY5" fmla="*/ 25345 h 558324"/>
                <a:gd name="connsiteX6" fmla="*/ 22815 w 3128603"/>
                <a:gd name="connsiteY6" fmla="*/ 32979 h 558324"/>
                <a:gd name="connsiteX7" fmla="*/ 52173 w 3128603"/>
                <a:gd name="connsiteY7" fmla="*/ 32979 h 558324"/>
                <a:gd name="connsiteX8" fmla="*/ 52173 w 3128603"/>
                <a:gd name="connsiteY8" fmla="*/ 37297 h 558324"/>
                <a:gd name="connsiteX9" fmla="*/ 66306 w 3128603"/>
                <a:gd name="connsiteY9" fmla="*/ 37297 h 558324"/>
                <a:gd name="connsiteX10" fmla="*/ 66306 w 3128603"/>
                <a:gd name="connsiteY10" fmla="*/ 49250 h 558324"/>
                <a:gd name="connsiteX11" fmla="*/ 79349 w 3128603"/>
                <a:gd name="connsiteY11" fmla="*/ 49250 h 558324"/>
                <a:gd name="connsiteX12" fmla="*/ 79349 w 3128603"/>
                <a:gd name="connsiteY12" fmla="*/ 56884 h 558324"/>
                <a:gd name="connsiteX13" fmla="*/ 125022 w 3128603"/>
                <a:gd name="connsiteY13" fmla="*/ 56884 h 558324"/>
                <a:gd name="connsiteX14" fmla="*/ 125022 w 3128603"/>
                <a:gd name="connsiteY14" fmla="*/ 62293 h 558324"/>
                <a:gd name="connsiteX15" fmla="*/ 155470 w 3128603"/>
                <a:gd name="connsiteY15" fmla="*/ 62293 h 558324"/>
                <a:gd name="connsiteX16" fmla="*/ 155470 w 3128603"/>
                <a:gd name="connsiteY16" fmla="*/ 75336 h 558324"/>
                <a:gd name="connsiteX17" fmla="*/ 183694 w 3128603"/>
                <a:gd name="connsiteY17" fmla="*/ 75336 h 558324"/>
                <a:gd name="connsiteX18" fmla="*/ 183694 w 3128603"/>
                <a:gd name="connsiteY18" fmla="*/ 84061 h 558324"/>
                <a:gd name="connsiteX19" fmla="*/ 194600 w 3128603"/>
                <a:gd name="connsiteY19" fmla="*/ 84061 h 558324"/>
                <a:gd name="connsiteX20" fmla="*/ 191328 w 3128603"/>
                <a:gd name="connsiteY20" fmla="*/ 87332 h 558324"/>
                <a:gd name="connsiteX21" fmla="*/ 203281 w 3128603"/>
                <a:gd name="connsiteY21" fmla="*/ 87332 h 558324"/>
                <a:gd name="connsiteX22" fmla="*/ 203281 w 3128603"/>
                <a:gd name="connsiteY22" fmla="*/ 93832 h 558324"/>
                <a:gd name="connsiteX23" fmla="*/ 216324 w 3128603"/>
                <a:gd name="connsiteY23" fmla="*/ 93832 h 558324"/>
                <a:gd name="connsiteX24" fmla="*/ 216324 w 3128603"/>
                <a:gd name="connsiteY24" fmla="*/ 100375 h 558324"/>
                <a:gd name="connsiteX25" fmla="*/ 239138 w 3128603"/>
                <a:gd name="connsiteY25" fmla="*/ 100375 h 558324"/>
                <a:gd name="connsiteX26" fmla="*/ 235910 w 3128603"/>
                <a:gd name="connsiteY26" fmla="*/ 103603 h 558324"/>
                <a:gd name="connsiteX27" fmla="*/ 257634 w 3128603"/>
                <a:gd name="connsiteY27" fmla="*/ 103603 h 558324"/>
                <a:gd name="connsiteX28" fmla="*/ 263087 w 3128603"/>
                <a:gd name="connsiteY28" fmla="*/ 109056 h 558324"/>
                <a:gd name="connsiteX29" fmla="*/ 293492 w 3128603"/>
                <a:gd name="connsiteY29" fmla="*/ 109056 h 558324"/>
                <a:gd name="connsiteX30" fmla="*/ 293492 w 3128603"/>
                <a:gd name="connsiteY30" fmla="*/ 121009 h 558324"/>
                <a:gd name="connsiteX31" fmla="*/ 330484 w 3128603"/>
                <a:gd name="connsiteY31" fmla="*/ 121009 h 558324"/>
                <a:gd name="connsiteX32" fmla="*/ 330484 w 3128603"/>
                <a:gd name="connsiteY32" fmla="*/ 126069 h 558324"/>
                <a:gd name="connsiteX33" fmla="*/ 346755 w 3128603"/>
                <a:gd name="connsiteY33" fmla="*/ 126069 h 558324"/>
                <a:gd name="connsiteX34" fmla="*/ 346755 w 3128603"/>
                <a:gd name="connsiteY34" fmla="*/ 135142 h 558324"/>
                <a:gd name="connsiteX35" fmla="*/ 395699 w 3128603"/>
                <a:gd name="connsiteY35" fmla="*/ 135142 h 558324"/>
                <a:gd name="connsiteX36" fmla="*/ 395699 w 3128603"/>
                <a:gd name="connsiteY36" fmla="*/ 140770 h 558324"/>
                <a:gd name="connsiteX37" fmla="*/ 410008 w 3128603"/>
                <a:gd name="connsiteY37" fmla="*/ 140770 h 558324"/>
                <a:gd name="connsiteX38" fmla="*/ 410008 w 3128603"/>
                <a:gd name="connsiteY38" fmla="*/ 147444 h 558324"/>
                <a:gd name="connsiteX39" fmla="*/ 422178 w 3128603"/>
                <a:gd name="connsiteY39" fmla="*/ 147444 h 558324"/>
                <a:gd name="connsiteX40" fmla="*/ 422178 w 3128603"/>
                <a:gd name="connsiteY40" fmla="*/ 150803 h 558324"/>
                <a:gd name="connsiteX41" fmla="*/ 456117 w 3128603"/>
                <a:gd name="connsiteY41" fmla="*/ 150803 h 558324"/>
                <a:gd name="connsiteX42" fmla="*/ 456117 w 3128603"/>
                <a:gd name="connsiteY42" fmla="*/ 155121 h 558324"/>
                <a:gd name="connsiteX43" fmla="*/ 465932 w 3128603"/>
                <a:gd name="connsiteY43" fmla="*/ 155121 h 558324"/>
                <a:gd name="connsiteX44" fmla="*/ 465932 w 3128603"/>
                <a:gd name="connsiteY44" fmla="*/ 159048 h 558324"/>
                <a:gd name="connsiteX45" fmla="*/ 480065 w 3128603"/>
                <a:gd name="connsiteY45" fmla="*/ 159048 h 558324"/>
                <a:gd name="connsiteX46" fmla="*/ 480065 w 3128603"/>
                <a:gd name="connsiteY46" fmla="*/ 162974 h 558324"/>
                <a:gd name="connsiteX47" fmla="*/ 492803 w 3128603"/>
                <a:gd name="connsiteY47" fmla="*/ 162974 h 558324"/>
                <a:gd name="connsiteX48" fmla="*/ 492803 w 3128603"/>
                <a:gd name="connsiteY48" fmla="*/ 167074 h 558324"/>
                <a:gd name="connsiteX49" fmla="*/ 503403 w 3128603"/>
                <a:gd name="connsiteY49" fmla="*/ 167074 h 558324"/>
                <a:gd name="connsiteX50" fmla="*/ 503403 w 3128603"/>
                <a:gd name="connsiteY50" fmla="*/ 171218 h 558324"/>
                <a:gd name="connsiteX51" fmla="*/ 511474 w 3128603"/>
                <a:gd name="connsiteY51" fmla="*/ 171218 h 558324"/>
                <a:gd name="connsiteX52" fmla="*/ 511474 w 3128603"/>
                <a:gd name="connsiteY52" fmla="*/ 177064 h 558324"/>
                <a:gd name="connsiteX53" fmla="*/ 536556 w 3128603"/>
                <a:gd name="connsiteY53" fmla="*/ 177064 h 558324"/>
                <a:gd name="connsiteX54" fmla="*/ 536556 w 3128603"/>
                <a:gd name="connsiteY54" fmla="*/ 180423 h 558324"/>
                <a:gd name="connsiteX55" fmla="*/ 549905 w 3128603"/>
                <a:gd name="connsiteY55" fmla="*/ 180423 h 558324"/>
                <a:gd name="connsiteX56" fmla="*/ 549905 w 3128603"/>
                <a:gd name="connsiteY56" fmla="*/ 183956 h 558324"/>
                <a:gd name="connsiteX57" fmla="*/ 572676 w 3128603"/>
                <a:gd name="connsiteY57" fmla="*/ 183956 h 558324"/>
                <a:gd name="connsiteX58" fmla="*/ 572676 w 3128603"/>
                <a:gd name="connsiteY58" fmla="*/ 188275 h 558324"/>
                <a:gd name="connsiteX59" fmla="*/ 620137 w 3128603"/>
                <a:gd name="connsiteY59" fmla="*/ 188275 h 558324"/>
                <a:gd name="connsiteX60" fmla="*/ 620137 w 3128603"/>
                <a:gd name="connsiteY60" fmla="*/ 192375 h 558324"/>
                <a:gd name="connsiteX61" fmla="*/ 653116 w 3128603"/>
                <a:gd name="connsiteY61" fmla="*/ 192375 h 558324"/>
                <a:gd name="connsiteX62" fmla="*/ 653116 w 3128603"/>
                <a:gd name="connsiteY62" fmla="*/ 199835 h 558324"/>
                <a:gd name="connsiteX63" fmla="*/ 690195 w 3128603"/>
                <a:gd name="connsiteY63" fmla="*/ 199835 h 558324"/>
                <a:gd name="connsiteX64" fmla="*/ 690195 w 3128603"/>
                <a:gd name="connsiteY64" fmla="*/ 204153 h 558324"/>
                <a:gd name="connsiteX65" fmla="*/ 713925 w 3128603"/>
                <a:gd name="connsiteY65" fmla="*/ 204153 h 558324"/>
                <a:gd name="connsiteX66" fmla="*/ 713925 w 3128603"/>
                <a:gd name="connsiteY66" fmla="*/ 208297 h 558324"/>
                <a:gd name="connsiteX67" fmla="*/ 723173 w 3128603"/>
                <a:gd name="connsiteY67" fmla="*/ 208297 h 558324"/>
                <a:gd name="connsiteX68" fmla="*/ 723173 w 3128603"/>
                <a:gd name="connsiteY68" fmla="*/ 213968 h 558324"/>
                <a:gd name="connsiteX69" fmla="*/ 744374 w 3128603"/>
                <a:gd name="connsiteY69" fmla="*/ 213968 h 558324"/>
                <a:gd name="connsiteX70" fmla="*/ 744374 w 3128603"/>
                <a:gd name="connsiteY70" fmla="*/ 219247 h 558324"/>
                <a:gd name="connsiteX71" fmla="*/ 769282 w 3128603"/>
                <a:gd name="connsiteY71" fmla="*/ 219247 h 558324"/>
                <a:gd name="connsiteX72" fmla="*/ 769282 w 3128603"/>
                <a:gd name="connsiteY72" fmla="*/ 223958 h 558324"/>
                <a:gd name="connsiteX73" fmla="*/ 816351 w 3128603"/>
                <a:gd name="connsiteY73" fmla="*/ 223958 h 558324"/>
                <a:gd name="connsiteX74" fmla="*/ 816351 w 3128603"/>
                <a:gd name="connsiteY74" fmla="*/ 232595 h 558324"/>
                <a:gd name="connsiteX75" fmla="*/ 862678 w 3128603"/>
                <a:gd name="connsiteY75" fmla="*/ 232595 h 558324"/>
                <a:gd name="connsiteX76" fmla="*/ 862678 w 3128603"/>
                <a:gd name="connsiteY76" fmla="*/ 241625 h 558324"/>
                <a:gd name="connsiteX77" fmla="*/ 899539 w 3128603"/>
                <a:gd name="connsiteY77" fmla="*/ 241625 h 558324"/>
                <a:gd name="connsiteX78" fmla="*/ 899539 w 3128603"/>
                <a:gd name="connsiteY78" fmla="*/ 245158 h 558324"/>
                <a:gd name="connsiteX79" fmla="*/ 969989 w 3128603"/>
                <a:gd name="connsiteY79" fmla="*/ 245158 h 558324"/>
                <a:gd name="connsiteX80" fmla="*/ 969989 w 3128603"/>
                <a:gd name="connsiteY80" fmla="*/ 251658 h 558324"/>
                <a:gd name="connsiteX81" fmla="*/ 1016273 w 3128603"/>
                <a:gd name="connsiteY81" fmla="*/ 251658 h 558324"/>
                <a:gd name="connsiteX82" fmla="*/ 1016273 w 3128603"/>
                <a:gd name="connsiteY82" fmla="*/ 256369 h 558324"/>
                <a:gd name="connsiteX83" fmla="*/ 1030624 w 3128603"/>
                <a:gd name="connsiteY83" fmla="*/ 256369 h 558324"/>
                <a:gd name="connsiteX84" fmla="*/ 1030624 w 3128603"/>
                <a:gd name="connsiteY84" fmla="*/ 261430 h 558324"/>
                <a:gd name="connsiteX85" fmla="*/ 1063560 w 3128603"/>
                <a:gd name="connsiteY85" fmla="*/ 261430 h 558324"/>
                <a:gd name="connsiteX86" fmla="*/ 1063560 w 3128603"/>
                <a:gd name="connsiteY86" fmla="*/ 265181 h 558324"/>
                <a:gd name="connsiteX87" fmla="*/ 1119484 w 3128603"/>
                <a:gd name="connsiteY87" fmla="*/ 265181 h 558324"/>
                <a:gd name="connsiteX88" fmla="*/ 1119484 w 3128603"/>
                <a:gd name="connsiteY88" fmla="*/ 269500 h 558324"/>
                <a:gd name="connsiteX89" fmla="*/ 1180511 w 3128603"/>
                <a:gd name="connsiteY89" fmla="*/ 269500 h 558324"/>
                <a:gd name="connsiteX90" fmla="*/ 1180511 w 3128603"/>
                <a:gd name="connsiteY90" fmla="*/ 275389 h 558324"/>
                <a:gd name="connsiteX91" fmla="*/ 1194034 w 3128603"/>
                <a:gd name="connsiteY91" fmla="*/ 275389 h 558324"/>
                <a:gd name="connsiteX92" fmla="*/ 1194034 w 3128603"/>
                <a:gd name="connsiteY92" fmla="*/ 281060 h 558324"/>
                <a:gd name="connsiteX93" fmla="*/ 1236435 w 3128603"/>
                <a:gd name="connsiteY93" fmla="*/ 281060 h 558324"/>
                <a:gd name="connsiteX94" fmla="*/ 1236435 w 3128603"/>
                <a:gd name="connsiteY94" fmla="*/ 285989 h 558324"/>
                <a:gd name="connsiteX95" fmla="*/ 1250569 w 3128603"/>
                <a:gd name="connsiteY95" fmla="*/ 285989 h 558324"/>
                <a:gd name="connsiteX96" fmla="*/ 1250569 w 3128603"/>
                <a:gd name="connsiteY96" fmla="*/ 290308 h 558324"/>
                <a:gd name="connsiteX97" fmla="*/ 1319798 w 3128603"/>
                <a:gd name="connsiteY97" fmla="*/ 290308 h 558324"/>
                <a:gd name="connsiteX98" fmla="*/ 1319798 w 3128603"/>
                <a:gd name="connsiteY98" fmla="*/ 295411 h 558324"/>
                <a:gd name="connsiteX99" fmla="*/ 1446172 w 3128603"/>
                <a:gd name="connsiteY99" fmla="*/ 295411 h 558324"/>
                <a:gd name="connsiteX100" fmla="*/ 1446172 w 3128603"/>
                <a:gd name="connsiteY100" fmla="*/ 301300 h 558324"/>
                <a:gd name="connsiteX101" fmla="*/ 1470513 w 3128603"/>
                <a:gd name="connsiteY101" fmla="*/ 301300 h 558324"/>
                <a:gd name="connsiteX102" fmla="*/ 1470513 w 3128603"/>
                <a:gd name="connsiteY102" fmla="*/ 305183 h 558324"/>
                <a:gd name="connsiteX103" fmla="*/ 1540135 w 3128603"/>
                <a:gd name="connsiteY103" fmla="*/ 305183 h 558324"/>
                <a:gd name="connsiteX104" fmla="*/ 1540135 w 3128603"/>
                <a:gd name="connsiteY104" fmla="*/ 311683 h 558324"/>
                <a:gd name="connsiteX105" fmla="*/ 1600596 w 3128603"/>
                <a:gd name="connsiteY105" fmla="*/ 311683 h 558324"/>
                <a:gd name="connsiteX106" fmla="*/ 1600596 w 3128603"/>
                <a:gd name="connsiteY106" fmla="*/ 319317 h 558324"/>
                <a:gd name="connsiteX107" fmla="*/ 1624501 w 3128603"/>
                <a:gd name="connsiteY107" fmla="*/ 319317 h 558324"/>
                <a:gd name="connsiteX108" fmla="*/ 1624501 w 3128603"/>
                <a:gd name="connsiteY108" fmla="*/ 323243 h 558324"/>
                <a:gd name="connsiteX109" fmla="*/ 1693599 w 3128603"/>
                <a:gd name="connsiteY109" fmla="*/ 323243 h 558324"/>
                <a:gd name="connsiteX110" fmla="*/ 1693599 w 3128603"/>
                <a:gd name="connsiteY110" fmla="*/ 327387 h 558324"/>
                <a:gd name="connsiteX111" fmla="*/ 1754583 w 3128603"/>
                <a:gd name="connsiteY111" fmla="*/ 327387 h 558324"/>
                <a:gd name="connsiteX112" fmla="*/ 1754583 w 3128603"/>
                <a:gd name="connsiteY112" fmla="*/ 333668 h 558324"/>
                <a:gd name="connsiteX113" fmla="*/ 1880390 w 3128603"/>
                <a:gd name="connsiteY113" fmla="*/ 333668 h 558324"/>
                <a:gd name="connsiteX114" fmla="*/ 1880390 w 3128603"/>
                <a:gd name="connsiteY114" fmla="*/ 338772 h 558324"/>
                <a:gd name="connsiteX115" fmla="*/ 1917862 w 3128603"/>
                <a:gd name="connsiteY115" fmla="*/ 338772 h 558324"/>
                <a:gd name="connsiteX116" fmla="*/ 1917862 w 3128603"/>
                <a:gd name="connsiteY116" fmla="*/ 343876 h 558324"/>
                <a:gd name="connsiteX117" fmla="*/ 1965323 w 3128603"/>
                <a:gd name="connsiteY117" fmla="*/ 343876 h 558324"/>
                <a:gd name="connsiteX118" fmla="*/ 1965323 w 3128603"/>
                <a:gd name="connsiteY118" fmla="*/ 348762 h 558324"/>
                <a:gd name="connsiteX119" fmla="*/ 2043800 w 3128603"/>
                <a:gd name="connsiteY119" fmla="*/ 348762 h 558324"/>
                <a:gd name="connsiteX120" fmla="*/ 2043800 w 3128603"/>
                <a:gd name="connsiteY120" fmla="*/ 353865 h 558324"/>
                <a:gd name="connsiteX121" fmla="*/ 2081664 w 3128603"/>
                <a:gd name="connsiteY121" fmla="*/ 353865 h 558324"/>
                <a:gd name="connsiteX122" fmla="*/ 2081664 w 3128603"/>
                <a:gd name="connsiteY122" fmla="*/ 358969 h 558324"/>
                <a:gd name="connsiteX123" fmla="*/ 2104610 w 3128603"/>
                <a:gd name="connsiteY123" fmla="*/ 358969 h 558324"/>
                <a:gd name="connsiteX124" fmla="*/ 2104610 w 3128603"/>
                <a:gd name="connsiteY124" fmla="*/ 363070 h 558324"/>
                <a:gd name="connsiteX125" fmla="*/ 2127773 w 3128603"/>
                <a:gd name="connsiteY125" fmla="*/ 363070 h 558324"/>
                <a:gd name="connsiteX126" fmla="*/ 2127773 w 3128603"/>
                <a:gd name="connsiteY126" fmla="*/ 366036 h 558324"/>
                <a:gd name="connsiteX127" fmla="*/ 2160752 w 3128603"/>
                <a:gd name="connsiteY127" fmla="*/ 366036 h 558324"/>
                <a:gd name="connsiteX128" fmla="*/ 2160752 w 3128603"/>
                <a:gd name="connsiteY128" fmla="*/ 369570 h 558324"/>
                <a:gd name="connsiteX129" fmla="*/ 2171352 w 3128603"/>
                <a:gd name="connsiteY129" fmla="*/ 369570 h 558324"/>
                <a:gd name="connsiteX130" fmla="*/ 2171352 w 3128603"/>
                <a:gd name="connsiteY130" fmla="*/ 374455 h 558324"/>
                <a:gd name="connsiteX131" fmla="*/ 2278053 w 3128603"/>
                <a:gd name="connsiteY131" fmla="*/ 374455 h 558324"/>
                <a:gd name="connsiteX132" fmla="*/ 2278053 w 3128603"/>
                <a:gd name="connsiteY132" fmla="*/ 379952 h 558324"/>
                <a:gd name="connsiteX133" fmla="*/ 2309679 w 3128603"/>
                <a:gd name="connsiteY133" fmla="*/ 379952 h 558324"/>
                <a:gd name="connsiteX134" fmla="*/ 2309679 w 3128603"/>
                <a:gd name="connsiteY134" fmla="*/ 384881 h 558324"/>
                <a:gd name="connsiteX135" fmla="*/ 2324772 w 3128603"/>
                <a:gd name="connsiteY135" fmla="*/ 384881 h 558324"/>
                <a:gd name="connsiteX136" fmla="*/ 2324772 w 3128603"/>
                <a:gd name="connsiteY136" fmla="*/ 390552 h 558324"/>
                <a:gd name="connsiteX137" fmla="*/ 2347936 w 3128603"/>
                <a:gd name="connsiteY137" fmla="*/ 390552 h 558324"/>
                <a:gd name="connsiteX138" fmla="*/ 2347936 w 3128603"/>
                <a:gd name="connsiteY138" fmla="*/ 394871 h 558324"/>
                <a:gd name="connsiteX139" fmla="*/ 2405212 w 3128603"/>
                <a:gd name="connsiteY139" fmla="*/ 394871 h 558324"/>
                <a:gd name="connsiteX140" fmla="*/ 2405212 w 3128603"/>
                <a:gd name="connsiteY140" fmla="*/ 401545 h 558324"/>
                <a:gd name="connsiteX141" fmla="*/ 2459740 w 3128603"/>
                <a:gd name="connsiteY141" fmla="*/ 401545 h 558324"/>
                <a:gd name="connsiteX142" fmla="*/ 2459740 w 3128603"/>
                <a:gd name="connsiteY142" fmla="*/ 405645 h 558324"/>
                <a:gd name="connsiteX143" fmla="*/ 2473700 w 3128603"/>
                <a:gd name="connsiteY143" fmla="*/ 405645 h 558324"/>
                <a:gd name="connsiteX144" fmla="*/ 2473700 w 3128603"/>
                <a:gd name="connsiteY144" fmla="*/ 411927 h 558324"/>
                <a:gd name="connsiteX145" fmla="*/ 2510386 w 3128603"/>
                <a:gd name="connsiteY145" fmla="*/ 411927 h 558324"/>
                <a:gd name="connsiteX146" fmla="*/ 2510386 w 3128603"/>
                <a:gd name="connsiteY146" fmla="*/ 416856 h 558324"/>
                <a:gd name="connsiteX147" fmla="*/ 2547858 w 3128603"/>
                <a:gd name="connsiteY147" fmla="*/ 416856 h 558324"/>
                <a:gd name="connsiteX148" fmla="*/ 2547858 w 3128603"/>
                <a:gd name="connsiteY148" fmla="*/ 420564 h 558324"/>
                <a:gd name="connsiteX149" fmla="*/ 2566310 w 3128603"/>
                <a:gd name="connsiteY149" fmla="*/ 420564 h 558324"/>
                <a:gd name="connsiteX150" fmla="*/ 2589823 w 3128603"/>
                <a:gd name="connsiteY150" fmla="*/ 420564 h 558324"/>
                <a:gd name="connsiteX151" fmla="*/ 2589823 w 3128603"/>
                <a:gd name="connsiteY151" fmla="*/ 425668 h 558324"/>
                <a:gd name="connsiteX152" fmla="*/ 2636717 w 3128603"/>
                <a:gd name="connsiteY152" fmla="*/ 425668 h 558324"/>
                <a:gd name="connsiteX153" fmla="*/ 2636717 w 3128603"/>
                <a:gd name="connsiteY153" fmla="*/ 430990 h 558324"/>
                <a:gd name="connsiteX154" fmla="*/ 2651068 w 3128603"/>
                <a:gd name="connsiteY154" fmla="*/ 430990 h 558324"/>
                <a:gd name="connsiteX155" fmla="*/ 2651068 w 3128603"/>
                <a:gd name="connsiteY155" fmla="*/ 434872 h 558324"/>
                <a:gd name="connsiteX156" fmla="*/ 2674232 w 3128603"/>
                <a:gd name="connsiteY156" fmla="*/ 434872 h 558324"/>
                <a:gd name="connsiteX157" fmla="*/ 2674232 w 3128603"/>
                <a:gd name="connsiteY157" fmla="*/ 446956 h 558324"/>
                <a:gd name="connsiteX158" fmla="*/ 2707516 w 3128603"/>
                <a:gd name="connsiteY158" fmla="*/ 446956 h 558324"/>
                <a:gd name="connsiteX159" fmla="*/ 2707516 w 3128603"/>
                <a:gd name="connsiteY159" fmla="*/ 452365 h 558324"/>
                <a:gd name="connsiteX160" fmla="*/ 2730679 w 3128603"/>
                <a:gd name="connsiteY160" fmla="*/ 452365 h 558324"/>
                <a:gd name="connsiteX161" fmla="*/ 2730679 w 3128603"/>
                <a:gd name="connsiteY161" fmla="*/ 457818 h 558324"/>
                <a:gd name="connsiteX162" fmla="*/ 2777006 w 3128603"/>
                <a:gd name="connsiteY162" fmla="*/ 457818 h 558324"/>
                <a:gd name="connsiteX163" fmla="*/ 2777006 w 3128603"/>
                <a:gd name="connsiteY163" fmla="*/ 462486 h 558324"/>
                <a:gd name="connsiteX164" fmla="*/ 2823814 w 3128603"/>
                <a:gd name="connsiteY164" fmla="*/ 462486 h 558324"/>
                <a:gd name="connsiteX165" fmla="*/ 2823814 w 3128603"/>
                <a:gd name="connsiteY165" fmla="*/ 468636 h 558324"/>
                <a:gd name="connsiteX166" fmla="*/ 2846977 w 3128603"/>
                <a:gd name="connsiteY166" fmla="*/ 468636 h 558324"/>
                <a:gd name="connsiteX167" fmla="*/ 2846977 w 3128603"/>
                <a:gd name="connsiteY167" fmla="*/ 472824 h 558324"/>
                <a:gd name="connsiteX168" fmla="*/ 2893304 w 3128603"/>
                <a:gd name="connsiteY168" fmla="*/ 472824 h 558324"/>
                <a:gd name="connsiteX169" fmla="*/ 2893304 w 3128603"/>
                <a:gd name="connsiteY169" fmla="*/ 477753 h 558324"/>
                <a:gd name="connsiteX170" fmla="*/ 2926544 w 3128603"/>
                <a:gd name="connsiteY170" fmla="*/ 477753 h 558324"/>
                <a:gd name="connsiteX171" fmla="*/ 2926544 w 3128603"/>
                <a:gd name="connsiteY171" fmla="*/ 483424 h 558324"/>
                <a:gd name="connsiteX172" fmla="*/ 2940373 w 3128603"/>
                <a:gd name="connsiteY172" fmla="*/ 483424 h 558324"/>
                <a:gd name="connsiteX173" fmla="*/ 2940373 w 3128603"/>
                <a:gd name="connsiteY173" fmla="*/ 487874 h 558324"/>
                <a:gd name="connsiteX174" fmla="*/ 2973351 w 3128603"/>
                <a:gd name="connsiteY174" fmla="*/ 487874 h 558324"/>
                <a:gd name="connsiteX175" fmla="*/ 2973351 w 3128603"/>
                <a:gd name="connsiteY175" fmla="*/ 508333 h 558324"/>
                <a:gd name="connsiteX176" fmla="*/ 2985696 w 3128603"/>
                <a:gd name="connsiteY176" fmla="*/ 508333 h 558324"/>
                <a:gd name="connsiteX177" fmla="*/ 2985696 w 3128603"/>
                <a:gd name="connsiteY177" fmla="*/ 518933 h 558324"/>
                <a:gd name="connsiteX178" fmla="*/ 2996515 w 3128603"/>
                <a:gd name="connsiteY178" fmla="*/ 518933 h 558324"/>
                <a:gd name="connsiteX179" fmla="*/ 2996515 w 3128603"/>
                <a:gd name="connsiteY179" fmla="*/ 531235 h 558324"/>
                <a:gd name="connsiteX180" fmla="*/ 3009820 w 3128603"/>
                <a:gd name="connsiteY180" fmla="*/ 531235 h 558324"/>
                <a:gd name="connsiteX181" fmla="*/ 3009820 w 3128603"/>
                <a:gd name="connsiteY181" fmla="*/ 558324 h 558324"/>
                <a:gd name="connsiteX182" fmla="*/ 3128604 w 3128603"/>
                <a:gd name="connsiteY182" fmla="*/ 558324 h 558324"/>
                <a:gd name="connsiteX183" fmla="*/ 3128604 w 3128603"/>
                <a:gd name="connsiteY183" fmla="*/ 0 h 558324"/>
                <a:gd name="connsiteX184" fmla="*/ 3018719 w 3128603"/>
                <a:gd name="connsiteY184" fmla="*/ 349 h 55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3128603" h="558324">
                  <a:moveTo>
                    <a:pt x="3018719" y="349"/>
                  </a:moveTo>
                  <a:lnTo>
                    <a:pt x="0" y="349"/>
                  </a:lnTo>
                  <a:lnTo>
                    <a:pt x="0" y="19935"/>
                  </a:lnTo>
                  <a:lnTo>
                    <a:pt x="8681" y="19935"/>
                  </a:lnTo>
                  <a:lnTo>
                    <a:pt x="8681" y="25345"/>
                  </a:lnTo>
                  <a:lnTo>
                    <a:pt x="22815" y="25345"/>
                  </a:lnTo>
                  <a:lnTo>
                    <a:pt x="22815" y="32979"/>
                  </a:lnTo>
                  <a:lnTo>
                    <a:pt x="52173" y="32979"/>
                  </a:lnTo>
                  <a:lnTo>
                    <a:pt x="52173" y="37297"/>
                  </a:lnTo>
                  <a:lnTo>
                    <a:pt x="66306" y="37297"/>
                  </a:lnTo>
                  <a:lnTo>
                    <a:pt x="66306" y="49250"/>
                  </a:lnTo>
                  <a:lnTo>
                    <a:pt x="79349" y="49250"/>
                  </a:lnTo>
                  <a:lnTo>
                    <a:pt x="79349" y="56884"/>
                  </a:lnTo>
                  <a:lnTo>
                    <a:pt x="125022" y="56884"/>
                  </a:lnTo>
                  <a:lnTo>
                    <a:pt x="125022" y="62293"/>
                  </a:lnTo>
                  <a:lnTo>
                    <a:pt x="155470" y="62293"/>
                  </a:lnTo>
                  <a:lnTo>
                    <a:pt x="155470" y="75336"/>
                  </a:lnTo>
                  <a:lnTo>
                    <a:pt x="183694" y="75336"/>
                  </a:lnTo>
                  <a:lnTo>
                    <a:pt x="183694" y="84061"/>
                  </a:lnTo>
                  <a:lnTo>
                    <a:pt x="194600" y="84061"/>
                  </a:lnTo>
                  <a:lnTo>
                    <a:pt x="191328" y="87332"/>
                  </a:lnTo>
                  <a:lnTo>
                    <a:pt x="203281" y="87332"/>
                  </a:lnTo>
                  <a:lnTo>
                    <a:pt x="203281" y="93832"/>
                  </a:lnTo>
                  <a:lnTo>
                    <a:pt x="216324" y="93832"/>
                  </a:lnTo>
                  <a:lnTo>
                    <a:pt x="216324" y="100375"/>
                  </a:lnTo>
                  <a:lnTo>
                    <a:pt x="239138" y="100375"/>
                  </a:lnTo>
                  <a:lnTo>
                    <a:pt x="235910" y="103603"/>
                  </a:lnTo>
                  <a:lnTo>
                    <a:pt x="257634" y="103603"/>
                  </a:lnTo>
                  <a:lnTo>
                    <a:pt x="263087" y="109056"/>
                  </a:lnTo>
                  <a:lnTo>
                    <a:pt x="293492" y="109056"/>
                  </a:lnTo>
                  <a:lnTo>
                    <a:pt x="293492" y="121009"/>
                  </a:lnTo>
                  <a:lnTo>
                    <a:pt x="330484" y="121009"/>
                  </a:lnTo>
                  <a:lnTo>
                    <a:pt x="330484" y="126069"/>
                  </a:lnTo>
                  <a:lnTo>
                    <a:pt x="346755" y="126069"/>
                  </a:lnTo>
                  <a:lnTo>
                    <a:pt x="346755" y="135142"/>
                  </a:lnTo>
                  <a:lnTo>
                    <a:pt x="395699" y="135142"/>
                  </a:lnTo>
                  <a:lnTo>
                    <a:pt x="395699" y="140770"/>
                  </a:lnTo>
                  <a:lnTo>
                    <a:pt x="410008" y="140770"/>
                  </a:lnTo>
                  <a:lnTo>
                    <a:pt x="410008" y="147444"/>
                  </a:lnTo>
                  <a:lnTo>
                    <a:pt x="422178" y="147444"/>
                  </a:lnTo>
                  <a:lnTo>
                    <a:pt x="422178" y="150803"/>
                  </a:lnTo>
                  <a:lnTo>
                    <a:pt x="456117" y="150803"/>
                  </a:lnTo>
                  <a:lnTo>
                    <a:pt x="456117" y="155121"/>
                  </a:lnTo>
                  <a:lnTo>
                    <a:pt x="465932" y="155121"/>
                  </a:lnTo>
                  <a:lnTo>
                    <a:pt x="465932" y="159048"/>
                  </a:lnTo>
                  <a:lnTo>
                    <a:pt x="480065" y="159048"/>
                  </a:lnTo>
                  <a:lnTo>
                    <a:pt x="480065" y="162974"/>
                  </a:lnTo>
                  <a:lnTo>
                    <a:pt x="492803" y="162974"/>
                  </a:lnTo>
                  <a:lnTo>
                    <a:pt x="492803" y="167074"/>
                  </a:lnTo>
                  <a:lnTo>
                    <a:pt x="503403" y="167074"/>
                  </a:lnTo>
                  <a:lnTo>
                    <a:pt x="503403" y="171218"/>
                  </a:lnTo>
                  <a:lnTo>
                    <a:pt x="511474" y="171218"/>
                  </a:lnTo>
                  <a:lnTo>
                    <a:pt x="511474" y="177064"/>
                  </a:lnTo>
                  <a:lnTo>
                    <a:pt x="536556" y="177064"/>
                  </a:lnTo>
                  <a:lnTo>
                    <a:pt x="536556" y="180423"/>
                  </a:lnTo>
                  <a:lnTo>
                    <a:pt x="549905" y="180423"/>
                  </a:lnTo>
                  <a:lnTo>
                    <a:pt x="549905" y="183956"/>
                  </a:lnTo>
                  <a:lnTo>
                    <a:pt x="572676" y="183956"/>
                  </a:lnTo>
                  <a:lnTo>
                    <a:pt x="572676" y="188275"/>
                  </a:lnTo>
                  <a:lnTo>
                    <a:pt x="620137" y="188275"/>
                  </a:lnTo>
                  <a:lnTo>
                    <a:pt x="620137" y="192375"/>
                  </a:lnTo>
                  <a:lnTo>
                    <a:pt x="653116" y="192375"/>
                  </a:lnTo>
                  <a:lnTo>
                    <a:pt x="653116" y="199835"/>
                  </a:lnTo>
                  <a:lnTo>
                    <a:pt x="690195" y="199835"/>
                  </a:lnTo>
                  <a:lnTo>
                    <a:pt x="690195" y="204153"/>
                  </a:lnTo>
                  <a:lnTo>
                    <a:pt x="713925" y="204153"/>
                  </a:lnTo>
                  <a:lnTo>
                    <a:pt x="713925" y="208297"/>
                  </a:lnTo>
                  <a:lnTo>
                    <a:pt x="723173" y="208297"/>
                  </a:lnTo>
                  <a:lnTo>
                    <a:pt x="723173" y="213968"/>
                  </a:lnTo>
                  <a:lnTo>
                    <a:pt x="744374" y="213968"/>
                  </a:lnTo>
                  <a:lnTo>
                    <a:pt x="744374" y="219247"/>
                  </a:lnTo>
                  <a:lnTo>
                    <a:pt x="769282" y="219247"/>
                  </a:lnTo>
                  <a:lnTo>
                    <a:pt x="769282" y="223958"/>
                  </a:lnTo>
                  <a:lnTo>
                    <a:pt x="816351" y="223958"/>
                  </a:lnTo>
                  <a:lnTo>
                    <a:pt x="816351" y="232595"/>
                  </a:lnTo>
                  <a:lnTo>
                    <a:pt x="862678" y="232595"/>
                  </a:lnTo>
                  <a:lnTo>
                    <a:pt x="862678" y="241625"/>
                  </a:lnTo>
                  <a:lnTo>
                    <a:pt x="899539" y="241625"/>
                  </a:lnTo>
                  <a:lnTo>
                    <a:pt x="899539" y="245158"/>
                  </a:lnTo>
                  <a:lnTo>
                    <a:pt x="969989" y="245158"/>
                  </a:lnTo>
                  <a:lnTo>
                    <a:pt x="969989" y="251658"/>
                  </a:lnTo>
                  <a:lnTo>
                    <a:pt x="1016273" y="251658"/>
                  </a:lnTo>
                  <a:lnTo>
                    <a:pt x="1016273" y="256369"/>
                  </a:lnTo>
                  <a:lnTo>
                    <a:pt x="1030624" y="256369"/>
                  </a:lnTo>
                  <a:lnTo>
                    <a:pt x="1030624" y="261430"/>
                  </a:lnTo>
                  <a:lnTo>
                    <a:pt x="1063560" y="261430"/>
                  </a:lnTo>
                  <a:lnTo>
                    <a:pt x="1063560" y="265181"/>
                  </a:lnTo>
                  <a:lnTo>
                    <a:pt x="1119484" y="265181"/>
                  </a:lnTo>
                  <a:lnTo>
                    <a:pt x="1119484" y="269500"/>
                  </a:lnTo>
                  <a:lnTo>
                    <a:pt x="1180511" y="269500"/>
                  </a:lnTo>
                  <a:lnTo>
                    <a:pt x="1180511" y="275389"/>
                  </a:lnTo>
                  <a:lnTo>
                    <a:pt x="1194034" y="275389"/>
                  </a:lnTo>
                  <a:lnTo>
                    <a:pt x="1194034" y="281060"/>
                  </a:lnTo>
                  <a:lnTo>
                    <a:pt x="1236435" y="281060"/>
                  </a:lnTo>
                  <a:lnTo>
                    <a:pt x="1236435" y="285989"/>
                  </a:lnTo>
                  <a:lnTo>
                    <a:pt x="1250569" y="285989"/>
                  </a:lnTo>
                  <a:lnTo>
                    <a:pt x="1250569" y="290308"/>
                  </a:lnTo>
                  <a:lnTo>
                    <a:pt x="1319798" y="290308"/>
                  </a:lnTo>
                  <a:lnTo>
                    <a:pt x="1319798" y="295411"/>
                  </a:lnTo>
                  <a:lnTo>
                    <a:pt x="1446172" y="295411"/>
                  </a:lnTo>
                  <a:lnTo>
                    <a:pt x="1446172" y="301300"/>
                  </a:lnTo>
                  <a:lnTo>
                    <a:pt x="1470513" y="301300"/>
                  </a:lnTo>
                  <a:lnTo>
                    <a:pt x="1470513" y="305183"/>
                  </a:lnTo>
                  <a:lnTo>
                    <a:pt x="1540135" y="305183"/>
                  </a:lnTo>
                  <a:lnTo>
                    <a:pt x="1540135" y="311683"/>
                  </a:lnTo>
                  <a:lnTo>
                    <a:pt x="1600596" y="311683"/>
                  </a:lnTo>
                  <a:lnTo>
                    <a:pt x="1600596" y="319317"/>
                  </a:lnTo>
                  <a:lnTo>
                    <a:pt x="1624501" y="319317"/>
                  </a:lnTo>
                  <a:lnTo>
                    <a:pt x="1624501" y="323243"/>
                  </a:lnTo>
                  <a:lnTo>
                    <a:pt x="1693599" y="323243"/>
                  </a:lnTo>
                  <a:lnTo>
                    <a:pt x="1693599" y="327387"/>
                  </a:lnTo>
                  <a:lnTo>
                    <a:pt x="1754583" y="327387"/>
                  </a:lnTo>
                  <a:lnTo>
                    <a:pt x="1754583" y="333668"/>
                  </a:lnTo>
                  <a:lnTo>
                    <a:pt x="1880390" y="333668"/>
                  </a:lnTo>
                  <a:lnTo>
                    <a:pt x="1880390" y="338772"/>
                  </a:lnTo>
                  <a:lnTo>
                    <a:pt x="1917862" y="338772"/>
                  </a:lnTo>
                  <a:lnTo>
                    <a:pt x="1917862" y="343876"/>
                  </a:lnTo>
                  <a:lnTo>
                    <a:pt x="1965323" y="343876"/>
                  </a:lnTo>
                  <a:lnTo>
                    <a:pt x="1965323" y="348762"/>
                  </a:lnTo>
                  <a:lnTo>
                    <a:pt x="2043800" y="348762"/>
                  </a:lnTo>
                  <a:lnTo>
                    <a:pt x="2043800" y="353865"/>
                  </a:lnTo>
                  <a:lnTo>
                    <a:pt x="2081664" y="353865"/>
                  </a:lnTo>
                  <a:lnTo>
                    <a:pt x="2081664" y="358969"/>
                  </a:lnTo>
                  <a:lnTo>
                    <a:pt x="2104610" y="358969"/>
                  </a:lnTo>
                  <a:lnTo>
                    <a:pt x="2104610" y="363070"/>
                  </a:lnTo>
                  <a:lnTo>
                    <a:pt x="2127773" y="363070"/>
                  </a:lnTo>
                  <a:lnTo>
                    <a:pt x="2127773" y="366036"/>
                  </a:lnTo>
                  <a:lnTo>
                    <a:pt x="2160752" y="366036"/>
                  </a:lnTo>
                  <a:lnTo>
                    <a:pt x="2160752" y="369570"/>
                  </a:lnTo>
                  <a:lnTo>
                    <a:pt x="2171352" y="369570"/>
                  </a:lnTo>
                  <a:lnTo>
                    <a:pt x="2171352" y="374455"/>
                  </a:lnTo>
                  <a:lnTo>
                    <a:pt x="2278053" y="374455"/>
                  </a:lnTo>
                  <a:lnTo>
                    <a:pt x="2278053" y="379952"/>
                  </a:lnTo>
                  <a:lnTo>
                    <a:pt x="2309679" y="379952"/>
                  </a:lnTo>
                  <a:lnTo>
                    <a:pt x="2309679" y="384881"/>
                  </a:lnTo>
                  <a:lnTo>
                    <a:pt x="2324772" y="384881"/>
                  </a:lnTo>
                  <a:lnTo>
                    <a:pt x="2324772" y="390552"/>
                  </a:lnTo>
                  <a:lnTo>
                    <a:pt x="2347936" y="390552"/>
                  </a:lnTo>
                  <a:lnTo>
                    <a:pt x="2347936" y="394871"/>
                  </a:lnTo>
                  <a:lnTo>
                    <a:pt x="2405212" y="394871"/>
                  </a:lnTo>
                  <a:lnTo>
                    <a:pt x="2405212" y="401545"/>
                  </a:lnTo>
                  <a:lnTo>
                    <a:pt x="2459740" y="401545"/>
                  </a:lnTo>
                  <a:lnTo>
                    <a:pt x="2459740" y="405645"/>
                  </a:lnTo>
                  <a:lnTo>
                    <a:pt x="2473700" y="405645"/>
                  </a:lnTo>
                  <a:lnTo>
                    <a:pt x="2473700" y="411927"/>
                  </a:lnTo>
                  <a:lnTo>
                    <a:pt x="2510386" y="411927"/>
                  </a:lnTo>
                  <a:lnTo>
                    <a:pt x="2510386" y="416856"/>
                  </a:lnTo>
                  <a:lnTo>
                    <a:pt x="2547858" y="416856"/>
                  </a:lnTo>
                  <a:lnTo>
                    <a:pt x="2547858" y="420564"/>
                  </a:lnTo>
                  <a:lnTo>
                    <a:pt x="2566310" y="420564"/>
                  </a:lnTo>
                  <a:lnTo>
                    <a:pt x="2589823" y="420564"/>
                  </a:lnTo>
                  <a:lnTo>
                    <a:pt x="2589823" y="425668"/>
                  </a:lnTo>
                  <a:lnTo>
                    <a:pt x="2636717" y="425668"/>
                  </a:lnTo>
                  <a:lnTo>
                    <a:pt x="2636717" y="430990"/>
                  </a:lnTo>
                  <a:lnTo>
                    <a:pt x="2651068" y="430990"/>
                  </a:lnTo>
                  <a:lnTo>
                    <a:pt x="2651068" y="434872"/>
                  </a:lnTo>
                  <a:lnTo>
                    <a:pt x="2674232" y="434872"/>
                  </a:lnTo>
                  <a:lnTo>
                    <a:pt x="2674232" y="446956"/>
                  </a:lnTo>
                  <a:lnTo>
                    <a:pt x="2707516" y="446956"/>
                  </a:lnTo>
                  <a:lnTo>
                    <a:pt x="2707516" y="452365"/>
                  </a:lnTo>
                  <a:lnTo>
                    <a:pt x="2730679" y="452365"/>
                  </a:lnTo>
                  <a:lnTo>
                    <a:pt x="2730679" y="457818"/>
                  </a:lnTo>
                  <a:lnTo>
                    <a:pt x="2777006" y="457818"/>
                  </a:lnTo>
                  <a:lnTo>
                    <a:pt x="2777006" y="462486"/>
                  </a:lnTo>
                  <a:lnTo>
                    <a:pt x="2823814" y="462486"/>
                  </a:lnTo>
                  <a:lnTo>
                    <a:pt x="2823814" y="468636"/>
                  </a:lnTo>
                  <a:lnTo>
                    <a:pt x="2846977" y="468636"/>
                  </a:lnTo>
                  <a:lnTo>
                    <a:pt x="2846977" y="472824"/>
                  </a:lnTo>
                  <a:lnTo>
                    <a:pt x="2893304" y="472824"/>
                  </a:lnTo>
                  <a:lnTo>
                    <a:pt x="2893304" y="477753"/>
                  </a:lnTo>
                  <a:lnTo>
                    <a:pt x="2926544" y="477753"/>
                  </a:lnTo>
                  <a:lnTo>
                    <a:pt x="2926544" y="483424"/>
                  </a:lnTo>
                  <a:lnTo>
                    <a:pt x="2940373" y="483424"/>
                  </a:lnTo>
                  <a:lnTo>
                    <a:pt x="2940373" y="487874"/>
                  </a:lnTo>
                  <a:lnTo>
                    <a:pt x="2973351" y="487874"/>
                  </a:lnTo>
                  <a:lnTo>
                    <a:pt x="2973351" y="508333"/>
                  </a:lnTo>
                  <a:lnTo>
                    <a:pt x="2985696" y="508333"/>
                  </a:lnTo>
                  <a:lnTo>
                    <a:pt x="2985696" y="518933"/>
                  </a:lnTo>
                  <a:lnTo>
                    <a:pt x="2996515" y="518933"/>
                  </a:lnTo>
                  <a:lnTo>
                    <a:pt x="2996515" y="531235"/>
                  </a:lnTo>
                  <a:lnTo>
                    <a:pt x="3009820" y="531235"/>
                  </a:lnTo>
                  <a:lnTo>
                    <a:pt x="3009820" y="558324"/>
                  </a:lnTo>
                  <a:lnTo>
                    <a:pt x="3128604" y="558324"/>
                  </a:lnTo>
                  <a:lnTo>
                    <a:pt x="3128604" y="0"/>
                  </a:lnTo>
                  <a:lnTo>
                    <a:pt x="3018719" y="349"/>
                  </a:lnTo>
                  <a:close/>
                </a:path>
              </a:pathLst>
            </a:custGeom>
            <a:solidFill>
              <a:srgbClr val="007CB4"/>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5" name="Freeform 404">
              <a:extLst>
                <a:ext uri="{FF2B5EF4-FFF2-40B4-BE49-F238E27FC236}">
                  <a16:creationId xmlns:a16="http://schemas.microsoft.com/office/drawing/2014/main" id="{F684C50F-85DB-F694-6935-55C607F27B94}"/>
                </a:ext>
              </a:extLst>
            </p:cNvPr>
            <p:cNvSpPr/>
            <p:nvPr/>
          </p:nvSpPr>
          <p:spPr>
            <a:xfrm>
              <a:off x="3869125" y="2448899"/>
              <a:ext cx="54135" cy="558106"/>
            </a:xfrm>
            <a:custGeom>
              <a:avLst/>
              <a:gdLst>
                <a:gd name="connsiteX0" fmla="*/ 54136 w 54135"/>
                <a:gd name="connsiteY0" fmla="*/ 558106 h 558106"/>
                <a:gd name="connsiteX1" fmla="*/ 54136 w 54135"/>
                <a:gd name="connsiteY1" fmla="*/ 0 h 558106"/>
                <a:gd name="connsiteX2" fmla="*/ 10208 w 54135"/>
                <a:gd name="connsiteY2" fmla="*/ 131 h 558106"/>
                <a:gd name="connsiteX3" fmla="*/ 0 w 54135"/>
                <a:gd name="connsiteY3" fmla="*/ 131 h 558106"/>
                <a:gd name="connsiteX4" fmla="*/ 0 w 54135"/>
                <a:gd name="connsiteY4" fmla="*/ 531016 h 558106"/>
                <a:gd name="connsiteX5" fmla="*/ 1309 w 54135"/>
                <a:gd name="connsiteY5" fmla="*/ 531016 h 558106"/>
                <a:gd name="connsiteX6" fmla="*/ 1309 w 54135"/>
                <a:gd name="connsiteY6" fmla="*/ 558106 h 558106"/>
                <a:gd name="connsiteX7" fmla="*/ 54136 w 54135"/>
                <a:gd name="connsiteY7" fmla="*/ 558106 h 55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35" h="558106">
                  <a:moveTo>
                    <a:pt x="54136" y="558106"/>
                  </a:moveTo>
                  <a:lnTo>
                    <a:pt x="54136" y="0"/>
                  </a:lnTo>
                  <a:lnTo>
                    <a:pt x="10208" y="131"/>
                  </a:lnTo>
                  <a:lnTo>
                    <a:pt x="0" y="131"/>
                  </a:lnTo>
                  <a:lnTo>
                    <a:pt x="0" y="531016"/>
                  </a:lnTo>
                  <a:lnTo>
                    <a:pt x="1309" y="531016"/>
                  </a:lnTo>
                  <a:lnTo>
                    <a:pt x="1309" y="558106"/>
                  </a:lnTo>
                  <a:lnTo>
                    <a:pt x="54136" y="558106"/>
                  </a:lnTo>
                  <a:close/>
                </a:path>
              </a:pathLst>
            </a:custGeom>
            <a:solidFill>
              <a:srgbClr val="EB170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6" name="Freeform 405">
              <a:extLst>
                <a:ext uri="{FF2B5EF4-FFF2-40B4-BE49-F238E27FC236}">
                  <a16:creationId xmlns:a16="http://schemas.microsoft.com/office/drawing/2014/main" id="{DB93D108-D9E5-8ACD-60F1-DB051605086D}"/>
                </a:ext>
              </a:extLst>
            </p:cNvPr>
            <p:cNvSpPr/>
            <p:nvPr/>
          </p:nvSpPr>
          <p:spPr>
            <a:xfrm>
              <a:off x="3556352" y="2449030"/>
              <a:ext cx="12999" cy="452016"/>
            </a:xfrm>
            <a:custGeom>
              <a:avLst/>
              <a:gdLst>
                <a:gd name="connsiteX0" fmla="*/ 13000 w 12999"/>
                <a:gd name="connsiteY0" fmla="*/ 452016 h 452016"/>
                <a:gd name="connsiteX1" fmla="*/ 13000 w 12999"/>
                <a:gd name="connsiteY1" fmla="*/ 0 h 452016"/>
                <a:gd name="connsiteX2" fmla="*/ 0 w 12999"/>
                <a:gd name="connsiteY2" fmla="*/ 0 h 452016"/>
                <a:gd name="connsiteX3" fmla="*/ 0 w 12999"/>
                <a:gd name="connsiteY3" fmla="*/ 446607 h 452016"/>
                <a:gd name="connsiteX4" fmla="*/ 11778 w 12999"/>
                <a:gd name="connsiteY4" fmla="*/ 446607 h 452016"/>
                <a:gd name="connsiteX5" fmla="*/ 11778 w 12999"/>
                <a:gd name="connsiteY5" fmla="*/ 452016 h 452016"/>
                <a:gd name="connsiteX6" fmla="*/ 13000 w 12999"/>
                <a:gd name="connsiteY6" fmla="*/ 452016 h 45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99" h="452016">
                  <a:moveTo>
                    <a:pt x="13000" y="452016"/>
                  </a:moveTo>
                  <a:lnTo>
                    <a:pt x="13000" y="0"/>
                  </a:lnTo>
                  <a:lnTo>
                    <a:pt x="0" y="0"/>
                  </a:lnTo>
                  <a:lnTo>
                    <a:pt x="0" y="446607"/>
                  </a:lnTo>
                  <a:lnTo>
                    <a:pt x="11778" y="446607"/>
                  </a:lnTo>
                  <a:lnTo>
                    <a:pt x="11778" y="452016"/>
                  </a:lnTo>
                  <a:lnTo>
                    <a:pt x="13000" y="452016"/>
                  </a:lnTo>
                  <a:close/>
                </a:path>
              </a:pathLst>
            </a:custGeom>
            <a:solidFill>
              <a:srgbClr val="EB170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7" name="Freeform 406">
              <a:extLst>
                <a:ext uri="{FF2B5EF4-FFF2-40B4-BE49-F238E27FC236}">
                  <a16:creationId xmlns:a16="http://schemas.microsoft.com/office/drawing/2014/main" id="{549D41C7-95CA-859E-8E10-281258A6DC77}"/>
                </a:ext>
              </a:extLst>
            </p:cNvPr>
            <p:cNvSpPr/>
            <p:nvPr/>
          </p:nvSpPr>
          <p:spPr>
            <a:xfrm>
              <a:off x="2275989" y="2449030"/>
              <a:ext cx="8637" cy="295062"/>
            </a:xfrm>
            <a:custGeom>
              <a:avLst/>
              <a:gdLst>
                <a:gd name="connsiteX0" fmla="*/ 0 w 8637"/>
                <a:gd name="connsiteY0" fmla="*/ 0 h 295062"/>
                <a:gd name="connsiteX1" fmla="*/ 8637 w 8637"/>
                <a:gd name="connsiteY1" fmla="*/ 0 h 295062"/>
                <a:gd name="connsiteX2" fmla="*/ 8637 w 8637"/>
                <a:gd name="connsiteY2" fmla="*/ 295062 h 295062"/>
                <a:gd name="connsiteX3" fmla="*/ 0 w 8637"/>
                <a:gd name="connsiteY3" fmla="*/ 295062 h 295062"/>
              </a:gdLst>
              <a:ahLst/>
              <a:cxnLst>
                <a:cxn ang="0">
                  <a:pos x="connsiteX0" y="connsiteY0"/>
                </a:cxn>
                <a:cxn ang="0">
                  <a:pos x="connsiteX1" y="connsiteY1"/>
                </a:cxn>
                <a:cxn ang="0">
                  <a:pos x="connsiteX2" y="connsiteY2"/>
                </a:cxn>
                <a:cxn ang="0">
                  <a:pos x="connsiteX3" y="connsiteY3"/>
                </a:cxn>
              </a:cxnLst>
              <a:rect l="l" t="t" r="r" b="b"/>
              <a:pathLst>
                <a:path w="8637" h="295062">
                  <a:moveTo>
                    <a:pt x="0" y="0"/>
                  </a:moveTo>
                  <a:lnTo>
                    <a:pt x="8637" y="0"/>
                  </a:lnTo>
                  <a:lnTo>
                    <a:pt x="8637" y="295062"/>
                  </a:lnTo>
                  <a:lnTo>
                    <a:pt x="0" y="295062"/>
                  </a:lnTo>
                  <a:close/>
                </a:path>
              </a:pathLst>
            </a:custGeom>
            <a:solidFill>
              <a:srgbClr val="EB170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8" name="Freeform 407">
              <a:extLst>
                <a:ext uri="{FF2B5EF4-FFF2-40B4-BE49-F238E27FC236}">
                  <a16:creationId xmlns:a16="http://schemas.microsoft.com/office/drawing/2014/main" id="{C9267736-142A-7F12-C98E-507FD04D661C}"/>
                </a:ext>
              </a:extLst>
            </p:cNvPr>
            <p:cNvSpPr/>
            <p:nvPr/>
          </p:nvSpPr>
          <p:spPr>
            <a:xfrm>
              <a:off x="860614" y="2449030"/>
              <a:ext cx="501527" cy="166725"/>
            </a:xfrm>
            <a:custGeom>
              <a:avLst/>
              <a:gdLst>
                <a:gd name="connsiteX0" fmla="*/ 0 w 501527"/>
                <a:gd name="connsiteY0" fmla="*/ 19587 h 166725"/>
                <a:gd name="connsiteX1" fmla="*/ 8681 w 501527"/>
                <a:gd name="connsiteY1" fmla="*/ 19587 h 166725"/>
                <a:gd name="connsiteX2" fmla="*/ 8681 w 501527"/>
                <a:gd name="connsiteY2" fmla="*/ 24996 h 166725"/>
                <a:gd name="connsiteX3" fmla="*/ 22815 w 501527"/>
                <a:gd name="connsiteY3" fmla="*/ 24996 h 166725"/>
                <a:gd name="connsiteX4" fmla="*/ 22815 w 501527"/>
                <a:gd name="connsiteY4" fmla="*/ 32630 h 166725"/>
                <a:gd name="connsiteX5" fmla="*/ 52173 w 501527"/>
                <a:gd name="connsiteY5" fmla="*/ 32630 h 166725"/>
                <a:gd name="connsiteX6" fmla="*/ 52173 w 501527"/>
                <a:gd name="connsiteY6" fmla="*/ 36948 h 166725"/>
                <a:gd name="connsiteX7" fmla="*/ 66306 w 501527"/>
                <a:gd name="connsiteY7" fmla="*/ 36948 h 166725"/>
                <a:gd name="connsiteX8" fmla="*/ 66306 w 501527"/>
                <a:gd name="connsiteY8" fmla="*/ 48901 h 166725"/>
                <a:gd name="connsiteX9" fmla="*/ 79349 w 501527"/>
                <a:gd name="connsiteY9" fmla="*/ 48901 h 166725"/>
                <a:gd name="connsiteX10" fmla="*/ 79349 w 501527"/>
                <a:gd name="connsiteY10" fmla="*/ 56535 h 166725"/>
                <a:gd name="connsiteX11" fmla="*/ 125022 w 501527"/>
                <a:gd name="connsiteY11" fmla="*/ 56535 h 166725"/>
                <a:gd name="connsiteX12" fmla="*/ 125022 w 501527"/>
                <a:gd name="connsiteY12" fmla="*/ 61944 h 166725"/>
                <a:gd name="connsiteX13" fmla="*/ 155470 w 501527"/>
                <a:gd name="connsiteY13" fmla="*/ 61944 h 166725"/>
                <a:gd name="connsiteX14" fmla="*/ 155470 w 501527"/>
                <a:gd name="connsiteY14" fmla="*/ 74987 h 166725"/>
                <a:gd name="connsiteX15" fmla="*/ 183694 w 501527"/>
                <a:gd name="connsiteY15" fmla="*/ 74987 h 166725"/>
                <a:gd name="connsiteX16" fmla="*/ 183694 w 501527"/>
                <a:gd name="connsiteY16" fmla="*/ 83712 h 166725"/>
                <a:gd name="connsiteX17" fmla="*/ 194600 w 501527"/>
                <a:gd name="connsiteY17" fmla="*/ 83712 h 166725"/>
                <a:gd name="connsiteX18" fmla="*/ 191328 w 501527"/>
                <a:gd name="connsiteY18" fmla="*/ 86983 h 166725"/>
                <a:gd name="connsiteX19" fmla="*/ 203281 w 501527"/>
                <a:gd name="connsiteY19" fmla="*/ 86983 h 166725"/>
                <a:gd name="connsiteX20" fmla="*/ 203281 w 501527"/>
                <a:gd name="connsiteY20" fmla="*/ 93483 h 166725"/>
                <a:gd name="connsiteX21" fmla="*/ 216324 w 501527"/>
                <a:gd name="connsiteY21" fmla="*/ 93483 h 166725"/>
                <a:gd name="connsiteX22" fmla="*/ 216324 w 501527"/>
                <a:gd name="connsiteY22" fmla="*/ 100026 h 166725"/>
                <a:gd name="connsiteX23" fmla="*/ 239138 w 501527"/>
                <a:gd name="connsiteY23" fmla="*/ 100026 h 166725"/>
                <a:gd name="connsiteX24" fmla="*/ 235910 w 501527"/>
                <a:gd name="connsiteY24" fmla="*/ 103254 h 166725"/>
                <a:gd name="connsiteX25" fmla="*/ 257634 w 501527"/>
                <a:gd name="connsiteY25" fmla="*/ 103254 h 166725"/>
                <a:gd name="connsiteX26" fmla="*/ 263087 w 501527"/>
                <a:gd name="connsiteY26" fmla="*/ 108707 h 166725"/>
                <a:gd name="connsiteX27" fmla="*/ 293492 w 501527"/>
                <a:gd name="connsiteY27" fmla="*/ 108707 h 166725"/>
                <a:gd name="connsiteX28" fmla="*/ 293492 w 501527"/>
                <a:gd name="connsiteY28" fmla="*/ 120660 h 166725"/>
                <a:gd name="connsiteX29" fmla="*/ 330484 w 501527"/>
                <a:gd name="connsiteY29" fmla="*/ 120660 h 166725"/>
                <a:gd name="connsiteX30" fmla="*/ 330484 w 501527"/>
                <a:gd name="connsiteY30" fmla="*/ 125720 h 166725"/>
                <a:gd name="connsiteX31" fmla="*/ 346755 w 501527"/>
                <a:gd name="connsiteY31" fmla="*/ 125720 h 166725"/>
                <a:gd name="connsiteX32" fmla="*/ 346755 w 501527"/>
                <a:gd name="connsiteY32" fmla="*/ 134794 h 166725"/>
                <a:gd name="connsiteX33" fmla="*/ 395699 w 501527"/>
                <a:gd name="connsiteY33" fmla="*/ 134794 h 166725"/>
                <a:gd name="connsiteX34" fmla="*/ 395699 w 501527"/>
                <a:gd name="connsiteY34" fmla="*/ 140421 h 166725"/>
                <a:gd name="connsiteX35" fmla="*/ 410008 w 501527"/>
                <a:gd name="connsiteY35" fmla="*/ 140421 h 166725"/>
                <a:gd name="connsiteX36" fmla="*/ 410008 w 501527"/>
                <a:gd name="connsiteY36" fmla="*/ 147095 h 166725"/>
                <a:gd name="connsiteX37" fmla="*/ 422178 w 501527"/>
                <a:gd name="connsiteY37" fmla="*/ 147095 h 166725"/>
                <a:gd name="connsiteX38" fmla="*/ 422178 w 501527"/>
                <a:gd name="connsiteY38" fmla="*/ 150454 h 166725"/>
                <a:gd name="connsiteX39" fmla="*/ 456117 w 501527"/>
                <a:gd name="connsiteY39" fmla="*/ 150454 h 166725"/>
                <a:gd name="connsiteX40" fmla="*/ 456117 w 501527"/>
                <a:gd name="connsiteY40" fmla="*/ 154773 h 166725"/>
                <a:gd name="connsiteX41" fmla="*/ 465932 w 501527"/>
                <a:gd name="connsiteY41" fmla="*/ 154773 h 166725"/>
                <a:gd name="connsiteX42" fmla="*/ 465932 w 501527"/>
                <a:gd name="connsiteY42" fmla="*/ 158699 h 166725"/>
                <a:gd name="connsiteX43" fmla="*/ 480065 w 501527"/>
                <a:gd name="connsiteY43" fmla="*/ 158699 h 166725"/>
                <a:gd name="connsiteX44" fmla="*/ 480065 w 501527"/>
                <a:gd name="connsiteY44" fmla="*/ 162625 h 166725"/>
                <a:gd name="connsiteX45" fmla="*/ 492803 w 501527"/>
                <a:gd name="connsiteY45" fmla="*/ 162625 h 166725"/>
                <a:gd name="connsiteX46" fmla="*/ 492803 w 501527"/>
                <a:gd name="connsiteY46" fmla="*/ 166725 h 166725"/>
                <a:gd name="connsiteX47" fmla="*/ 501528 w 501527"/>
                <a:gd name="connsiteY47" fmla="*/ 166725 h 166725"/>
                <a:gd name="connsiteX48" fmla="*/ 501528 w 501527"/>
                <a:gd name="connsiteY48" fmla="*/ 0 h 166725"/>
                <a:gd name="connsiteX49" fmla="*/ 0 w 501527"/>
                <a:gd name="connsiteY49" fmla="*/ 0 h 166725"/>
                <a:gd name="connsiteX50" fmla="*/ 0 w 501527"/>
                <a:gd name="connsiteY50" fmla="*/ 19587 h 1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01527" h="166725">
                  <a:moveTo>
                    <a:pt x="0" y="19587"/>
                  </a:moveTo>
                  <a:lnTo>
                    <a:pt x="8681" y="19587"/>
                  </a:lnTo>
                  <a:lnTo>
                    <a:pt x="8681" y="24996"/>
                  </a:lnTo>
                  <a:lnTo>
                    <a:pt x="22815" y="24996"/>
                  </a:lnTo>
                  <a:lnTo>
                    <a:pt x="22815" y="32630"/>
                  </a:lnTo>
                  <a:lnTo>
                    <a:pt x="52173" y="32630"/>
                  </a:lnTo>
                  <a:lnTo>
                    <a:pt x="52173" y="36948"/>
                  </a:lnTo>
                  <a:lnTo>
                    <a:pt x="66306" y="36948"/>
                  </a:lnTo>
                  <a:lnTo>
                    <a:pt x="66306" y="48901"/>
                  </a:lnTo>
                  <a:lnTo>
                    <a:pt x="79349" y="48901"/>
                  </a:lnTo>
                  <a:lnTo>
                    <a:pt x="79349" y="56535"/>
                  </a:lnTo>
                  <a:lnTo>
                    <a:pt x="125022" y="56535"/>
                  </a:lnTo>
                  <a:lnTo>
                    <a:pt x="125022" y="61944"/>
                  </a:lnTo>
                  <a:lnTo>
                    <a:pt x="155470" y="61944"/>
                  </a:lnTo>
                  <a:lnTo>
                    <a:pt x="155470" y="74987"/>
                  </a:lnTo>
                  <a:lnTo>
                    <a:pt x="183694" y="74987"/>
                  </a:lnTo>
                  <a:lnTo>
                    <a:pt x="183694" y="83712"/>
                  </a:lnTo>
                  <a:lnTo>
                    <a:pt x="194600" y="83712"/>
                  </a:lnTo>
                  <a:lnTo>
                    <a:pt x="191328" y="86983"/>
                  </a:lnTo>
                  <a:lnTo>
                    <a:pt x="203281" y="86983"/>
                  </a:lnTo>
                  <a:lnTo>
                    <a:pt x="203281" y="93483"/>
                  </a:lnTo>
                  <a:lnTo>
                    <a:pt x="216324" y="93483"/>
                  </a:lnTo>
                  <a:lnTo>
                    <a:pt x="216324" y="100026"/>
                  </a:lnTo>
                  <a:lnTo>
                    <a:pt x="239138" y="100026"/>
                  </a:lnTo>
                  <a:lnTo>
                    <a:pt x="235910" y="103254"/>
                  </a:lnTo>
                  <a:lnTo>
                    <a:pt x="257634" y="103254"/>
                  </a:lnTo>
                  <a:lnTo>
                    <a:pt x="263087" y="108707"/>
                  </a:lnTo>
                  <a:lnTo>
                    <a:pt x="293492" y="108707"/>
                  </a:lnTo>
                  <a:lnTo>
                    <a:pt x="293492" y="120660"/>
                  </a:lnTo>
                  <a:lnTo>
                    <a:pt x="330484" y="120660"/>
                  </a:lnTo>
                  <a:lnTo>
                    <a:pt x="330484" y="125720"/>
                  </a:lnTo>
                  <a:lnTo>
                    <a:pt x="346755" y="125720"/>
                  </a:lnTo>
                  <a:lnTo>
                    <a:pt x="346755" y="134794"/>
                  </a:lnTo>
                  <a:lnTo>
                    <a:pt x="395699" y="134794"/>
                  </a:lnTo>
                  <a:lnTo>
                    <a:pt x="395699" y="140421"/>
                  </a:lnTo>
                  <a:lnTo>
                    <a:pt x="410008" y="140421"/>
                  </a:lnTo>
                  <a:lnTo>
                    <a:pt x="410008" y="147095"/>
                  </a:lnTo>
                  <a:lnTo>
                    <a:pt x="422178" y="147095"/>
                  </a:lnTo>
                  <a:lnTo>
                    <a:pt x="422178" y="150454"/>
                  </a:lnTo>
                  <a:lnTo>
                    <a:pt x="456117" y="150454"/>
                  </a:lnTo>
                  <a:lnTo>
                    <a:pt x="456117" y="154773"/>
                  </a:lnTo>
                  <a:lnTo>
                    <a:pt x="465932" y="154773"/>
                  </a:lnTo>
                  <a:lnTo>
                    <a:pt x="465932" y="158699"/>
                  </a:lnTo>
                  <a:lnTo>
                    <a:pt x="480065" y="158699"/>
                  </a:lnTo>
                  <a:lnTo>
                    <a:pt x="480065" y="162625"/>
                  </a:lnTo>
                  <a:lnTo>
                    <a:pt x="492803" y="162625"/>
                  </a:lnTo>
                  <a:lnTo>
                    <a:pt x="492803" y="166725"/>
                  </a:lnTo>
                  <a:lnTo>
                    <a:pt x="501528" y="166725"/>
                  </a:lnTo>
                  <a:lnTo>
                    <a:pt x="501528" y="0"/>
                  </a:lnTo>
                  <a:lnTo>
                    <a:pt x="0" y="0"/>
                  </a:lnTo>
                  <a:lnTo>
                    <a:pt x="0" y="19587"/>
                  </a:lnTo>
                  <a:close/>
                </a:path>
              </a:pathLst>
            </a:custGeom>
            <a:solidFill>
              <a:srgbClr val="DFC3F3"/>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9" name="Freeform 408">
              <a:extLst>
                <a:ext uri="{FF2B5EF4-FFF2-40B4-BE49-F238E27FC236}">
                  <a16:creationId xmlns:a16="http://schemas.microsoft.com/office/drawing/2014/main" id="{4DDFC723-A734-F5A8-E5BC-90E70C17905E}"/>
                </a:ext>
              </a:extLst>
            </p:cNvPr>
            <p:cNvSpPr/>
            <p:nvPr/>
          </p:nvSpPr>
          <p:spPr>
            <a:xfrm>
              <a:off x="2602416" y="2449030"/>
              <a:ext cx="11167" cy="327037"/>
            </a:xfrm>
            <a:custGeom>
              <a:avLst/>
              <a:gdLst>
                <a:gd name="connsiteX0" fmla="*/ 0 w 11167"/>
                <a:gd name="connsiteY0" fmla="*/ 0 h 327037"/>
                <a:gd name="connsiteX1" fmla="*/ 11167 w 11167"/>
                <a:gd name="connsiteY1" fmla="*/ 0 h 327037"/>
                <a:gd name="connsiteX2" fmla="*/ 11167 w 11167"/>
                <a:gd name="connsiteY2" fmla="*/ 327038 h 327037"/>
                <a:gd name="connsiteX3" fmla="*/ 0 w 11167"/>
                <a:gd name="connsiteY3" fmla="*/ 327038 h 327037"/>
              </a:gdLst>
              <a:ahLst/>
              <a:cxnLst>
                <a:cxn ang="0">
                  <a:pos x="connsiteX0" y="connsiteY0"/>
                </a:cxn>
                <a:cxn ang="0">
                  <a:pos x="connsiteX1" y="connsiteY1"/>
                </a:cxn>
                <a:cxn ang="0">
                  <a:pos x="connsiteX2" y="connsiteY2"/>
                </a:cxn>
                <a:cxn ang="0">
                  <a:pos x="connsiteX3" y="connsiteY3"/>
                </a:cxn>
              </a:cxnLst>
              <a:rect l="l" t="t" r="r" b="b"/>
              <a:pathLst>
                <a:path w="11167" h="327037">
                  <a:moveTo>
                    <a:pt x="0" y="0"/>
                  </a:moveTo>
                  <a:lnTo>
                    <a:pt x="11167" y="0"/>
                  </a:lnTo>
                  <a:lnTo>
                    <a:pt x="11167" y="327038"/>
                  </a:lnTo>
                  <a:lnTo>
                    <a:pt x="0" y="327038"/>
                  </a:lnTo>
                  <a:close/>
                </a:path>
              </a:pathLst>
            </a:custGeom>
            <a:solidFill>
              <a:srgbClr val="DFC3F3"/>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5" name="Freeform 414">
              <a:extLst>
                <a:ext uri="{FF2B5EF4-FFF2-40B4-BE49-F238E27FC236}">
                  <a16:creationId xmlns:a16="http://schemas.microsoft.com/office/drawing/2014/main" id="{3E1B7230-EFEE-95F9-0519-D1D6970BDDD3}"/>
                </a:ext>
              </a:extLst>
            </p:cNvPr>
            <p:cNvSpPr/>
            <p:nvPr/>
          </p:nvSpPr>
          <p:spPr>
            <a:xfrm>
              <a:off x="3623487" y="2449030"/>
              <a:ext cx="4580" cy="457468"/>
            </a:xfrm>
            <a:custGeom>
              <a:avLst/>
              <a:gdLst>
                <a:gd name="connsiteX0" fmla="*/ 0 w 4580"/>
                <a:gd name="connsiteY0" fmla="*/ 0 h 457468"/>
                <a:gd name="connsiteX1" fmla="*/ 4580 w 4580"/>
                <a:gd name="connsiteY1" fmla="*/ 0 h 457468"/>
                <a:gd name="connsiteX2" fmla="*/ 4580 w 4580"/>
                <a:gd name="connsiteY2" fmla="*/ 457469 h 457468"/>
                <a:gd name="connsiteX3" fmla="*/ 0 w 4580"/>
                <a:gd name="connsiteY3" fmla="*/ 457469 h 457468"/>
              </a:gdLst>
              <a:ahLst/>
              <a:cxnLst>
                <a:cxn ang="0">
                  <a:pos x="connsiteX0" y="connsiteY0"/>
                </a:cxn>
                <a:cxn ang="0">
                  <a:pos x="connsiteX1" y="connsiteY1"/>
                </a:cxn>
                <a:cxn ang="0">
                  <a:pos x="connsiteX2" y="connsiteY2"/>
                </a:cxn>
                <a:cxn ang="0">
                  <a:pos x="connsiteX3" y="connsiteY3"/>
                </a:cxn>
              </a:cxnLst>
              <a:rect l="l" t="t" r="r" b="b"/>
              <a:pathLst>
                <a:path w="4580" h="457468">
                  <a:moveTo>
                    <a:pt x="0" y="0"/>
                  </a:moveTo>
                  <a:lnTo>
                    <a:pt x="4580" y="0"/>
                  </a:lnTo>
                  <a:lnTo>
                    <a:pt x="4580" y="457469"/>
                  </a:lnTo>
                  <a:lnTo>
                    <a:pt x="0" y="457469"/>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6" name="Freeform 415">
              <a:extLst>
                <a:ext uri="{FF2B5EF4-FFF2-40B4-BE49-F238E27FC236}">
                  <a16:creationId xmlns:a16="http://schemas.microsoft.com/office/drawing/2014/main" id="{40C96BCD-FD78-8806-0023-1D562F303925}"/>
                </a:ext>
              </a:extLst>
            </p:cNvPr>
            <p:cNvSpPr/>
            <p:nvPr/>
          </p:nvSpPr>
          <p:spPr>
            <a:xfrm>
              <a:off x="3520887" y="2449030"/>
              <a:ext cx="4580" cy="434523"/>
            </a:xfrm>
            <a:custGeom>
              <a:avLst/>
              <a:gdLst>
                <a:gd name="connsiteX0" fmla="*/ 0 w 4580"/>
                <a:gd name="connsiteY0" fmla="*/ 0 h 434523"/>
                <a:gd name="connsiteX1" fmla="*/ 4580 w 4580"/>
                <a:gd name="connsiteY1" fmla="*/ 0 h 434523"/>
                <a:gd name="connsiteX2" fmla="*/ 4580 w 4580"/>
                <a:gd name="connsiteY2" fmla="*/ 434524 h 434523"/>
                <a:gd name="connsiteX3" fmla="*/ 0 w 4580"/>
                <a:gd name="connsiteY3" fmla="*/ 434524 h 434523"/>
              </a:gdLst>
              <a:ahLst/>
              <a:cxnLst>
                <a:cxn ang="0">
                  <a:pos x="connsiteX0" y="connsiteY0"/>
                </a:cxn>
                <a:cxn ang="0">
                  <a:pos x="connsiteX1" y="connsiteY1"/>
                </a:cxn>
                <a:cxn ang="0">
                  <a:pos x="connsiteX2" y="connsiteY2"/>
                </a:cxn>
                <a:cxn ang="0">
                  <a:pos x="connsiteX3" y="connsiteY3"/>
                </a:cxn>
              </a:cxnLst>
              <a:rect l="l" t="t" r="r" b="b"/>
              <a:pathLst>
                <a:path w="4580" h="434523">
                  <a:moveTo>
                    <a:pt x="0" y="0"/>
                  </a:moveTo>
                  <a:lnTo>
                    <a:pt x="4580" y="0"/>
                  </a:lnTo>
                  <a:lnTo>
                    <a:pt x="4580" y="434524"/>
                  </a:lnTo>
                  <a:lnTo>
                    <a:pt x="0" y="434524"/>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7" name="Freeform 416">
              <a:extLst>
                <a:ext uri="{FF2B5EF4-FFF2-40B4-BE49-F238E27FC236}">
                  <a16:creationId xmlns:a16="http://schemas.microsoft.com/office/drawing/2014/main" id="{701758A3-7687-94E1-3325-7DD83A7471BF}"/>
                </a:ext>
              </a:extLst>
            </p:cNvPr>
            <p:cNvSpPr/>
            <p:nvPr/>
          </p:nvSpPr>
          <p:spPr>
            <a:xfrm>
              <a:off x="3460863" y="2449030"/>
              <a:ext cx="4580" cy="425319"/>
            </a:xfrm>
            <a:custGeom>
              <a:avLst/>
              <a:gdLst>
                <a:gd name="connsiteX0" fmla="*/ 0 w 4580"/>
                <a:gd name="connsiteY0" fmla="*/ 0 h 425319"/>
                <a:gd name="connsiteX1" fmla="*/ 4580 w 4580"/>
                <a:gd name="connsiteY1" fmla="*/ 0 h 425319"/>
                <a:gd name="connsiteX2" fmla="*/ 4580 w 4580"/>
                <a:gd name="connsiteY2" fmla="*/ 425319 h 425319"/>
                <a:gd name="connsiteX3" fmla="*/ 0 w 4580"/>
                <a:gd name="connsiteY3" fmla="*/ 425319 h 425319"/>
              </a:gdLst>
              <a:ahLst/>
              <a:cxnLst>
                <a:cxn ang="0">
                  <a:pos x="connsiteX0" y="connsiteY0"/>
                </a:cxn>
                <a:cxn ang="0">
                  <a:pos x="connsiteX1" y="connsiteY1"/>
                </a:cxn>
                <a:cxn ang="0">
                  <a:pos x="connsiteX2" y="connsiteY2"/>
                </a:cxn>
                <a:cxn ang="0">
                  <a:pos x="connsiteX3" y="connsiteY3"/>
                </a:cxn>
              </a:cxnLst>
              <a:rect l="l" t="t" r="r" b="b"/>
              <a:pathLst>
                <a:path w="4580" h="425319">
                  <a:moveTo>
                    <a:pt x="0" y="0"/>
                  </a:moveTo>
                  <a:lnTo>
                    <a:pt x="4580" y="0"/>
                  </a:lnTo>
                  <a:lnTo>
                    <a:pt x="4580" y="425319"/>
                  </a:lnTo>
                  <a:lnTo>
                    <a:pt x="0" y="425319"/>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8" name="Freeform 417">
              <a:extLst>
                <a:ext uri="{FF2B5EF4-FFF2-40B4-BE49-F238E27FC236}">
                  <a16:creationId xmlns:a16="http://schemas.microsoft.com/office/drawing/2014/main" id="{2AC8033D-EB4B-42E8-EE44-788D468EF710}"/>
                </a:ext>
              </a:extLst>
            </p:cNvPr>
            <p:cNvSpPr/>
            <p:nvPr/>
          </p:nvSpPr>
          <p:spPr>
            <a:xfrm>
              <a:off x="3380990" y="2449030"/>
              <a:ext cx="4580" cy="416507"/>
            </a:xfrm>
            <a:custGeom>
              <a:avLst/>
              <a:gdLst>
                <a:gd name="connsiteX0" fmla="*/ 0 w 4580"/>
                <a:gd name="connsiteY0" fmla="*/ 0 h 416507"/>
                <a:gd name="connsiteX1" fmla="*/ 4580 w 4580"/>
                <a:gd name="connsiteY1" fmla="*/ 0 h 416507"/>
                <a:gd name="connsiteX2" fmla="*/ 4580 w 4580"/>
                <a:gd name="connsiteY2" fmla="*/ 416507 h 416507"/>
                <a:gd name="connsiteX3" fmla="*/ 0 w 4580"/>
                <a:gd name="connsiteY3" fmla="*/ 416507 h 416507"/>
              </a:gdLst>
              <a:ahLst/>
              <a:cxnLst>
                <a:cxn ang="0">
                  <a:pos x="connsiteX0" y="connsiteY0"/>
                </a:cxn>
                <a:cxn ang="0">
                  <a:pos x="connsiteX1" y="connsiteY1"/>
                </a:cxn>
                <a:cxn ang="0">
                  <a:pos x="connsiteX2" y="connsiteY2"/>
                </a:cxn>
                <a:cxn ang="0">
                  <a:pos x="connsiteX3" y="connsiteY3"/>
                </a:cxn>
              </a:cxnLst>
              <a:rect l="l" t="t" r="r" b="b"/>
              <a:pathLst>
                <a:path w="4580" h="416507">
                  <a:moveTo>
                    <a:pt x="0" y="0"/>
                  </a:moveTo>
                  <a:lnTo>
                    <a:pt x="4580" y="0"/>
                  </a:lnTo>
                  <a:lnTo>
                    <a:pt x="4580" y="416507"/>
                  </a:lnTo>
                  <a:lnTo>
                    <a:pt x="0" y="416507"/>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9" name="Freeform 418">
              <a:extLst>
                <a:ext uri="{FF2B5EF4-FFF2-40B4-BE49-F238E27FC236}">
                  <a16:creationId xmlns:a16="http://schemas.microsoft.com/office/drawing/2014/main" id="{9C810C64-E218-D29F-BE80-FEE484FF0666}"/>
                </a:ext>
              </a:extLst>
            </p:cNvPr>
            <p:cNvSpPr/>
            <p:nvPr/>
          </p:nvSpPr>
          <p:spPr>
            <a:xfrm>
              <a:off x="3216795" y="2449030"/>
              <a:ext cx="4580" cy="394521"/>
            </a:xfrm>
            <a:custGeom>
              <a:avLst/>
              <a:gdLst>
                <a:gd name="connsiteX0" fmla="*/ 0 w 4580"/>
                <a:gd name="connsiteY0" fmla="*/ 0 h 394521"/>
                <a:gd name="connsiteX1" fmla="*/ 4580 w 4580"/>
                <a:gd name="connsiteY1" fmla="*/ 0 h 394521"/>
                <a:gd name="connsiteX2" fmla="*/ 4580 w 4580"/>
                <a:gd name="connsiteY2" fmla="*/ 394522 h 394521"/>
                <a:gd name="connsiteX3" fmla="*/ 0 w 4580"/>
                <a:gd name="connsiteY3" fmla="*/ 394522 h 394521"/>
              </a:gdLst>
              <a:ahLst/>
              <a:cxnLst>
                <a:cxn ang="0">
                  <a:pos x="connsiteX0" y="connsiteY0"/>
                </a:cxn>
                <a:cxn ang="0">
                  <a:pos x="connsiteX1" y="connsiteY1"/>
                </a:cxn>
                <a:cxn ang="0">
                  <a:pos x="connsiteX2" y="connsiteY2"/>
                </a:cxn>
                <a:cxn ang="0">
                  <a:pos x="connsiteX3" y="connsiteY3"/>
                </a:cxn>
              </a:cxnLst>
              <a:rect l="l" t="t" r="r" b="b"/>
              <a:pathLst>
                <a:path w="4580" h="394521">
                  <a:moveTo>
                    <a:pt x="0" y="0"/>
                  </a:moveTo>
                  <a:lnTo>
                    <a:pt x="4580" y="0"/>
                  </a:lnTo>
                  <a:lnTo>
                    <a:pt x="4580" y="394522"/>
                  </a:lnTo>
                  <a:lnTo>
                    <a:pt x="0" y="394522"/>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 name="Freeform 419">
              <a:extLst>
                <a:ext uri="{FF2B5EF4-FFF2-40B4-BE49-F238E27FC236}">
                  <a16:creationId xmlns:a16="http://schemas.microsoft.com/office/drawing/2014/main" id="{26268ED3-7A90-61F4-340D-804577A75B24}"/>
                </a:ext>
              </a:extLst>
            </p:cNvPr>
            <p:cNvSpPr/>
            <p:nvPr/>
          </p:nvSpPr>
          <p:spPr>
            <a:xfrm>
              <a:off x="3030527" y="2449030"/>
              <a:ext cx="4580" cy="374106"/>
            </a:xfrm>
            <a:custGeom>
              <a:avLst/>
              <a:gdLst>
                <a:gd name="connsiteX0" fmla="*/ 0 w 4580"/>
                <a:gd name="connsiteY0" fmla="*/ 369221 h 374106"/>
                <a:gd name="connsiteX1" fmla="*/ 1440 w 4580"/>
                <a:gd name="connsiteY1" fmla="*/ 369221 h 374106"/>
                <a:gd name="connsiteX2" fmla="*/ 1440 w 4580"/>
                <a:gd name="connsiteY2" fmla="*/ 374106 h 374106"/>
                <a:gd name="connsiteX3" fmla="*/ 4580 w 4580"/>
                <a:gd name="connsiteY3" fmla="*/ 374106 h 374106"/>
                <a:gd name="connsiteX4" fmla="*/ 4580 w 4580"/>
                <a:gd name="connsiteY4" fmla="*/ 0 h 374106"/>
                <a:gd name="connsiteX5" fmla="*/ 0 w 4580"/>
                <a:gd name="connsiteY5" fmla="*/ 0 h 374106"/>
                <a:gd name="connsiteX6" fmla="*/ 0 w 4580"/>
                <a:gd name="connsiteY6" fmla="*/ 369221 h 37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0" h="374106">
                  <a:moveTo>
                    <a:pt x="0" y="369221"/>
                  </a:moveTo>
                  <a:lnTo>
                    <a:pt x="1440" y="369221"/>
                  </a:lnTo>
                  <a:lnTo>
                    <a:pt x="1440" y="374106"/>
                  </a:lnTo>
                  <a:lnTo>
                    <a:pt x="4580" y="374106"/>
                  </a:lnTo>
                  <a:lnTo>
                    <a:pt x="4580" y="0"/>
                  </a:lnTo>
                  <a:lnTo>
                    <a:pt x="0" y="0"/>
                  </a:lnTo>
                  <a:lnTo>
                    <a:pt x="0" y="369221"/>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 name="Freeform 420">
              <a:extLst>
                <a:ext uri="{FF2B5EF4-FFF2-40B4-BE49-F238E27FC236}">
                  <a16:creationId xmlns:a16="http://schemas.microsoft.com/office/drawing/2014/main" id="{2CE07BD6-39E6-A4AF-320E-DCACF127833B}"/>
                </a:ext>
              </a:extLst>
            </p:cNvPr>
            <p:cNvSpPr/>
            <p:nvPr/>
          </p:nvSpPr>
          <p:spPr>
            <a:xfrm>
              <a:off x="2905112" y="2449030"/>
              <a:ext cx="4580" cy="353516"/>
            </a:xfrm>
            <a:custGeom>
              <a:avLst/>
              <a:gdLst>
                <a:gd name="connsiteX0" fmla="*/ 0 w 4580"/>
                <a:gd name="connsiteY0" fmla="*/ 0 h 353516"/>
                <a:gd name="connsiteX1" fmla="*/ 4580 w 4580"/>
                <a:gd name="connsiteY1" fmla="*/ 0 h 353516"/>
                <a:gd name="connsiteX2" fmla="*/ 4580 w 4580"/>
                <a:gd name="connsiteY2" fmla="*/ 353517 h 353516"/>
                <a:gd name="connsiteX3" fmla="*/ 0 w 4580"/>
                <a:gd name="connsiteY3" fmla="*/ 353517 h 353516"/>
              </a:gdLst>
              <a:ahLst/>
              <a:cxnLst>
                <a:cxn ang="0">
                  <a:pos x="connsiteX0" y="connsiteY0"/>
                </a:cxn>
                <a:cxn ang="0">
                  <a:pos x="connsiteX1" y="connsiteY1"/>
                </a:cxn>
                <a:cxn ang="0">
                  <a:pos x="connsiteX2" y="connsiteY2"/>
                </a:cxn>
                <a:cxn ang="0">
                  <a:pos x="connsiteX3" y="connsiteY3"/>
                </a:cxn>
              </a:cxnLst>
              <a:rect l="l" t="t" r="r" b="b"/>
              <a:pathLst>
                <a:path w="4580" h="353516">
                  <a:moveTo>
                    <a:pt x="0" y="0"/>
                  </a:moveTo>
                  <a:lnTo>
                    <a:pt x="4580" y="0"/>
                  </a:lnTo>
                  <a:lnTo>
                    <a:pt x="4580" y="353517"/>
                  </a:lnTo>
                  <a:lnTo>
                    <a:pt x="0" y="353517"/>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 name="Freeform 421">
              <a:extLst>
                <a:ext uri="{FF2B5EF4-FFF2-40B4-BE49-F238E27FC236}">
                  <a16:creationId xmlns:a16="http://schemas.microsoft.com/office/drawing/2014/main" id="{05C0835A-F34E-C080-1B25-588DB2B19CA9}"/>
                </a:ext>
              </a:extLst>
            </p:cNvPr>
            <p:cNvSpPr/>
            <p:nvPr/>
          </p:nvSpPr>
          <p:spPr>
            <a:xfrm>
              <a:off x="2656508" y="2449030"/>
              <a:ext cx="4580" cy="333319"/>
            </a:xfrm>
            <a:custGeom>
              <a:avLst/>
              <a:gdLst>
                <a:gd name="connsiteX0" fmla="*/ 0 w 4580"/>
                <a:gd name="connsiteY0" fmla="*/ 0 h 333319"/>
                <a:gd name="connsiteX1" fmla="*/ 4580 w 4580"/>
                <a:gd name="connsiteY1" fmla="*/ 0 h 333319"/>
                <a:gd name="connsiteX2" fmla="*/ 4580 w 4580"/>
                <a:gd name="connsiteY2" fmla="*/ 333319 h 333319"/>
                <a:gd name="connsiteX3" fmla="*/ 0 w 4580"/>
                <a:gd name="connsiteY3" fmla="*/ 333319 h 333319"/>
              </a:gdLst>
              <a:ahLst/>
              <a:cxnLst>
                <a:cxn ang="0">
                  <a:pos x="connsiteX0" y="connsiteY0"/>
                </a:cxn>
                <a:cxn ang="0">
                  <a:pos x="connsiteX1" y="connsiteY1"/>
                </a:cxn>
                <a:cxn ang="0">
                  <a:pos x="connsiteX2" y="connsiteY2"/>
                </a:cxn>
                <a:cxn ang="0">
                  <a:pos x="connsiteX3" y="connsiteY3"/>
                </a:cxn>
              </a:cxnLst>
              <a:rect l="l" t="t" r="r" b="b"/>
              <a:pathLst>
                <a:path w="4580" h="333319">
                  <a:moveTo>
                    <a:pt x="0" y="0"/>
                  </a:moveTo>
                  <a:lnTo>
                    <a:pt x="4580" y="0"/>
                  </a:lnTo>
                  <a:lnTo>
                    <a:pt x="4580" y="333319"/>
                  </a:lnTo>
                  <a:lnTo>
                    <a:pt x="0" y="333319"/>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 name="Freeform 422">
              <a:extLst>
                <a:ext uri="{FF2B5EF4-FFF2-40B4-BE49-F238E27FC236}">
                  <a16:creationId xmlns:a16="http://schemas.microsoft.com/office/drawing/2014/main" id="{5CC8EB4A-F4B2-8639-44BD-CA44D4D19C3A}"/>
                </a:ext>
              </a:extLst>
            </p:cNvPr>
            <p:cNvSpPr/>
            <p:nvPr/>
          </p:nvSpPr>
          <p:spPr>
            <a:xfrm>
              <a:off x="2577464" y="2449030"/>
              <a:ext cx="4580" cy="327037"/>
            </a:xfrm>
            <a:custGeom>
              <a:avLst/>
              <a:gdLst>
                <a:gd name="connsiteX0" fmla="*/ 0 w 4580"/>
                <a:gd name="connsiteY0" fmla="*/ 0 h 327037"/>
                <a:gd name="connsiteX1" fmla="*/ 4580 w 4580"/>
                <a:gd name="connsiteY1" fmla="*/ 0 h 327037"/>
                <a:gd name="connsiteX2" fmla="*/ 4580 w 4580"/>
                <a:gd name="connsiteY2" fmla="*/ 327038 h 327037"/>
                <a:gd name="connsiteX3" fmla="*/ 0 w 4580"/>
                <a:gd name="connsiteY3" fmla="*/ 327038 h 327037"/>
              </a:gdLst>
              <a:ahLst/>
              <a:cxnLst>
                <a:cxn ang="0">
                  <a:pos x="connsiteX0" y="connsiteY0"/>
                </a:cxn>
                <a:cxn ang="0">
                  <a:pos x="connsiteX1" y="connsiteY1"/>
                </a:cxn>
                <a:cxn ang="0">
                  <a:pos x="connsiteX2" y="connsiteY2"/>
                </a:cxn>
                <a:cxn ang="0">
                  <a:pos x="connsiteX3" y="connsiteY3"/>
                </a:cxn>
              </a:cxnLst>
              <a:rect l="l" t="t" r="r" b="b"/>
              <a:pathLst>
                <a:path w="4580" h="327037">
                  <a:moveTo>
                    <a:pt x="0" y="0"/>
                  </a:moveTo>
                  <a:lnTo>
                    <a:pt x="4580" y="0"/>
                  </a:lnTo>
                  <a:lnTo>
                    <a:pt x="4580" y="327038"/>
                  </a:lnTo>
                  <a:lnTo>
                    <a:pt x="0" y="327038"/>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 name="Freeform 423">
              <a:extLst>
                <a:ext uri="{FF2B5EF4-FFF2-40B4-BE49-F238E27FC236}">
                  <a16:creationId xmlns:a16="http://schemas.microsoft.com/office/drawing/2014/main" id="{19C93D43-1413-2F24-0C20-C6C8B3F7F4B8}"/>
                </a:ext>
              </a:extLst>
            </p:cNvPr>
            <p:cNvSpPr/>
            <p:nvPr/>
          </p:nvSpPr>
          <p:spPr>
            <a:xfrm>
              <a:off x="2331128" y="2449030"/>
              <a:ext cx="4580" cy="304833"/>
            </a:xfrm>
            <a:custGeom>
              <a:avLst/>
              <a:gdLst>
                <a:gd name="connsiteX0" fmla="*/ 0 w 4580"/>
                <a:gd name="connsiteY0" fmla="*/ 0 h 304833"/>
                <a:gd name="connsiteX1" fmla="*/ 4580 w 4580"/>
                <a:gd name="connsiteY1" fmla="*/ 0 h 304833"/>
                <a:gd name="connsiteX2" fmla="*/ 4580 w 4580"/>
                <a:gd name="connsiteY2" fmla="*/ 304834 h 304833"/>
                <a:gd name="connsiteX3" fmla="*/ 0 w 4580"/>
                <a:gd name="connsiteY3" fmla="*/ 304834 h 304833"/>
              </a:gdLst>
              <a:ahLst/>
              <a:cxnLst>
                <a:cxn ang="0">
                  <a:pos x="connsiteX0" y="connsiteY0"/>
                </a:cxn>
                <a:cxn ang="0">
                  <a:pos x="connsiteX1" y="connsiteY1"/>
                </a:cxn>
                <a:cxn ang="0">
                  <a:pos x="connsiteX2" y="connsiteY2"/>
                </a:cxn>
                <a:cxn ang="0">
                  <a:pos x="connsiteX3" y="connsiteY3"/>
                </a:cxn>
              </a:cxnLst>
              <a:rect l="l" t="t" r="r" b="b"/>
              <a:pathLst>
                <a:path w="4580" h="304833">
                  <a:moveTo>
                    <a:pt x="0" y="0"/>
                  </a:moveTo>
                  <a:lnTo>
                    <a:pt x="4580" y="0"/>
                  </a:lnTo>
                  <a:lnTo>
                    <a:pt x="4580" y="304834"/>
                  </a:lnTo>
                  <a:lnTo>
                    <a:pt x="0" y="304834"/>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5" name="Freeform 424">
              <a:extLst>
                <a:ext uri="{FF2B5EF4-FFF2-40B4-BE49-F238E27FC236}">
                  <a16:creationId xmlns:a16="http://schemas.microsoft.com/office/drawing/2014/main" id="{19B2A9BB-574B-A926-2F54-5AA10D9B6B39}"/>
                </a:ext>
              </a:extLst>
            </p:cNvPr>
            <p:cNvSpPr/>
            <p:nvPr/>
          </p:nvSpPr>
          <p:spPr>
            <a:xfrm>
              <a:off x="2087845" y="2449030"/>
              <a:ext cx="4580" cy="280710"/>
            </a:xfrm>
            <a:custGeom>
              <a:avLst/>
              <a:gdLst>
                <a:gd name="connsiteX0" fmla="*/ 0 w 4580"/>
                <a:gd name="connsiteY0" fmla="*/ 0 h 280710"/>
                <a:gd name="connsiteX1" fmla="*/ 4580 w 4580"/>
                <a:gd name="connsiteY1" fmla="*/ 0 h 280710"/>
                <a:gd name="connsiteX2" fmla="*/ 4580 w 4580"/>
                <a:gd name="connsiteY2" fmla="*/ 280711 h 280710"/>
                <a:gd name="connsiteX3" fmla="*/ 0 w 4580"/>
                <a:gd name="connsiteY3" fmla="*/ 280711 h 280710"/>
              </a:gdLst>
              <a:ahLst/>
              <a:cxnLst>
                <a:cxn ang="0">
                  <a:pos x="connsiteX0" y="connsiteY0"/>
                </a:cxn>
                <a:cxn ang="0">
                  <a:pos x="connsiteX1" y="connsiteY1"/>
                </a:cxn>
                <a:cxn ang="0">
                  <a:pos x="connsiteX2" y="connsiteY2"/>
                </a:cxn>
                <a:cxn ang="0">
                  <a:pos x="connsiteX3" y="connsiteY3"/>
                </a:cxn>
              </a:cxnLst>
              <a:rect l="l" t="t" r="r" b="b"/>
              <a:pathLst>
                <a:path w="4580" h="280710">
                  <a:moveTo>
                    <a:pt x="0" y="0"/>
                  </a:moveTo>
                  <a:lnTo>
                    <a:pt x="4580" y="0"/>
                  </a:lnTo>
                  <a:lnTo>
                    <a:pt x="4580" y="280711"/>
                  </a:lnTo>
                  <a:lnTo>
                    <a:pt x="0" y="280711"/>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6" name="Freeform 425">
              <a:extLst>
                <a:ext uri="{FF2B5EF4-FFF2-40B4-BE49-F238E27FC236}">
                  <a16:creationId xmlns:a16="http://schemas.microsoft.com/office/drawing/2014/main" id="{162466A1-7318-D029-C115-CC9794122FED}"/>
                </a:ext>
              </a:extLst>
            </p:cNvPr>
            <p:cNvSpPr/>
            <p:nvPr/>
          </p:nvSpPr>
          <p:spPr>
            <a:xfrm>
              <a:off x="2192016" y="2449030"/>
              <a:ext cx="4580" cy="295062"/>
            </a:xfrm>
            <a:custGeom>
              <a:avLst/>
              <a:gdLst>
                <a:gd name="connsiteX0" fmla="*/ 0 w 4580"/>
                <a:gd name="connsiteY0" fmla="*/ 0 h 295062"/>
                <a:gd name="connsiteX1" fmla="*/ 4580 w 4580"/>
                <a:gd name="connsiteY1" fmla="*/ 0 h 295062"/>
                <a:gd name="connsiteX2" fmla="*/ 4580 w 4580"/>
                <a:gd name="connsiteY2" fmla="*/ 295062 h 295062"/>
                <a:gd name="connsiteX3" fmla="*/ 0 w 4580"/>
                <a:gd name="connsiteY3" fmla="*/ 295062 h 295062"/>
              </a:gdLst>
              <a:ahLst/>
              <a:cxnLst>
                <a:cxn ang="0">
                  <a:pos x="connsiteX0" y="connsiteY0"/>
                </a:cxn>
                <a:cxn ang="0">
                  <a:pos x="connsiteX1" y="connsiteY1"/>
                </a:cxn>
                <a:cxn ang="0">
                  <a:pos x="connsiteX2" y="connsiteY2"/>
                </a:cxn>
                <a:cxn ang="0">
                  <a:pos x="connsiteX3" y="connsiteY3"/>
                </a:cxn>
              </a:cxnLst>
              <a:rect l="l" t="t" r="r" b="b"/>
              <a:pathLst>
                <a:path w="4580" h="295062">
                  <a:moveTo>
                    <a:pt x="0" y="0"/>
                  </a:moveTo>
                  <a:lnTo>
                    <a:pt x="4580" y="0"/>
                  </a:lnTo>
                  <a:lnTo>
                    <a:pt x="4580" y="295062"/>
                  </a:lnTo>
                  <a:lnTo>
                    <a:pt x="0" y="295062"/>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7" name="Freeform 426">
              <a:extLst>
                <a:ext uri="{FF2B5EF4-FFF2-40B4-BE49-F238E27FC236}">
                  <a16:creationId xmlns:a16="http://schemas.microsoft.com/office/drawing/2014/main" id="{8D63237D-928C-B98E-3020-9E596BE333CA}"/>
                </a:ext>
              </a:extLst>
            </p:cNvPr>
            <p:cNvSpPr/>
            <p:nvPr/>
          </p:nvSpPr>
          <p:spPr>
            <a:xfrm>
              <a:off x="1840811" y="2449030"/>
              <a:ext cx="4580" cy="251309"/>
            </a:xfrm>
            <a:custGeom>
              <a:avLst/>
              <a:gdLst>
                <a:gd name="connsiteX0" fmla="*/ 0 w 4580"/>
                <a:gd name="connsiteY0" fmla="*/ 0 h 251309"/>
                <a:gd name="connsiteX1" fmla="*/ 4580 w 4580"/>
                <a:gd name="connsiteY1" fmla="*/ 0 h 251309"/>
                <a:gd name="connsiteX2" fmla="*/ 4580 w 4580"/>
                <a:gd name="connsiteY2" fmla="*/ 251309 h 251309"/>
                <a:gd name="connsiteX3" fmla="*/ 0 w 4580"/>
                <a:gd name="connsiteY3" fmla="*/ 251309 h 251309"/>
              </a:gdLst>
              <a:ahLst/>
              <a:cxnLst>
                <a:cxn ang="0">
                  <a:pos x="connsiteX0" y="connsiteY0"/>
                </a:cxn>
                <a:cxn ang="0">
                  <a:pos x="connsiteX1" y="connsiteY1"/>
                </a:cxn>
                <a:cxn ang="0">
                  <a:pos x="connsiteX2" y="connsiteY2"/>
                </a:cxn>
                <a:cxn ang="0">
                  <a:pos x="connsiteX3" y="connsiteY3"/>
                </a:cxn>
              </a:cxnLst>
              <a:rect l="l" t="t" r="r" b="b"/>
              <a:pathLst>
                <a:path w="4580" h="251309">
                  <a:moveTo>
                    <a:pt x="0" y="0"/>
                  </a:moveTo>
                  <a:lnTo>
                    <a:pt x="4580" y="0"/>
                  </a:lnTo>
                  <a:lnTo>
                    <a:pt x="4580" y="251309"/>
                  </a:lnTo>
                  <a:lnTo>
                    <a:pt x="0" y="251309"/>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8" name="Freeform 427">
              <a:extLst>
                <a:ext uri="{FF2B5EF4-FFF2-40B4-BE49-F238E27FC236}">
                  <a16:creationId xmlns:a16="http://schemas.microsoft.com/office/drawing/2014/main" id="{328CEEEA-8145-5CE9-4039-1C616FC794BE}"/>
                </a:ext>
              </a:extLst>
            </p:cNvPr>
            <p:cNvSpPr/>
            <p:nvPr/>
          </p:nvSpPr>
          <p:spPr>
            <a:xfrm>
              <a:off x="1854465" y="2449030"/>
              <a:ext cx="4580" cy="251309"/>
            </a:xfrm>
            <a:custGeom>
              <a:avLst/>
              <a:gdLst>
                <a:gd name="connsiteX0" fmla="*/ 0 w 4580"/>
                <a:gd name="connsiteY0" fmla="*/ 0 h 251309"/>
                <a:gd name="connsiteX1" fmla="*/ 4580 w 4580"/>
                <a:gd name="connsiteY1" fmla="*/ 0 h 251309"/>
                <a:gd name="connsiteX2" fmla="*/ 4580 w 4580"/>
                <a:gd name="connsiteY2" fmla="*/ 251309 h 251309"/>
                <a:gd name="connsiteX3" fmla="*/ 0 w 4580"/>
                <a:gd name="connsiteY3" fmla="*/ 251309 h 251309"/>
              </a:gdLst>
              <a:ahLst/>
              <a:cxnLst>
                <a:cxn ang="0">
                  <a:pos x="connsiteX0" y="connsiteY0"/>
                </a:cxn>
                <a:cxn ang="0">
                  <a:pos x="connsiteX1" y="connsiteY1"/>
                </a:cxn>
                <a:cxn ang="0">
                  <a:pos x="connsiteX2" y="connsiteY2"/>
                </a:cxn>
                <a:cxn ang="0">
                  <a:pos x="connsiteX3" y="connsiteY3"/>
                </a:cxn>
              </a:cxnLst>
              <a:rect l="l" t="t" r="r" b="b"/>
              <a:pathLst>
                <a:path w="4580" h="251309">
                  <a:moveTo>
                    <a:pt x="0" y="0"/>
                  </a:moveTo>
                  <a:lnTo>
                    <a:pt x="4580" y="0"/>
                  </a:lnTo>
                  <a:lnTo>
                    <a:pt x="4580" y="251309"/>
                  </a:lnTo>
                  <a:lnTo>
                    <a:pt x="0" y="251309"/>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9" name="Freeform 428">
              <a:extLst>
                <a:ext uri="{FF2B5EF4-FFF2-40B4-BE49-F238E27FC236}">
                  <a16:creationId xmlns:a16="http://schemas.microsoft.com/office/drawing/2014/main" id="{188527E9-C5E8-41A0-DD5E-F40AE04B8FEF}"/>
                </a:ext>
              </a:extLst>
            </p:cNvPr>
            <p:cNvSpPr/>
            <p:nvPr/>
          </p:nvSpPr>
          <p:spPr>
            <a:xfrm>
              <a:off x="1933553" y="2449030"/>
              <a:ext cx="4580" cy="264832"/>
            </a:xfrm>
            <a:custGeom>
              <a:avLst/>
              <a:gdLst>
                <a:gd name="connsiteX0" fmla="*/ 0 w 4580"/>
                <a:gd name="connsiteY0" fmla="*/ 0 h 264832"/>
                <a:gd name="connsiteX1" fmla="*/ 4580 w 4580"/>
                <a:gd name="connsiteY1" fmla="*/ 0 h 264832"/>
                <a:gd name="connsiteX2" fmla="*/ 4580 w 4580"/>
                <a:gd name="connsiteY2" fmla="*/ 264832 h 264832"/>
                <a:gd name="connsiteX3" fmla="*/ 0 w 4580"/>
                <a:gd name="connsiteY3" fmla="*/ 264832 h 264832"/>
              </a:gdLst>
              <a:ahLst/>
              <a:cxnLst>
                <a:cxn ang="0">
                  <a:pos x="connsiteX0" y="connsiteY0"/>
                </a:cxn>
                <a:cxn ang="0">
                  <a:pos x="connsiteX1" y="connsiteY1"/>
                </a:cxn>
                <a:cxn ang="0">
                  <a:pos x="connsiteX2" y="connsiteY2"/>
                </a:cxn>
                <a:cxn ang="0">
                  <a:pos x="connsiteX3" y="connsiteY3"/>
                </a:cxn>
              </a:cxnLst>
              <a:rect l="l" t="t" r="r" b="b"/>
              <a:pathLst>
                <a:path w="4580" h="264832">
                  <a:moveTo>
                    <a:pt x="0" y="0"/>
                  </a:moveTo>
                  <a:lnTo>
                    <a:pt x="4580" y="0"/>
                  </a:lnTo>
                  <a:lnTo>
                    <a:pt x="4580" y="264832"/>
                  </a:lnTo>
                  <a:lnTo>
                    <a:pt x="0" y="264832"/>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0" name="Freeform 429">
              <a:extLst>
                <a:ext uri="{FF2B5EF4-FFF2-40B4-BE49-F238E27FC236}">
                  <a16:creationId xmlns:a16="http://schemas.microsoft.com/office/drawing/2014/main" id="{F52A0C96-FB95-E8F5-EECA-9F32A2E7C483}"/>
                </a:ext>
              </a:extLst>
            </p:cNvPr>
            <p:cNvSpPr/>
            <p:nvPr/>
          </p:nvSpPr>
          <p:spPr>
            <a:xfrm>
              <a:off x="1606646" y="2449030"/>
              <a:ext cx="4580" cy="218897"/>
            </a:xfrm>
            <a:custGeom>
              <a:avLst/>
              <a:gdLst>
                <a:gd name="connsiteX0" fmla="*/ 0 w 4580"/>
                <a:gd name="connsiteY0" fmla="*/ 0 h 218897"/>
                <a:gd name="connsiteX1" fmla="*/ 4580 w 4580"/>
                <a:gd name="connsiteY1" fmla="*/ 0 h 218897"/>
                <a:gd name="connsiteX2" fmla="*/ 4580 w 4580"/>
                <a:gd name="connsiteY2" fmla="*/ 218898 h 218897"/>
                <a:gd name="connsiteX3" fmla="*/ 0 w 4580"/>
                <a:gd name="connsiteY3" fmla="*/ 218898 h 218897"/>
              </a:gdLst>
              <a:ahLst/>
              <a:cxnLst>
                <a:cxn ang="0">
                  <a:pos x="connsiteX0" y="connsiteY0"/>
                </a:cxn>
                <a:cxn ang="0">
                  <a:pos x="connsiteX1" y="connsiteY1"/>
                </a:cxn>
                <a:cxn ang="0">
                  <a:pos x="connsiteX2" y="connsiteY2"/>
                </a:cxn>
                <a:cxn ang="0">
                  <a:pos x="connsiteX3" y="connsiteY3"/>
                </a:cxn>
              </a:cxnLst>
              <a:rect l="l" t="t" r="r" b="b"/>
              <a:pathLst>
                <a:path w="4580" h="218897">
                  <a:moveTo>
                    <a:pt x="0" y="0"/>
                  </a:moveTo>
                  <a:lnTo>
                    <a:pt x="4580" y="0"/>
                  </a:lnTo>
                  <a:lnTo>
                    <a:pt x="4580" y="218898"/>
                  </a:lnTo>
                  <a:lnTo>
                    <a:pt x="0" y="218898"/>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1" name="Freeform 430">
              <a:extLst>
                <a:ext uri="{FF2B5EF4-FFF2-40B4-BE49-F238E27FC236}">
                  <a16:creationId xmlns:a16="http://schemas.microsoft.com/office/drawing/2014/main" id="{D4DFED32-B408-CF01-6FF4-77E17BAD058B}"/>
                </a:ext>
              </a:extLst>
            </p:cNvPr>
            <p:cNvSpPr/>
            <p:nvPr/>
          </p:nvSpPr>
          <p:spPr>
            <a:xfrm>
              <a:off x="1513905" y="2449030"/>
              <a:ext cx="4580" cy="199485"/>
            </a:xfrm>
            <a:custGeom>
              <a:avLst/>
              <a:gdLst>
                <a:gd name="connsiteX0" fmla="*/ 0 w 4580"/>
                <a:gd name="connsiteY0" fmla="*/ 0 h 199485"/>
                <a:gd name="connsiteX1" fmla="*/ 4580 w 4580"/>
                <a:gd name="connsiteY1" fmla="*/ 0 h 199485"/>
                <a:gd name="connsiteX2" fmla="*/ 4580 w 4580"/>
                <a:gd name="connsiteY2" fmla="*/ 199486 h 199485"/>
                <a:gd name="connsiteX3" fmla="*/ 0 w 4580"/>
                <a:gd name="connsiteY3" fmla="*/ 199486 h 199485"/>
              </a:gdLst>
              <a:ahLst/>
              <a:cxnLst>
                <a:cxn ang="0">
                  <a:pos x="connsiteX0" y="connsiteY0"/>
                </a:cxn>
                <a:cxn ang="0">
                  <a:pos x="connsiteX1" y="connsiteY1"/>
                </a:cxn>
                <a:cxn ang="0">
                  <a:pos x="connsiteX2" y="connsiteY2"/>
                </a:cxn>
                <a:cxn ang="0">
                  <a:pos x="connsiteX3" y="connsiteY3"/>
                </a:cxn>
              </a:cxnLst>
              <a:rect l="l" t="t" r="r" b="b"/>
              <a:pathLst>
                <a:path w="4580" h="199485">
                  <a:moveTo>
                    <a:pt x="0" y="0"/>
                  </a:moveTo>
                  <a:lnTo>
                    <a:pt x="4580" y="0"/>
                  </a:lnTo>
                  <a:lnTo>
                    <a:pt x="4580" y="199486"/>
                  </a:lnTo>
                  <a:lnTo>
                    <a:pt x="0" y="199486"/>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2" name="Freeform 431">
              <a:extLst>
                <a:ext uri="{FF2B5EF4-FFF2-40B4-BE49-F238E27FC236}">
                  <a16:creationId xmlns:a16="http://schemas.microsoft.com/office/drawing/2014/main" id="{733F0015-A144-F717-2FE7-2B7B0A6DF510}"/>
                </a:ext>
              </a:extLst>
            </p:cNvPr>
            <p:cNvSpPr/>
            <p:nvPr/>
          </p:nvSpPr>
          <p:spPr>
            <a:xfrm>
              <a:off x="3263166" y="2449030"/>
              <a:ext cx="4536" cy="401196"/>
            </a:xfrm>
            <a:custGeom>
              <a:avLst/>
              <a:gdLst>
                <a:gd name="connsiteX0" fmla="*/ 0 w 4536"/>
                <a:gd name="connsiteY0" fmla="*/ 394522 h 401196"/>
                <a:gd name="connsiteX1" fmla="*/ 2661 w 4536"/>
                <a:gd name="connsiteY1" fmla="*/ 394522 h 401196"/>
                <a:gd name="connsiteX2" fmla="*/ 2661 w 4536"/>
                <a:gd name="connsiteY2" fmla="*/ 401196 h 401196"/>
                <a:gd name="connsiteX3" fmla="*/ 4537 w 4536"/>
                <a:gd name="connsiteY3" fmla="*/ 401196 h 401196"/>
                <a:gd name="connsiteX4" fmla="*/ 4537 w 4536"/>
                <a:gd name="connsiteY4" fmla="*/ 0 h 401196"/>
                <a:gd name="connsiteX5" fmla="*/ 0 w 4536"/>
                <a:gd name="connsiteY5" fmla="*/ 0 h 401196"/>
                <a:gd name="connsiteX6" fmla="*/ 0 w 4536"/>
                <a:gd name="connsiteY6" fmla="*/ 394522 h 40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 h="401196">
                  <a:moveTo>
                    <a:pt x="0" y="394522"/>
                  </a:moveTo>
                  <a:lnTo>
                    <a:pt x="2661" y="394522"/>
                  </a:lnTo>
                  <a:lnTo>
                    <a:pt x="2661" y="401196"/>
                  </a:lnTo>
                  <a:lnTo>
                    <a:pt x="4537" y="401196"/>
                  </a:lnTo>
                  <a:lnTo>
                    <a:pt x="4537" y="0"/>
                  </a:lnTo>
                  <a:lnTo>
                    <a:pt x="0" y="0"/>
                  </a:lnTo>
                  <a:lnTo>
                    <a:pt x="0" y="394522"/>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3" name="Freeform 432">
              <a:extLst>
                <a:ext uri="{FF2B5EF4-FFF2-40B4-BE49-F238E27FC236}">
                  <a16:creationId xmlns:a16="http://schemas.microsoft.com/office/drawing/2014/main" id="{04E45537-FEB0-9C6C-B6B4-4D037B0D6166}"/>
                </a:ext>
              </a:extLst>
            </p:cNvPr>
            <p:cNvSpPr/>
            <p:nvPr/>
          </p:nvSpPr>
          <p:spPr>
            <a:xfrm>
              <a:off x="3320180" y="2449030"/>
              <a:ext cx="4536" cy="405296"/>
            </a:xfrm>
            <a:custGeom>
              <a:avLst/>
              <a:gdLst>
                <a:gd name="connsiteX0" fmla="*/ 0 w 4536"/>
                <a:gd name="connsiteY0" fmla="*/ 401196 h 405296"/>
                <a:gd name="connsiteX1" fmla="*/ 174 w 4536"/>
                <a:gd name="connsiteY1" fmla="*/ 401196 h 405296"/>
                <a:gd name="connsiteX2" fmla="*/ 174 w 4536"/>
                <a:gd name="connsiteY2" fmla="*/ 405297 h 405296"/>
                <a:gd name="connsiteX3" fmla="*/ 4537 w 4536"/>
                <a:gd name="connsiteY3" fmla="*/ 405297 h 405296"/>
                <a:gd name="connsiteX4" fmla="*/ 4537 w 4536"/>
                <a:gd name="connsiteY4" fmla="*/ 0 h 405296"/>
                <a:gd name="connsiteX5" fmla="*/ 0 w 4536"/>
                <a:gd name="connsiteY5" fmla="*/ 0 h 405296"/>
                <a:gd name="connsiteX6" fmla="*/ 0 w 4536"/>
                <a:gd name="connsiteY6" fmla="*/ 401196 h 40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 h="405296">
                  <a:moveTo>
                    <a:pt x="0" y="401196"/>
                  </a:moveTo>
                  <a:lnTo>
                    <a:pt x="174" y="401196"/>
                  </a:lnTo>
                  <a:lnTo>
                    <a:pt x="174" y="405297"/>
                  </a:lnTo>
                  <a:lnTo>
                    <a:pt x="4537" y="405297"/>
                  </a:lnTo>
                  <a:lnTo>
                    <a:pt x="4537" y="0"/>
                  </a:lnTo>
                  <a:lnTo>
                    <a:pt x="0" y="0"/>
                  </a:lnTo>
                  <a:lnTo>
                    <a:pt x="0" y="401196"/>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4" name="Freeform 433">
              <a:extLst>
                <a:ext uri="{FF2B5EF4-FFF2-40B4-BE49-F238E27FC236}">
                  <a16:creationId xmlns:a16="http://schemas.microsoft.com/office/drawing/2014/main" id="{593B1978-A9A3-B1E7-272F-3FA635DB73CA}"/>
                </a:ext>
              </a:extLst>
            </p:cNvPr>
            <p:cNvSpPr/>
            <p:nvPr/>
          </p:nvSpPr>
          <p:spPr>
            <a:xfrm>
              <a:off x="3772501" y="2449030"/>
              <a:ext cx="4929" cy="477404"/>
            </a:xfrm>
            <a:custGeom>
              <a:avLst/>
              <a:gdLst>
                <a:gd name="connsiteX0" fmla="*/ 0 w 4929"/>
                <a:gd name="connsiteY0" fmla="*/ 0 h 477404"/>
                <a:gd name="connsiteX1" fmla="*/ 4929 w 4929"/>
                <a:gd name="connsiteY1" fmla="*/ 0 h 477404"/>
                <a:gd name="connsiteX2" fmla="*/ 4929 w 4929"/>
                <a:gd name="connsiteY2" fmla="*/ 477404 h 477404"/>
                <a:gd name="connsiteX3" fmla="*/ 0 w 4929"/>
                <a:gd name="connsiteY3" fmla="*/ 477404 h 477404"/>
              </a:gdLst>
              <a:ahLst/>
              <a:cxnLst>
                <a:cxn ang="0">
                  <a:pos x="connsiteX0" y="connsiteY0"/>
                </a:cxn>
                <a:cxn ang="0">
                  <a:pos x="connsiteX1" y="connsiteY1"/>
                </a:cxn>
                <a:cxn ang="0">
                  <a:pos x="connsiteX2" y="connsiteY2"/>
                </a:cxn>
                <a:cxn ang="0">
                  <a:pos x="connsiteX3" y="connsiteY3"/>
                </a:cxn>
              </a:cxnLst>
              <a:rect l="l" t="t" r="r" b="b"/>
              <a:pathLst>
                <a:path w="4929" h="477404">
                  <a:moveTo>
                    <a:pt x="0" y="0"/>
                  </a:moveTo>
                  <a:lnTo>
                    <a:pt x="4929" y="0"/>
                  </a:lnTo>
                  <a:lnTo>
                    <a:pt x="4929" y="477404"/>
                  </a:lnTo>
                  <a:lnTo>
                    <a:pt x="0" y="477404"/>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5" name="Freeform 434">
              <a:extLst>
                <a:ext uri="{FF2B5EF4-FFF2-40B4-BE49-F238E27FC236}">
                  <a16:creationId xmlns:a16="http://schemas.microsoft.com/office/drawing/2014/main" id="{252213AC-46F5-BA6C-E652-F2361F75BF81}"/>
                </a:ext>
              </a:extLst>
            </p:cNvPr>
            <p:cNvSpPr/>
            <p:nvPr/>
          </p:nvSpPr>
          <p:spPr>
            <a:xfrm>
              <a:off x="3788904" y="2449030"/>
              <a:ext cx="4929" cy="483075"/>
            </a:xfrm>
            <a:custGeom>
              <a:avLst/>
              <a:gdLst>
                <a:gd name="connsiteX0" fmla="*/ 0 w 4929"/>
                <a:gd name="connsiteY0" fmla="*/ 0 h 483075"/>
                <a:gd name="connsiteX1" fmla="*/ 4929 w 4929"/>
                <a:gd name="connsiteY1" fmla="*/ 0 h 483075"/>
                <a:gd name="connsiteX2" fmla="*/ 4929 w 4929"/>
                <a:gd name="connsiteY2" fmla="*/ 483075 h 483075"/>
                <a:gd name="connsiteX3" fmla="*/ 0 w 4929"/>
                <a:gd name="connsiteY3" fmla="*/ 483075 h 483075"/>
              </a:gdLst>
              <a:ahLst/>
              <a:cxnLst>
                <a:cxn ang="0">
                  <a:pos x="connsiteX0" y="connsiteY0"/>
                </a:cxn>
                <a:cxn ang="0">
                  <a:pos x="connsiteX1" y="connsiteY1"/>
                </a:cxn>
                <a:cxn ang="0">
                  <a:pos x="connsiteX2" y="connsiteY2"/>
                </a:cxn>
                <a:cxn ang="0">
                  <a:pos x="connsiteX3" y="connsiteY3"/>
                </a:cxn>
              </a:cxnLst>
              <a:rect l="l" t="t" r="r" b="b"/>
              <a:pathLst>
                <a:path w="4929" h="483075">
                  <a:moveTo>
                    <a:pt x="0" y="0"/>
                  </a:moveTo>
                  <a:lnTo>
                    <a:pt x="4929" y="0"/>
                  </a:lnTo>
                  <a:lnTo>
                    <a:pt x="4929" y="483075"/>
                  </a:lnTo>
                  <a:lnTo>
                    <a:pt x="0" y="483075"/>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6" name="Freeform 435">
              <a:extLst>
                <a:ext uri="{FF2B5EF4-FFF2-40B4-BE49-F238E27FC236}">
                  <a16:creationId xmlns:a16="http://schemas.microsoft.com/office/drawing/2014/main" id="{FC84FBA9-4AAF-6732-33F1-77CFAAB732B8}"/>
                </a:ext>
              </a:extLst>
            </p:cNvPr>
            <p:cNvSpPr/>
            <p:nvPr/>
          </p:nvSpPr>
          <p:spPr>
            <a:xfrm>
              <a:off x="927357" y="2449030"/>
              <a:ext cx="19411" cy="56534"/>
            </a:xfrm>
            <a:custGeom>
              <a:avLst/>
              <a:gdLst>
                <a:gd name="connsiteX0" fmla="*/ 0 w 19411"/>
                <a:gd name="connsiteY0" fmla="*/ 48901 h 56534"/>
                <a:gd name="connsiteX1" fmla="*/ 12607 w 19411"/>
                <a:gd name="connsiteY1" fmla="*/ 48901 h 56534"/>
                <a:gd name="connsiteX2" fmla="*/ 12607 w 19411"/>
                <a:gd name="connsiteY2" fmla="*/ 56535 h 56534"/>
                <a:gd name="connsiteX3" fmla="*/ 19412 w 19411"/>
                <a:gd name="connsiteY3" fmla="*/ 56535 h 56534"/>
                <a:gd name="connsiteX4" fmla="*/ 19412 w 19411"/>
                <a:gd name="connsiteY4" fmla="*/ 0 h 56534"/>
                <a:gd name="connsiteX5" fmla="*/ 0 w 19411"/>
                <a:gd name="connsiteY5" fmla="*/ 0 h 56534"/>
                <a:gd name="connsiteX6" fmla="*/ 0 w 19411"/>
                <a:gd name="connsiteY6" fmla="*/ 48901 h 5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11" h="56534">
                  <a:moveTo>
                    <a:pt x="0" y="48901"/>
                  </a:moveTo>
                  <a:lnTo>
                    <a:pt x="12607" y="48901"/>
                  </a:lnTo>
                  <a:lnTo>
                    <a:pt x="12607" y="56535"/>
                  </a:lnTo>
                  <a:lnTo>
                    <a:pt x="19412" y="56535"/>
                  </a:lnTo>
                  <a:lnTo>
                    <a:pt x="19412" y="0"/>
                  </a:lnTo>
                  <a:lnTo>
                    <a:pt x="0" y="0"/>
                  </a:lnTo>
                  <a:lnTo>
                    <a:pt x="0" y="48901"/>
                  </a:lnTo>
                  <a:close/>
                </a:path>
              </a:pathLst>
            </a:custGeom>
            <a:solidFill>
              <a:schemeClr val="accent4"/>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7" name="Freeform 436">
              <a:extLst>
                <a:ext uri="{FF2B5EF4-FFF2-40B4-BE49-F238E27FC236}">
                  <a16:creationId xmlns:a16="http://schemas.microsoft.com/office/drawing/2014/main" id="{3EBF265C-1415-6D34-1533-4EED4B4B84B0}"/>
                </a:ext>
              </a:extLst>
            </p:cNvPr>
            <p:cNvSpPr/>
            <p:nvPr/>
          </p:nvSpPr>
          <p:spPr>
            <a:xfrm>
              <a:off x="777339" y="2109124"/>
              <a:ext cx="12127" cy="341520"/>
            </a:xfrm>
            <a:custGeom>
              <a:avLst/>
              <a:gdLst>
                <a:gd name="connsiteX0" fmla="*/ 0 w 12127"/>
                <a:gd name="connsiteY0" fmla="*/ 0 h 341520"/>
                <a:gd name="connsiteX1" fmla="*/ 12127 w 12127"/>
                <a:gd name="connsiteY1" fmla="*/ 0 h 341520"/>
                <a:gd name="connsiteX2" fmla="*/ 12127 w 12127"/>
                <a:gd name="connsiteY2" fmla="*/ 341520 h 341520"/>
                <a:gd name="connsiteX3" fmla="*/ 0 w 12127"/>
                <a:gd name="connsiteY3" fmla="*/ 341520 h 341520"/>
              </a:gdLst>
              <a:ahLst/>
              <a:cxnLst>
                <a:cxn ang="0">
                  <a:pos x="connsiteX0" y="connsiteY0"/>
                </a:cxn>
                <a:cxn ang="0">
                  <a:pos x="connsiteX1" y="connsiteY1"/>
                </a:cxn>
                <a:cxn ang="0">
                  <a:pos x="connsiteX2" y="connsiteY2"/>
                </a:cxn>
                <a:cxn ang="0">
                  <a:pos x="connsiteX3" y="connsiteY3"/>
                </a:cxn>
              </a:cxnLst>
              <a:rect l="l" t="t" r="r" b="b"/>
              <a:pathLst>
                <a:path w="12127" h="341520">
                  <a:moveTo>
                    <a:pt x="0" y="0"/>
                  </a:moveTo>
                  <a:lnTo>
                    <a:pt x="12127" y="0"/>
                  </a:lnTo>
                  <a:lnTo>
                    <a:pt x="12127" y="341520"/>
                  </a:lnTo>
                  <a:lnTo>
                    <a:pt x="0" y="341520"/>
                  </a:lnTo>
                  <a:close/>
                </a:path>
              </a:pathLst>
            </a:custGeom>
            <a:solidFill>
              <a:schemeClr val="accent4"/>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8" name="Freeform 437">
              <a:extLst>
                <a:ext uri="{FF2B5EF4-FFF2-40B4-BE49-F238E27FC236}">
                  <a16:creationId xmlns:a16="http://schemas.microsoft.com/office/drawing/2014/main" id="{B7819478-7394-668A-75DA-A41A349CA144}"/>
                </a:ext>
              </a:extLst>
            </p:cNvPr>
            <p:cNvSpPr/>
            <p:nvPr/>
          </p:nvSpPr>
          <p:spPr>
            <a:xfrm>
              <a:off x="789379" y="2335524"/>
              <a:ext cx="23250" cy="115119"/>
            </a:xfrm>
            <a:custGeom>
              <a:avLst/>
              <a:gdLst>
                <a:gd name="connsiteX0" fmla="*/ 0 w 23250"/>
                <a:gd name="connsiteY0" fmla="*/ 0 h 115119"/>
                <a:gd name="connsiteX1" fmla="*/ 23251 w 23250"/>
                <a:gd name="connsiteY1" fmla="*/ 0 h 115119"/>
                <a:gd name="connsiteX2" fmla="*/ 23251 w 23250"/>
                <a:gd name="connsiteY2" fmla="*/ 115120 h 115119"/>
                <a:gd name="connsiteX3" fmla="*/ 0 w 23250"/>
                <a:gd name="connsiteY3" fmla="*/ 115120 h 115119"/>
              </a:gdLst>
              <a:ahLst/>
              <a:cxnLst>
                <a:cxn ang="0">
                  <a:pos x="connsiteX0" y="connsiteY0"/>
                </a:cxn>
                <a:cxn ang="0">
                  <a:pos x="connsiteX1" y="connsiteY1"/>
                </a:cxn>
                <a:cxn ang="0">
                  <a:pos x="connsiteX2" y="connsiteY2"/>
                </a:cxn>
                <a:cxn ang="0">
                  <a:pos x="connsiteX3" y="connsiteY3"/>
                </a:cxn>
              </a:cxnLst>
              <a:rect l="l" t="t" r="r" b="b"/>
              <a:pathLst>
                <a:path w="23250" h="115119">
                  <a:moveTo>
                    <a:pt x="0" y="0"/>
                  </a:moveTo>
                  <a:lnTo>
                    <a:pt x="23251" y="0"/>
                  </a:lnTo>
                  <a:lnTo>
                    <a:pt x="23251" y="115120"/>
                  </a:lnTo>
                  <a:lnTo>
                    <a:pt x="0" y="115120"/>
                  </a:lnTo>
                  <a:close/>
                </a:path>
              </a:pathLst>
            </a:custGeom>
            <a:solidFill>
              <a:srgbClr val="541980"/>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9" name="Freeform 438">
              <a:extLst>
                <a:ext uri="{FF2B5EF4-FFF2-40B4-BE49-F238E27FC236}">
                  <a16:creationId xmlns:a16="http://schemas.microsoft.com/office/drawing/2014/main" id="{B1DDDCCB-8CAF-4E7F-0F63-6116A0033FC5}"/>
                </a:ext>
              </a:extLst>
            </p:cNvPr>
            <p:cNvSpPr/>
            <p:nvPr/>
          </p:nvSpPr>
          <p:spPr>
            <a:xfrm>
              <a:off x="812630" y="2432322"/>
              <a:ext cx="9989" cy="18321"/>
            </a:xfrm>
            <a:custGeom>
              <a:avLst/>
              <a:gdLst>
                <a:gd name="connsiteX0" fmla="*/ 0 w 9989"/>
                <a:gd name="connsiteY0" fmla="*/ 0 h 18321"/>
                <a:gd name="connsiteX1" fmla="*/ 9989 w 9989"/>
                <a:gd name="connsiteY1" fmla="*/ 0 h 18321"/>
                <a:gd name="connsiteX2" fmla="*/ 9989 w 9989"/>
                <a:gd name="connsiteY2" fmla="*/ 18321 h 18321"/>
                <a:gd name="connsiteX3" fmla="*/ 0 w 9989"/>
                <a:gd name="connsiteY3" fmla="*/ 18321 h 18321"/>
              </a:gdLst>
              <a:ahLst/>
              <a:cxnLst>
                <a:cxn ang="0">
                  <a:pos x="connsiteX0" y="connsiteY0"/>
                </a:cxn>
                <a:cxn ang="0">
                  <a:pos x="connsiteX1" y="connsiteY1"/>
                </a:cxn>
                <a:cxn ang="0">
                  <a:pos x="connsiteX2" y="connsiteY2"/>
                </a:cxn>
                <a:cxn ang="0">
                  <a:pos x="connsiteX3" y="connsiteY3"/>
                </a:cxn>
              </a:cxnLst>
              <a:rect l="l" t="t" r="r" b="b"/>
              <a:pathLst>
                <a:path w="9989" h="18321">
                  <a:moveTo>
                    <a:pt x="0" y="0"/>
                  </a:moveTo>
                  <a:lnTo>
                    <a:pt x="9989" y="0"/>
                  </a:lnTo>
                  <a:lnTo>
                    <a:pt x="9989" y="18321"/>
                  </a:lnTo>
                  <a:lnTo>
                    <a:pt x="0" y="18321"/>
                  </a:lnTo>
                  <a:close/>
                </a:path>
              </a:pathLst>
            </a:custGeom>
            <a:solidFill>
              <a:srgbClr val="DFC3F3"/>
            </a:solidFill>
            <a:ln w="43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1" name="Freeform 440">
              <a:extLst>
                <a:ext uri="{FF2B5EF4-FFF2-40B4-BE49-F238E27FC236}">
                  <a16:creationId xmlns:a16="http://schemas.microsoft.com/office/drawing/2014/main" id="{0484F5B0-8CF7-3F82-5FEF-1F0AA8FAB3ED}"/>
                </a:ext>
              </a:extLst>
            </p:cNvPr>
            <p:cNvSpPr/>
            <p:nvPr/>
          </p:nvSpPr>
          <p:spPr>
            <a:xfrm>
              <a:off x="778953" y="1891316"/>
              <a:ext cx="4362" cy="1116604"/>
            </a:xfrm>
            <a:custGeom>
              <a:avLst/>
              <a:gdLst>
                <a:gd name="connsiteX0" fmla="*/ 0 w 4362"/>
                <a:gd name="connsiteY0" fmla="*/ 0 h 1116604"/>
                <a:gd name="connsiteX1" fmla="*/ 0 w 4362"/>
                <a:gd name="connsiteY1" fmla="*/ 1116605 h 1116604"/>
              </a:gdLst>
              <a:ahLst/>
              <a:cxnLst>
                <a:cxn ang="0">
                  <a:pos x="connsiteX0" y="connsiteY0"/>
                </a:cxn>
                <a:cxn ang="0">
                  <a:pos x="connsiteX1" y="connsiteY1"/>
                </a:cxn>
              </a:cxnLst>
              <a:rect l="l" t="t" r="r" b="b"/>
              <a:pathLst>
                <a:path w="4362" h="1116604">
                  <a:moveTo>
                    <a:pt x="0" y="0"/>
                  </a:moveTo>
                  <a:lnTo>
                    <a:pt x="0" y="1116605"/>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2" name="Freeform 441">
              <a:extLst>
                <a:ext uri="{FF2B5EF4-FFF2-40B4-BE49-F238E27FC236}">
                  <a16:creationId xmlns:a16="http://schemas.microsoft.com/office/drawing/2014/main" id="{FE09E3EF-E88E-4A9D-318A-9FF1D9D19231}"/>
                </a:ext>
              </a:extLst>
            </p:cNvPr>
            <p:cNvSpPr/>
            <p:nvPr/>
          </p:nvSpPr>
          <p:spPr>
            <a:xfrm>
              <a:off x="756488" y="2866672"/>
              <a:ext cx="21767" cy="4362"/>
            </a:xfrm>
            <a:custGeom>
              <a:avLst/>
              <a:gdLst>
                <a:gd name="connsiteX0" fmla="*/ 21768 w 21767"/>
                <a:gd name="connsiteY0" fmla="*/ 0 h 4362"/>
                <a:gd name="connsiteX1" fmla="*/ 0 w 21767"/>
                <a:gd name="connsiteY1" fmla="*/ 0 h 4362"/>
              </a:gdLst>
              <a:ahLst/>
              <a:cxnLst>
                <a:cxn ang="0">
                  <a:pos x="connsiteX0" y="connsiteY0"/>
                </a:cxn>
                <a:cxn ang="0">
                  <a:pos x="connsiteX1" y="connsiteY1"/>
                </a:cxn>
              </a:cxnLst>
              <a:rect l="l" t="t" r="r" b="b"/>
              <a:pathLst>
                <a:path w="21767" h="4362">
                  <a:moveTo>
                    <a:pt x="21768" y="0"/>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3" name="Freeform 442">
              <a:extLst>
                <a:ext uri="{FF2B5EF4-FFF2-40B4-BE49-F238E27FC236}">
                  <a16:creationId xmlns:a16="http://schemas.microsoft.com/office/drawing/2014/main" id="{D24AF524-8BDF-1FF2-E08C-103DA458E8D7}"/>
                </a:ext>
              </a:extLst>
            </p:cNvPr>
            <p:cNvSpPr/>
            <p:nvPr/>
          </p:nvSpPr>
          <p:spPr>
            <a:xfrm>
              <a:off x="756488" y="3005740"/>
              <a:ext cx="21767" cy="4362"/>
            </a:xfrm>
            <a:custGeom>
              <a:avLst/>
              <a:gdLst>
                <a:gd name="connsiteX0" fmla="*/ 21768 w 21767"/>
                <a:gd name="connsiteY0" fmla="*/ 0 h 4362"/>
                <a:gd name="connsiteX1" fmla="*/ 0 w 21767"/>
                <a:gd name="connsiteY1" fmla="*/ 0 h 4362"/>
              </a:gdLst>
              <a:ahLst/>
              <a:cxnLst>
                <a:cxn ang="0">
                  <a:pos x="connsiteX0" y="connsiteY0"/>
                </a:cxn>
                <a:cxn ang="0">
                  <a:pos x="connsiteX1" y="connsiteY1"/>
                </a:cxn>
              </a:cxnLst>
              <a:rect l="l" t="t" r="r" b="b"/>
              <a:pathLst>
                <a:path w="21767" h="4362">
                  <a:moveTo>
                    <a:pt x="21768" y="0"/>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4" name="Freeform 443">
              <a:extLst>
                <a:ext uri="{FF2B5EF4-FFF2-40B4-BE49-F238E27FC236}">
                  <a16:creationId xmlns:a16="http://schemas.microsoft.com/office/drawing/2014/main" id="{E6343C74-99CC-5300-D8FC-2EF47E87EDFD}"/>
                </a:ext>
              </a:extLst>
            </p:cNvPr>
            <p:cNvSpPr/>
            <p:nvPr/>
          </p:nvSpPr>
          <p:spPr>
            <a:xfrm>
              <a:off x="756488" y="2727603"/>
              <a:ext cx="21767" cy="4362"/>
            </a:xfrm>
            <a:custGeom>
              <a:avLst/>
              <a:gdLst>
                <a:gd name="connsiteX0" fmla="*/ 21768 w 21767"/>
                <a:gd name="connsiteY0" fmla="*/ 0 h 4362"/>
                <a:gd name="connsiteX1" fmla="*/ 0 w 21767"/>
                <a:gd name="connsiteY1" fmla="*/ 0 h 4362"/>
              </a:gdLst>
              <a:ahLst/>
              <a:cxnLst>
                <a:cxn ang="0">
                  <a:pos x="connsiteX0" y="connsiteY0"/>
                </a:cxn>
                <a:cxn ang="0">
                  <a:pos x="connsiteX1" y="connsiteY1"/>
                </a:cxn>
              </a:cxnLst>
              <a:rect l="l" t="t" r="r" b="b"/>
              <a:pathLst>
                <a:path w="21767" h="4362">
                  <a:moveTo>
                    <a:pt x="21768" y="0"/>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5" name="Freeform 444">
              <a:extLst>
                <a:ext uri="{FF2B5EF4-FFF2-40B4-BE49-F238E27FC236}">
                  <a16:creationId xmlns:a16="http://schemas.microsoft.com/office/drawing/2014/main" id="{D8E0E733-4DCA-5A5E-BB86-35B0F8BA31A8}"/>
                </a:ext>
              </a:extLst>
            </p:cNvPr>
            <p:cNvSpPr/>
            <p:nvPr/>
          </p:nvSpPr>
          <p:spPr>
            <a:xfrm>
              <a:off x="756488" y="2588535"/>
              <a:ext cx="21767" cy="4362"/>
            </a:xfrm>
            <a:custGeom>
              <a:avLst/>
              <a:gdLst>
                <a:gd name="connsiteX0" fmla="*/ 21768 w 21767"/>
                <a:gd name="connsiteY0" fmla="*/ 0 h 4362"/>
                <a:gd name="connsiteX1" fmla="*/ 0 w 21767"/>
                <a:gd name="connsiteY1" fmla="*/ 0 h 4362"/>
              </a:gdLst>
              <a:ahLst/>
              <a:cxnLst>
                <a:cxn ang="0">
                  <a:pos x="connsiteX0" y="connsiteY0"/>
                </a:cxn>
                <a:cxn ang="0">
                  <a:pos x="connsiteX1" y="connsiteY1"/>
                </a:cxn>
              </a:cxnLst>
              <a:rect l="l" t="t" r="r" b="b"/>
              <a:pathLst>
                <a:path w="21767" h="4362">
                  <a:moveTo>
                    <a:pt x="21768" y="0"/>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6" name="Freeform 445">
              <a:extLst>
                <a:ext uri="{FF2B5EF4-FFF2-40B4-BE49-F238E27FC236}">
                  <a16:creationId xmlns:a16="http://schemas.microsoft.com/office/drawing/2014/main" id="{CB22D862-B1B7-545B-FF48-7721D89F0797}"/>
                </a:ext>
              </a:extLst>
            </p:cNvPr>
            <p:cNvSpPr/>
            <p:nvPr/>
          </p:nvSpPr>
          <p:spPr>
            <a:xfrm>
              <a:off x="756488" y="2449510"/>
              <a:ext cx="3233210" cy="4362"/>
            </a:xfrm>
            <a:custGeom>
              <a:avLst/>
              <a:gdLst>
                <a:gd name="connsiteX0" fmla="*/ 0 w 3233210"/>
                <a:gd name="connsiteY0" fmla="*/ 0 h 4362"/>
                <a:gd name="connsiteX1" fmla="*/ 21768 w 3233210"/>
                <a:gd name="connsiteY1" fmla="*/ 0 h 4362"/>
                <a:gd name="connsiteX2" fmla="*/ 3233210 w 3233210"/>
                <a:gd name="connsiteY2" fmla="*/ 0 h 4362"/>
              </a:gdLst>
              <a:ahLst/>
              <a:cxnLst>
                <a:cxn ang="0">
                  <a:pos x="connsiteX0" y="connsiteY0"/>
                </a:cxn>
                <a:cxn ang="0">
                  <a:pos x="connsiteX1" y="connsiteY1"/>
                </a:cxn>
                <a:cxn ang="0">
                  <a:pos x="connsiteX2" y="connsiteY2"/>
                </a:cxn>
              </a:cxnLst>
              <a:rect l="l" t="t" r="r" b="b"/>
              <a:pathLst>
                <a:path w="3233210" h="4362">
                  <a:moveTo>
                    <a:pt x="0" y="0"/>
                  </a:moveTo>
                  <a:lnTo>
                    <a:pt x="21768" y="0"/>
                  </a:lnTo>
                  <a:lnTo>
                    <a:pt x="3233210" y="0"/>
                  </a:lnTo>
                </a:path>
              </a:pathLst>
            </a:custGeom>
            <a:noFill/>
            <a:ln w="43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7" name="Freeform 446">
              <a:extLst>
                <a:ext uri="{FF2B5EF4-FFF2-40B4-BE49-F238E27FC236}">
                  <a16:creationId xmlns:a16="http://schemas.microsoft.com/office/drawing/2014/main" id="{7342BC34-895A-C401-F3E9-9E1A97E62562}"/>
                </a:ext>
              </a:extLst>
            </p:cNvPr>
            <p:cNvSpPr/>
            <p:nvPr/>
          </p:nvSpPr>
          <p:spPr>
            <a:xfrm>
              <a:off x="778255" y="2335960"/>
              <a:ext cx="3211442" cy="4362"/>
            </a:xfrm>
            <a:custGeom>
              <a:avLst/>
              <a:gdLst>
                <a:gd name="connsiteX0" fmla="*/ 3211443 w 3211442"/>
                <a:gd name="connsiteY0" fmla="*/ 0 h 4362"/>
                <a:gd name="connsiteX1" fmla="*/ 0 w 3211442"/>
                <a:gd name="connsiteY1" fmla="*/ 0 h 4362"/>
              </a:gdLst>
              <a:ahLst/>
              <a:cxnLst>
                <a:cxn ang="0">
                  <a:pos x="connsiteX0" y="connsiteY0"/>
                </a:cxn>
                <a:cxn ang="0">
                  <a:pos x="connsiteX1" y="connsiteY1"/>
                </a:cxn>
              </a:cxnLst>
              <a:rect l="l" t="t" r="r" b="b"/>
              <a:pathLst>
                <a:path w="3211442" h="4362">
                  <a:moveTo>
                    <a:pt x="3211443" y="0"/>
                  </a:moveTo>
                  <a:lnTo>
                    <a:pt x="0" y="0"/>
                  </a:lnTo>
                </a:path>
              </a:pathLst>
            </a:custGeom>
            <a:ln w="6350" cap="flat">
              <a:solidFill>
                <a:schemeClr val="bg1">
                  <a:lumMod val="6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8" name="Freeform 447">
              <a:extLst>
                <a:ext uri="{FF2B5EF4-FFF2-40B4-BE49-F238E27FC236}">
                  <a16:creationId xmlns:a16="http://schemas.microsoft.com/office/drawing/2014/main" id="{4DCDC934-740D-636D-DD57-B566D32E220E}"/>
                </a:ext>
              </a:extLst>
            </p:cNvPr>
            <p:cNvSpPr/>
            <p:nvPr/>
          </p:nvSpPr>
          <p:spPr>
            <a:xfrm>
              <a:off x="778255" y="2613836"/>
              <a:ext cx="3211442" cy="4362"/>
            </a:xfrm>
            <a:custGeom>
              <a:avLst/>
              <a:gdLst>
                <a:gd name="connsiteX0" fmla="*/ 0 w 3211442"/>
                <a:gd name="connsiteY0" fmla="*/ 0 h 4362"/>
                <a:gd name="connsiteX1" fmla="*/ 3211443 w 3211442"/>
                <a:gd name="connsiteY1" fmla="*/ 0 h 4362"/>
              </a:gdLst>
              <a:ahLst/>
              <a:cxnLst>
                <a:cxn ang="0">
                  <a:pos x="connsiteX0" y="connsiteY0"/>
                </a:cxn>
                <a:cxn ang="0">
                  <a:pos x="connsiteX1" y="connsiteY1"/>
                </a:cxn>
              </a:cxnLst>
              <a:rect l="l" t="t" r="r" b="b"/>
              <a:pathLst>
                <a:path w="3211442" h="4362">
                  <a:moveTo>
                    <a:pt x="0" y="0"/>
                  </a:moveTo>
                  <a:lnTo>
                    <a:pt x="3211443" y="0"/>
                  </a:lnTo>
                </a:path>
              </a:pathLst>
            </a:custGeom>
            <a:ln w="6350" cap="flat">
              <a:solidFill>
                <a:schemeClr val="bg1">
                  <a:lumMod val="6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9" name="Freeform 448">
              <a:extLst>
                <a:ext uri="{FF2B5EF4-FFF2-40B4-BE49-F238E27FC236}">
                  <a16:creationId xmlns:a16="http://schemas.microsoft.com/office/drawing/2014/main" id="{AD31917C-8A93-80C3-C866-96A3032F87E9}"/>
                </a:ext>
              </a:extLst>
            </p:cNvPr>
            <p:cNvSpPr/>
            <p:nvPr/>
          </p:nvSpPr>
          <p:spPr>
            <a:xfrm>
              <a:off x="756488" y="2310441"/>
              <a:ext cx="21767" cy="4362"/>
            </a:xfrm>
            <a:custGeom>
              <a:avLst/>
              <a:gdLst>
                <a:gd name="connsiteX0" fmla="*/ 21768 w 21767"/>
                <a:gd name="connsiteY0" fmla="*/ 0 h 4362"/>
                <a:gd name="connsiteX1" fmla="*/ 0 w 21767"/>
                <a:gd name="connsiteY1" fmla="*/ 0 h 4362"/>
              </a:gdLst>
              <a:ahLst/>
              <a:cxnLst>
                <a:cxn ang="0">
                  <a:pos x="connsiteX0" y="connsiteY0"/>
                </a:cxn>
                <a:cxn ang="0">
                  <a:pos x="connsiteX1" y="connsiteY1"/>
                </a:cxn>
              </a:cxnLst>
              <a:rect l="l" t="t" r="r" b="b"/>
              <a:pathLst>
                <a:path w="21767" h="4362">
                  <a:moveTo>
                    <a:pt x="21768" y="0"/>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0" name="Freeform 449">
              <a:extLst>
                <a:ext uri="{FF2B5EF4-FFF2-40B4-BE49-F238E27FC236}">
                  <a16:creationId xmlns:a16="http://schemas.microsoft.com/office/drawing/2014/main" id="{15FE72BE-110E-E4BE-3FF7-44D379E1C1C0}"/>
                </a:ext>
              </a:extLst>
            </p:cNvPr>
            <p:cNvSpPr/>
            <p:nvPr/>
          </p:nvSpPr>
          <p:spPr>
            <a:xfrm>
              <a:off x="756488" y="2171373"/>
              <a:ext cx="21767" cy="4362"/>
            </a:xfrm>
            <a:custGeom>
              <a:avLst/>
              <a:gdLst>
                <a:gd name="connsiteX0" fmla="*/ 21768 w 21767"/>
                <a:gd name="connsiteY0" fmla="*/ 0 h 4362"/>
                <a:gd name="connsiteX1" fmla="*/ 0 w 21767"/>
                <a:gd name="connsiteY1" fmla="*/ 0 h 4362"/>
              </a:gdLst>
              <a:ahLst/>
              <a:cxnLst>
                <a:cxn ang="0">
                  <a:pos x="connsiteX0" y="connsiteY0"/>
                </a:cxn>
                <a:cxn ang="0">
                  <a:pos x="connsiteX1" y="connsiteY1"/>
                </a:cxn>
              </a:cxnLst>
              <a:rect l="l" t="t" r="r" b="b"/>
              <a:pathLst>
                <a:path w="21767" h="4362">
                  <a:moveTo>
                    <a:pt x="21768" y="0"/>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1" name="Freeform 450">
              <a:extLst>
                <a:ext uri="{FF2B5EF4-FFF2-40B4-BE49-F238E27FC236}">
                  <a16:creationId xmlns:a16="http://schemas.microsoft.com/office/drawing/2014/main" id="{EDA9CD81-64C0-1150-C7C8-760D7F1268B8}"/>
                </a:ext>
              </a:extLst>
            </p:cNvPr>
            <p:cNvSpPr/>
            <p:nvPr/>
          </p:nvSpPr>
          <p:spPr>
            <a:xfrm>
              <a:off x="756488" y="2032348"/>
              <a:ext cx="21767" cy="4362"/>
            </a:xfrm>
            <a:custGeom>
              <a:avLst/>
              <a:gdLst>
                <a:gd name="connsiteX0" fmla="*/ 21768 w 21767"/>
                <a:gd name="connsiteY0" fmla="*/ 0 h 4362"/>
                <a:gd name="connsiteX1" fmla="*/ 0 w 21767"/>
                <a:gd name="connsiteY1" fmla="*/ 0 h 4362"/>
              </a:gdLst>
              <a:ahLst/>
              <a:cxnLst>
                <a:cxn ang="0">
                  <a:pos x="connsiteX0" y="connsiteY0"/>
                </a:cxn>
                <a:cxn ang="0">
                  <a:pos x="connsiteX1" y="connsiteY1"/>
                </a:cxn>
              </a:cxnLst>
              <a:rect l="l" t="t" r="r" b="b"/>
              <a:pathLst>
                <a:path w="21767" h="4362">
                  <a:moveTo>
                    <a:pt x="21768" y="0"/>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2" name="Freeform 451">
              <a:extLst>
                <a:ext uri="{FF2B5EF4-FFF2-40B4-BE49-F238E27FC236}">
                  <a16:creationId xmlns:a16="http://schemas.microsoft.com/office/drawing/2014/main" id="{64426BDA-EC99-6265-7D8D-A37C98344AFF}"/>
                </a:ext>
              </a:extLst>
            </p:cNvPr>
            <p:cNvSpPr/>
            <p:nvPr/>
          </p:nvSpPr>
          <p:spPr>
            <a:xfrm>
              <a:off x="756488" y="1893279"/>
              <a:ext cx="21767" cy="4362"/>
            </a:xfrm>
            <a:custGeom>
              <a:avLst/>
              <a:gdLst>
                <a:gd name="connsiteX0" fmla="*/ 21768 w 21767"/>
                <a:gd name="connsiteY0" fmla="*/ 0 h 4362"/>
                <a:gd name="connsiteX1" fmla="*/ 0 w 21767"/>
                <a:gd name="connsiteY1" fmla="*/ 0 h 4362"/>
              </a:gdLst>
              <a:ahLst/>
              <a:cxnLst>
                <a:cxn ang="0">
                  <a:pos x="connsiteX0" y="connsiteY0"/>
                </a:cxn>
                <a:cxn ang="0">
                  <a:pos x="connsiteX1" y="connsiteY1"/>
                </a:cxn>
              </a:cxnLst>
              <a:rect l="l" t="t" r="r" b="b"/>
              <a:pathLst>
                <a:path w="21767" h="4362">
                  <a:moveTo>
                    <a:pt x="21768" y="0"/>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2" name="TextBox 391">
              <a:extLst>
                <a:ext uri="{FF2B5EF4-FFF2-40B4-BE49-F238E27FC236}">
                  <a16:creationId xmlns:a16="http://schemas.microsoft.com/office/drawing/2014/main" id="{75439219-C961-A291-5EED-0F5391732640}"/>
                </a:ext>
              </a:extLst>
            </p:cNvPr>
            <p:cNvSpPr txBox="1"/>
            <p:nvPr/>
          </p:nvSpPr>
          <p:spPr>
            <a:xfrm rot="16200000">
              <a:off x="-530742" y="2338958"/>
              <a:ext cx="1824713" cy="307777"/>
            </a:xfrm>
            <a:prstGeom prst="rect">
              <a:avLst/>
            </a:prstGeom>
            <a:noFill/>
          </p:spPr>
          <p:txBody>
            <a:bodyPr wrap="square" lIns="0" tIns="0" rIns="3600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est change from baseline </a:t>
              </a:r>
              <a:b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target lesion size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391" name="TextBox 390">
              <a:extLst>
                <a:ext uri="{FF2B5EF4-FFF2-40B4-BE49-F238E27FC236}">
                  <a16:creationId xmlns:a16="http://schemas.microsoft.com/office/drawing/2014/main" id="{A85064BD-EA9D-053A-0EB6-A7B980EACCE3}"/>
                </a:ext>
              </a:extLst>
            </p:cNvPr>
            <p:cNvSpPr txBox="1"/>
            <p:nvPr/>
          </p:nvSpPr>
          <p:spPr>
            <a:xfrm>
              <a:off x="469394" y="2964148"/>
              <a:ext cx="312780" cy="92649"/>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p>
          </p:txBody>
        </p:sp>
        <p:sp>
          <p:nvSpPr>
            <p:cNvPr id="393" name="TextBox 392">
              <a:extLst>
                <a:ext uri="{FF2B5EF4-FFF2-40B4-BE49-F238E27FC236}">
                  <a16:creationId xmlns:a16="http://schemas.microsoft.com/office/drawing/2014/main" id="{555B7752-C960-DAA2-84A6-96F4AD71FC16}"/>
                </a:ext>
              </a:extLst>
            </p:cNvPr>
            <p:cNvSpPr txBox="1"/>
            <p:nvPr/>
          </p:nvSpPr>
          <p:spPr>
            <a:xfrm>
              <a:off x="469394" y="2827623"/>
              <a:ext cx="312780" cy="92649"/>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5</a:t>
              </a:r>
            </a:p>
          </p:txBody>
        </p:sp>
        <p:sp>
          <p:nvSpPr>
            <p:cNvPr id="394" name="TextBox 393">
              <a:extLst>
                <a:ext uri="{FF2B5EF4-FFF2-40B4-BE49-F238E27FC236}">
                  <a16:creationId xmlns:a16="http://schemas.microsoft.com/office/drawing/2014/main" id="{C4F2C45C-0F3D-C72B-5AC9-120FC6207E75}"/>
                </a:ext>
              </a:extLst>
            </p:cNvPr>
            <p:cNvSpPr txBox="1"/>
            <p:nvPr/>
          </p:nvSpPr>
          <p:spPr>
            <a:xfrm>
              <a:off x="469394" y="2684748"/>
              <a:ext cx="312780" cy="92649"/>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a:t>
              </a:r>
            </a:p>
          </p:txBody>
        </p:sp>
        <p:sp>
          <p:nvSpPr>
            <p:cNvPr id="395" name="TextBox 394">
              <a:extLst>
                <a:ext uri="{FF2B5EF4-FFF2-40B4-BE49-F238E27FC236}">
                  <a16:creationId xmlns:a16="http://schemas.microsoft.com/office/drawing/2014/main" id="{F2C64C72-8803-2E92-69EB-B09DDC205F7C}"/>
                </a:ext>
              </a:extLst>
            </p:cNvPr>
            <p:cNvSpPr txBox="1"/>
            <p:nvPr/>
          </p:nvSpPr>
          <p:spPr>
            <a:xfrm>
              <a:off x="469394" y="2548223"/>
              <a:ext cx="312780" cy="92649"/>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a:t>
              </a:r>
            </a:p>
          </p:txBody>
        </p:sp>
        <p:sp>
          <p:nvSpPr>
            <p:cNvPr id="396" name="TextBox 395">
              <a:extLst>
                <a:ext uri="{FF2B5EF4-FFF2-40B4-BE49-F238E27FC236}">
                  <a16:creationId xmlns:a16="http://schemas.microsoft.com/office/drawing/2014/main" id="{59D9809C-6002-899D-7324-73DE64743AB6}"/>
                </a:ext>
              </a:extLst>
            </p:cNvPr>
            <p:cNvSpPr txBox="1"/>
            <p:nvPr/>
          </p:nvSpPr>
          <p:spPr>
            <a:xfrm>
              <a:off x="469394" y="2408523"/>
              <a:ext cx="312780" cy="92649"/>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397" name="TextBox 396">
              <a:extLst>
                <a:ext uri="{FF2B5EF4-FFF2-40B4-BE49-F238E27FC236}">
                  <a16:creationId xmlns:a16="http://schemas.microsoft.com/office/drawing/2014/main" id="{95324793-EDB2-D440-DFAD-C669952D88BE}"/>
                </a:ext>
              </a:extLst>
            </p:cNvPr>
            <p:cNvSpPr txBox="1"/>
            <p:nvPr/>
          </p:nvSpPr>
          <p:spPr>
            <a:xfrm>
              <a:off x="469394" y="2265648"/>
              <a:ext cx="312780" cy="92649"/>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a:t>
              </a:r>
            </a:p>
          </p:txBody>
        </p:sp>
        <p:sp>
          <p:nvSpPr>
            <p:cNvPr id="398" name="TextBox 397">
              <a:extLst>
                <a:ext uri="{FF2B5EF4-FFF2-40B4-BE49-F238E27FC236}">
                  <a16:creationId xmlns:a16="http://schemas.microsoft.com/office/drawing/2014/main" id="{499AE8F0-B566-63EA-039E-4428B4C99487}"/>
                </a:ext>
              </a:extLst>
            </p:cNvPr>
            <p:cNvSpPr txBox="1"/>
            <p:nvPr/>
          </p:nvSpPr>
          <p:spPr>
            <a:xfrm>
              <a:off x="469394" y="2129123"/>
              <a:ext cx="312780" cy="92649"/>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a:t>
              </a:r>
            </a:p>
          </p:txBody>
        </p:sp>
        <p:sp>
          <p:nvSpPr>
            <p:cNvPr id="399" name="TextBox 398">
              <a:extLst>
                <a:ext uri="{FF2B5EF4-FFF2-40B4-BE49-F238E27FC236}">
                  <a16:creationId xmlns:a16="http://schemas.microsoft.com/office/drawing/2014/main" id="{480C3F92-BDB4-225C-BDAB-F1940FA512C4}"/>
                </a:ext>
              </a:extLst>
            </p:cNvPr>
            <p:cNvSpPr txBox="1"/>
            <p:nvPr/>
          </p:nvSpPr>
          <p:spPr>
            <a:xfrm>
              <a:off x="469394" y="1989423"/>
              <a:ext cx="312780" cy="92649"/>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5</a:t>
              </a:r>
            </a:p>
          </p:txBody>
        </p:sp>
        <p:sp>
          <p:nvSpPr>
            <p:cNvPr id="400" name="TextBox 399">
              <a:extLst>
                <a:ext uri="{FF2B5EF4-FFF2-40B4-BE49-F238E27FC236}">
                  <a16:creationId xmlns:a16="http://schemas.microsoft.com/office/drawing/2014/main" id="{FD433B83-B339-1722-55D9-10DACEE1B13B}"/>
                </a:ext>
              </a:extLst>
            </p:cNvPr>
            <p:cNvSpPr txBox="1"/>
            <p:nvPr/>
          </p:nvSpPr>
          <p:spPr>
            <a:xfrm>
              <a:off x="469394" y="1856073"/>
              <a:ext cx="312780" cy="92649"/>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p>
          </p:txBody>
        </p:sp>
        <p:sp>
          <p:nvSpPr>
            <p:cNvPr id="401" name="TextBox 400">
              <a:extLst>
                <a:ext uri="{FF2B5EF4-FFF2-40B4-BE49-F238E27FC236}">
                  <a16:creationId xmlns:a16="http://schemas.microsoft.com/office/drawing/2014/main" id="{3647D206-13D8-7E46-CD12-EE6DE6DD2CB2}"/>
                </a:ext>
              </a:extLst>
            </p:cNvPr>
            <p:cNvSpPr txBox="1"/>
            <p:nvPr/>
          </p:nvSpPr>
          <p:spPr>
            <a:xfrm>
              <a:off x="1879292" y="2109299"/>
              <a:ext cx="946296" cy="158827"/>
            </a:xfrm>
            <a:prstGeom prst="rect">
              <a:avLst/>
            </a:prstGeom>
            <a:noFill/>
          </p:spPr>
          <p:txBody>
            <a:bodyPr wrap="square" lIns="0" tIns="0" rIns="3600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RR = 80%</a:t>
              </a:r>
            </a:p>
          </p:txBody>
        </p:sp>
      </p:grpSp>
      <p:sp>
        <p:nvSpPr>
          <p:cNvPr id="455" name="TextBox 454">
            <a:extLst>
              <a:ext uri="{FF2B5EF4-FFF2-40B4-BE49-F238E27FC236}">
                <a16:creationId xmlns:a16="http://schemas.microsoft.com/office/drawing/2014/main" id="{BA914BE6-791F-6B36-520C-C052F2EF00FB}"/>
              </a:ext>
            </a:extLst>
          </p:cNvPr>
          <p:cNvSpPr txBox="1"/>
          <p:nvPr/>
        </p:nvSpPr>
        <p:spPr>
          <a:xfrm>
            <a:off x="992674" y="2802379"/>
            <a:ext cx="918830" cy="107722"/>
          </a:xfrm>
          <a:prstGeom prst="rect">
            <a:avLst/>
          </a:prstGeom>
          <a:noFill/>
        </p:spPr>
        <p:txBody>
          <a:bodyPr wrap="square" lIns="0" tIns="0" rIns="36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a:t>
            </a:r>
          </a:p>
        </p:txBody>
      </p:sp>
      <p:sp>
        <p:nvSpPr>
          <p:cNvPr id="456" name="TextBox 455">
            <a:extLst>
              <a:ext uri="{FF2B5EF4-FFF2-40B4-BE49-F238E27FC236}">
                <a16:creationId xmlns:a16="http://schemas.microsoft.com/office/drawing/2014/main" id="{05507877-C161-919C-EE83-6CAC79944CC9}"/>
              </a:ext>
            </a:extLst>
          </p:cNvPr>
          <p:cNvSpPr txBox="1"/>
          <p:nvPr/>
        </p:nvSpPr>
        <p:spPr>
          <a:xfrm>
            <a:off x="992674" y="2948429"/>
            <a:ext cx="918830" cy="107722"/>
          </a:xfrm>
          <a:prstGeom prst="rect">
            <a:avLst/>
          </a:prstGeom>
          <a:noFill/>
        </p:spPr>
        <p:txBody>
          <a:bodyPr wrap="square" lIns="0" tIns="0" rIns="36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a:t>
            </a:r>
          </a:p>
        </p:txBody>
      </p:sp>
      <p:sp>
        <p:nvSpPr>
          <p:cNvPr id="457" name="TextBox 456">
            <a:extLst>
              <a:ext uri="{FF2B5EF4-FFF2-40B4-BE49-F238E27FC236}">
                <a16:creationId xmlns:a16="http://schemas.microsoft.com/office/drawing/2014/main" id="{D2544E99-7499-855A-4142-C209DE2DA696}"/>
              </a:ext>
            </a:extLst>
          </p:cNvPr>
          <p:cNvSpPr txBox="1"/>
          <p:nvPr/>
        </p:nvSpPr>
        <p:spPr>
          <a:xfrm>
            <a:off x="992674" y="3091304"/>
            <a:ext cx="918830" cy="107722"/>
          </a:xfrm>
          <a:prstGeom prst="rect">
            <a:avLst/>
          </a:prstGeom>
          <a:noFill/>
        </p:spPr>
        <p:txBody>
          <a:bodyPr wrap="square" lIns="0" tIns="0" rIns="36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D</a:t>
            </a:r>
          </a:p>
        </p:txBody>
      </p:sp>
      <p:sp>
        <p:nvSpPr>
          <p:cNvPr id="458" name="TextBox 457">
            <a:extLst>
              <a:ext uri="{FF2B5EF4-FFF2-40B4-BE49-F238E27FC236}">
                <a16:creationId xmlns:a16="http://schemas.microsoft.com/office/drawing/2014/main" id="{37D098D2-3A39-122B-EC88-707C48186255}"/>
              </a:ext>
            </a:extLst>
          </p:cNvPr>
          <p:cNvSpPr txBox="1"/>
          <p:nvPr/>
        </p:nvSpPr>
        <p:spPr>
          <a:xfrm>
            <a:off x="992674" y="3234179"/>
            <a:ext cx="918830" cy="107722"/>
          </a:xfrm>
          <a:prstGeom prst="rect">
            <a:avLst/>
          </a:prstGeom>
          <a:noFill/>
        </p:spPr>
        <p:txBody>
          <a:bodyPr wrap="square" lIns="0" tIns="0" rIns="36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D</a:t>
            </a:r>
          </a:p>
        </p:txBody>
      </p:sp>
      <p:sp>
        <p:nvSpPr>
          <p:cNvPr id="459" name="TextBox 458">
            <a:extLst>
              <a:ext uri="{FF2B5EF4-FFF2-40B4-BE49-F238E27FC236}">
                <a16:creationId xmlns:a16="http://schemas.microsoft.com/office/drawing/2014/main" id="{126B05E9-8BCE-AAE9-6665-C8FAD2D09CA3}"/>
              </a:ext>
            </a:extLst>
          </p:cNvPr>
          <p:cNvSpPr txBox="1"/>
          <p:nvPr/>
        </p:nvSpPr>
        <p:spPr>
          <a:xfrm>
            <a:off x="992674" y="3383404"/>
            <a:ext cx="918830" cy="107722"/>
          </a:xfrm>
          <a:prstGeom prst="rect">
            <a:avLst/>
          </a:prstGeom>
          <a:noFill/>
        </p:spPr>
        <p:txBody>
          <a:bodyPr wrap="square" lIns="0" tIns="0" rIns="36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a:t>
            </a:r>
          </a:p>
        </p:txBody>
      </p:sp>
      <p:sp>
        <p:nvSpPr>
          <p:cNvPr id="970" name="TextBox 969">
            <a:extLst>
              <a:ext uri="{FF2B5EF4-FFF2-40B4-BE49-F238E27FC236}">
                <a16:creationId xmlns:a16="http://schemas.microsoft.com/office/drawing/2014/main" id="{13F546B7-EED3-AB44-F906-4C3AFE67F998}"/>
              </a:ext>
            </a:extLst>
          </p:cNvPr>
          <p:cNvSpPr txBox="1"/>
          <p:nvPr/>
        </p:nvSpPr>
        <p:spPr>
          <a:xfrm>
            <a:off x="5283025" y="3659129"/>
            <a:ext cx="1824713"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ths</a:t>
            </a:r>
          </a:p>
        </p:txBody>
      </p:sp>
      <p:sp>
        <p:nvSpPr>
          <p:cNvPr id="464" name="Freeform 463">
            <a:extLst>
              <a:ext uri="{FF2B5EF4-FFF2-40B4-BE49-F238E27FC236}">
                <a16:creationId xmlns:a16="http://schemas.microsoft.com/office/drawing/2014/main" id="{12693397-538D-60E8-4ACC-ED9174A7152E}"/>
              </a:ext>
            </a:extLst>
          </p:cNvPr>
          <p:cNvSpPr/>
          <p:nvPr/>
        </p:nvSpPr>
        <p:spPr>
          <a:xfrm>
            <a:off x="4656808" y="1799251"/>
            <a:ext cx="3159609" cy="1667745"/>
          </a:xfrm>
          <a:custGeom>
            <a:avLst/>
            <a:gdLst>
              <a:gd name="connsiteX0" fmla="*/ 0 w 2646121"/>
              <a:gd name="connsiteY0" fmla="*/ 0 h 1667745"/>
              <a:gd name="connsiteX1" fmla="*/ 0 w 2646121"/>
              <a:gd name="connsiteY1" fmla="*/ 1667746 h 1667745"/>
              <a:gd name="connsiteX2" fmla="*/ 2646122 w 2646121"/>
              <a:gd name="connsiteY2" fmla="*/ 1667746 h 1667745"/>
            </a:gdLst>
            <a:ahLst/>
            <a:cxnLst>
              <a:cxn ang="0">
                <a:pos x="connsiteX0" y="connsiteY0"/>
              </a:cxn>
              <a:cxn ang="0">
                <a:pos x="connsiteX1" y="connsiteY1"/>
              </a:cxn>
              <a:cxn ang="0">
                <a:pos x="connsiteX2" y="connsiteY2"/>
              </a:cxn>
            </a:cxnLst>
            <a:rect l="l" t="t" r="r" b="b"/>
            <a:pathLst>
              <a:path w="2646121" h="1667745">
                <a:moveTo>
                  <a:pt x="0" y="0"/>
                </a:moveTo>
                <a:lnTo>
                  <a:pt x="0" y="1667746"/>
                </a:lnTo>
                <a:lnTo>
                  <a:pt x="2646122" y="1667746"/>
                </a:lnTo>
              </a:path>
            </a:pathLst>
          </a:custGeom>
          <a:noFill/>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5" name="Freeform 464">
            <a:extLst>
              <a:ext uri="{FF2B5EF4-FFF2-40B4-BE49-F238E27FC236}">
                <a16:creationId xmlns:a16="http://schemas.microsoft.com/office/drawing/2014/main" id="{2CC1BBF7-F876-9E82-491C-6F1387D435FD}"/>
              </a:ext>
            </a:extLst>
          </p:cNvPr>
          <p:cNvSpPr/>
          <p:nvPr/>
        </p:nvSpPr>
        <p:spPr>
          <a:xfrm>
            <a:off x="4622580" y="1968063"/>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6" name="Freeform 465">
            <a:extLst>
              <a:ext uri="{FF2B5EF4-FFF2-40B4-BE49-F238E27FC236}">
                <a16:creationId xmlns:a16="http://schemas.microsoft.com/office/drawing/2014/main" id="{1B0D52E3-0FD3-1517-0B46-A51764B84BD2}"/>
              </a:ext>
            </a:extLst>
          </p:cNvPr>
          <p:cNvSpPr/>
          <p:nvPr/>
        </p:nvSpPr>
        <p:spPr>
          <a:xfrm>
            <a:off x="4622580" y="2134230"/>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7" name="Freeform 466">
            <a:extLst>
              <a:ext uri="{FF2B5EF4-FFF2-40B4-BE49-F238E27FC236}">
                <a16:creationId xmlns:a16="http://schemas.microsoft.com/office/drawing/2014/main" id="{271B2C9E-1D36-C464-0CBA-25389BDF9303}"/>
              </a:ext>
            </a:extLst>
          </p:cNvPr>
          <p:cNvSpPr/>
          <p:nvPr/>
        </p:nvSpPr>
        <p:spPr>
          <a:xfrm>
            <a:off x="4622580" y="2300398"/>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8" name="Freeform 467">
            <a:extLst>
              <a:ext uri="{FF2B5EF4-FFF2-40B4-BE49-F238E27FC236}">
                <a16:creationId xmlns:a16="http://schemas.microsoft.com/office/drawing/2014/main" id="{192BA8BC-0824-335F-E205-021F90745959}"/>
              </a:ext>
            </a:extLst>
          </p:cNvPr>
          <p:cNvSpPr/>
          <p:nvPr/>
        </p:nvSpPr>
        <p:spPr>
          <a:xfrm>
            <a:off x="4622580" y="2467167"/>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9" name="Freeform 468">
            <a:extLst>
              <a:ext uri="{FF2B5EF4-FFF2-40B4-BE49-F238E27FC236}">
                <a16:creationId xmlns:a16="http://schemas.microsoft.com/office/drawing/2014/main" id="{520EA16E-16B9-F493-6248-0E9771A4B05D}"/>
              </a:ext>
            </a:extLst>
          </p:cNvPr>
          <p:cNvSpPr/>
          <p:nvPr/>
        </p:nvSpPr>
        <p:spPr>
          <a:xfrm>
            <a:off x="4622580" y="2632673"/>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0" name="Freeform 469">
            <a:extLst>
              <a:ext uri="{FF2B5EF4-FFF2-40B4-BE49-F238E27FC236}">
                <a16:creationId xmlns:a16="http://schemas.microsoft.com/office/drawing/2014/main" id="{841B5E9D-C11F-D0F8-31FC-F5B237E8D6DB}"/>
              </a:ext>
            </a:extLst>
          </p:cNvPr>
          <p:cNvSpPr/>
          <p:nvPr/>
        </p:nvSpPr>
        <p:spPr>
          <a:xfrm>
            <a:off x="4622580" y="2799442"/>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1" name="Freeform 470">
            <a:extLst>
              <a:ext uri="{FF2B5EF4-FFF2-40B4-BE49-F238E27FC236}">
                <a16:creationId xmlns:a16="http://schemas.microsoft.com/office/drawing/2014/main" id="{86B13AD3-B9E9-68A8-0E8A-554CE69B26F9}"/>
              </a:ext>
            </a:extLst>
          </p:cNvPr>
          <p:cNvSpPr/>
          <p:nvPr/>
        </p:nvSpPr>
        <p:spPr>
          <a:xfrm>
            <a:off x="4622580" y="2965609"/>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2" name="Freeform 471">
            <a:extLst>
              <a:ext uri="{FF2B5EF4-FFF2-40B4-BE49-F238E27FC236}">
                <a16:creationId xmlns:a16="http://schemas.microsoft.com/office/drawing/2014/main" id="{53686D42-3E21-F39F-0E06-656AFF915F1C}"/>
              </a:ext>
            </a:extLst>
          </p:cNvPr>
          <p:cNvSpPr/>
          <p:nvPr/>
        </p:nvSpPr>
        <p:spPr>
          <a:xfrm>
            <a:off x="4622580" y="3131176"/>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3" name="Freeform 472">
            <a:extLst>
              <a:ext uri="{FF2B5EF4-FFF2-40B4-BE49-F238E27FC236}">
                <a16:creationId xmlns:a16="http://schemas.microsoft.com/office/drawing/2014/main" id="{11AB91AF-E11D-C98A-CD52-A6A8A72A8EC5}"/>
              </a:ext>
            </a:extLst>
          </p:cNvPr>
          <p:cNvSpPr/>
          <p:nvPr/>
        </p:nvSpPr>
        <p:spPr>
          <a:xfrm>
            <a:off x="4622580" y="3299146"/>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4" name="Freeform 473">
            <a:extLst>
              <a:ext uri="{FF2B5EF4-FFF2-40B4-BE49-F238E27FC236}">
                <a16:creationId xmlns:a16="http://schemas.microsoft.com/office/drawing/2014/main" id="{EC7802B1-37D0-7FBE-BE45-A144348E4902}"/>
              </a:ext>
            </a:extLst>
          </p:cNvPr>
          <p:cNvSpPr/>
          <p:nvPr/>
        </p:nvSpPr>
        <p:spPr>
          <a:xfrm>
            <a:off x="4622580" y="3467057"/>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5" name="Freeform 474">
            <a:extLst>
              <a:ext uri="{FF2B5EF4-FFF2-40B4-BE49-F238E27FC236}">
                <a16:creationId xmlns:a16="http://schemas.microsoft.com/office/drawing/2014/main" id="{37005C20-6B92-117C-3490-B4F5517FD99C}"/>
              </a:ext>
            </a:extLst>
          </p:cNvPr>
          <p:cNvSpPr/>
          <p:nvPr/>
        </p:nvSpPr>
        <p:spPr>
          <a:xfrm>
            <a:off x="4656521"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6" name="Freeform 475">
            <a:extLst>
              <a:ext uri="{FF2B5EF4-FFF2-40B4-BE49-F238E27FC236}">
                <a16:creationId xmlns:a16="http://schemas.microsoft.com/office/drawing/2014/main" id="{F69EDB73-E079-450D-7591-31759247DD62}"/>
              </a:ext>
            </a:extLst>
          </p:cNvPr>
          <p:cNvSpPr/>
          <p:nvPr/>
        </p:nvSpPr>
        <p:spPr>
          <a:xfrm>
            <a:off x="4831828"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7" name="Freeform 476">
            <a:extLst>
              <a:ext uri="{FF2B5EF4-FFF2-40B4-BE49-F238E27FC236}">
                <a16:creationId xmlns:a16="http://schemas.microsoft.com/office/drawing/2014/main" id="{775DC002-5676-CE46-5311-C65448B5C3EC}"/>
              </a:ext>
            </a:extLst>
          </p:cNvPr>
          <p:cNvSpPr/>
          <p:nvPr/>
        </p:nvSpPr>
        <p:spPr>
          <a:xfrm>
            <a:off x="5006560"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8" name="Freeform 477">
            <a:extLst>
              <a:ext uri="{FF2B5EF4-FFF2-40B4-BE49-F238E27FC236}">
                <a16:creationId xmlns:a16="http://schemas.microsoft.com/office/drawing/2014/main" id="{EA88AE98-448C-2058-E90D-6FEC7F2A0FF3}"/>
              </a:ext>
            </a:extLst>
          </p:cNvPr>
          <p:cNvSpPr/>
          <p:nvPr/>
        </p:nvSpPr>
        <p:spPr>
          <a:xfrm>
            <a:off x="5182441"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9" name="Freeform 478">
            <a:extLst>
              <a:ext uri="{FF2B5EF4-FFF2-40B4-BE49-F238E27FC236}">
                <a16:creationId xmlns:a16="http://schemas.microsoft.com/office/drawing/2014/main" id="{FB5BB350-3AF7-588D-C31F-45C3ACBF40EE}"/>
              </a:ext>
            </a:extLst>
          </p:cNvPr>
          <p:cNvSpPr/>
          <p:nvPr/>
        </p:nvSpPr>
        <p:spPr>
          <a:xfrm>
            <a:off x="5358322"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0" name="Freeform 479">
            <a:extLst>
              <a:ext uri="{FF2B5EF4-FFF2-40B4-BE49-F238E27FC236}">
                <a16:creationId xmlns:a16="http://schemas.microsoft.com/office/drawing/2014/main" id="{E22289C7-001D-22AF-8DB0-248E96B3AE2D}"/>
              </a:ext>
            </a:extLst>
          </p:cNvPr>
          <p:cNvSpPr/>
          <p:nvPr/>
        </p:nvSpPr>
        <p:spPr>
          <a:xfrm>
            <a:off x="5533126"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1" name="Freeform 480">
            <a:extLst>
              <a:ext uri="{FF2B5EF4-FFF2-40B4-BE49-F238E27FC236}">
                <a16:creationId xmlns:a16="http://schemas.microsoft.com/office/drawing/2014/main" id="{BB62D7E5-AF73-36A5-06F1-5E5E12F1DFBA}"/>
              </a:ext>
            </a:extLst>
          </p:cNvPr>
          <p:cNvSpPr/>
          <p:nvPr/>
        </p:nvSpPr>
        <p:spPr>
          <a:xfrm>
            <a:off x="5708935"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2" name="Freeform 481">
            <a:extLst>
              <a:ext uri="{FF2B5EF4-FFF2-40B4-BE49-F238E27FC236}">
                <a16:creationId xmlns:a16="http://schemas.microsoft.com/office/drawing/2014/main" id="{72188D42-FFF6-C47A-A018-830CD880111A}"/>
              </a:ext>
            </a:extLst>
          </p:cNvPr>
          <p:cNvSpPr/>
          <p:nvPr/>
        </p:nvSpPr>
        <p:spPr>
          <a:xfrm>
            <a:off x="5883739"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3" name="Freeform 482">
            <a:extLst>
              <a:ext uri="{FF2B5EF4-FFF2-40B4-BE49-F238E27FC236}">
                <a16:creationId xmlns:a16="http://schemas.microsoft.com/office/drawing/2014/main" id="{7A38D66B-6CCF-BAC4-61D3-94442A0E7526}"/>
              </a:ext>
            </a:extLst>
          </p:cNvPr>
          <p:cNvSpPr/>
          <p:nvPr/>
        </p:nvSpPr>
        <p:spPr>
          <a:xfrm>
            <a:off x="6058543"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4" name="Freeform 483">
            <a:extLst>
              <a:ext uri="{FF2B5EF4-FFF2-40B4-BE49-F238E27FC236}">
                <a16:creationId xmlns:a16="http://schemas.microsoft.com/office/drawing/2014/main" id="{46287B2E-E9BB-C6AE-8007-76EF3D0DE15F}"/>
              </a:ext>
            </a:extLst>
          </p:cNvPr>
          <p:cNvSpPr/>
          <p:nvPr/>
        </p:nvSpPr>
        <p:spPr>
          <a:xfrm>
            <a:off x="6235429"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5" name="Freeform 484">
            <a:extLst>
              <a:ext uri="{FF2B5EF4-FFF2-40B4-BE49-F238E27FC236}">
                <a16:creationId xmlns:a16="http://schemas.microsoft.com/office/drawing/2014/main" id="{DC3041BB-2694-ABFE-9283-0DAFB63CEE7F}"/>
              </a:ext>
            </a:extLst>
          </p:cNvPr>
          <p:cNvSpPr/>
          <p:nvPr/>
        </p:nvSpPr>
        <p:spPr>
          <a:xfrm>
            <a:off x="6410234"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6" name="Freeform 485">
            <a:extLst>
              <a:ext uri="{FF2B5EF4-FFF2-40B4-BE49-F238E27FC236}">
                <a16:creationId xmlns:a16="http://schemas.microsoft.com/office/drawing/2014/main" id="{AF4322AA-50CD-9FAB-314C-D0B35FCF15F6}"/>
              </a:ext>
            </a:extLst>
          </p:cNvPr>
          <p:cNvSpPr/>
          <p:nvPr/>
        </p:nvSpPr>
        <p:spPr>
          <a:xfrm>
            <a:off x="6585037"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7" name="Freeform 486">
            <a:extLst>
              <a:ext uri="{FF2B5EF4-FFF2-40B4-BE49-F238E27FC236}">
                <a16:creationId xmlns:a16="http://schemas.microsoft.com/office/drawing/2014/main" id="{7C4675D5-5C3A-0C68-17DB-7127F009DAD7}"/>
              </a:ext>
            </a:extLst>
          </p:cNvPr>
          <p:cNvSpPr/>
          <p:nvPr/>
        </p:nvSpPr>
        <p:spPr>
          <a:xfrm>
            <a:off x="6760846"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8" name="Freeform 487">
            <a:extLst>
              <a:ext uri="{FF2B5EF4-FFF2-40B4-BE49-F238E27FC236}">
                <a16:creationId xmlns:a16="http://schemas.microsoft.com/office/drawing/2014/main" id="{BD960103-538E-4E24-C840-38F3B69B3CD4}"/>
              </a:ext>
            </a:extLst>
          </p:cNvPr>
          <p:cNvSpPr/>
          <p:nvPr/>
        </p:nvSpPr>
        <p:spPr>
          <a:xfrm>
            <a:off x="6936728"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9" name="Freeform 488">
            <a:extLst>
              <a:ext uri="{FF2B5EF4-FFF2-40B4-BE49-F238E27FC236}">
                <a16:creationId xmlns:a16="http://schemas.microsoft.com/office/drawing/2014/main" id="{EADC505A-BD12-92E7-7236-150CD581D2B5}"/>
              </a:ext>
            </a:extLst>
          </p:cNvPr>
          <p:cNvSpPr/>
          <p:nvPr/>
        </p:nvSpPr>
        <p:spPr>
          <a:xfrm>
            <a:off x="7111531"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0" name="Freeform 489">
            <a:extLst>
              <a:ext uri="{FF2B5EF4-FFF2-40B4-BE49-F238E27FC236}">
                <a16:creationId xmlns:a16="http://schemas.microsoft.com/office/drawing/2014/main" id="{F2D0B9DE-F7AE-A7FE-9EFA-CF08D35D9C56}"/>
              </a:ext>
            </a:extLst>
          </p:cNvPr>
          <p:cNvSpPr/>
          <p:nvPr/>
        </p:nvSpPr>
        <p:spPr>
          <a:xfrm>
            <a:off x="7286264"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1" name="Freeform 490">
            <a:extLst>
              <a:ext uri="{FF2B5EF4-FFF2-40B4-BE49-F238E27FC236}">
                <a16:creationId xmlns:a16="http://schemas.microsoft.com/office/drawing/2014/main" id="{5C3CE760-2185-F0D4-9A09-A3B66F27C53D}"/>
              </a:ext>
            </a:extLst>
          </p:cNvPr>
          <p:cNvSpPr/>
          <p:nvPr/>
        </p:nvSpPr>
        <p:spPr>
          <a:xfrm>
            <a:off x="7462144"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2" name="Freeform 491">
            <a:extLst>
              <a:ext uri="{FF2B5EF4-FFF2-40B4-BE49-F238E27FC236}">
                <a16:creationId xmlns:a16="http://schemas.microsoft.com/office/drawing/2014/main" id="{60951094-03E6-187C-B00A-0827C23E798C}"/>
              </a:ext>
            </a:extLst>
          </p:cNvPr>
          <p:cNvSpPr/>
          <p:nvPr/>
        </p:nvSpPr>
        <p:spPr>
          <a:xfrm>
            <a:off x="7638025"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3" name="Freeform 492">
            <a:extLst>
              <a:ext uri="{FF2B5EF4-FFF2-40B4-BE49-F238E27FC236}">
                <a16:creationId xmlns:a16="http://schemas.microsoft.com/office/drawing/2014/main" id="{9DD100A0-A967-96D1-803D-DD3960ACDFBB}"/>
              </a:ext>
            </a:extLst>
          </p:cNvPr>
          <p:cNvSpPr/>
          <p:nvPr/>
        </p:nvSpPr>
        <p:spPr>
          <a:xfrm>
            <a:off x="7812758" y="3467297"/>
            <a:ext cx="7175" cy="28906"/>
          </a:xfrm>
          <a:custGeom>
            <a:avLst/>
            <a:gdLst>
              <a:gd name="connsiteX0" fmla="*/ 0 w 6009"/>
              <a:gd name="connsiteY0" fmla="*/ 0 h 28906"/>
              <a:gd name="connsiteX1" fmla="*/ 0 w 6009"/>
              <a:gd name="connsiteY1" fmla="*/ 28907 h 28906"/>
            </a:gdLst>
            <a:ahLst/>
            <a:cxnLst>
              <a:cxn ang="0">
                <a:pos x="connsiteX0" y="connsiteY0"/>
              </a:cxn>
              <a:cxn ang="0">
                <a:pos x="connsiteX1" y="connsiteY1"/>
              </a:cxn>
            </a:cxnLst>
            <a:rect l="l" t="t" r="r" b="b"/>
            <a:pathLst>
              <a:path w="6009" h="28906">
                <a:moveTo>
                  <a:pt x="0" y="0"/>
                </a:moveTo>
                <a:lnTo>
                  <a:pt x="0" y="28907"/>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4" name="Freeform 493">
            <a:extLst>
              <a:ext uri="{FF2B5EF4-FFF2-40B4-BE49-F238E27FC236}">
                <a16:creationId xmlns:a16="http://schemas.microsoft.com/office/drawing/2014/main" id="{BEB03FD5-99AF-E1D1-86ED-C58E476AB569}"/>
              </a:ext>
            </a:extLst>
          </p:cNvPr>
          <p:cNvSpPr/>
          <p:nvPr/>
        </p:nvSpPr>
        <p:spPr>
          <a:xfrm>
            <a:off x="4622580" y="1802496"/>
            <a:ext cx="34515" cy="6009"/>
          </a:xfrm>
          <a:custGeom>
            <a:avLst/>
            <a:gdLst>
              <a:gd name="connsiteX0" fmla="*/ 28907 w 28906"/>
              <a:gd name="connsiteY0" fmla="*/ 0 h 6009"/>
              <a:gd name="connsiteX1" fmla="*/ 0 w 28906"/>
              <a:gd name="connsiteY1" fmla="*/ 0 h 6009"/>
            </a:gdLst>
            <a:ahLst/>
            <a:cxnLst>
              <a:cxn ang="0">
                <a:pos x="connsiteX0" y="connsiteY0"/>
              </a:cxn>
              <a:cxn ang="0">
                <a:pos x="connsiteX1" y="connsiteY1"/>
              </a:cxn>
            </a:cxnLst>
            <a:rect l="l" t="t" r="r" b="b"/>
            <a:pathLst>
              <a:path w="28906" h="6009">
                <a:moveTo>
                  <a:pt x="28907"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495" name="Graphic 461">
            <a:extLst>
              <a:ext uri="{FF2B5EF4-FFF2-40B4-BE49-F238E27FC236}">
                <a16:creationId xmlns:a16="http://schemas.microsoft.com/office/drawing/2014/main" id="{2B7556DC-96AD-F075-F848-0AFD4AF1A80D}"/>
              </a:ext>
            </a:extLst>
          </p:cNvPr>
          <p:cNvGrpSpPr/>
          <p:nvPr/>
        </p:nvGrpSpPr>
        <p:grpSpPr>
          <a:xfrm>
            <a:off x="4656377" y="1787532"/>
            <a:ext cx="3058502" cy="1093821"/>
            <a:chOff x="5042380" y="1680902"/>
            <a:chExt cx="2561445" cy="1093821"/>
          </a:xfrm>
          <a:noFill/>
        </p:grpSpPr>
        <p:sp>
          <p:nvSpPr>
            <p:cNvPr id="496" name="Freeform 495">
              <a:extLst>
                <a:ext uri="{FF2B5EF4-FFF2-40B4-BE49-F238E27FC236}">
                  <a16:creationId xmlns:a16="http://schemas.microsoft.com/office/drawing/2014/main" id="{EA2F1346-992D-24CC-3397-4461B4EB0939}"/>
                </a:ext>
              </a:extLst>
            </p:cNvPr>
            <p:cNvSpPr/>
            <p:nvPr/>
          </p:nvSpPr>
          <p:spPr>
            <a:xfrm>
              <a:off x="5058186" y="1681503"/>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7" name="Freeform 496">
              <a:extLst>
                <a:ext uri="{FF2B5EF4-FFF2-40B4-BE49-F238E27FC236}">
                  <a16:creationId xmlns:a16="http://schemas.microsoft.com/office/drawing/2014/main" id="{04169C68-A9C4-9A51-76F1-EC6B9DC7AFDC}"/>
                </a:ext>
              </a:extLst>
            </p:cNvPr>
            <p:cNvSpPr/>
            <p:nvPr/>
          </p:nvSpPr>
          <p:spPr>
            <a:xfrm>
              <a:off x="5042380" y="1697068"/>
              <a:ext cx="2560543" cy="1061549"/>
            </a:xfrm>
            <a:custGeom>
              <a:avLst/>
              <a:gdLst>
                <a:gd name="connsiteX0" fmla="*/ 0 w 2560543"/>
                <a:gd name="connsiteY0" fmla="*/ 0 h 1061549"/>
                <a:gd name="connsiteX1" fmla="*/ 85277 w 2560543"/>
                <a:gd name="connsiteY1" fmla="*/ 0 h 1061549"/>
                <a:gd name="connsiteX2" fmla="*/ 85277 w 2560543"/>
                <a:gd name="connsiteY2" fmla="*/ 5108 h 1061549"/>
                <a:gd name="connsiteX3" fmla="*/ 156913 w 2560543"/>
                <a:gd name="connsiteY3" fmla="*/ 5108 h 1061549"/>
                <a:gd name="connsiteX4" fmla="*/ 156913 w 2560543"/>
                <a:gd name="connsiteY4" fmla="*/ 11959 h 1061549"/>
                <a:gd name="connsiteX5" fmla="*/ 193872 w 2560543"/>
                <a:gd name="connsiteY5" fmla="*/ 11959 h 1061549"/>
                <a:gd name="connsiteX6" fmla="*/ 193872 w 2560543"/>
                <a:gd name="connsiteY6" fmla="*/ 18209 h 1061549"/>
                <a:gd name="connsiteX7" fmla="*/ 214065 w 2560543"/>
                <a:gd name="connsiteY7" fmla="*/ 18209 h 1061549"/>
                <a:gd name="connsiteX8" fmla="*/ 214065 w 2560543"/>
                <a:gd name="connsiteY8" fmla="*/ 23318 h 1061549"/>
                <a:gd name="connsiteX9" fmla="*/ 256373 w 2560543"/>
                <a:gd name="connsiteY9" fmla="*/ 23318 h 1061549"/>
                <a:gd name="connsiteX10" fmla="*/ 256373 w 2560543"/>
                <a:gd name="connsiteY10" fmla="*/ 30108 h 1061549"/>
                <a:gd name="connsiteX11" fmla="*/ 299883 w 2560543"/>
                <a:gd name="connsiteY11" fmla="*/ 30108 h 1061549"/>
                <a:gd name="connsiteX12" fmla="*/ 299883 w 2560543"/>
                <a:gd name="connsiteY12" fmla="*/ 35517 h 1061549"/>
                <a:gd name="connsiteX13" fmla="*/ 304450 w 2560543"/>
                <a:gd name="connsiteY13" fmla="*/ 35517 h 1061549"/>
                <a:gd name="connsiteX14" fmla="*/ 304450 w 2560543"/>
                <a:gd name="connsiteY14" fmla="*/ 47717 h 1061549"/>
                <a:gd name="connsiteX15" fmla="*/ 314366 w 2560543"/>
                <a:gd name="connsiteY15" fmla="*/ 47717 h 1061549"/>
                <a:gd name="connsiteX16" fmla="*/ 314366 w 2560543"/>
                <a:gd name="connsiteY16" fmla="*/ 58534 h 1061549"/>
                <a:gd name="connsiteX17" fmla="*/ 321458 w 2560543"/>
                <a:gd name="connsiteY17" fmla="*/ 58534 h 1061549"/>
                <a:gd name="connsiteX18" fmla="*/ 321458 w 2560543"/>
                <a:gd name="connsiteY18" fmla="*/ 64544 h 1061549"/>
                <a:gd name="connsiteX19" fmla="*/ 339367 w 2560543"/>
                <a:gd name="connsiteY19" fmla="*/ 64544 h 1061549"/>
                <a:gd name="connsiteX20" fmla="*/ 339367 w 2560543"/>
                <a:gd name="connsiteY20" fmla="*/ 72477 h 1061549"/>
                <a:gd name="connsiteX21" fmla="*/ 351867 w 2560543"/>
                <a:gd name="connsiteY21" fmla="*/ 72477 h 1061549"/>
                <a:gd name="connsiteX22" fmla="*/ 351867 w 2560543"/>
                <a:gd name="connsiteY22" fmla="*/ 77044 h 1061549"/>
                <a:gd name="connsiteX23" fmla="*/ 365268 w 2560543"/>
                <a:gd name="connsiteY23" fmla="*/ 77044 h 1061549"/>
                <a:gd name="connsiteX24" fmla="*/ 365268 w 2560543"/>
                <a:gd name="connsiteY24" fmla="*/ 85277 h 1061549"/>
                <a:gd name="connsiteX25" fmla="*/ 375785 w 2560543"/>
                <a:gd name="connsiteY25" fmla="*/ 85277 h 1061549"/>
                <a:gd name="connsiteX26" fmla="*/ 375785 w 2560543"/>
                <a:gd name="connsiteY26" fmla="*/ 90686 h 1061549"/>
                <a:gd name="connsiteX27" fmla="*/ 382576 w 2560543"/>
                <a:gd name="connsiteY27" fmla="*/ 90686 h 1061549"/>
                <a:gd name="connsiteX28" fmla="*/ 382576 w 2560543"/>
                <a:gd name="connsiteY28" fmla="*/ 109977 h 1061549"/>
                <a:gd name="connsiteX29" fmla="*/ 409319 w 2560543"/>
                <a:gd name="connsiteY29" fmla="*/ 109977 h 1061549"/>
                <a:gd name="connsiteX30" fmla="*/ 409319 w 2560543"/>
                <a:gd name="connsiteY30" fmla="*/ 116528 h 1061549"/>
                <a:gd name="connsiteX31" fmla="*/ 426627 w 2560543"/>
                <a:gd name="connsiteY31" fmla="*/ 116528 h 1061549"/>
                <a:gd name="connsiteX32" fmla="*/ 426627 w 2560543"/>
                <a:gd name="connsiteY32" fmla="*/ 121636 h 1061549"/>
                <a:gd name="connsiteX33" fmla="*/ 436603 w 2560543"/>
                <a:gd name="connsiteY33" fmla="*/ 121636 h 1061549"/>
                <a:gd name="connsiteX34" fmla="*/ 436603 w 2560543"/>
                <a:gd name="connsiteY34" fmla="*/ 127345 h 1061549"/>
                <a:gd name="connsiteX35" fmla="*/ 455353 w 2560543"/>
                <a:gd name="connsiteY35" fmla="*/ 127345 h 1061549"/>
                <a:gd name="connsiteX36" fmla="*/ 455353 w 2560543"/>
                <a:gd name="connsiteY36" fmla="*/ 132754 h 1061549"/>
                <a:gd name="connsiteX37" fmla="*/ 462986 w 2560543"/>
                <a:gd name="connsiteY37" fmla="*/ 132754 h 1061549"/>
                <a:gd name="connsiteX38" fmla="*/ 462986 w 2560543"/>
                <a:gd name="connsiteY38" fmla="*/ 138703 h 1061549"/>
                <a:gd name="connsiteX39" fmla="*/ 469837 w 2560543"/>
                <a:gd name="connsiteY39" fmla="*/ 138703 h 1061549"/>
                <a:gd name="connsiteX40" fmla="*/ 469837 w 2560543"/>
                <a:gd name="connsiteY40" fmla="*/ 144953 h 1061549"/>
                <a:gd name="connsiteX41" fmla="*/ 484320 w 2560543"/>
                <a:gd name="connsiteY41" fmla="*/ 144953 h 1061549"/>
                <a:gd name="connsiteX42" fmla="*/ 484320 w 2560543"/>
                <a:gd name="connsiteY42" fmla="*/ 151504 h 1061549"/>
                <a:gd name="connsiteX43" fmla="*/ 492313 w 2560543"/>
                <a:gd name="connsiteY43" fmla="*/ 151504 h 1061549"/>
                <a:gd name="connsiteX44" fmla="*/ 492313 w 2560543"/>
                <a:gd name="connsiteY44" fmla="*/ 158595 h 1061549"/>
                <a:gd name="connsiteX45" fmla="*/ 507938 w 2560543"/>
                <a:gd name="connsiteY45" fmla="*/ 158595 h 1061549"/>
                <a:gd name="connsiteX46" fmla="*/ 507938 w 2560543"/>
                <a:gd name="connsiteY46" fmla="*/ 164245 h 1061549"/>
                <a:gd name="connsiteX47" fmla="*/ 538047 w 2560543"/>
                <a:gd name="connsiteY47" fmla="*/ 164245 h 1061549"/>
                <a:gd name="connsiteX48" fmla="*/ 538047 w 2560543"/>
                <a:gd name="connsiteY48" fmla="*/ 169112 h 1061549"/>
                <a:gd name="connsiteX49" fmla="*/ 575547 w 2560543"/>
                <a:gd name="connsiteY49" fmla="*/ 169112 h 1061549"/>
                <a:gd name="connsiteX50" fmla="*/ 575547 w 2560543"/>
                <a:gd name="connsiteY50" fmla="*/ 175903 h 1061549"/>
                <a:gd name="connsiteX51" fmla="*/ 581557 w 2560543"/>
                <a:gd name="connsiteY51" fmla="*/ 175903 h 1061549"/>
                <a:gd name="connsiteX52" fmla="*/ 581557 w 2560543"/>
                <a:gd name="connsiteY52" fmla="*/ 181072 h 1061549"/>
                <a:gd name="connsiteX53" fmla="*/ 643516 w 2560543"/>
                <a:gd name="connsiteY53" fmla="*/ 181072 h 1061549"/>
                <a:gd name="connsiteX54" fmla="*/ 643516 w 2560543"/>
                <a:gd name="connsiteY54" fmla="*/ 204630 h 1061549"/>
                <a:gd name="connsiteX55" fmla="*/ 663108 w 2560543"/>
                <a:gd name="connsiteY55" fmla="*/ 204630 h 1061549"/>
                <a:gd name="connsiteX56" fmla="*/ 663108 w 2560543"/>
                <a:gd name="connsiteY56" fmla="*/ 210339 h 1061549"/>
                <a:gd name="connsiteX57" fmla="*/ 670800 w 2560543"/>
                <a:gd name="connsiteY57" fmla="*/ 210339 h 1061549"/>
                <a:gd name="connsiteX58" fmla="*/ 670800 w 2560543"/>
                <a:gd name="connsiteY58" fmla="*/ 217130 h 1061549"/>
                <a:gd name="connsiteX59" fmla="*/ 708000 w 2560543"/>
                <a:gd name="connsiteY59" fmla="*/ 217130 h 1061549"/>
                <a:gd name="connsiteX60" fmla="*/ 708000 w 2560543"/>
                <a:gd name="connsiteY60" fmla="*/ 229630 h 1061549"/>
                <a:gd name="connsiteX61" fmla="*/ 739551 w 2560543"/>
                <a:gd name="connsiteY61" fmla="*/ 229630 h 1061549"/>
                <a:gd name="connsiteX62" fmla="*/ 739551 w 2560543"/>
                <a:gd name="connsiteY62" fmla="*/ 238464 h 1061549"/>
                <a:gd name="connsiteX63" fmla="*/ 765152 w 2560543"/>
                <a:gd name="connsiteY63" fmla="*/ 238464 h 1061549"/>
                <a:gd name="connsiteX64" fmla="*/ 765152 w 2560543"/>
                <a:gd name="connsiteY64" fmla="*/ 249822 h 1061549"/>
                <a:gd name="connsiteX65" fmla="*/ 785886 w 2560543"/>
                <a:gd name="connsiteY65" fmla="*/ 249822 h 1061549"/>
                <a:gd name="connsiteX66" fmla="*/ 785886 w 2560543"/>
                <a:gd name="connsiteY66" fmla="*/ 264005 h 1061549"/>
                <a:gd name="connsiteX67" fmla="*/ 801210 w 2560543"/>
                <a:gd name="connsiteY67" fmla="*/ 264005 h 1061549"/>
                <a:gd name="connsiteX68" fmla="*/ 801210 w 2560543"/>
                <a:gd name="connsiteY68" fmla="*/ 274823 h 1061549"/>
                <a:gd name="connsiteX69" fmla="*/ 811186 w 2560543"/>
                <a:gd name="connsiteY69" fmla="*/ 274823 h 1061549"/>
                <a:gd name="connsiteX70" fmla="*/ 811186 w 2560543"/>
                <a:gd name="connsiteY70" fmla="*/ 291890 h 1061549"/>
                <a:gd name="connsiteX71" fmla="*/ 830778 w 2560543"/>
                <a:gd name="connsiteY71" fmla="*/ 291890 h 1061549"/>
                <a:gd name="connsiteX72" fmla="*/ 830778 w 2560543"/>
                <a:gd name="connsiteY72" fmla="*/ 308357 h 1061549"/>
                <a:gd name="connsiteX73" fmla="*/ 887329 w 2560543"/>
                <a:gd name="connsiteY73" fmla="*/ 308357 h 1061549"/>
                <a:gd name="connsiteX74" fmla="*/ 887329 w 2560543"/>
                <a:gd name="connsiteY74" fmla="*/ 315208 h 1061549"/>
                <a:gd name="connsiteX75" fmla="*/ 895562 w 2560543"/>
                <a:gd name="connsiteY75" fmla="*/ 315208 h 1061549"/>
                <a:gd name="connsiteX76" fmla="*/ 895562 w 2560543"/>
                <a:gd name="connsiteY76" fmla="*/ 323441 h 1061549"/>
                <a:gd name="connsiteX77" fmla="*/ 906680 w 2560543"/>
                <a:gd name="connsiteY77" fmla="*/ 323441 h 1061549"/>
                <a:gd name="connsiteX78" fmla="*/ 906680 w 2560543"/>
                <a:gd name="connsiteY78" fmla="*/ 334499 h 1061549"/>
                <a:gd name="connsiteX79" fmla="*/ 915755 w 2560543"/>
                <a:gd name="connsiteY79" fmla="*/ 334499 h 1061549"/>
                <a:gd name="connsiteX80" fmla="*/ 915755 w 2560543"/>
                <a:gd name="connsiteY80" fmla="*/ 344475 h 1061549"/>
                <a:gd name="connsiteX81" fmla="*/ 924589 w 2560543"/>
                <a:gd name="connsiteY81" fmla="*/ 344475 h 1061549"/>
                <a:gd name="connsiteX82" fmla="*/ 924589 w 2560543"/>
                <a:gd name="connsiteY82" fmla="*/ 354691 h 1061549"/>
                <a:gd name="connsiteX83" fmla="*/ 930839 w 2560543"/>
                <a:gd name="connsiteY83" fmla="*/ 354691 h 1061549"/>
                <a:gd name="connsiteX84" fmla="*/ 930839 w 2560543"/>
                <a:gd name="connsiteY84" fmla="*/ 361783 h 1061549"/>
                <a:gd name="connsiteX85" fmla="*/ 936789 w 2560543"/>
                <a:gd name="connsiteY85" fmla="*/ 361783 h 1061549"/>
                <a:gd name="connsiteX86" fmla="*/ 936789 w 2560543"/>
                <a:gd name="connsiteY86" fmla="*/ 367191 h 1061549"/>
                <a:gd name="connsiteX87" fmla="*/ 954998 w 2560543"/>
                <a:gd name="connsiteY87" fmla="*/ 367191 h 1061549"/>
                <a:gd name="connsiteX88" fmla="*/ 954998 w 2560543"/>
                <a:gd name="connsiteY88" fmla="*/ 372600 h 1061549"/>
                <a:gd name="connsiteX89" fmla="*/ 964073 w 2560543"/>
                <a:gd name="connsiteY89" fmla="*/ 372600 h 1061549"/>
                <a:gd name="connsiteX90" fmla="*/ 964073 w 2560543"/>
                <a:gd name="connsiteY90" fmla="*/ 378850 h 1061549"/>
                <a:gd name="connsiteX91" fmla="*/ 1002474 w 2560543"/>
                <a:gd name="connsiteY91" fmla="*/ 378850 h 1061549"/>
                <a:gd name="connsiteX92" fmla="*/ 1002474 w 2560543"/>
                <a:gd name="connsiteY92" fmla="*/ 383958 h 1061549"/>
                <a:gd name="connsiteX93" fmla="*/ 1039374 w 2560543"/>
                <a:gd name="connsiteY93" fmla="*/ 383958 h 1061549"/>
                <a:gd name="connsiteX94" fmla="*/ 1039374 w 2560543"/>
                <a:gd name="connsiteY94" fmla="*/ 398442 h 1061549"/>
                <a:gd name="connsiteX95" fmla="*/ 1057583 w 2560543"/>
                <a:gd name="connsiteY95" fmla="*/ 398442 h 1061549"/>
                <a:gd name="connsiteX96" fmla="*/ 1057583 w 2560543"/>
                <a:gd name="connsiteY96" fmla="*/ 403009 h 1061549"/>
                <a:gd name="connsiteX97" fmla="*/ 1066117 w 2560543"/>
                <a:gd name="connsiteY97" fmla="*/ 403009 h 1061549"/>
                <a:gd name="connsiteX98" fmla="*/ 1066117 w 2560543"/>
                <a:gd name="connsiteY98" fmla="*/ 411843 h 1061549"/>
                <a:gd name="connsiteX99" fmla="*/ 1110769 w 2560543"/>
                <a:gd name="connsiteY99" fmla="*/ 411843 h 1061549"/>
                <a:gd name="connsiteX100" fmla="*/ 1110769 w 2560543"/>
                <a:gd name="connsiteY100" fmla="*/ 422060 h 1061549"/>
                <a:gd name="connsiteX101" fmla="*/ 1157344 w 2560543"/>
                <a:gd name="connsiteY101" fmla="*/ 422060 h 1061549"/>
                <a:gd name="connsiteX102" fmla="*/ 1157344 w 2560543"/>
                <a:gd name="connsiteY102" fmla="*/ 431735 h 1061549"/>
                <a:gd name="connsiteX103" fmla="*/ 1182645 w 2560543"/>
                <a:gd name="connsiteY103" fmla="*/ 431735 h 1061549"/>
                <a:gd name="connsiteX104" fmla="*/ 1182645 w 2560543"/>
                <a:gd name="connsiteY104" fmla="*/ 437144 h 1061549"/>
                <a:gd name="connsiteX105" fmla="*/ 1188053 w 2560543"/>
                <a:gd name="connsiteY105" fmla="*/ 437144 h 1061549"/>
                <a:gd name="connsiteX106" fmla="*/ 1188053 w 2560543"/>
                <a:gd name="connsiteY106" fmla="*/ 442252 h 1061549"/>
                <a:gd name="connsiteX107" fmla="*/ 1195746 w 2560543"/>
                <a:gd name="connsiteY107" fmla="*/ 442252 h 1061549"/>
                <a:gd name="connsiteX108" fmla="*/ 1195746 w 2560543"/>
                <a:gd name="connsiteY108" fmla="*/ 447901 h 1061549"/>
                <a:gd name="connsiteX109" fmla="*/ 1248871 w 2560543"/>
                <a:gd name="connsiteY109" fmla="*/ 447901 h 1061549"/>
                <a:gd name="connsiteX110" fmla="*/ 1248871 w 2560543"/>
                <a:gd name="connsiteY110" fmla="*/ 455053 h 1061549"/>
                <a:gd name="connsiteX111" fmla="*/ 1261912 w 2560543"/>
                <a:gd name="connsiteY111" fmla="*/ 455053 h 1061549"/>
                <a:gd name="connsiteX112" fmla="*/ 1261912 w 2560543"/>
                <a:gd name="connsiteY112" fmla="*/ 461303 h 1061549"/>
                <a:gd name="connsiteX113" fmla="*/ 1272730 w 2560543"/>
                <a:gd name="connsiteY113" fmla="*/ 461303 h 1061549"/>
                <a:gd name="connsiteX114" fmla="*/ 1272730 w 2560543"/>
                <a:gd name="connsiteY114" fmla="*/ 467553 h 1061549"/>
                <a:gd name="connsiteX115" fmla="*/ 1280422 w 2560543"/>
                <a:gd name="connsiteY115" fmla="*/ 467553 h 1061549"/>
                <a:gd name="connsiteX116" fmla="*/ 1280422 w 2560543"/>
                <a:gd name="connsiteY116" fmla="*/ 473803 h 1061549"/>
                <a:gd name="connsiteX117" fmla="*/ 1287514 w 2560543"/>
                <a:gd name="connsiteY117" fmla="*/ 473803 h 1061549"/>
                <a:gd name="connsiteX118" fmla="*/ 1287514 w 2560543"/>
                <a:gd name="connsiteY118" fmla="*/ 479452 h 1061549"/>
                <a:gd name="connsiteX119" fmla="*/ 1293463 w 2560543"/>
                <a:gd name="connsiteY119" fmla="*/ 479452 h 1061549"/>
                <a:gd name="connsiteX120" fmla="*/ 1293463 w 2560543"/>
                <a:gd name="connsiteY120" fmla="*/ 492553 h 1061549"/>
                <a:gd name="connsiteX121" fmla="*/ 1315098 w 2560543"/>
                <a:gd name="connsiteY121" fmla="*/ 492553 h 1061549"/>
                <a:gd name="connsiteX122" fmla="*/ 1315098 w 2560543"/>
                <a:gd name="connsiteY122" fmla="*/ 501327 h 1061549"/>
                <a:gd name="connsiteX123" fmla="*/ 1320747 w 2560543"/>
                <a:gd name="connsiteY123" fmla="*/ 501327 h 1061549"/>
                <a:gd name="connsiteX124" fmla="*/ 1320747 w 2560543"/>
                <a:gd name="connsiteY124" fmla="*/ 511604 h 1061549"/>
                <a:gd name="connsiteX125" fmla="*/ 1333307 w 2560543"/>
                <a:gd name="connsiteY125" fmla="*/ 511604 h 1061549"/>
                <a:gd name="connsiteX126" fmla="*/ 1333307 w 2560543"/>
                <a:gd name="connsiteY126" fmla="*/ 524104 h 1061549"/>
                <a:gd name="connsiteX127" fmla="*/ 1340639 w 2560543"/>
                <a:gd name="connsiteY127" fmla="*/ 524104 h 1061549"/>
                <a:gd name="connsiteX128" fmla="*/ 1340639 w 2560543"/>
                <a:gd name="connsiteY128" fmla="*/ 536905 h 1061549"/>
                <a:gd name="connsiteX129" fmla="*/ 1358307 w 2560543"/>
                <a:gd name="connsiteY129" fmla="*/ 536905 h 1061549"/>
                <a:gd name="connsiteX130" fmla="*/ 1358307 w 2560543"/>
                <a:gd name="connsiteY130" fmla="*/ 546280 h 1061549"/>
                <a:gd name="connsiteX131" fmla="*/ 1401517 w 2560543"/>
                <a:gd name="connsiteY131" fmla="*/ 546280 h 1061549"/>
                <a:gd name="connsiteX132" fmla="*/ 1401517 w 2560543"/>
                <a:gd name="connsiteY132" fmla="*/ 552770 h 1061549"/>
                <a:gd name="connsiteX133" fmla="*/ 1412034 w 2560543"/>
                <a:gd name="connsiteY133" fmla="*/ 552770 h 1061549"/>
                <a:gd name="connsiteX134" fmla="*/ 1412034 w 2560543"/>
                <a:gd name="connsiteY134" fmla="*/ 557638 h 1061549"/>
                <a:gd name="connsiteX135" fmla="*/ 1420267 w 2560543"/>
                <a:gd name="connsiteY135" fmla="*/ 557638 h 1061549"/>
                <a:gd name="connsiteX136" fmla="*/ 1420267 w 2560543"/>
                <a:gd name="connsiteY136" fmla="*/ 563588 h 1061549"/>
                <a:gd name="connsiteX137" fmla="*/ 1425916 w 2560543"/>
                <a:gd name="connsiteY137" fmla="*/ 563588 h 1061549"/>
                <a:gd name="connsiteX138" fmla="*/ 1425916 w 2560543"/>
                <a:gd name="connsiteY138" fmla="*/ 569838 h 1061549"/>
                <a:gd name="connsiteX139" fmla="*/ 1448393 w 2560543"/>
                <a:gd name="connsiteY139" fmla="*/ 569838 h 1061549"/>
                <a:gd name="connsiteX140" fmla="*/ 1448393 w 2560543"/>
                <a:gd name="connsiteY140" fmla="*/ 582097 h 1061549"/>
                <a:gd name="connsiteX141" fmla="*/ 1453200 w 2560543"/>
                <a:gd name="connsiteY141" fmla="*/ 582097 h 1061549"/>
                <a:gd name="connsiteX142" fmla="*/ 1453200 w 2560543"/>
                <a:gd name="connsiteY142" fmla="*/ 590571 h 1061549"/>
                <a:gd name="connsiteX143" fmla="*/ 1464318 w 2560543"/>
                <a:gd name="connsiteY143" fmla="*/ 590571 h 1061549"/>
                <a:gd name="connsiteX144" fmla="*/ 1464318 w 2560543"/>
                <a:gd name="connsiteY144" fmla="*/ 596280 h 1061549"/>
                <a:gd name="connsiteX145" fmla="*/ 1473093 w 2560543"/>
                <a:gd name="connsiteY145" fmla="*/ 596280 h 1061549"/>
                <a:gd name="connsiteX146" fmla="*/ 1473093 w 2560543"/>
                <a:gd name="connsiteY146" fmla="*/ 602530 h 1061549"/>
                <a:gd name="connsiteX147" fmla="*/ 1486734 w 2560543"/>
                <a:gd name="connsiteY147" fmla="*/ 602530 h 1061549"/>
                <a:gd name="connsiteX148" fmla="*/ 1486734 w 2560543"/>
                <a:gd name="connsiteY148" fmla="*/ 609381 h 1061549"/>
                <a:gd name="connsiteX149" fmla="*/ 1498994 w 2560543"/>
                <a:gd name="connsiteY149" fmla="*/ 609381 h 1061549"/>
                <a:gd name="connsiteX150" fmla="*/ 1498994 w 2560543"/>
                <a:gd name="connsiteY150" fmla="*/ 625848 h 1061549"/>
                <a:gd name="connsiteX151" fmla="*/ 1511494 w 2560543"/>
                <a:gd name="connsiteY151" fmla="*/ 625848 h 1061549"/>
                <a:gd name="connsiteX152" fmla="*/ 1511494 w 2560543"/>
                <a:gd name="connsiteY152" fmla="*/ 638889 h 1061549"/>
                <a:gd name="connsiteX153" fmla="*/ 1524535 w 2560543"/>
                <a:gd name="connsiteY153" fmla="*/ 638889 h 1061549"/>
                <a:gd name="connsiteX154" fmla="*/ 1524535 w 2560543"/>
                <a:gd name="connsiteY154" fmla="*/ 647423 h 1061549"/>
                <a:gd name="connsiteX155" fmla="*/ 1530245 w 2560543"/>
                <a:gd name="connsiteY155" fmla="*/ 647423 h 1061549"/>
                <a:gd name="connsiteX156" fmla="*/ 1530245 w 2560543"/>
                <a:gd name="connsiteY156" fmla="*/ 655415 h 1061549"/>
                <a:gd name="connsiteX157" fmla="*/ 1571711 w 2560543"/>
                <a:gd name="connsiteY157" fmla="*/ 655415 h 1061549"/>
                <a:gd name="connsiteX158" fmla="*/ 1571711 w 2560543"/>
                <a:gd name="connsiteY158" fmla="*/ 665932 h 1061549"/>
                <a:gd name="connsiteX159" fmla="*/ 1587937 w 2560543"/>
                <a:gd name="connsiteY159" fmla="*/ 665932 h 1061549"/>
                <a:gd name="connsiteX160" fmla="*/ 1587937 w 2560543"/>
                <a:gd name="connsiteY160" fmla="*/ 672723 h 1061549"/>
                <a:gd name="connsiteX161" fmla="*/ 1620029 w 2560543"/>
                <a:gd name="connsiteY161" fmla="*/ 672723 h 1061549"/>
                <a:gd name="connsiteX162" fmla="*/ 1620029 w 2560543"/>
                <a:gd name="connsiteY162" fmla="*/ 679274 h 1061549"/>
                <a:gd name="connsiteX163" fmla="*/ 1625197 w 2560543"/>
                <a:gd name="connsiteY163" fmla="*/ 679274 h 1061549"/>
                <a:gd name="connsiteX164" fmla="*/ 1625197 w 2560543"/>
                <a:gd name="connsiteY164" fmla="*/ 686666 h 1061549"/>
                <a:gd name="connsiteX165" fmla="*/ 1632289 w 2560543"/>
                <a:gd name="connsiteY165" fmla="*/ 686666 h 1061549"/>
                <a:gd name="connsiteX166" fmla="*/ 1632289 w 2560543"/>
                <a:gd name="connsiteY166" fmla="*/ 694599 h 1061549"/>
                <a:gd name="connsiteX167" fmla="*/ 1640522 w 2560543"/>
                <a:gd name="connsiteY167" fmla="*/ 694599 h 1061549"/>
                <a:gd name="connsiteX168" fmla="*/ 1640522 w 2560543"/>
                <a:gd name="connsiteY168" fmla="*/ 700007 h 1061549"/>
                <a:gd name="connsiteX169" fmla="*/ 1650198 w 2560543"/>
                <a:gd name="connsiteY169" fmla="*/ 700007 h 1061549"/>
                <a:gd name="connsiteX170" fmla="*/ 1650198 w 2560543"/>
                <a:gd name="connsiteY170" fmla="*/ 706858 h 1061549"/>
                <a:gd name="connsiteX171" fmla="*/ 1676881 w 2560543"/>
                <a:gd name="connsiteY171" fmla="*/ 706858 h 1061549"/>
                <a:gd name="connsiteX172" fmla="*/ 1676881 w 2560543"/>
                <a:gd name="connsiteY172" fmla="*/ 713649 h 1061549"/>
                <a:gd name="connsiteX173" fmla="*/ 1681448 w 2560543"/>
                <a:gd name="connsiteY173" fmla="*/ 713649 h 1061549"/>
                <a:gd name="connsiteX174" fmla="*/ 1681448 w 2560543"/>
                <a:gd name="connsiteY174" fmla="*/ 724767 h 1061549"/>
                <a:gd name="connsiteX175" fmla="*/ 1688239 w 2560543"/>
                <a:gd name="connsiteY175" fmla="*/ 724767 h 1061549"/>
                <a:gd name="connsiteX176" fmla="*/ 1688239 w 2560543"/>
                <a:gd name="connsiteY176" fmla="*/ 734383 h 1061549"/>
                <a:gd name="connsiteX177" fmla="*/ 1693107 w 2560543"/>
                <a:gd name="connsiteY177" fmla="*/ 734383 h 1061549"/>
                <a:gd name="connsiteX178" fmla="*/ 1693107 w 2560543"/>
                <a:gd name="connsiteY178" fmla="*/ 742376 h 1061549"/>
                <a:gd name="connsiteX179" fmla="*/ 1710415 w 2560543"/>
                <a:gd name="connsiteY179" fmla="*/ 742376 h 1061549"/>
                <a:gd name="connsiteX180" fmla="*/ 1710415 w 2560543"/>
                <a:gd name="connsiteY180" fmla="*/ 748626 h 1061549"/>
                <a:gd name="connsiteX181" fmla="*/ 1733191 w 2560543"/>
                <a:gd name="connsiteY181" fmla="*/ 748626 h 1061549"/>
                <a:gd name="connsiteX182" fmla="*/ 1733191 w 2560543"/>
                <a:gd name="connsiteY182" fmla="*/ 758001 h 1061549"/>
                <a:gd name="connsiteX183" fmla="*/ 1751941 w 2560543"/>
                <a:gd name="connsiteY183" fmla="*/ 758001 h 1061549"/>
                <a:gd name="connsiteX184" fmla="*/ 1751941 w 2560543"/>
                <a:gd name="connsiteY184" fmla="*/ 763409 h 1061549"/>
                <a:gd name="connsiteX185" fmla="*/ 1765884 w 2560543"/>
                <a:gd name="connsiteY185" fmla="*/ 763409 h 1061549"/>
                <a:gd name="connsiteX186" fmla="*/ 1765884 w 2560543"/>
                <a:gd name="connsiteY186" fmla="*/ 768217 h 1061549"/>
                <a:gd name="connsiteX187" fmla="*/ 1787459 w 2560543"/>
                <a:gd name="connsiteY187" fmla="*/ 768217 h 1061549"/>
                <a:gd name="connsiteX188" fmla="*/ 1787459 w 2560543"/>
                <a:gd name="connsiteY188" fmla="*/ 776450 h 1061549"/>
                <a:gd name="connsiteX189" fmla="*/ 1819550 w 2560543"/>
                <a:gd name="connsiteY189" fmla="*/ 776450 h 1061549"/>
                <a:gd name="connsiteX190" fmla="*/ 1819550 w 2560543"/>
                <a:gd name="connsiteY190" fmla="*/ 785825 h 1061549"/>
                <a:gd name="connsiteX191" fmla="*/ 1826702 w 2560543"/>
                <a:gd name="connsiteY191" fmla="*/ 785825 h 1061549"/>
                <a:gd name="connsiteX192" fmla="*/ 1826702 w 2560543"/>
                <a:gd name="connsiteY192" fmla="*/ 803193 h 1061549"/>
                <a:gd name="connsiteX193" fmla="*/ 1838601 w 2560543"/>
                <a:gd name="connsiteY193" fmla="*/ 803193 h 1061549"/>
                <a:gd name="connsiteX194" fmla="*/ 1838601 w 2560543"/>
                <a:gd name="connsiteY194" fmla="*/ 808903 h 1061549"/>
                <a:gd name="connsiteX195" fmla="*/ 1848577 w 2560543"/>
                <a:gd name="connsiteY195" fmla="*/ 808903 h 1061549"/>
                <a:gd name="connsiteX196" fmla="*/ 1848577 w 2560543"/>
                <a:gd name="connsiteY196" fmla="*/ 815393 h 1061549"/>
                <a:gd name="connsiteX197" fmla="*/ 1875020 w 2560543"/>
                <a:gd name="connsiteY197" fmla="*/ 815393 h 1061549"/>
                <a:gd name="connsiteX198" fmla="*/ 1875020 w 2560543"/>
                <a:gd name="connsiteY198" fmla="*/ 822545 h 1061549"/>
                <a:gd name="connsiteX199" fmla="*/ 1883794 w 2560543"/>
                <a:gd name="connsiteY199" fmla="*/ 822545 h 1061549"/>
                <a:gd name="connsiteX200" fmla="*/ 1883794 w 2560543"/>
                <a:gd name="connsiteY200" fmla="*/ 827653 h 1061549"/>
                <a:gd name="connsiteX201" fmla="*/ 1890885 w 2560543"/>
                <a:gd name="connsiteY201" fmla="*/ 827653 h 1061549"/>
                <a:gd name="connsiteX202" fmla="*/ 1890885 w 2560543"/>
                <a:gd name="connsiteY202" fmla="*/ 841535 h 1061549"/>
                <a:gd name="connsiteX203" fmla="*/ 1905429 w 2560543"/>
                <a:gd name="connsiteY203" fmla="*/ 841535 h 1061549"/>
                <a:gd name="connsiteX204" fmla="*/ 1905429 w 2560543"/>
                <a:gd name="connsiteY204" fmla="*/ 860586 h 1061549"/>
                <a:gd name="connsiteX205" fmla="*/ 1927845 w 2560543"/>
                <a:gd name="connsiteY205" fmla="*/ 860586 h 1061549"/>
                <a:gd name="connsiteX206" fmla="*/ 1927845 w 2560543"/>
                <a:gd name="connsiteY206" fmla="*/ 879336 h 1061549"/>
                <a:gd name="connsiteX207" fmla="*/ 1947196 w 2560543"/>
                <a:gd name="connsiteY207" fmla="*/ 879336 h 1061549"/>
                <a:gd name="connsiteX208" fmla="*/ 1947196 w 2560543"/>
                <a:gd name="connsiteY208" fmla="*/ 885887 h 1061549"/>
                <a:gd name="connsiteX209" fmla="*/ 2002305 w 2560543"/>
                <a:gd name="connsiteY209" fmla="*/ 885887 h 1061549"/>
                <a:gd name="connsiteX210" fmla="*/ 2002305 w 2560543"/>
                <a:gd name="connsiteY210" fmla="*/ 903255 h 1061549"/>
                <a:gd name="connsiteX211" fmla="*/ 2025081 w 2560543"/>
                <a:gd name="connsiteY211" fmla="*/ 903255 h 1061549"/>
                <a:gd name="connsiteX212" fmla="*/ 2025081 w 2560543"/>
                <a:gd name="connsiteY212" fmla="*/ 912329 h 1061549"/>
                <a:gd name="connsiteX213" fmla="*/ 2033315 w 2560543"/>
                <a:gd name="connsiteY213" fmla="*/ 912329 h 1061549"/>
                <a:gd name="connsiteX214" fmla="*/ 2033315 w 2560543"/>
                <a:gd name="connsiteY214" fmla="*/ 921704 h 1061549"/>
                <a:gd name="connsiteX215" fmla="*/ 2052065 w 2560543"/>
                <a:gd name="connsiteY215" fmla="*/ 921704 h 1061549"/>
                <a:gd name="connsiteX216" fmla="*/ 2052065 w 2560543"/>
                <a:gd name="connsiteY216" fmla="*/ 943880 h 1061549"/>
                <a:gd name="connsiteX217" fmla="*/ 2081031 w 2560543"/>
                <a:gd name="connsiteY217" fmla="*/ 943880 h 1061549"/>
                <a:gd name="connsiteX218" fmla="*/ 2081031 w 2560543"/>
                <a:gd name="connsiteY218" fmla="*/ 952414 h 1061549"/>
                <a:gd name="connsiteX219" fmla="*/ 2110900 w 2560543"/>
                <a:gd name="connsiteY219" fmla="*/ 952414 h 1061549"/>
                <a:gd name="connsiteX220" fmla="*/ 2110900 w 2560543"/>
                <a:gd name="connsiteY220" fmla="*/ 964914 h 1061549"/>
                <a:gd name="connsiteX221" fmla="*/ 2122559 w 2560543"/>
                <a:gd name="connsiteY221" fmla="*/ 964914 h 1061549"/>
                <a:gd name="connsiteX222" fmla="*/ 2122559 w 2560543"/>
                <a:gd name="connsiteY222" fmla="*/ 981080 h 1061549"/>
                <a:gd name="connsiteX223" fmla="*/ 2243894 w 2560543"/>
                <a:gd name="connsiteY223" fmla="*/ 981080 h 1061549"/>
                <a:gd name="connsiteX224" fmla="*/ 2243894 w 2560543"/>
                <a:gd name="connsiteY224" fmla="*/ 1000131 h 1061549"/>
                <a:gd name="connsiteX225" fmla="*/ 2300745 w 2560543"/>
                <a:gd name="connsiteY225" fmla="*/ 1000131 h 1061549"/>
                <a:gd name="connsiteX226" fmla="*/ 2300745 w 2560543"/>
                <a:gd name="connsiteY226" fmla="*/ 1013232 h 1061549"/>
                <a:gd name="connsiteX227" fmla="*/ 2306154 w 2560543"/>
                <a:gd name="connsiteY227" fmla="*/ 1013232 h 1061549"/>
                <a:gd name="connsiteX228" fmla="*/ 2306154 w 2560543"/>
                <a:gd name="connsiteY228" fmla="*/ 1024590 h 1061549"/>
                <a:gd name="connsiteX229" fmla="*/ 2336263 w 2560543"/>
                <a:gd name="connsiteY229" fmla="*/ 1024590 h 1061549"/>
                <a:gd name="connsiteX230" fmla="*/ 2336263 w 2560543"/>
                <a:gd name="connsiteY230" fmla="*/ 1061549 h 1061549"/>
                <a:gd name="connsiteX231" fmla="*/ 2467874 w 2560543"/>
                <a:gd name="connsiteY231" fmla="*/ 1061549 h 1061549"/>
                <a:gd name="connsiteX232" fmla="*/ 2560544 w 2560543"/>
                <a:gd name="connsiteY232" fmla="*/ 1061549 h 106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560543" h="1061549">
                  <a:moveTo>
                    <a:pt x="0" y="0"/>
                  </a:moveTo>
                  <a:lnTo>
                    <a:pt x="85277" y="0"/>
                  </a:lnTo>
                  <a:lnTo>
                    <a:pt x="85277" y="5108"/>
                  </a:lnTo>
                  <a:lnTo>
                    <a:pt x="156913" y="5108"/>
                  </a:lnTo>
                  <a:lnTo>
                    <a:pt x="156913" y="11959"/>
                  </a:lnTo>
                  <a:lnTo>
                    <a:pt x="193872" y="11959"/>
                  </a:lnTo>
                  <a:lnTo>
                    <a:pt x="193872" y="18209"/>
                  </a:lnTo>
                  <a:lnTo>
                    <a:pt x="214065" y="18209"/>
                  </a:lnTo>
                  <a:lnTo>
                    <a:pt x="214065" y="23318"/>
                  </a:lnTo>
                  <a:lnTo>
                    <a:pt x="256373" y="23318"/>
                  </a:lnTo>
                  <a:lnTo>
                    <a:pt x="256373" y="30108"/>
                  </a:lnTo>
                  <a:lnTo>
                    <a:pt x="299883" y="30108"/>
                  </a:lnTo>
                  <a:lnTo>
                    <a:pt x="299883" y="35517"/>
                  </a:lnTo>
                  <a:lnTo>
                    <a:pt x="304450" y="35517"/>
                  </a:lnTo>
                  <a:lnTo>
                    <a:pt x="304450" y="47717"/>
                  </a:lnTo>
                  <a:lnTo>
                    <a:pt x="314366" y="47717"/>
                  </a:lnTo>
                  <a:lnTo>
                    <a:pt x="314366" y="58534"/>
                  </a:lnTo>
                  <a:lnTo>
                    <a:pt x="321458" y="58534"/>
                  </a:lnTo>
                  <a:lnTo>
                    <a:pt x="321458" y="64544"/>
                  </a:lnTo>
                  <a:lnTo>
                    <a:pt x="339367" y="64544"/>
                  </a:lnTo>
                  <a:lnTo>
                    <a:pt x="339367" y="72477"/>
                  </a:lnTo>
                  <a:lnTo>
                    <a:pt x="351867" y="72477"/>
                  </a:lnTo>
                  <a:lnTo>
                    <a:pt x="351867" y="77044"/>
                  </a:lnTo>
                  <a:lnTo>
                    <a:pt x="365268" y="77044"/>
                  </a:lnTo>
                  <a:lnTo>
                    <a:pt x="365268" y="85277"/>
                  </a:lnTo>
                  <a:lnTo>
                    <a:pt x="375785" y="85277"/>
                  </a:lnTo>
                  <a:lnTo>
                    <a:pt x="375785" y="90686"/>
                  </a:lnTo>
                  <a:lnTo>
                    <a:pt x="382576" y="90686"/>
                  </a:lnTo>
                  <a:lnTo>
                    <a:pt x="382576" y="109977"/>
                  </a:lnTo>
                  <a:lnTo>
                    <a:pt x="409319" y="109977"/>
                  </a:lnTo>
                  <a:lnTo>
                    <a:pt x="409319" y="116528"/>
                  </a:lnTo>
                  <a:lnTo>
                    <a:pt x="426627" y="116528"/>
                  </a:lnTo>
                  <a:lnTo>
                    <a:pt x="426627" y="121636"/>
                  </a:lnTo>
                  <a:lnTo>
                    <a:pt x="436603" y="121636"/>
                  </a:lnTo>
                  <a:lnTo>
                    <a:pt x="436603" y="127345"/>
                  </a:lnTo>
                  <a:lnTo>
                    <a:pt x="455353" y="127345"/>
                  </a:lnTo>
                  <a:lnTo>
                    <a:pt x="455353" y="132754"/>
                  </a:lnTo>
                  <a:lnTo>
                    <a:pt x="462986" y="132754"/>
                  </a:lnTo>
                  <a:lnTo>
                    <a:pt x="462986" y="138703"/>
                  </a:lnTo>
                  <a:lnTo>
                    <a:pt x="469837" y="138703"/>
                  </a:lnTo>
                  <a:lnTo>
                    <a:pt x="469837" y="144953"/>
                  </a:lnTo>
                  <a:lnTo>
                    <a:pt x="484320" y="144953"/>
                  </a:lnTo>
                  <a:lnTo>
                    <a:pt x="484320" y="151504"/>
                  </a:lnTo>
                  <a:lnTo>
                    <a:pt x="492313" y="151504"/>
                  </a:lnTo>
                  <a:lnTo>
                    <a:pt x="492313" y="158595"/>
                  </a:lnTo>
                  <a:lnTo>
                    <a:pt x="507938" y="158595"/>
                  </a:lnTo>
                  <a:lnTo>
                    <a:pt x="507938" y="164245"/>
                  </a:lnTo>
                  <a:lnTo>
                    <a:pt x="538047" y="164245"/>
                  </a:lnTo>
                  <a:lnTo>
                    <a:pt x="538047" y="169112"/>
                  </a:lnTo>
                  <a:lnTo>
                    <a:pt x="575547" y="169112"/>
                  </a:lnTo>
                  <a:lnTo>
                    <a:pt x="575547" y="175903"/>
                  </a:lnTo>
                  <a:lnTo>
                    <a:pt x="581557" y="175903"/>
                  </a:lnTo>
                  <a:lnTo>
                    <a:pt x="581557" y="181072"/>
                  </a:lnTo>
                  <a:lnTo>
                    <a:pt x="643516" y="181072"/>
                  </a:lnTo>
                  <a:lnTo>
                    <a:pt x="643516" y="204630"/>
                  </a:lnTo>
                  <a:lnTo>
                    <a:pt x="663108" y="204630"/>
                  </a:lnTo>
                  <a:lnTo>
                    <a:pt x="663108" y="210339"/>
                  </a:lnTo>
                  <a:lnTo>
                    <a:pt x="670800" y="210339"/>
                  </a:lnTo>
                  <a:lnTo>
                    <a:pt x="670800" y="217130"/>
                  </a:lnTo>
                  <a:lnTo>
                    <a:pt x="708000" y="217130"/>
                  </a:lnTo>
                  <a:lnTo>
                    <a:pt x="708000" y="229630"/>
                  </a:lnTo>
                  <a:lnTo>
                    <a:pt x="739551" y="229630"/>
                  </a:lnTo>
                  <a:lnTo>
                    <a:pt x="739551" y="238464"/>
                  </a:lnTo>
                  <a:lnTo>
                    <a:pt x="765152" y="238464"/>
                  </a:lnTo>
                  <a:lnTo>
                    <a:pt x="765152" y="249822"/>
                  </a:lnTo>
                  <a:lnTo>
                    <a:pt x="785886" y="249822"/>
                  </a:lnTo>
                  <a:lnTo>
                    <a:pt x="785886" y="264005"/>
                  </a:lnTo>
                  <a:lnTo>
                    <a:pt x="801210" y="264005"/>
                  </a:lnTo>
                  <a:lnTo>
                    <a:pt x="801210" y="274823"/>
                  </a:lnTo>
                  <a:lnTo>
                    <a:pt x="811186" y="274823"/>
                  </a:lnTo>
                  <a:lnTo>
                    <a:pt x="811186" y="291890"/>
                  </a:lnTo>
                  <a:lnTo>
                    <a:pt x="830778" y="291890"/>
                  </a:lnTo>
                  <a:lnTo>
                    <a:pt x="830778" y="308357"/>
                  </a:lnTo>
                  <a:lnTo>
                    <a:pt x="887329" y="308357"/>
                  </a:lnTo>
                  <a:lnTo>
                    <a:pt x="887329" y="315208"/>
                  </a:lnTo>
                  <a:lnTo>
                    <a:pt x="895562" y="315208"/>
                  </a:lnTo>
                  <a:lnTo>
                    <a:pt x="895562" y="323441"/>
                  </a:lnTo>
                  <a:lnTo>
                    <a:pt x="906680" y="323441"/>
                  </a:lnTo>
                  <a:lnTo>
                    <a:pt x="906680" y="334499"/>
                  </a:lnTo>
                  <a:lnTo>
                    <a:pt x="915755" y="334499"/>
                  </a:lnTo>
                  <a:lnTo>
                    <a:pt x="915755" y="344475"/>
                  </a:lnTo>
                  <a:lnTo>
                    <a:pt x="924589" y="344475"/>
                  </a:lnTo>
                  <a:lnTo>
                    <a:pt x="924589" y="354691"/>
                  </a:lnTo>
                  <a:lnTo>
                    <a:pt x="930839" y="354691"/>
                  </a:lnTo>
                  <a:lnTo>
                    <a:pt x="930839" y="361783"/>
                  </a:lnTo>
                  <a:lnTo>
                    <a:pt x="936789" y="361783"/>
                  </a:lnTo>
                  <a:lnTo>
                    <a:pt x="936789" y="367191"/>
                  </a:lnTo>
                  <a:lnTo>
                    <a:pt x="954998" y="367191"/>
                  </a:lnTo>
                  <a:lnTo>
                    <a:pt x="954998" y="372600"/>
                  </a:lnTo>
                  <a:lnTo>
                    <a:pt x="964073" y="372600"/>
                  </a:lnTo>
                  <a:lnTo>
                    <a:pt x="964073" y="378850"/>
                  </a:lnTo>
                  <a:lnTo>
                    <a:pt x="1002474" y="378850"/>
                  </a:lnTo>
                  <a:lnTo>
                    <a:pt x="1002474" y="383958"/>
                  </a:lnTo>
                  <a:lnTo>
                    <a:pt x="1039374" y="383958"/>
                  </a:lnTo>
                  <a:lnTo>
                    <a:pt x="1039374" y="398442"/>
                  </a:lnTo>
                  <a:lnTo>
                    <a:pt x="1057583" y="398442"/>
                  </a:lnTo>
                  <a:lnTo>
                    <a:pt x="1057583" y="403009"/>
                  </a:lnTo>
                  <a:lnTo>
                    <a:pt x="1066117" y="403009"/>
                  </a:lnTo>
                  <a:lnTo>
                    <a:pt x="1066117" y="411843"/>
                  </a:lnTo>
                  <a:lnTo>
                    <a:pt x="1110769" y="411843"/>
                  </a:lnTo>
                  <a:lnTo>
                    <a:pt x="1110769" y="422060"/>
                  </a:lnTo>
                  <a:lnTo>
                    <a:pt x="1157344" y="422060"/>
                  </a:lnTo>
                  <a:lnTo>
                    <a:pt x="1157344" y="431735"/>
                  </a:lnTo>
                  <a:lnTo>
                    <a:pt x="1182645" y="431735"/>
                  </a:lnTo>
                  <a:lnTo>
                    <a:pt x="1182645" y="437144"/>
                  </a:lnTo>
                  <a:lnTo>
                    <a:pt x="1188053" y="437144"/>
                  </a:lnTo>
                  <a:lnTo>
                    <a:pt x="1188053" y="442252"/>
                  </a:lnTo>
                  <a:lnTo>
                    <a:pt x="1195746" y="442252"/>
                  </a:lnTo>
                  <a:lnTo>
                    <a:pt x="1195746" y="447901"/>
                  </a:lnTo>
                  <a:lnTo>
                    <a:pt x="1248871" y="447901"/>
                  </a:lnTo>
                  <a:lnTo>
                    <a:pt x="1248871" y="455053"/>
                  </a:lnTo>
                  <a:lnTo>
                    <a:pt x="1261912" y="455053"/>
                  </a:lnTo>
                  <a:lnTo>
                    <a:pt x="1261912" y="461303"/>
                  </a:lnTo>
                  <a:lnTo>
                    <a:pt x="1272730" y="461303"/>
                  </a:lnTo>
                  <a:lnTo>
                    <a:pt x="1272730" y="467553"/>
                  </a:lnTo>
                  <a:lnTo>
                    <a:pt x="1280422" y="467553"/>
                  </a:lnTo>
                  <a:lnTo>
                    <a:pt x="1280422" y="473803"/>
                  </a:lnTo>
                  <a:lnTo>
                    <a:pt x="1287514" y="473803"/>
                  </a:lnTo>
                  <a:lnTo>
                    <a:pt x="1287514" y="479452"/>
                  </a:lnTo>
                  <a:lnTo>
                    <a:pt x="1293463" y="479452"/>
                  </a:lnTo>
                  <a:lnTo>
                    <a:pt x="1293463" y="492553"/>
                  </a:lnTo>
                  <a:lnTo>
                    <a:pt x="1315098" y="492553"/>
                  </a:lnTo>
                  <a:lnTo>
                    <a:pt x="1315098" y="501327"/>
                  </a:lnTo>
                  <a:lnTo>
                    <a:pt x="1320747" y="501327"/>
                  </a:lnTo>
                  <a:lnTo>
                    <a:pt x="1320747" y="511604"/>
                  </a:lnTo>
                  <a:lnTo>
                    <a:pt x="1333307" y="511604"/>
                  </a:lnTo>
                  <a:lnTo>
                    <a:pt x="1333307" y="524104"/>
                  </a:lnTo>
                  <a:lnTo>
                    <a:pt x="1340639" y="524104"/>
                  </a:lnTo>
                  <a:lnTo>
                    <a:pt x="1340639" y="536905"/>
                  </a:lnTo>
                  <a:lnTo>
                    <a:pt x="1358307" y="536905"/>
                  </a:lnTo>
                  <a:lnTo>
                    <a:pt x="1358307" y="546280"/>
                  </a:lnTo>
                  <a:lnTo>
                    <a:pt x="1401517" y="546280"/>
                  </a:lnTo>
                  <a:lnTo>
                    <a:pt x="1401517" y="552770"/>
                  </a:lnTo>
                  <a:lnTo>
                    <a:pt x="1412034" y="552770"/>
                  </a:lnTo>
                  <a:lnTo>
                    <a:pt x="1412034" y="557638"/>
                  </a:lnTo>
                  <a:lnTo>
                    <a:pt x="1420267" y="557638"/>
                  </a:lnTo>
                  <a:lnTo>
                    <a:pt x="1420267" y="563588"/>
                  </a:lnTo>
                  <a:lnTo>
                    <a:pt x="1425916" y="563588"/>
                  </a:lnTo>
                  <a:lnTo>
                    <a:pt x="1425916" y="569838"/>
                  </a:lnTo>
                  <a:lnTo>
                    <a:pt x="1448393" y="569838"/>
                  </a:lnTo>
                  <a:lnTo>
                    <a:pt x="1448393" y="582097"/>
                  </a:lnTo>
                  <a:lnTo>
                    <a:pt x="1453200" y="582097"/>
                  </a:lnTo>
                  <a:lnTo>
                    <a:pt x="1453200" y="590571"/>
                  </a:lnTo>
                  <a:lnTo>
                    <a:pt x="1464318" y="590571"/>
                  </a:lnTo>
                  <a:lnTo>
                    <a:pt x="1464318" y="596280"/>
                  </a:lnTo>
                  <a:lnTo>
                    <a:pt x="1473093" y="596280"/>
                  </a:lnTo>
                  <a:lnTo>
                    <a:pt x="1473093" y="602530"/>
                  </a:lnTo>
                  <a:lnTo>
                    <a:pt x="1486734" y="602530"/>
                  </a:lnTo>
                  <a:lnTo>
                    <a:pt x="1486734" y="609381"/>
                  </a:lnTo>
                  <a:lnTo>
                    <a:pt x="1498994" y="609381"/>
                  </a:lnTo>
                  <a:lnTo>
                    <a:pt x="1498994" y="625848"/>
                  </a:lnTo>
                  <a:lnTo>
                    <a:pt x="1511494" y="625848"/>
                  </a:lnTo>
                  <a:lnTo>
                    <a:pt x="1511494" y="638889"/>
                  </a:lnTo>
                  <a:lnTo>
                    <a:pt x="1524535" y="638889"/>
                  </a:lnTo>
                  <a:lnTo>
                    <a:pt x="1524535" y="647423"/>
                  </a:lnTo>
                  <a:lnTo>
                    <a:pt x="1530245" y="647423"/>
                  </a:lnTo>
                  <a:lnTo>
                    <a:pt x="1530245" y="655415"/>
                  </a:lnTo>
                  <a:lnTo>
                    <a:pt x="1571711" y="655415"/>
                  </a:lnTo>
                  <a:lnTo>
                    <a:pt x="1571711" y="665932"/>
                  </a:lnTo>
                  <a:lnTo>
                    <a:pt x="1587937" y="665932"/>
                  </a:lnTo>
                  <a:lnTo>
                    <a:pt x="1587937" y="672723"/>
                  </a:lnTo>
                  <a:lnTo>
                    <a:pt x="1620029" y="672723"/>
                  </a:lnTo>
                  <a:lnTo>
                    <a:pt x="1620029" y="679274"/>
                  </a:lnTo>
                  <a:lnTo>
                    <a:pt x="1625197" y="679274"/>
                  </a:lnTo>
                  <a:lnTo>
                    <a:pt x="1625197" y="686666"/>
                  </a:lnTo>
                  <a:lnTo>
                    <a:pt x="1632289" y="686666"/>
                  </a:lnTo>
                  <a:lnTo>
                    <a:pt x="1632289" y="694599"/>
                  </a:lnTo>
                  <a:lnTo>
                    <a:pt x="1640522" y="694599"/>
                  </a:lnTo>
                  <a:lnTo>
                    <a:pt x="1640522" y="700007"/>
                  </a:lnTo>
                  <a:lnTo>
                    <a:pt x="1650198" y="700007"/>
                  </a:lnTo>
                  <a:lnTo>
                    <a:pt x="1650198" y="706858"/>
                  </a:lnTo>
                  <a:lnTo>
                    <a:pt x="1676881" y="706858"/>
                  </a:lnTo>
                  <a:lnTo>
                    <a:pt x="1676881" y="713649"/>
                  </a:lnTo>
                  <a:lnTo>
                    <a:pt x="1681448" y="713649"/>
                  </a:lnTo>
                  <a:lnTo>
                    <a:pt x="1681448" y="724767"/>
                  </a:lnTo>
                  <a:lnTo>
                    <a:pt x="1688239" y="724767"/>
                  </a:lnTo>
                  <a:lnTo>
                    <a:pt x="1688239" y="734383"/>
                  </a:lnTo>
                  <a:lnTo>
                    <a:pt x="1693107" y="734383"/>
                  </a:lnTo>
                  <a:lnTo>
                    <a:pt x="1693107" y="742376"/>
                  </a:lnTo>
                  <a:lnTo>
                    <a:pt x="1710415" y="742376"/>
                  </a:lnTo>
                  <a:lnTo>
                    <a:pt x="1710415" y="748626"/>
                  </a:lnTo>
                  <a:lnTo>
                    <a:pt x="1733191" y="748626"/>
                  </a:lnTo>
                  <a:lnTo>
                    <a:pt x="1733191" y="758001"/>
                  </a:lnTo>
                  <a:lnTo>
                    <a:pt x="1751941" y="758001"/>
                  </a:lnTo>
                  <a:lnTo>
                    <a:pt x="1751941" y="763409"/>
                  </a:lnTo>
                  <a:lnTo>
                    <a:pt x="1765884" y="763409"/>
                  </a:lnTo>
                  <a:lnTo>
                    <a:pt x="1765884" y="768217"/>
                  </a:lnTo>
                  <a:lnTo>
                    <a:pt x="1787459" y="768217"/>
                  </a:lnTo>
                  <a:lnTo>
                    <a:pt x="1787459" y="776450"/>
                  </a:lnTo>
                  <a:lnTo>
                    <a:pt x="1819550" y="776450"/>
                  </a:lnTo>
                  <a:lnTo>
                    <a:pt x="1819550" y="785825"/>
                  </a:lnTo>
                  <a:lnTo>
                    <a:pt x="1826702" y="785825"/>
                  </a:lnTo>
                  <a:lnTo>
                    <a:pt x="1826702" y="803193"/>
                  </a:lnTo>
                  <a:lnTo>
                    <a:pt x="1838601" y="803193"/>
                  </a:lnTo>
                  <a:lnTo>
                    <a:pt x="1838601" y="808903"/>
                  </a:lnTo>
                  <a:lnTo>
                    <a:pt x="1848577" y="808903"/>
                  </a:lnTo>
                  <a:lnTo>
                    <a:pt x="1848577" y="815393"/>
                  </a:lnTo>
                  <a:lnTo>
                    <a:pt x="1875020" y="815393"/>
                  </a:lnTo>
                  <a:lnTo>
                    <a:pt x="1875020" y="822545"/>
                  </a:lnTo>
                  <a:lnTo>
                    <a:pt x="1883794" y="822545"/>
                  </a:lnTo>
                  <a:lnTo>
                    <a:pt x="1883794" y="827653"/>
                  </a:lnTo>
                  <a:lnTo>
                    <a:pt x="1890885" y="827653"/>
                  </a:lnTo>
                  <a:lnTo>
                    <a:pt x="1890885" y="841535"/>
                  </a:lnTo>
                  <a:lnTo>
                    <a:pt x="1905429" y="841535"/>
                  </a:lnTo>
                  <a:lnTo>
                    <a:pt x="1905429" y="860586"/>
                  </a:lnTo>
                  <a:lnTo>
                    <a:pt x="1927845" y="860586"/>
                  </a:lnTo>
                  <a:lnTo>
                    <a:pt x="1927845" y="879336"/>
                  </a:lnTo>
                  <a:lnTo>
                    <a:pt x="1947196" y="879336"/>
                  </a:lnTo>
                  <a:lnTo>
                    <a:pt x="1947196" y="885887"/>
                  </a:lnTo>
                  <a:lnTo>
                    <a:pt x="2002305" y="885887"/>
                  </a:lnTo>
                  <a:lnTo>
                    <a:pt x="2002305" y="903255"/>
                  </a:lnTo>
                  <a:lnTo>
                    <a:pt x="2025081" y="903255"/>
                  </a:lnTo>
                  <a:lnTo>
                    <a:pt x="2025081" y="912329"/>
                  </a:lnTo>
                  <a:lnTo>
                    <a:pt x="2033315" y="912329"/>
                  </a:lnTo>
                  <a:lnTo>
                    <a:pt x="2033315" y="921704"/>
                  </a:lnTo>
                  <a:lnTo>
                    <a:pt x="2052065" y="921704"/>
                  </a:lnTo>
                  <a:lnTo>
                    <a:pt x="2052065" y="943880"/>
                  </a:lnTo>
                  <a:lnTo>
                    <a:pt x="2081031" y="943880"/>
                  </a:lnTo>
                  <a:lnTo>
                    <a:pt x="2081031" y="952414"/>
                  </a:lnTo>
                  <a:lnTo>
                    <a:pt x="2110900" y="952414"/>
                  </a:lnTo>
                  <a:lnTo>
                    <a:pt x="2110900" y="964914"/>
                  </a:lnTo>
                  <a:lnTo>
                    <a:pt x="2122559" y="964914"/>
                  </a:lnTo>
                  <a:lnTo>
                    <a:pt x="2122559" y="981080"/>
                  </a:lnTo>
                  <a:lnTo>
                    <a:pt x="2243894" y="981080"/>
                  </a:lnTo>
                  <a:lnTo>
                    <a:pt x="2243894" y="1000131"/>
                  </a:lnTo>
                  <a:lnTo>
                    <a:pt x="2300745" y="1000131"/>
                  </a:lnTo>
                  <a:lnTo>
                    <a:pt x="2300745" y="1013232"/>
                  </a:lnTo>
                  <a:lnTo>
                    <a:pt x="2306154" y="1013232"/>
                  </a:lnTo>
                  <a:lnTo>
                    <a:pt x="2306154" y="1024590"/>
                  </a:lnTo>
                  <a:lnTo>
                    <a:pt x="2336263" y="1024590"/>
                  </a:lnTo>
                  <a:lnTo>
                    <a:pt x="2336263" y="1061549"/>
                  </a:lnTo>
                  <a:lnTo>
                    <a:pt x="2467874" y="1061549"/>
                  </a:lnTo>
                  <a:lnTo>
                    <a:pt x="2560544" y="1061549"/>
                  </a:lnTo>
                </a:path>
              </a:pathLst>
            </a:custGeom>
            <a:noFill/>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498" name="Graphic 461">
              <a:extLst>
                <a:ext uri="{FF2B5EF4-FFF2-40B4-BE49-F238E27FC236}">
                  <a16:creationId xmlns:a16="http://schemas.microsoft.com/office/drawing/2014/main" id="{97DC1093-C0B9-4035-3060-BD5E2A928C07}"/>
                </a:ext>
              </a:extLst>
            </p:cNvPr>
            <p:cNvGrpSpPr/>
            <p:nvPr/>
          </p:nvGrpSpPr>
          <p:grpSpPr>
            <a:xfrm>
              <a:off x="5198451" y="1692501"/>
              <a:ext cx="31731" cy="31731"/>
              <a:chOff x="5198451" y="1692501"/>
              <a:chExt cx="31731" cy="31731"/>
            </a:xfrm>
          </p:grpSpPr>
          <p:sp>
            <p:nvSpPr>
              <p:cNvPr id="499" name="Freeform 498">
                <a:extLst>
                  <a:ext uri="{FF2B5EF4-FFF2-40B4-BE49-F238E27FC236}">
                    <a16:creationId xmlns:a16="http://schemas.microsoft.com/office/drawing/2014/main" id="{6EAE76C2-4A36-1B99-200E-6F8303173E68}"/>
                  </a:ext>
                </a:extLst>
              </p:cNvPr>
              <p:cNvSpPr/>
              <p:nvPr/>
            </p:nvSpPr>
            <p:spPr>
              <a:xfrm>
                <a:off x="5214317" y="1692501"/>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0" name="Freeform 499">
                <a:extLst>
                  <a:ext uri="{FF2B5EF4-FFF2-40B4-BE49-F238E27FC236}">
                    <a16:creationId xmlns:a16="http://schemas.microsoft.com/office/drawing/2014/main" id="{497CAEDE-2118-3CA1-6753-C6305FE617A3}"/>
                  </a:ext>
                </a:extLst>
              </p:cNvPr>
              <p:cNvSpPr/>
              <p:nvPr/>
            </p:nvSpPr>
            <p:spPr>
              <a:xfrm>
                <a:off x="5198451" y="1708366"/>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01" name="Graphic 461">
              <a:extLst>
                <a:ext uri="{FF2B5EF4-FFF2-40B4-BE49-F238E27FC236}">
                  <a16:creationId xmlns:a16="http://schemas.microsoft.com/office/drawing/2014/main" id="{718D5677-EED3-5F0B-58B2-BE2FA23641A1}"/>
                </a:ext>
              </a:extLst>
            </p:cNvPr>
            <p:cNvGrpSpPr/>
            <p:nvPr/>
          </p:nvGrpSpPr>
          <p:grpSpPr>
            <a:xfrm>
              <a:off x="5308068" y="1711371"/>
              <a:ext cx="31671" cy="31731"/>
              <a:chOff x="5308068" y="1711371"/>
              <a:chExt cx="31671" cy="31731"/>
            </a:xfrm>
          </p:grpSpPr>
          <p:sp>
            <p:nvSpPr>
              <p:cNvPr id="502" name="Freeform 501">
                <a:extLst>
                  <a:ext uri="{FF2B5EF4-FFF2-40B4-BE49-F238E27FC236}">
                    <a16:creationId xmlns:a16="http://schemas.microsoft.com/office/drawing/2014/main" id="{002B1318-68FD-5D1B-FD2A-86109AE64AF9}"/>
                  </a:ext>
                </a:extLst>
              </p:cNvPr>
              <p:cNvSpPr/>
              <p:nvPr/>
            </p:nvSpPr>
            <p:spPr>
              <a:xfrm>
                <a:off x="5323873" y="1711371"/>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3" name="Freeform 502">
                <a:extLst>
                  <a:ext uri="{FF2B5EF4-FFF2-40B4-BE49-F238E27FC236}">
                    <a16:creationId xmlns:a16="http://schemas.microsoft.com/office/drawing/2014/main" id="{5F50B289-1698-04FF-8986-C94A334AB7F1}"/>
                  </a:ext>
                </a:extLst>
              </p:cNvPr>
              <p:cNvSpPr/>
              <p:nvPr/>
            </p:nvSpPr>
            <p:spPr>
              <a:xfrm>
                <a:off x="5308068" y="1727237"/>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04" name="Graphic 461">
              <a:extLst>
                <a:ext uri="{FF2B5EF4-FFF2-40B4-BE49-F238E27FC236}">
                  <a16:creationId xmlns:a16="http://schemas.microsoft.com/office/drawing/2014/main" id="{F40A3B35-7F0A-6320-0C9C-4178B5BF18EA}"/>
                </a:ext>
              </a:extLst>
            </p:cNvPr>
            <p:cNvGrpSpPr/>
            <p:nvPr/>
          </p:nvGrpSpPr>
          <p:grpSpPr>
            <a:xfrm>
              <a:off x="5778506" y="1919727"/>
              <a:ext cx="31671" cy="31731"/>
              <a:chOff x="5778506" y="1919727"/>
              <a:chExt cx="31671" cy="31731"/>
            </a:xfrm>
          </p:grpSpPr>
          <p:sp>
            <p:nvSpPr>
              <p:cNvPr id="505" name="Freeform 504">
                <a:extLst>
                  <a:ext uri="{FF2B5EF4-FFF2-40B4-BE49-F238E27FC236}">
                    <a16:creationId xmlns:a16="http://schemas.microsoft.com/office/drawing/2014/main" id="{2E5CCD11-A225-20E7-AB82-73F95B044DBC}"/>
                  </a:ext>
                </a:extLst>
              </p:cNvPr>
              <p:cNvSpPr/>
              <p:nvPr/>
            </p:nvSpPr>
            <p:spPr>
              <a:xfrm>
                <a:off x="5794311" y="1919727"/>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6" name="Freeform 505">
                <a:extLst>
                  <a:ext uri="{FF2B5EF4-FFF2-40B4-BE49-F238E27FC236}">
                    <a16:creationId xmlns:a16="http://schemas.microsoft.com/office/drawing/2014/main" id="{0E62C818-06F3-6F74-2AD9-57539434296D}"/>
                  </a:ext>
                </a:extLst>
              </p:cNvPr>
              <p:cNvSpPr/>
              <p:nvPr/>
            </p:nvSpPr>
            <p:spPr>
              <a:xfrm>
                <a:off x="5778506" y="1935592"/>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07" name="Graphic 461">
              <a:extLst>
                <a:ext uri="{FF2B5EF4-FFF2-40B4-BE49-F238E27FC236}">
                  <a16:creationId xmlns:a16="http://schemas.microsoft.com/office/drawing/2014/main" id="{3E4B8EAB-F891-3263-1A82-4E7C547089C3}"/>
                </a:ext>
              </a:extLst>
            </p:cNvPr>
            <p:cNvGrpSpPr/>
            <p:nvPr/>
          </p:nvGrpSpPr>
          <p:grpSpPr>
            <a:xfrm>
              <a:off x="5827424" y="1955424"/>
              <a:ext cx="31731" cy="31731"/>
              <a:chOff x="5827424" y="1955424"/>
              <a:chExt cx="31731" cy="31731"/>
            </a:xfrm>
          </p:grpSpPr>
          <p:sp>
            <p:nvSpPr>
              <p:cNvPr id="508" name="Freeform 507">
                <a:extLst>
                  <a:ext uri="{FF2B5EF4-FFF2-40B4-BE49-F238E27FC236}">
                    <a16:creationId xmlns:a16="http://schemas.microsoft.com/office/drawing/2014/main" id="{7CFEB710-081C-F26F-B6A4-567B18E4EC93}"/>
                  </a:ext>
                </a:extLst>
              </p:cNvPr>
              <p:cNvSpPr/>
              <p:nvPr/>
            </p:nvSpPr>
            <p:spPr>
              <a:xfrm>
                <a:off x="5843290" y="1955424"/>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9" name="Freeform 508">
                <a:extLst>
                  <a:ext uri="{FF2B5EF4-FFF2-40B4-BE49-F238E27FC236}">
                    <a16:creationId xmlns:a16="http://schemas.microsoft.com/office/drawing/2014/main" id="{65CC3DB3-F352-854B-8DB6-8A0641801998}"/>
                  </a:ext>
                </a:extLst>
              </p:cNvPr>
              <p:cNvSpPr/>
              <p:nvPr/>
            </p:nvSpPr>
            <p:spPr>
              <a:xfrm>
                <a:off x="5827424" y="1971290"/>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10" name="Graphic 461">
              <a:extLst>
                <a:ext uri="{FF2B5EF4-FFF2-40B4-BE49-F238E27FC236}">
                  <a16:creationId xmlns:a16="http://schemas.microsoft.com/office/drawing/2014/main" id="{3F6BEA30-E9D1-AD49-15F6-11D00D2A9F61}"/>
                </a:ext>
              </a:extLst>
            </p:cNvPr>
            <p:cNvGrpSpPr/>
            <p:nvPr/>
          </p:nvGrpSpPr>
          <p:grpSpPr>
            <a:xfrm>
              <a:off x="5851523" y="1971470"/>
              <a:ext cx="31731" cy="31731"/>
              <a:chOff x="5851523" y="1971470"/>
              <a:chExt cx="31731" cy="31731"/>
            </a:xfrm>
          </p:grpSpPr>
          <p:sp>
            <p:nvSpPr>
              <p:cNvPr id="511" name="Freeform 510">
                <a:extLst>
                  <a:ext uri="{FF2B5EF4-FFF2-40B4-BE49-F238E27FC236}">
                    <a16:creationId xmlns:a16="http://schemas.microsoft.com/office/drawing/2014/main" id="{18F2709F-B2C9-C4A9-98C6-161BD1BDF87C}"/>
                  </a:ext>
                </a:extLst>
              </p:cNvPr>
              <p:cNvSpPr/>
              <p:nvPr/>
            </p:nvSpPr>
            <p:spPr>
              <a:xfrm>
                <a:off x="5867389" y="1971470"/>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2" name="Freeform 511">
                <a:extLst>
                  <a:ext uri="{FF2B5EF4-FFF2-40B4-BE49-F238E27FC236}">
                    <a16:creationId xmlns:a16="http://schemas.microsoft.com/office/drawing/2014/main" id="{356AEC3E-3DAC-4191-127D-E8B81AB2910A}"/>
                  </a:ext>
                </a:extLst>
              </p:cNvPr>
              <p:cNvSpPr/>
              <p:nvPr/>
            </p:nvSpPr>
            <p:spPr>
              <a:xfrm>
                <a:off x="5851523" y="1987336"/>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13" name="Graphic 461">
              <a:extLst>
                <a:ext uri="{FF2B5EF4-FFF2-40B4-BE49-F238E27FC236}">
                  <a16:creationId xmlns:a16="http://schemas.microsoft.com/office/drawing/2014/main" id="{463CA20B-D490-99D0-6476-E5D743994ECA}"/>
                </a:ext>
              </a:extLst>
            </p:cNvPr>
            <p:cNvGrpSpPr/>
            <p:nvPr/>
          </p:nvGrpSpPr>
          <p:grpSpPr>
            <a:xfrm>
              <a:off x="5859155" y="1989980"/>
              <a:ext cx="31731" cy="31671"/>
              <a:chOff x="5859155" y="1989980"/>
              <a:chExt cx="31731" cy="31671"/>
            </a:xfrm>
          </p:grpSpPr>
          <p:sp>
            <p:nvSpPr>
              <p:cNvPr id="514" name="Freeform 513">
                <a:extLst>
                  <a:ext uri="{FF2B5EF4-FFF2-40B4-BE49-F238E27FC236}">
                    <a16:creationId xmlns:a16="http://schemas.microsoft.com/office/drawing/2014/main" id="{155EFE00-118E-9E23-D454-9CDF3AF894A9}"/>
                  </a:ext>
                </a:extLst>
              </p:cNvPr>
              <p:cNvSpPr/>
              <p:nvPr/>
            </p:nvSpPr>
            <p:spPr>
              <a:xfrm>
                <a:off x="5875021" y="1989980"/>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5" name="Freeform 514">
                <a:extLst>
                  <a:ext uri="{FF2B5EF4-FFF2-40B4-BE49-F238E27FC236}">
                    <a16:creationId xmlns:a16="http://schemas.microsoft.com/office/drawing/2014/main" id="{B56BEF3A-40D9-3374-1E7C-FBC9DE6C08A3}"/>
                  </a:ext>
                </a:extLst>
              </p:cNvPr>
              <p:cNvSpPr/>
              <p:nvPr/>
            </p:nvSpPr>
            <p:spPr>
              <a:xfrm>
                <a:off x="5859155" y="2005845"/>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16" name="Graphic 461">
              <a:extLst>
                <a:ext uri="{FF2B5EF4-FFF2-40B4-BE49-F238E27FC236}">
                  <a16:creationId xmlns:a16="http://schemas.microsoft.com/office/drawing/2014/main" id="{7856E349-3EC4-31BA-C3E4-C613503E5082}"/>
                </a:ext>
              </a:extLst>
            </p:cNvPr>
            <p:cNvGrpSpPr/>
            <p:nvPr/>
          </p:nvGrpSpPr>
          <p:grpSpPr>
            <a:xfrm>
              <a:off x="5880430" y="1989980"/>
              <a:ext cx="31731" cy="31671"/>
              <a:chOff x="5880430" y="1989980"/>
              <a:chExt cx="31731" cy="31671"/>
            </a:xfrm>
          </p:grpSpPr>
          <p:sp>
            <p:nvSpPr>
              <p:cNvPr id="517" name="Freeform 516">
                <a:extLst>
                  <a:ext uri="{FF2B5EF4-FFF2-40B4-BE49-F238E27FC236}">
                    <a16:creationId xmlns:a16="http://schemas.microsoft.com/office/drawing/2014/main" id="{04B84C29-7A24-B4B8-1482-D45ED8FF0AE3}"/>
                  </a:ext>
                </a:extLst>
              </p:cNvPr>
              <p:cNvSpPr/>
              <p:nvPr/>
            </p:nvSpPr>
            <p:spPr>
              <a:xfrm>
                <a:off x="5896295" y="1989980"/>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8" name="Freeform 517">
                <a:extLst>
                  <a:ext uri="{FF2B5EF4-FFF2-40B4-BE49-F238E27FC236}">
                    <a16:creationId xmlns:a16="http://schemas.microsoft.com/office/drawing/2014/main" id="{55CFF813-D44D-EB76-36A2-B1B9C2578F79}"/>
                  </a:ext>
                </a:extLst>
              </p:cNvPr>
              <p:cNvSpPr/>
              <p:nvPr/>
            </p:nvSpPr>
            <p:spPr>
              <a:xfrm>
                <a:off x="5880430" y="2005845"/>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19" name="Graphic 461">
              <a:extLst>
                <a:ext uri="{FF2B5EF4-FFF2-40B4-BE49-F238E27FC236}">
                  <a16:creationId xmlns:a16="http://schemas.microsoft.com/office/drawing/2014/main" id="{48F0629D-8F1C-14E2-BB2C-02FADDED1C99}"/>
                </a:ext>
              </a:extLst>
            </p:cNvPr>
            <p:cNvGrpSpPr/>
            <p:nvPr/>
          </p:nvGrpSpPr>
          <p:grpSpPr>
            <a:xfrm>
              <a:off x="5932594" y="2015281"/>
              <a:ext cx="31731" cy="31671"/>
              <a:chOff x="5932594" y="2015281"/>
              <a:chExt cx="31731" cy="31671"/>
            </a:xfrm>
          </p:grpSpPr>
          <p:sp>
            <p:nvSpPr>
              <p:cNvPr id="520" name="Freeform 519">
                <a:extLst>
                  <a:ext uri="{FF2B5EF4-FFF2-40B4-BE49-F238E27FC236}">
                    <a16:creationId xmlns:a16="http://schemas.microsoft.com/office/drawing/2014/main" id="{B97D49F0-66A5-EB25-39CA-444F811326A8}"/>
                  </a:ext>
                </a:extLst>
              </p:cNvPr>
              <p:cNvSpPr/>
              <p:nvPr/>
            </p:nvSpPr>
            <p:spPr>
              <a:xfrm>
                <a:off x="5948459" y="2015281"/>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1" name="Freeform 520">
                <a:extLst>
                  <a:ext uri="{FF2B5EF4-FFF2-40B4-BE49-F238E27FC236}">
                    <a16:creationId xmlns:a16="http://schemas.microsoft.com/office/drawing/2014/main" id="{BD286AF5-3391-90A6-A283-9248C1125D6B}"/>
                  </a:ext>
                </a:extLst>
              </p:cNvPr>
              <p:cNvSpPr/>
              <p:nvPr/>
            </p:nvSpPr>
            <p:spPr>
              <a:xfrm>
                <a:off x="5932594" y="2031086"/>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22" name="Graphic 461">
              <a:extLst>
                <a:ext uri="{FF2B5EF4-FFF2-40B4-BE49-F238E27FC236}">
                  <a16:creationId xmlns:a16="http://schemas.microsoft.com/office/drawing/2014/main" id="{E6E88746-BC25-7CA4-F5E8-F647AE3BB48E}"/>
                </a:ext>
              </a:extLst>
            </p:cNvPr>
            <p:cNvGrpSpPr/>
            <p:nvPr/>
          </p:nvGrpSpPr>
          <p:grpSpPr>
            <a:xfrm>
              <a:off x="6065107" y="2080305"/>
              <a:ext cx="31671" cy="31671"/>
              <a:chOff x="6065107" y="2080305"/>
              <a:chExt cx="31671" cy="31671"/>
            </a:xfrm>
          </p:grpSpPr>
          <p:sp>
            <p:nvSpPr>
              <p:cNvPr id="523" name="Freeform 522">
                <a:extLst>
                  <a:ext uri="{FF2B5EF4-FFF2-40B4-BE49-F238E27FC236}">
                    <a16:creationId xmlns:a16="http://schemas.microsoft.com/office/drawing/2014/main" id="{9DA0B8C5-A67F-2025-C068-995A8184C372}"/>
                  </a:ext>
                </a:extLst>
              </p:cNvPr>
              <p:cNvSpPr/>
              <p:nvPr/>
            </p:nvSpPr>
            <p:spPr>
              <a:xfrm>
                <a:off x="6080913" y="2080305"/>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4" name="Freeform 523">
                <a:extLst>
                  <a:ext uri="{FF2B5EF4-FFF2-40B4-BE49-F238E27FC236}">
                    <a16:creationId xmlns:a16="http://schemas.microsoft.com/office/drawing/2014/main" id="{B5536B02-87A0-9ECB-21C8-C2DF84A14639}"/>
                  </a:ext>
                </a:extLst>
              </p:cNvPr>
              <p:cNvSpPr/>
              <p:nvPr/>
            </p:nvSpPr>
            <p:spPr>
              <a:xfrm>
                <a:off x="6065107" y="2096111"/>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25" name="Graphic 461">
              <a:extLst>
                <a:ext uri="{FF2B5EF4-FFF2-40B4-BE49-F238E27FC236}">
                  <a16:creationId xmlns:a16="http://schemas.microsoft.com/office/drawing/2014/main" id="{064CCBA6-A257-C1E5-9365-362C7F5B916A}"/>
                </a:ext>
              </a:extLst>
            </p:cNvPr>
            <p:cNvGrpSpPr/>
            <p:nvPr/>
          </p:nvGrpSpPr>
          <p:grpSpPr>
            <a:xfrm>
              <a:off x="6116430" y="2092745"/>
              <a:ext cx="31731" cy="31671"/>
              <a:chOff x="6116430" y="2092745"/>
              <a:chExt cx="31731" cy="31671"/>
            </a:xfrm>
          </p:grpSpPr>
          <p:sp>
            <p:nvSpPr>
              <p:cNvPr id="526" name="Freeform 525">
                <a:extLst>
                  <a:ext uri="{FF2B5EF4-FFF2-40B4-BE49-F238E27FC236}">
                    <a16:creationId xmlns:a16="http://schemas.microsoft.com/office/drawing/2014/main" id="{BEF9C928-130A-7F71-952A-4C82DA8EA0EC}"/>
                  </a:ext>
                </a:extLst>
              </p:cNvPr>
              <p:cNvSpPr/>
              <p:nvPr/>
            </p:nvSpPr>
            <p:spPr>
              <a:xfrm>
                <a:off x="6132295" y="2092745"/>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7" name="Freeform 526">
                <a:extLst>
                  <a:ext uri="{FF2B5EF4-FFF2-40B4-BE49-F238E27FC236}">
                    <a16:creationId xmlns:a16="http://schemas.microsoft.com/office/drawing/2014/main" id="{CF905BA1-E5F4-35A3-A1E9-D22AA6A45D76}"/>
                  </a:ext>
                </a:extLst>
              </p:cNvPr>
              <p:cNvSpPr/>
              <p:nvPr/>
            </p:nvSpPr>
            <p:spPr>
              <a:xfrm>
                <a:off x="6116430" y="2108551"/>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28" name="Graphic 461">
              <a:extLst>
                <a:ext uri="{FF2B5EF4-FFF2-40B4-BE49-F238E27FC236}">
                  <a16:creationId xmlns:a16="http://schemas.microsoft.com/office/drawing/2014/main" id="{B97EE115-48A7-C56B-F391-A5F1A3CF6268}"/>
                </a:ext>
              </a:extLst>
            </p:cNvPr>
            <p:cNvGrpSpPr/>
            <p:nvPr/>
          </p:nvGrpSpPr>
          <p:grpSpPr>
            <a:xfrm>
              <a:off x="6127728" y="2092745"/>
              <a:ext cx="31671" cy="31671"/>
              <a:chOff x="6127728" y="2092745"/>
              <a:chExt cx="31671" cy="31671"/>
            </a:xfrm>
          </p:grpSpPr>
          <p:sp>
            <p:nvSpPr>
              <p:cNvPr id="529" name="Freeform 528">
                <a:extLst>
                  <a:ext uri="{FF2B5EF4-FFF2-40B4-BE49-F238E27FC236}">
                    <a16:creationId xmlns:a16="http://schemas.microsoft.com/office/drawing/2014/main" id="{C277E778-D656-8B4D-4086-CFA69466A4CE}"/>
                  </a:ext>
                </a:extLst>
              </p:cNvPr>
              <p:cNvSpPr/>
              <p:nvPr/>
            </p:nvSpPr>
            <p:spPr>
              <a:xfrm>
                <a:off x="6143533" y="2092745"/>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0" name="Freeform 529">
                <a:extLst>
                  <a:ext uri="{FF2B5EF4-FFF2-40B4-BE49-F238E27FC236}">
                    <a16:creationId xmlns:a16="http://schemas.microsoft.com/office/drawing/2014/main" id="{7B21C314-BA9B-D041-8546-D65833E044D5}"/>
                  </a:ext>
                </a:extLst>
              </p:cNvPr>
              <p:cNvSpPr/>
              <p:nvPr/>
            </p:nvSpPr>
            <p:spPr>
              <a:xfrm>
                <a:off x="6127728" y="2108551"/>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31" name="Graphic 461">
              <a:extLst>
                <a:ext uri="{FF2B5EF4-FFF2-40B4-BE49-F238E27FC236}">
                  <a16:creationId xmlns:a16="http://schemas.microsoft.com/office/drawing/2014/main" id="{EE611C12-DF2C-DDB0-98A1-A6270154B838}"/>
                </a:ext>
              </a:extLst>
            </p:cNvPr>
            <p:cNvGrpSpPr/>
            <p:nvPr/>
          </p:nvGrpSpPr>
          <p:grpSpPr>
            <a:xfrm>
              <a:off x="6275806" y="2134873"/>
              <a:ext cx="31731" cy="31731"/>
              <a:chOff x="6275806" y="2134873"/>
              <a:chExt cx="31731" cy="31731"/>
            </a:xfrm>
          </p:grpSpPr>
          <p:sp>
            <p:nvSpPr>
              <p:cNvPr id="532" name="Freeform 531">
                <a:extLst>
                  <a:ext uri="{FF2B5EF4-FFF2-40B4-BE49-F238E27FC236}">
                    <a16:creationId xmlns:a16="http://schemas.microsoft.com/office/drawing/2014/main" id="{72CCE3B6-A138-F600-8C51-DEEAD8C535E6}"/>
                  </a:ext>
                </a:extLst>
              </p:cNvPr>
              <p:cNvSpPr/>
              <p:nvPr/>
            </p:nvSpPr>
            <p:spPr>
              <a:xfrm>
                <a:off x="6291672" y="213487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3" name="Freeform 532">
                <a:extLst>
                  <a:ext uri="{FF2B5EF4-FFF2-40B4-BE49-F238E27FC236}">
                    <a16:creationId xmlns:a16="http://schemas.microsoft.com/office/drawing/2014/main" id="{FE84DF09-7B7A-A710-869C-61DA70DA5DDD}"/>
                  </a:ext>
                </a:extLst>
              </p:cNvPr>
              <p:cNvSpPr/>
              <p:nvPr/>
            </p:nvSpPr>
            <p:spPr>
              <a:xfrm>
                <a:off x="6275806" y="215073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34" name="Graphic 461">
              <a:extLst>
                <a:ext uri="{FF2B5EF4-FFF2-40B4-BE49-F238E27FC236}">
                  <a16:creationId xmlns:a16="http://schemas.microsoft.com/office/drawing/2014/main" id="{013C50C5-F210-53C8-F191-71D66EF290C8}"/>
                </a:ext>
              </a:extLst>
            </p:cNvPr>
            <p:cNvGrpSpPr/>
            <p:nvPr/>
          </p:nvGrpSpPr>
          <p:grpSpPr>
            <a:xfrm>
              <a:off x="6583682" y="2336798"/>
              <a:ext cx="31731" cy="31671"/>
              <a:chOff x="6583682" y="2336798"/>
              <a:chExt cx="31731" cy="31671"/>
            </a:xfrm>
          </p:grpSpPr>
          <p:sp>
            <p:nvSpPr>
              <p:cNvPr id="535" name="Freeform 534">
                <a:extLst>
                  <a:ext uri="{FF2B5EF4-FFF2-40B4-BE49-F238E27FC236}">
                    <a16:creationId xmlns:a16="http://schemas.microsoft.com/office/drawing/2014/main" id="{080DA037-7CA5-8040-CAA6-2CFE5ED28EA8}"/>
                  </a:ext>
                </a:extLst>
              </p:cNvPr>
              <p:cNvSpPr/>
              <p:nvPr/>
            </p:nvSpPr>
            <p:spPr>
              <a:xfrm>
                <a:off x="6599548" y="2336798"/>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6" name="Freeform 535">
                <a:extLst>
                  <a:ext uri="{FF2B5EF4-FFF2-40B4-BE49-F238E27FC236}">
                    <a16:creationId xmlns:a16="http://schemas.microsoft.com/office/drawing/2014/main" id="{D59A4C83-DC4A-AC54-3561-6B7CBF7AB767}"/>
                  </a:ext>
                </a:extLst>
              </p:cNvPr>
              <p:cNvSpPr/>
              <p:nvPr/>
            </p:nvSpPr>
            <p:spPr>
              <a:xfrm>
                <a:off x="6583682" y="2352604"/>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37" name="Graphic 461">
              <a:extLst>
                <a:ext uri="{FF2B5EF4-FFF2-40B4-BE49-F238E27FC236}">
                  <a16:creationId xmlns:a16="http://schemas.microsoft.com/office/drawing/2014/main" id="{CEACEDE1-45A7-E3D2-1440-7319CD7D2365}"/>
                </a:ext>
              </a:extLst>
            </p:cNvPr>
            <p:cNvGrpSpPr/>
            <p:nvPr/>
          </p:nvGrpSpPr>
          <p:grpSpPr>
            <a:xfrm>
              <a:off x="6844622" y="2463242"/>
              <a:ext cx="31671" cy="31671"/>
              <a:chOff x="6844622" y="2463242"/>
              <a:chExt cx="31671" cy="31671"/>
            </a:xfrm>
          </p:grpSpPr>
          <p:sp>
            <p:nvSpPr>
              <p:cNvPr id="538" name="Freeform 537">
                <a:extLst>
                  <a:ext uri="{FF2B5EF4-FFF2-40B4-BE49-F238E27FC236}">
                    <a16:creationId xmlns:a16="http://schemas.microsoft.com/office/drawing/2014/main" id="{E8BBD9AD-D938-7858-4CE9-CF4E41018F74}"/>
                  </a:ext>
                </a:extLst>
              </p:cNvPr>
              <p:cNvSpPr/>
              <p:nvPr/>
            </p:nvSpPr>
            <p:spPr>
              <a:xfrm>
                <a:off x="6860428" y="2463242"/>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9" name="Freeform 538">
                <a:extLst>
                  <a:ext uri="{FF2B5EF4-FFF2-40B4-BE49-F238E27FC236}">
                    <a16:creationId xmlns:a16="http://schemas.microsoft.com/office/drawing/2014/main" id="{730C2F90-0D43-BFAB-A38C-5ECE0C7D4696}"/>
                  </a:ext>
                </a:extLst>
              </p:cNvPr>
              <p:cNvSpPr/>
              <p:nvPr/>
            </p:nvSpPr>
            <p:spPr>
              <a:xfrm>
                <a:off x="6844622" y="2479047"/>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40" name="Graphic 461">
              <a:extLst>
                <a:ext uri="{FF2B5EF4-FFF2-40B4-BE49-F238E27FC236}">
                  <a16:creationId xmlns:a16="http://schemas.microsoft.com/office/drawing/2014/main" id="{2B3F1CD6-673D-363C-48E0-6332EC9428FD}"/>
                </a:ext>
              </a:extLst>
            </p:cNvPr>
            <p:cNvGrpSpPr/>
            <p:nvPr/>
          </p:nvGrpSpPr>
          <p:grpSpPr>
            <a:xfrm>
              <a:off x="6961391" y="2557113"/>
              <a:ext cx="31731" cy="31731"/>
              <a:chOff x="6961391" y="2557113"/>
              <a:chExt cx="31731" cy="31731"/>
            </a:xfrm>
          </p:grpSpPr>
          <p:sp>
            <p:nvSpPr>
              <p:cNvPr id="541" name="Freeform 540">
                <a:extLst>
                  <a:ext uri="{FF2B5EF4-FFF2-40B4-BE49-F238E27FC236}">
                    <a16:creationId xmlns:a16="http://schemas.microsoft.com/office/drawing/2014/main" id="{F644509C-E13D-9CC4-8918-6DB34AC4681C}"/>
                  </a:ext>
                </a:extLst>
              </p:cNvPr>
              <p:cNvSpPr/>
              <p:nvPr/>
            </p:nvSpPr>
            <p:spPr>
              <a:xfrm>
                <a:off x="6977256" y="255711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2" name="Freeform 541">
                <a:extLst>
                  <a:ext uri="{FF2B5EF4-FFF2-40B4-BE49-F238E27FC236}">
                    <a16:creationId xmlns:a16="http://schemas.microsoft.com/office/drawing/2014/main" id="{31DC8075-3D19-55AE-11DD-ED455892807E}"/>
                  </a:ext>
                </a:extLst>
              </p:cNvPr>
              <p:cNvSpPr/>
              <p:nvPr/>
            </p:nvSpPr>
            <p:spPr>
              <a:xfrm>
                <a:off x="6961391" y="257297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43" name="Graphic 461">
              <a:extLst>
                <a:ext uri="{FF2B5EF4-FFF2-40B4-BE49-F238E27FC236}">
                  <a16:creationId xmlns:a16="http://schemas.microsoft.com/office/drawing/2014/main" id="{CE5031E5-760C-BD56-298F-441193F9CDC5}"/>
                </a:ext>
              </a:extLst>
            </p:cNvPr>
            <p:cNvGrpSpPr/>
            <p:nvPr/>
          </p:nvGrpSpPr>
          <p:grpSpPr>
            <a:xfrm>
              <a:off x="6973049" y="2557534"/>
              <a:ext cx="31731" cy="31731"/>
              <a:chOff x="6973049" y="2557534"/>
              <a:chExt cx="31731" cy="31731"/>
            </a:xfrm>
          </p:grpSpPr>
          <p:sp>
            <p:nvSpPr>
              <p:cNvPr id="544" name="Freeform 543">
                <a:extLst>
                  <a:ext uri="{FF2B5EF4-FFF2-40B4-BE49-F238E27FC236}">
                    <a16:creationId xmlns:a16="http://schemas.microsoft.com/office/drawing/2014/main" id="{8FFC9E6C-27E2-976A-45A3-0793363D8A8C}"/>
                  </a:ext>
                </a:extLst>
              </p:cNvPr>
              <p:cNvSpPr/>
              <p:nvPr/>
            </p:nvSpPr>
            <p:spPr>
              <a:xfrm>
                <a:off x="6988915" y="2557534"/>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5" name="Freeform 544">
                <a:extLst>
                  <a:ext uri="{FF2B5EF4-FFF2-40B4-BE49-F238E27FC236}">
                    <a16:creationId xmlns:a16="http://schemas.microsoft.com/office/drawing/2014/main" id="{F49E133C-2A84-A10D-7D86-D7BA706F881A}"/>
                  </a:ext>
                </a:extLst>
              </p:cNvPr>
              <p:cNvSpPr/>
              <p:nvPr/>
            </p:nvSpPr>
            <p:spPr>
              <a:xfrm>
                <a:off x="6973049" y="257339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46" name="Graphic 461">
              <a:extLst>
                <a:ext uri="{FF2B5EF4-FFF2-40B4-BE49-F238E27FC236}">
                  <a16:creationId xmlns:a16="http://schemas.microsoft.com/office/drawing/2014/main" id="{C8F65AD0-4773-E845-3E40-66EA94D10EFC}"/>
                </a:ext>
              </a:extLst>
            </p:cNvPr>
            <p:cNvGrpSpPr/>
            <p:nvPr/>
          </p:nvGrpSpPr>
          <p:grpSpPr>
            <a:xfrm>
              <a:off x="6988434" y="2566969"/>
              <a:ext cx="31731" cy="31671"/>
              <a:chOff x="6988434" y="2566969"/>
              <a:chExt cx="31731" cy="31671"/>
            </a:xfrm>
          </p:grpSpPr>
          <p:sp>
            <p:nvSpPr>
              <p:cNvPr id="547" name="Freeform 546">
                <a:extLst>
                  <a:ext uri="{FF2B5EF4-FFF2-40B4-BE49-F238E27FC236}">
                    <a16:creationId xmlns:a16="http://schemas.microsoft.com/office/drawing/2014/main" id="{EB184355-FF84-33B7-A90F-74A024A07496}"/>
                  </a:ext>
                </a:extLst>
              </p:cNvPr>
              <p:cNvSpPr/>
              <p:nvPr/>
            </p:nvSpPr>
            <p:spPr>
              <a:xfrm>
                <a:off x="7004300" y="2566969"/>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8" name="Freeform 547">
                <a:extLst>
                  <a:ext uri="{FF2B5EF4-FFF2-40B4-BE49-F238E27FC236}">
                    <a16:creationId xmlns:a16="http://schemas.microsoft.com/office/drawing/2014/main" id="{C617093E-87F4-06C2-2126-FF5418B30EF0}"/>
                  </a:ext>
                </a:extLst>
              </p:cNvPr>
              <p:cNvSpPr/>
              <p:nvPr/>
            </p:nvSpPr>
            <p:spPr>
              <a:xfrm>
                <a:off x="6988434" y="2582835"/>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49" name="Graphic 461">
              <a:extLst>
                <a:ext uri="{FF2B5EF4-FFF2-40B4-BE49-F238E27FC236}">
                  <a16:creationId xmlns:a16="http://schemas.microsoft.com/office/drawing/2014/main" id="{46F34663-1CD2-1552-1C41-21C892E04872}"/>
                </a:ext>
              </a:extLst>
            </p:cNvPr>
            <p:cNvGrpSpPr/>
            <p:nvPr/>
          </p:nvGrpSpPr>
          <p:grpSpPr>
            <a:xfrm>
              <a:off x="6994444" y="2566969"/>
              <a:ext cx="31731" cy="31671"/>
              <a:chOff x="6994444" y="2566969"/>
              <a:chExt cx="31731" cy="31671"/>
            </a:xfrm>
          </p:grpSpPr>
          <p:sp>
            <p:nvSpPr>
              <p:cNvPr id="550" name="Freeform 549">
                <a:extLst>
                  <a:ext uri="{FF2B5EF4-FFF2-40B4-BE49-F238E27FC236}">
                    <a16:creationId xmlns:a16="http://schemas.microsoft.com/office/drawing/2014/main" id="{9456ABCD-AF2D-C7DB-26B6-3ACE263C96BD}"/>
                  </a:ext>
                </a:extLst>
              </p:cNvPr>
              <p:cNvSpPr/>
              <p:nvPr/>
            </p:nvSpPr>
            <p:spPr>
              <a:xfrm>
                <a:off x="7010309" y="2566969"/>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1" name="Freeform 550">
                <a:extLst>
                  <a:ext uri="{FF2B5EF4-FFF2-40B4-BE49-F238E27FC236}">
                    <a16:creationId xmlns:a16="http://schemas.microsoft.com/office/drawing/2014/main" id="{DD660A74-63CD-F408-786E-3475D5395132}"/>
                  </a:ext>
                </a:extLst>
              </p:cNvPr>
              <p:cNvSpPr/>
              <p:nvPr/>
            </p:nvSpPr>
            <p:spPr>
              <a:xfrm>
                <a:off x="6994444" y="2582835"/>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52" name="Graphic 461">
              <a:extLst>
                <a:ext uri="{FF2B5EF4-FFF2-40B4-BE49-F238E27FC236}">
                  <a16:creationId xmlns:a16="http://schemas.microsoft.com/office/drawing/2014/main" id="{1D65754A-8EDA-4F14-4E63-491DBC4E7E88}"/>
                </a:ext>
              </a:extLst>
            </p:cNvPr>
            <p:cNvGrpSpPr/>
            <p:nvPr/>
          </p:nvGrpSpPr>
          <p:grpSpPr>
            <a:xfrm>
              <a:off x="6999672" y="2566969"/>
              <a:ext cx="31731" cy="31671"/>
              <a:chOff x="6999672" y="2566969"/>
              <a:chExt cx="31731" cy="31671"/>
            </a:xfrm>
          </p:grpSpPr>
          <p:sp>
            <p:nvSpPr>
              <p:cNvPr id="553" name="Freeform 552">
                <a:extLst>
                  <a:ext uri="{FF2B5EF4-FFF2-40B4-BE49-F238E27FC236}">
                    <a16:creationId xmlns:a16="http://schemas.microsoft.com/office/drawing/2014/main" id="{91383ADE-C9FF-4604-8F90-5C28183107B2}"/>
                  </a:ext>
                </a:extLst>
              </p:cNvPr>
              <p:cNvSpPr/>
              <p:nvPr/>
            </p:nvSpPr>
            <p:spPr>
              <a:xfrm>
                <a:off x="7015538" y="2566969"/>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4" name="Freeform 553">
                <a:extLst>
                  <a:ext uri="{FF2B5EF4-FFF2-40B4-BE49-F238E27FC236}">
                    <a16:creationId xmlns:a16="http://schemas.microsoft.com/office/drawing/2014/main" id="{0E876A7E-F289-6049-0569-1B4621BC0B5A}"/>
                  </a:ext>
                </a:extLst>
              </p:cNvPr>
              <p:cNvSpPr/>
              <p:nvPr/>
            </p:nvSpPr>
            <p:spPr>
              <a:xfrm>
                <a:off x="6999672" y="2582835"/>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55" name="Graphic 461">
              <a:extLst>
                <a:ext uri="{FF2B5EF4-FFF2-40B4-BE49-F238E27FC236}">
                  <a16:creationId xmlns:a16="http://schemas.microsoft.com/office/drawing/2014/main" id="{8F9A55BE-A51F-1755-7E4A-2605A90B6CE3}"/>
                </a:ext>
              </a:extLst>
            </p:cNvPr>
            <p:cNvGrpSpPr/>
            <p:nvPr/>
          </p:nvGrpSpPr>
          <p:grpSpPr>
            <a:xfrm>
              <a:off x="7004480" y="2566969"/>
              <a:ext cx="31731" cy="31671"/>
              <a:chOff x="7004480" y="2566969"/>
              <a:chExt cx="31731" cy="31671"/>
            </a:xfrm>
          </p:grpSpPr>
          <p:sp>
            <p:nvSpPr>
              <p:cNvPr id="556" name="Freeform 555">
                <a:extLst>
                  <a:ext uri="{FF2B5EF4-FFF2-40B4-BE49-F238E27FC236}">
                    <a16:creationId xmlns:a16="http://schemas.microsoft.com/office/drawing/2014/main" id="{307D20F0-F0A2-90AA-64B5-CB5CFB066855}"/>
                  </a:ext>
                </a:extLst>
              </p:cNvPr>
              <p:cNvSpPr/>
              <p:nvPr/>
            </p:nvSpPr>
            <p:spPr>
              <a:xfrm>
                <a:off x="7020345" y="2566969"/>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7" name="Freeform 556">
                <a:extLst>
                  <a:ext uri="{FF2B5EF4-FFF2-40B4-BE49-F238E27FC236}">
                    <a16:creationId xmlns:a16="http://schemas.microsoft.com/office/drawing/2014/main" id="{5BFB910B-3912-FF94-485E-744F746924B8}"/>
                  </a:ext>
                </a:extLst>
              </p:cNvPr>
              <p:cNvSpPr/>
              <p:nvPr/>
            </p:nvSpPr>
            <p:spPr>
              <a:xfrm>
                <a:off x="7004480" y="2582835"/>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58" name="Graphic 461">
              <a:extLst>
                <a:ext uri="{FF2B5EF4-FFF2-40B4-BE49-F238E27FC236}">
                  <a16:creationId xmlns:a16="http://schemas.microsoft.com/office/drawing/2014/main" id="{84775D0E-4009-C900-7283-AE95C7ABD9B5}"/>
                </a:ext>
              </a:extLst>
            </p:cNvPr>
            <p:cNvGrpSpPr/>
            <p:nvPr/>
          </p:nvGrpSpPr>
          <p:grpSpPr>
            <a:xfrm>
              <a:off x="7008086" y="2566969"/>
              <a:ext cx="31731" cy="31671"/>
              <a:chOff x="7008086" y="2566969"/>
              <a:chExt cx="31731" cy="31671"/>
            </a:xfrm>
          </p:grpSpPr>
          <p:sp>
            <p:nvSpPr>
              <p:cNvPr id="559" name="Freeform 558">
                <a:extLst>
                  <a:ext uri="{FF2B5EF4-FFF2-40B4-BE49-F238E27FC236}">
                    <a16:creationId xmlns:a16="http://schemas.microsoft.com/office/drawing/2014/main" id="{67D29848-F8A4-7E84-C83C-0D6F64ACC774}"/>
                  </a:ext>
                </a:extLst>
              </p:cNvPr>
              <p:cNvSpPr/>
              <p:nvPr/>
            </p:nvSpPr>
            <p:spPr>
              <a:xfrm>
                <a:off x="7023951" y="2566969"/>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0" name="Freeform 559">
                <a:extLst>
                  <a:ext uri="{FF2B5EF4-FFF2-40B4-BE49-F238E27FC236}">
                    <a16:creationId xmlns:a16="http://schemas.microsoft.com/office/drawing/2014/main" id="{230A3693-556D-57D8-2637-D3E9AB67A13D}"/>
                  </a:ext>
                </a:extLst>
              </p:cNvPr>
              <p:cNvSpPr/>
              <p:nvPr/>
            </p:nvSpPr>
            <p:spPr>
              <a:xfrm>
                <a:off x="7008086" y="2582835"/>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61" name="Graphic 461">
              <a:extLst>
                <a:ext uri="{FF2B5EF4-FFF2-40B4-BE49-F238E27FC236}">
                  <a16:creationId xmlns:a16="http://schemas.microsoft.com/office/drawing/2014/main" id="{E05E9F32-7319-B1CF-D84B-5C389A638160}"/>
                </a:ext>
              </a:extLst>
            </p:cNvPr>
            <p:cNvGrpSpPr/>
            <p:nvPr/>
          </p:nvGrpSpPr>
          <p:grpSpPr>
            <a:xfrm>
              <a:off x="7010490" y="2566969"/>
              <a:ext cx="31731" cy="31671"/>
              <a:chOff x="7010490" y="2566969"/>
              <a:chExt cx="31731" cy="31671"/>
            </a:xfrm>
          </p:grpSpPr>
          <p:sp>
            <p:nvSpPr>
              <p:cNvPr id="562" name="Freeform 561">
                <a:extLst>
                  <a:ext uri="{FF2B5EF4-FFF2-40B4-BE49-F238E27FC236}">
                    <a16:creationId xmlns:a16="http://schemas.microsoft.com/office/drawing/2014/main" id="{392B306E-D984-F3FE-1A48-0E87FF242BCF}"/>
                  </a:ext>
                </a:extLst>
              </p:cNvPr>
              <p:cNvSpPr/>
              <p:nvPr/>
            </p:nvSpPr>
            <p:spPr>
              <a:xfrm>
                <a:off x="7026355" y="2566969"/>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3" name="Freeform 562">
                <a:extLst>
                  <a:ext uri="{FF2B5EF4-FFF2-40B4-BE49-F238E27FC236}">
                    <a16:creationId xmlns:a16="http://schemas.microsoft.com/office/drawing/2014/main" id="{7A227A2C-155D-28BA-69D9-0F3C171EEE70}"/>
                  </a:ext>
                </a:extLst>
              </p:cNvPr>
              <p:cNvSpPr/>
              <p:nvPr/>
            </p:nvSpPr>
            <p:spPr>
              <a:xfrm>
                <a:off x="7010490" y="2582835"/>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64" name="Graphic 461">
              <a:extLst>
                <a:ext uri="{FF2B5EF4-FFF2-40B4-BE49-F238E27FC236}">
                  <a16:creationId xmlns:a16="http://schemas.microsoft.com/office/drawing/2014/main" id="{4AEA8D8D-5729-8F99-552E-64063269E935}"/>
                </a:ext>
              </a:extLst>
            </p:cNvPr>
            <p:cNvGrpSpPr/>
            <p:nvPr/>
          </p:nvGrpSpPr>
          <p:grpSpPr>
            <a:xfrm>
              <a:off x="7029240" y="2567570"/>
              <a:ext cx="31731" cy="31731"/>
              <a:chOff x="7029240" y="2567570"/>
              <a:chExt cx="31731" cy="31731"/>
            </a:xfrm>
          </p:grpSpPr>
          <p:sp>
            <p:nvSpPr>
              <p:cNvPr id="565" name="Freeform 564">
                <a:extLst>
                  <a:ext uri="{FF2B5EF4-FFF2-40B4-BE49-F238E27FC236}">
                    <a16:creationId xmlns:a16="http://schemas.microsoft.com/office/drawing/2014/main" id="{DD6919B3-CE7E-72C5-00B7-588BC69D2128}"/>
                  </a:ext>
                </a:extLst>
              </p:cNvPr>
              <p:cNvSpPr/>
              <p:nvPr/>
            </p:nvSpPr>
            <p:spPr>
              <a:xfrm>
                <a:off x="7045105" y="2567570"/>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6" name="Freeform 565">
                <a:extLst>
                  <a:ext uri="{FF2B5EF4-FFF2-40B4-BE49-F238E27FC236}">
                    <a16:creationId xmlns:a16="http://schemas.microsoft.com/office/drawing/2014/main" id="{22B64F2D-29FD-3517-CBAF-25010A9ABCFE}"/>
                  </a:ext>
                </a:extLst>
              </p:cNvPr>
              <p:cNvSpPr/>
              <p:nvPr/>
            </p:nvSpPr>
            <p:spPr>
              <a:xfrm>
                <a:off x="7029240" y="2583436"/>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67" name="Graphic 461">
              <a:extLst>
                <a:ext uri="{FF2B5EF4-FFF2-40B4-BE49-F238E27FC236}">
                  <a16:creationId xmlns:a16="http://schemas.microsoft.com/office/drawing/2014/main" id="{63346F9C-60CF-8AF9-98EA-B3F00AA79A53}"/>
                </a:ext>
              </a:extLst>
            </p:cNvPr>
            <p:cNvGrpSpPr/>
            <p:nvPr/>
          </p:nvGrpSpPr>
          <p:grpSpPr>
            <a:xfrm>
              <a:off x="7042882" y="2584037"/>
              <a:ext cx="31731" cy="31731"/>
              <a:chOff x="7042882" y="2584037"/>
              <a:chExt cx="31731" cy="31731"/>
            </a:xfrm>
          </p:grpSpPr>
          <p:sp>
            <p:nvSpPr>
              <p:cNvPr id="568" name="Freeform 567">
                <a:extLst>
                  <a:ext uri="{FF2B5EF4-FFF2-40B4-BE49-F238E27FC236}">
                    <a16:creationId xmlns:a16="http://schemas.microsoft.com/office/drawing/2014/main" id="{AEA4381E-5406-8DEB-83EE-7B8DD11C513A}"/>
                  </a:ext>
                </a:extLst>
              </p:cNvPr>
              <p:cNvSpPr/>
              <p:nvPr/>
            </p:nvSpPr>
            <p:spPr>
              <a:xfrm>
                <a:off x="7058747" y="2584037"/>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9" name="Freeform 568">
                <a:extLst>
                  <a:ext uri="{FF2B5EF4-FFF2-40B4-BE49-F238E27FC236}">
                    <a16:creationId xmlns:a16="http://schemas.microsoft.com/office/drawing/2014/main" id="{FA60CA5A-E9D2-9DFD-1B4C-EFC3A0FAC291}"/>
                  </a:ext>
                </a:extLst>
              </p:cNvPr>
              <p:cNvSpPr/>
              <p:nvPr/>
            </p:nvSpPr>
            <p:spPr>
              <a:xfrm>
                <a:off x="7042882" y="2599902"/>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70" name="Graphic 461">
              <a:extLst>
                <a:ext uri="{FF2B5EF4-FFF2-40B4-BE49-F238E27FC236}">
                  <a16:creationId xmlns:a16="http://schemas.microsoft.com/office/drawing/2014/main" id="{5E2B7242-0FF2-57D0-3C4D-664708FD95DC}"/>
                </a:ext>
              </a:extLst>
            </p:cNvPr>
            <p:cNvGrpSpPr/>
            <p:nvPr/>
          </p:nvGrpSpPr>
          <p:grpSpPr>
            <a:xfrm>
              <a:off x="7048891" y="2584037"/>
              <a:ext cx="31731" cy="31731"/>
              <a:chOff x="7048891" y="2584037"/>
              <a:chExt cx="31731" cy="31731"/>
            </a:xfrm>
          </p:grpSpPr>
          <p:sp>
            <p:nvSpPr>
              <p:cNvPr id="571" name="Freeform 570">
                <a:extLst>
                  <a:ext uri="{FF2B5EF4-FFF2-40B4-BE49-F238E27FC236}">
                    <a16:creationId xmlns:a16="http://schemas.microsoft.com/office/drawing/2014/main" id="{0449741C-8B1E-7E47-B8E4-C0BBF2D7AFD3}"/>
                  </a:ext>
                </a:extLst>
              </p:cNvPr>
              <p:cNvSpPr/>
              <p:nvPr/>
            </p:nvSpPr>
            <p:spPr>
              <a:xfrm>
                <a:off x="7064757" y="2584037"/>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2" name="Freeform 571">
                <a:extLst>
                  <a:ext uri="{FF2B5EF4-FFF2-40B4-BE49-F238E27FC236}">
                    <a16:creationId xmlns:a16="http://schemas.microsoft.com/office/drawing/2014/main" id="{613C4158-44A9-2C3A-2BF7-CCFC6D051D77}"/>
                  </a:ext>
                </a:extLst>
              </p:cNvPr>
              <p:cNvSpPr/>
              <p:nvPr/>
            </p:nvSpPr>
            <p:spPr>
              <a:xfrm>
                <a:off x="7048891" y="2599902"/>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73" name="Graphic 461">
              <a:extLst>
                <a:ext uri="{FF2B5EF4-FFF2-40B4-BE49-F238E27FC236}">
                  <a16:creationId xmlns:a16="http://schemas.microsoft.com/office/drawing/2014/main" id="{30AB360F-87B7-74DD-E26E-AE5B6E2E2A2B}"/>
                </a:ext>
              </a:extLst>
            </p:cNvPr>
            <p:cNvGrpSpPr/>
            <p:nvPr/>
          </p:nvGrpSpPr>
          <p:grpSpPr>
            <a:xfrm>
              <a:off x="7055742" y="2596897"/>
              <a:ext cx="31731" cy="31671"/>
              <a:chOff x="7055742" y="2596897"/>
              <a:chExt cx="31731" cy="31671"/>
            </a:xfrm>
          </p:grpSpPr>
          <p:sp>
            <p:nvSpPr>
              <p:cNvPr id="574" name="Freeform 573">
                <a:extLst>
                  <a:ext uri="{FF2B5EF4-FFF2-40B4-BE49-F238E27FC236}">
                    <a16:creationId xmlns:a16="http://schemas.microsoft.com/office/drawing/2014/main" id="{24FD47E7-C182-7917-3581-AB7F66008F7B}"/>
                  </a:ext>
                </a:extLst>
              </p:cNvPr>
              <p:cNvSpPr/>
              <p:nvPr/>
            </p:nvSpPr>
            <p:spPr>
              <a:xfrm>
                <a:off x="7071608" y="2596897"/>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5" name="Freeform 574">
                <a:extLst>
                  <a:ext uri="{FF2B5EF4-FFF2-40B4-BE49-F238E27FC236}">
                    <a16:creationId xmlns:a16="http://schemas.microsoft.com/office/drawing/2014/main" id="{84FC3F8B-2491-8068-81B8-BE2FF1891BCA}"/>
                  </a:ext>
                </a:extLst>
              </p:cNvPr>
              <p:cNvSpPr/>
              <p:nvPr/>
            </p:nvSpPr>
            <p:spPr>
              <a:xfrm>
                <a:off x="7055742" y="2612763"/>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76" name="Graphic 461">
              <a:extLst>
                <a:ext uri="{FF2B5EF4-FFF2-40B4-BE49-F238E27FC236}">
                  <a16:creationId xmlns:a16="http://schemas.microsoft.com/office/drawing/2014/main" id="{D555B04A-13CD-A5A5-ADA9-872ACA1490D1}"/>
                </a:ext>
              </a:extLst>
            </p:cNvPr>
            <p:cNvGrpSpPr/>
            <p:nvPr/>
          </p:nvGrpSpPr>
          <p:grpSpPr>
            <a:xfrm>
              <a:off x="7060971" y="2596897"/>
              <a:ext cx="31671" cy="31671"/>
              <a:chOff x="7060971" y="2596897"/>
              <a:chExt cx="31671" cy="31671"/>
            </a:xfrm>
          </p:grpSpPr>
          <p:sp>
            <p:nvSpPr>
              <p:cNvPr id="577" name="Freeform 576">
                <a:extLst>
                  <a:ext uri="{FF2B5EF4-FFF2-40B4-BE49-F238E27FC236}">
                    <a16:creationId xmlns:a16="http://schemas.microsoft.com/office/drawing/2014/main" id="{5C9D5326-7C27-E4C6-5F4C-5C816C751F94}"/>
                  </a:ext>
                </a:extLst>
              </p:cNvPr>
              <p:cNvSpPr/>
              <p:nvPr/>
            </p:nvSpPr>
            <p:spPr>
              <a:xfrm>
                <a:off x="7076836" y="2596897"/>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8" name="Freeform 577">
                <a:extLst>
                  <a:ext uri="{FF2B5EF4-FFF2-40B4-BE49-F238E27FC236}">
                    <a16:creationId xmlns:a16="http://schemas.microsoft.com/office/drawing/2014/main" id="{5E2C7912-0D38-1643-FD3A-2849B0F02636}"/>
                  </a:ext>
                </a:extLst>
              </p:cNvPr>
              <p:cNvSpPr/>
              <p:nvPr/>
            </p:nvSpPr>
            <p:spPr>
              <a:xfrm>
                <a:off x="7060971" y="2612763"/>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79" name="Graphic 461">
              <a:extLst>
                <a:ext uri="{FF2B5EF4-FFF2-40B4-BE49-F238E27FC236}">
                  <a16:creationId xmlns:a16="http://schemas.microsoft.com/office/drawing/2014/main" id="{7622F9F0-3921-3F52-708A-F63578121F68}"/>
                </a:ext>
              </a:extLst>
            </p:cNvPr>
            <p:cNvGrpSpPr/>
            <p:nvPr/>
          </p:nvGrpSpPr>
          <p:grpSpPr>
            <a:xfrm>
              <a:off x="7066199" y="2596897"/>
              <a:ext cx="31671" cy="31671"/>
              <a:chOff x="7066199" y="2596897"/>
              <a:chExt cx="31671" cy="31671"/>
            </a:xfrm>
          </p:grpSpPr>
          <p:sp>
            <p:nvSpPr>
              <p:cNvPr id="580" name="Freeform 579">
                <a:extLst>
                  <a:ext uri="{FF2B5EF4-FFF2-40B4-BE49-F238E27FC236}">
                    <a16:creationId xmlns:a16="http://schemas.microsoft.com/office/drawing/2014/main" id="{19EDED36-FB12-6C09-3668-2B64BC22DF39}"/>
                  </a:ext>
                </a:extLst>
              </p:cNvPr>
              <p:cNvSpPr/>
              <p:nvPr/>
            </p:nvSpPr>
            <p:spPr>
              <a:xfrm>
                <a:off x="7082005" y="2596897"/>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1" name="Freeform 580">
                <a:extLst>
                  <a:ext uri="{FF2B5EF4-FFF2-40B4-BE49-F238E27FC236}">
                    <a16:creationId xmlns:a16="http://schemas.microsoft.com/office/drawing/2014/main" id="{9F210BC9-EE2E-FF8A-22AB-0B0327CEBB8A}"/>
                  </a:ext>
                </a:extLst>
              </p:cNvPr>
              <p:cNvSpPr/>
              <p:nvPr/>
            </p:nvSpPr>
            <p:spPr>
              <a:xfrm>
                <a:off x="7066199" y="2612763"/>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82" name="Graphic 461">
              <a:extLst>
                <a:ext uri="{FF2B5EF4-FFF2-40B4-BE49-F238E27FC236}">
                  <a16:creationId xmlns:a16="http://schemas.microsoft.com/office/drawing/2014/main" id="{9E7BA9AA-AA4E-00CF-56C8-0D544D268CEE}"/>
                </a:ext>
              </a:extLst>
            </p:cNvPr>
            <p:cNvGrpSpPr/>
            <p:nvPr/>
          </p:nvGrpSpPr>
          <p:grpSpPr>
            <a:xfrm>
              <a:off x="7068603" y="2608135"/>
              <a:ext cx="31671" cy="31671"/>
              <a:chOff x="7068603" y="2608135"/>
              <a:chExt cx="31671" cy="31671"/>
            </a:xfrm>
          </p:grpSpPr>
          <p:sp>
            <p:nvSpPr>
              <p:cNvPr id="583" name="Freeform 582">
                <a:extLst>
                  <a:ext uri="{FF2B5EF4-FFF2-40B4-BE49-F238E27FC236}">
                    <a16:creationId xmlns:a16="http://schemas.microsoft.com/office/drawing/2014/main" id="{0325A773-6F16-0406-B88E-90DB16635872}"/>
                  </a:ext>
                </a:extLst>
              </p:cNvPr>
              <p:cNvSpPr/>
              <p:nvPr/>
            </p:nvSpPr>
            <p:spPr>
              <a:xfrm>
                <a:off x="7084409" y="2608135"/>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4" name="Freeform 583">
                <a:extLst>
                  <a:ext uri="{FF2B5EF4-FFF2-40B4-BE49-F238E27FC236}">
                    <a16:creationId xmlns:a16="http://schemas.microsoft.com/office/drawing/2014/main" id="{F7CBC835-5081-2545-C29B-FBDC16A414FA}"/>
                  </a:ext>
                </a:extLst>
              </p:cNvPr>
              <p:cNvSpPr/>
              <p:nvPr/>
            </p:nvSpPr>
            <p:spPr>
              <a:xfrm>
                <a:off x="7068603" y="2624001"/>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85" name="Graphic 461">
              <a:extLst>
                <a:ext uri="{FF2B5EF4-FFF2-40B4-BE49-F238E27FC236}">
                  <a16:creationId xmlns:a16="http://schemas.microsoft.com/office/drawing/2014/main" id="{3087C6CD-13B9-F468-1795-72770B4EA74F}"/>
                </a:ext>
              </a:extLst>
            </p:cNvPr>
            <p:cNvGrpSpPr/>
            <p:nvPr/>
          </p:nvGrpSpPr>
          <p:grpSpPr>
            <a:xfrm>
              <a:off x="7078579" y="2608556"/>
              <a:ext cx="31731" cy="31671"/>
              <a:chOff x="7078579" y="2608556"/>
              <a:chExt cx="31731" cy="31671"/>
            </a:xfrm>
          </p:grpSpPr>
          <p:sp>
            <p:nvSpPr>
              <p:cNvPr id="586" name="Freeform 585">
                <a:extLst>
                  <a:ext uri="{FF2B5EF4-FFF2-40B4-BE49-F238E27FC236}">
                    <a16:creationId xmlns:a16="http://schemas.microsoft.com/office/drawing/2014/main" id="{C4F0768E-7D9F-8355-E42F-926D553A5EFE}"/>
                  </a:ext>
                </a:extLst>
              </p:cNvPr>
              <p:cNvSpPr/>
              <p:nvPr/>
            </p:nvSpPr>
            <p:spPr>
              <a:xfrm>
                <a:off x="7094445" y="2608556"/>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7" name="Freeform 586">
                <a:extLst>
                  <a:ext uri="{FF2B5EF4-FFF2-40B4-BE49-F238E27FC236}">
                    <a16:creationId xmlns:a16="http://schemas.microsoft.com/office/drawing/2014/main" id="{11B263A3-202B-F5BF-07E0-20341EC5229F}"/>
                  </a:ext>
                </a:extLst>
              </p:cNvPr>
              <p:cNvSpPr/>
              <p:nvPr/>
            </p:nvSpPr>
            <p:spPr>
              <a:xfrm>
                <a:off x="7078579" y="2624422"/>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88" name="Graphic 461">
              <a:extLst>
                <a:ext uri="{FF2B5EF4-FFF2-40B4-BE49-F238E27FC236}">
                  <a16:creationId xmlns:a16="http://schemas.microsoft.com/office/drawing/2014/main" id="{A7E1166D-B145-43A8-9ABE-62F0A5971F50}"/>
                </a:ext>
              </a:extLst>
            </p:cNvPr>
            <p:cNvGrpSpPr/>
            <p:nvPr/>
          </p:nvGrpSpPr>
          <p:grpSpPr>
            <a:xfrm>
              <a:off x="7084409" y="2613724"/>
              <a:ext cx="31731" cy="31731"/>
              <a:chOff x="7084409" y="2613724"/>
              <a:chExt cx="31731" cy="31731"/>
            </a:xfrm>
          </p:grpSpPr>
          <p:sp>
            <p:nvSpPr>
              <p:cNvPr id="589" name="Freeform 588">
                <a:extLst>
                  <a:ext uri="{FF2B5EF4-FFF2-40B4-BE49-F238E27FC236}">
                    <a16:creationId xmlns:a16="http://schemas.microsoft.com/office/drawing/2014/main" id="{11CBDC9C-01F8-5A6C-242D-5CC31CE5CEA3}"/>
                  </a:ext>
                </a:extLst>
              </p:cNvPr>
              <p:cNvSpPr/>
              <p:nvPr/>
            </p:nvSpPr>
            <p:spPr>
              <a:xfrm>
                <a:off x="7100274" y="2613724"/>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0" name="Freeform 589">
                <a:extLst>
                  <a:ext uri="{FF2B5EF4-FFF2-40B4-BE49-F238E27FC236}">
                    <a16:creationId xmlns:a16="http://schemas.microsoft.com/office/drawing/2014/main" id="{C4F6A41E-DCF2-17C0-7A38-39869C3B0C76}"/>
                  </a:ext>
                </a:extLst>
              </p:cNvPr>
              <p:cNvSpPr/>
              <p:nvPr/>
            </p:nvSpPr>
            <p:spPr>
              <a:xfrm>
                <a:off x="7084409" y="2629590"/>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91" name="Graphic 461">
              <a:extLst>
                <a:ext uri="{FF2B5EF4-FFF2-40B4-BE49-F238E27FC236}">
                  <a16:creationId xmlns:a16="http://schemas.microsoft.com/office/drawing/2014/main" id="{6714F07F-B339-053D-A6BE-E29615AC3790}"/>
                </a:ext>
              </a:extLst>
            </p:cNvPr>
            <p:cNvGrpSpPr/>
            <p:nvPr/>
          </p:nvGrpSpPr>
          <p:grpSpPr>
            <a:xfrm>
              <a:off x="7089036" y="2618532"/>
              <a:ext cx="31731" cy="31731"/>
              <a:chOff x="7089036" y="2618532"/>
              <a:chExt cx="31731" cy="31731"/>
            </a:xfrm>
          </p:grpSpPr>
          <p:sp>
            <p:nvSpPr>
              <p:cNvPr id="592" name="Freeform 591">
                <a:extLst>
                  <a:ext uri="{FF2B5EF4-FFF2-40B4-BE49-F238E27FC236}">
                    <a16:creationId xmlns:a16="http://schemas.microsoft.com/office/drawing/2014/main" id="{8ABBAFA7-92B2-2C05-E01E-FC6AEC152B62}"/>
                  </a:ext>
                </a:extLst>
              </p:cNvPr>
              <p:cNvSpPr/>
              <p:nvPr/>
            </p:nvSpPr>
            <p:spPr>
              <a:xfrm>
                <a:off x="7104902" y="261853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3" name="Freeform 592">
                <a:extLst>
                  <a:ext uri="{FF2B5EF4-FFF2-40B4-BE49-F238E27FC236}">
                    <a16:creationId xmlns:a16="http://schemas.microsoft.com/office/drawing/2014/main" id="{944DBAA3-DBE2-9AA6-FF69-A73F27E4245D}"/>
                  </a:ext>
                </a:extLst>
              </p:cNvPr>
              <p:cNvSpPr/>
              <p:nvPr/>
            </p:nvSpPr>
            <p:spPr>
              <a:xfrm>
                <a:off x="7089036" y="263439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94" name="Graphic 461">
              <a:extLst>
                <a:ext uri="{FF2B5EF4-FFF2-40B4-BE49-F238E27FC236}">
                  <a16:creationId xmlns:a16="http://schemas.microsoft.com/office/drawing/2014/main" id="{6D5B3BFD-83C1-6902-0E3E-80AAE92B30DC}"/>
                </a:ext>
              </a:extLst>
            </p:cNvPr>
            <p:cNvGrpSpPr/>
            <p:nvPr/>
          </p:nvGrpSpPr>
          <p:grpSpPr>
            <a:xfrm>
              <a:off x="7093063" y="2624181"/>
              <a:ext cx="31731" cy="31731"/>
              <a:chOff x="7093063" y="2624181"/>
              <a:chExt cx="31731" cy="31731"/>
            </a:xfrm>
          </p:grpSpPr>
          <p:sp>
            <p:nvSpPr>
              <p:cNvPr id="595" name="Freeform 594">
                <a:extLst>
                  <a:ext uri="{FF2B5EF4-FFF2-40B4-BE49-F238E27FC236}">
                    <a16:creationId xmlns:a16="http://schemas.microsoft.com/office/drawing/2014/main" id="{1E6BA0F1-5EFE-9F8C-EB9D-D6FAE6660DFC}"/>
                  </a:ext>
                </a:extLst>
              </p:cNvPr>
              <p:cNvSpPr/>
              <p:nvPr/>
            </p:nvSpPr>
            <p:spPr>
              <a:xfrm>
                <a:off x="7108928" y="2624181"/>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6" name="Freeform 595">
                <a:extLst>
                  <a:ext uri="{FF2B5EF4-FFF2-40B4-BE49-F238E27FC236}">
                    <a16:creationId xmlns:a16="http://schemas.microsoft.com/office/drawing/2014/main" id="{578BC194-86B2-B42E-651D-A0826E0AA525}"/>
                  </a:ext>
                </a:extLst>
              </p:cNvPr>
              <p:cNvSpPr/>
              <p:nvPr/>
            </p:nvSpPr>
            <p:spPr>
              <a:xfrm>
                <a:off x="7093063" y="2640047"/>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97" name="Graphic 461">
              <a:extLst>
                <a:ext uri="{FF2B5EF4-FFF2-40B4-BE49-F238E27FC236}">
                  <a16:creationId xmlns:a16="http://schemas.microsoft.com/office/drawing/2014/main" id="{C50A032C-A453-8882-6E93-349211B95D1C}"/>
                </a:ext>
              </a:extLst>
            </p:cNvPr>
            <p:cNvGrpSpPr/>
            <p:nvPr/>
          </p:nvGrpSpPr>
          <p:grpSpPr>
            <a:xfrm>
              <a:off x="7098291" y="2627366"/>
              <a:ext cx="31731" cy="31731"/>
              <a:chOff x="7098291" y="2627366"/>
              <a:chExt cx="31731" cy="31731"/>
            </a:xfrm>
          </p:grpSpPr>
          <p:sp>
            <p:nvSpPr>
              <p:cNvPr id="598" name="Freeform 597">
                <a:extLst>
                  <a:ext uri="{FF2B5EF4-FFF2-40B4-BE49-F238E27FC236}">
                    <a16:creationId xmlns:a16="http://schemas.microsoft.com/office/drawing/2014/main" id="{21FBC266-BEA7-48E2-EB1D-98C7403CC2FD}"/>
                  </a:ext>
                </a:extLst>
              </p:cNvPr>
              <p:cNvSpPr/>
              <p:nvPr/>
            </p:nvSpPr>
            <p:spPr>
              <a:xfrm>
                <a:off x="7114157" y="2627366"/>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9" name="Freeform 598">
                <a:extLst>
                  <a:ext uri="{FF2B5EF4-FFF2-40B4-BE49-F238E27FC236}">
                    <a16:creationId xmlns:a16="http://schemas.microsoft.com/office/drawing/2014/main" id="{4DE89099-E7D6-0AF3-C23D-3ABE1AB8DA50}"/>
                  </a:ext>
                </a:extLst>
              </p:cNvPr>
              <p:cNvSpPr/>
              <p:nvPr/>
            </p:nvSpPr>
            <p:spPr>
              <a:xfrm>
                <a:off x="7098291" y="2643232"/>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00" name="Graphic 461">
              <a:extLst>
                <a:ext uri="{FF2B5EF4-FFF2-40B4-BE49-F238E27FC236}">
                  <a16:creationId xmlns:a16="http://schemas.microsoft.com/office/drawing/2014/main" id="{D50FB434-D097-9ADE-702E-823765743713}"/>
                </a:ext>
              </a:extLst>
            </p:cNvPr>
            <p:cNvGrpSpPr/>
            <p:nvPr/>
          </p:nvGrpSpPr>
          <p:grpSpPr>
            <a:xfrm>
              <a:off x="7111152" y="2630191"/>
              <a:ext cx="31671" cy="31731"/>
              <a:chOff x="7111152" y="2630191"/>
              <a:chExt cx="31671" cy="31731"/>
            </a:xfrm>
          </p:grpSpPr>
          <p:sp>
            <p:nvSpPr>
              <p:cNvPr id="601" name="Freeform 600">
                <a:extLst>
                  <a:ext uri="{FF2B5EF4-FFF2-40B4-BE49-F238E27FC236}">
                    <a16:creationId xmlns:a16="http://schemas.microsoft.com/office/drawing/2014/main" id="{488D2D16-2340-EF59-F534-8D1EA89212AC}"/>
                  </a:ext>
                </a:extLst>
              </p:cNvPr>
              <p:cNvSpPr/>
              <p:nvPr/>
            </p:nvSpPr>
            <p:spPr>
              <a:xfrm>
                <a:off x="7126957" y="2630191"/>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2" name="Freeform 601">
                <a:extLst>
                  <a:ext uri="{FF2B5EF4-FFF2-40B4-BE49-F238E27FC236}">
                    <a16:creationId xmlns:a16="http://schemas.microsoft.com/office/drawing/2014/main" id="{3AFB98CB-5C1D-0E29-1E1B-0C8FC730E9AE}"/>
                  </a:ext>
                </a:extLst>
              </p:cNvPr>
              <p:cNvSpPr/>
              <p:nvPr/>
            </p:nvSpPr>
            <p:spPr>
              <a:xfrm>
                <a:off x="7111152" y="2646056"/>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03" name="Graphic 461">
              <a:extLst>
                <a:ext uri="{FF2B5EF4-FFF2-40B4-BE49-F238E27FC236}">
                  <a16:creationId xmlns:a16="http://schemas.microsoft.com/office/drawing/2014/main" id="{576AE67F-65D5-5917-1F3C-301E8DBBF2A2}"/>
                </a:ext>
              </a:extLst>
            </p:cNvPr>
            <p:cNvGrpSpPr/>
            <p:nvPr/>
          </p:nvGrpSpPr>
          <p:grpSpPr>
            <a:xfrm>
              <a:off x="7117161" y="2635419"/>
              <a:ext cx="31671" cy="31731"/>
              <a:chOff x="7117161" y="2635419"/>
              <a:chExt cx="31671" cy="31731"/>
            </a:xfrm>
          </p:grpSpPr>
          <p:sp>
            <p:nvSpPr>
              <p:cNvPr id="604" name="Freeform 603">
                <a:extLst>
                  <a:ext uri="{FF2B5EF4-FFF2-40B4-BE49-F238E27FC236}">
                    <a16:creationId xmlns:a16="http://schemas.microsoft.com/office/drawing/2014/main" id="{26FF446F-AE03-3AAE-FC0C-1A8CF2C3728F}"/>
                  </a:ext>
                </a:extLst>
              </p:cNvPr>
              <p:cNvSpPr/>
              <p:nvPr/>
            </p:nvSpPr>
            <p:spPr>
              <a:xfrm>
                <a:off x="7133027" y="2635419"/>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5" name="Freeform 604">
                <a:extLst>
                  <a:ext uri="{FF2B5EF4-FFF2-40B4-BE49-F238E27FC236}">
                    <a16:creationId xmlns:a16="http://schemas.microsoft.com/office/drawing/2014/main" id="{AF641357-6565-21B0-1511-BB3F3D438B60}"/>
                  </a:ext>
                </a:extLst>
              </p:cNvPr>
              <p:cNvSpPr/>
              <p:nvPr/>
            </p:nvSpPr>
            <p:spPr>
              <a:xfrm>
                <a:off x="7117161" y="2651285"/>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06" name="Graphic 461">
              <a:extLst>
                <a:ext uri="{FF2B5EF4-FFF2-40B4-BE49-F238E27FC236}">
                  <a16:creationId xmlns:a16="http://schemas.microsoft.com/office/drawing/2014/main" id="{3CDC30AF-C4CB-89AD-9155-F47299D42AA5}"/>
                </a:ext>
              </a:extLst>
            </p:cNvPr>
            <p:cNvGrpSpPr/>
            <p:nvPr/>
          </p:nvGrpSpPr>
          <p:grpSpPr>
            <a:xfrm>
              <a:off x="7122750" y="2639806"/>
              <a:ext cx="31731" cy="31731"/>
              <a:chOff x="7122750" y="2639806"/>
              <a:chExt cx="31731" cy="31731"/>
            </a:xfrm>
          </p:grpSpPr>
          <p:sp>
            <p:nvSpPr>
              <p:cNvPr id="607" name="Freeform 606">
                <a:extLst>
                  <a:ext uri="{FF2B5EF4-FFF2-40B4-BE49-F238E27FC236}">
                    <a16:creationId xmlns:a16="http://schemas.microsoft.com/office/drawing/2014/main" id="{CA5018FC-8DF4-5631-F1EC-232E3E1ACE03}"/>
                  </a:ext>
                </a:extLst>
              </p:cNvPr>
              <p:cNvSpPr/>
              <p:nvPr/>
            </p:nvSpPr>
            <p:spPr>
              <a:xfrm>
                <a:off x="7138616" y="2639806"/>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8" name="Freeform 607">
                <a:extLst>
                  <a:ext uri="{FF2B5EF4-FFF2-40B4-BE49-F238E27FC236}">
                    <a16:creationId xmlns:a16="http://schemas.microsoft.com/office/drawing/2014/main" id="{84445A03-A225-B1CB-AAE8-63DFA6EDE4A1}"/>
                  </a:ext>
                </a:extLst>
              </p:cNvPr>
              <p:cNvSpPr/>
              <p:nvPr/>
            </p:nvSpPr>
            <p:spPr>
              <a:xfrm>
                <a:off x="7122750" y="2655672"/>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09" name="Graphic 461">
              <a:extLst>
                <a:ext uri="{FF2B5EF4-FFF2-40B4-BE49-F238E27FC236}">
                  <a16:creationId xmlns:a16="http://schemas.microsoft.com/office/drawing/2014/main" id="{86B4AF30-C8E7-9C01-90D8-35060C512776}"/>
                </a:ext>
              </a:extLst>
            </p:cNvPr>
            <p:cNvGrpSpPr/>
            <p:nvPr/>
          </p:nvGrpSpPr>
          <p:grpSpPr>
            <a:xfrm>
              <a:off x="7128399" y="2641429"/>
              <a:ext cx="31671" cy="31731"/>
              <a:chOff x="7128399" y="2641429"/>
              <a:chExt cx="31671" cy="31731"/>
            </a:xfrm>
          </p:grpSpPr>
          <p:sp>
            <p:nvSpPr>
              <p:cNvPr id="610" name="Freeform 609">
                <a:extLst>
                  <a:ext uri="{FF2B5EF4-FFF2-40B4-BE49-F238E27FC236}">
                    <a16:creationId xmlns:a16="http://schemas.microsoft.com/office/drawing/2014/main" id="{42A15987-8388-75D0-3F31-60B54E16643A}"/>
                  </a:ext>
                </a:extLst>
              </p:cNvPr>
              <p:cNvSpPr/>
              <p:nvPr/>
            </p:nvSpPr>
            <p:spPr>
              <a:xfrm>
                <a:off x="7144265" y="2641429"/>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1" name="Freeform 610">
                <a:extLst>
                  <a:ext uri="{FF2B5EF4-FFF2-40B4-BE49-F238E27FC236}">
                    <a16:creationId xmlns:a16="http://schemas.microsoft.com/office/drawing/2014/main" id="{6AFBD642-9039-945D-CD4A-D3565FEC6204}"/>
                  </a:ext>
                </a:extLst>
              </p:cNvPr>
              <p:cNvSpPr/>
              <p:nvPr/>
            </p:nvSpPr>
            <p:spPr>
              <a:xfrm>
                <a:off x="7128399" y="2657294"/>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12" name="Graphic 461">
              <a:extLst>
                <a:ext uri="{FF2B5EF4-FFF2-40B4-BE49-F238E27FC236}">
                  <a16:creationId xmlns:a16="http://schemas.microsoft.com/office/drawing/2014/main" id="{CABB68EA-717D-4C1F-621A-262FB862147A}"/>
                </a:ext>
              </a:extLst>
            </p:cNvPr>
            <p:cNvGrpSpPr/>
            <p:nvPr/>
          </p:nvGrpSpPr>
          <p:grpSpPr>
            <a:xfrm>
              <a:off x="7133989" y="2641429"/>
              <a:ext cx="31731" cy="31731"/>
              <a:chOff x="7133989" y="2641429"/>
              <a:chExt cx="31731" cy="31731"/>
            </a:xfrm>
          </p:grpSpPr>
          <p:sp>
            <p:nvSpPr>
              <p:cNvPr id="613" name="Freeform 612">
                <a:extLst>
                  <a:ext uri="{FF2B5EF4-FFF2-40B4-BE49-F238E27FC236}">
                    <a16:creationId xmlns:a16="http://schemas.microsoft.com/office/drawing/2014/main" id="{DABDEAED-D2C3-72D3-C59C-30F07645C169}"/>
                  </a:ext>
                </a:extLst>
              </p:cNvPr>
              <p:cNvSpPr/>
              <p:nvPr/>
            </p:nvSpPr>
            <p:spPr>
              <a:xfrm>
                <a:off x="7149854" y="2641429"/>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 name="Freeform 613">
                <a:extLst>
                  <a:ext uri="{FF2B5EF4-FFF2-40B4-BE49-F238E27FC236}">
                    <a16:creationId xmlns:a16="http://schemas.microsoft.com/office/drawing/2014/main" id="{35EFB3BD-796C-AD2A-EE76-8E25DCE16144}"/>
                  </a:ext>
                </a:extLst>
              </p:cNvPr>
              <p:cNvSpPr/>
              <p:nvPr/>
            </p:nvSpPr>
            <p:spPr>
              <a:xfrm>
                <a:off x="7133989" y="2657294"/>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15" name="Graphic 461">
              <a:extLst>
                <a:ext uri="{FF2B5EF4-FFF2-40B4-BE49-F238E27FC236}">
                  <a16:creationId xmlns:a16="http://schemas.microsoft.com/office/drawing/2014/main" id="{02079992-2775-9B2D-8BD8-D1EF81DD1A96}"/>
                </a:ext>
              </a:extLst>
            </p:cNvPr>
            <p:cNvGrpSpPr/>
            <p:nvPr/>
          </p:nvGrpSpPr>
          <p:grpSpPr>
            <a:xfrm>
              <a:off x="7139217" y="2641429"/>
              <a:ext cx="31731" cy="31731"/>
              <a:chOff x="7139217" y="2641429"/>
              <a:chExt cx="31731" cy="31731"/>
            </a:xfrm>
          </p:grpSpPr>
          <p:sp>
            <p:nvSpPr>
              <p:cNvPr id="616" name="Freeform 615">
                <a:extLst>
                  <a:ext uri="{FF2B5EF4-FFF2-40B4-BE49-F238E27FC236}">
                    <a16:creationId xmlns:a16="http://schemas.microsoft.com/office/drawing/2014/main" id="{371C281F-57EC-7C91-73B5-2E11A6C6238B}"/>
                  </a:ext>
                </a:extLst>
              </p:cNvPr>
              <p:cNvSpPr/>
              <p:nvPr/>
            </p:nvSpPr>
            <p:spPr>
              <a:xfrm>
                <a:off x="7155082" y="2641429"/>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7" name="Freeform 616">
                <a:extLst>
                  <a:ext uri="{FF2B5EF4-FFF2-40B4-BE49-F238E27FC236}">
                    <a16:creationId xmlns:a16="http://schemas.microsoft.com/office/drawing/2014/main" id="{14857C76-6600-97B3-70C1-650E9C913869}"/>
                  </a:ext>
                </a:extLst>
              </p:cNvPr>
              <p:cNvSpPr/>
              <p:nvPr/>
            </p:nvSpPr>
            <p:spPr>
              <a:xfrm>
                <a:off x="7139217" y="2657294"/>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18" name="Graphic 461">
              <a:extLst>
                <a:ext uri="{FF2B5EF4-FFF2-40B4-BE49-F238E27FC236}">
                  <a16:creationId xmlns:a16="http://schemas.microsoft.com/office/drawing/2014/main" id="{ABF2871A-CFC8-9E0D-F947-E89A46B93B17}"/>
                </a:ext>
              </a:extLst>
            </p:cNvPr>
            <p:cNvGrpSpPr/>
            <p:nvPr/>
          </p:nvGrpSpPr>
          <p:grpSpPr>
            <a:xfrm>
              <a:off x="7144866" y="2654290"/>
              <a:ext cx="31671" cy="31671"/>
              <a:chOff x="7144866" y="2654290"/>
              <a:chExt cx="31671" cy="31671"/>
            </a:xfrm>
          </p:grpSpPr>
          <p:sp>
            <p:nvSpPr>
              <p:cNvPr id="619" name="Freeform 618">
                <a:extLst>
                  <a:ext uri="{FF2B5EF4-FFF2-40B4-BE49-F238E27FC236}">
                    <a16:creationId xmlns:a16="http://schemas.microsoft.com/office/drawing/2014/main" id="{ED73BC32-2DF3-849D-4870-6D22509887E9}"/>
                  </a:ext>
                </a:extLst>
              </p:cNvPr>
              <p:cNvSpPr/>
              <p:nvPr/>
            </p:nvSpPr>
            <p:spPr>
              <a:xfrm>
                <a:off x="7160671" y="2654290"/>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20" name="Freeform 619">
                <a:extLst>
                  <a:ext uri="{FF2B5EF4-FFF2-40B4-BE49-F238E27FC236}">
                    <a16:creationId xmlns:a16="http://schemas.microsoft.com/office/drawing/2014/main" id="{14C9C8EF-0C42-12F6-BCA0-36464D65B86B}"/>
                  </a:ext>
                </a:extLst>
              </p:cNvPr>
              <p:cNvSpPr/>
              <p:nvPr/>
            </p:nvSpPr>
            <p:spPr>
              <a:xfrm>
                <a:off x="7144866" y="2670155"/>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21" name="Graphic 461">
              <a:extLst>
                <a:ext uri="{FF2B5EF4-FFF2-40B4-BE49-F238E27FC236}">
                  <a16:creationId xmlns:a16="http://schemas.microsoft.com/office/drawing/2014/main" id="{35D563DD-4329-9BB8-B7C6-B6246BDAD7E4}"/>
                </a:ext>
              </a:extLst>
            </p:cNvPr>
            <p:cNvGrpSpPr/>
            <p:nvPr/>
          </p:nvGrpSpPr>
          <p:grpSpPr>
            <a:xfrm>
              <a:off x="7147630" y="2659097"/>
              <a:ext cx="31731" cy="31731"/>
              <a:chOff x="7147630" y="2659097"/>
              <a:chExt cx="31731" cy="31731"/>
            </a:xfrm>
          </p:grpSpPr>
          <p:sp>
            <p:nvSpPr>
              <p:cNvPr id="622" name="Freeform 621">
                <a:extLst>
                  <a:ext uri="{FF2B5EF4-FFF2-40B4-BE49-F238E27FC236}">
                    <a16:creationId xmlns:a16="http://schemas.microsoft.com/office/drawing/2014/main" id="{B7013410-2869-1E29-151A-869F6BE8EFAF}"/>
                  </a:ext>
                </a:extLst>
              </p:cNvPr>
              <p:cNvSpPr/>
              <p:nvPr/>
            </p:nvSpPr>
            <p:spPr>
              <a:xfrm>
                <a:off x="7163496" y="2659097"/>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23" name="Freeform 622">
                <a:extLst>
                  <a:ext uri="{FF2B5EF4-FFF2-40B4-BE49-F238E27FC236}">
                    <a16:creationId xmlns:a16="http://schemas.microsoft.com/office/drawing/2014/main" id="{52629F96-977A-E93C-EAB9-518CB3E0E84E}"/>
                  </a:ext>
                </a:extLst>
              </p:cNvPr>
              <p:cNvSpPr/>
              <p:nvPr/>
            </p:nvSpPr>
            <p:spPr>
              <a:xfrm>
                <a:off x="7147630" y="2674963"/>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24" name="Graphic 461">
              <a:extLst>
                <a:ext uri="{FF2B5EF4-FFF2-40B4-BE49-F238E27FC236}">
                  <a16:creationId xmlns:a16="http://schemas.microsoft.com/office/drawing/2014/main" id="{518FAC64-5284-EE36-0163-31509C2DC5A3}"/>
                </a:ext>
              </a:extLst>
            </p:cNvPr>
            <p:cNvGrpSpPr/>
            <p:nvPr/>
          </p:nvGrpSpPr>
          <p:grpSpPr>
            <a:xfrm>
              <a:off x="7163316" y="2662703"/>
              <a:ext cx="31731" cy="31731"/>
              <a:chOff x="7163316" y="2662703"/>
              <a:chExt cx="31731" cy="31731"/>
            </a:xfrm>
          </p:grpSpPr>
          <p:sp>
            <p:nvSpPr>
              <p:cNvPr id="625" name="Freeform 624">
                <a:extLst>
                  <a:ext uri="{FF2B5EF4-FFF2-40B4-BE49-F238E27FC236}">
                    <a16:creationId xmlns:a16="http://schemas.microsoft.com/office/drawing/2014/main" id="{578EA3F1-C77A-DC27-D023-5DF9663A3D1A}"/>
                  </a:ext>
                </a:extLst>
              </p:cNvPr>
              <p:cNvSpPr/>
              <p:nvPr/>
            </p:nvSpPr>
            <p:spPr>
              <a:xfrm>
                <a:off x="7179181"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26" name="Freeform 625">
                <a:extLst>
                  <a:ext uri="{FF2B5EF4-FFF2-40B4-BE49-F238E27FC236}">
                    <a16:creationId xmlns:a16="http://schemas.microsoft.com/office/drawing/2014/main" id="{05934DFF-B67B-A6EA-35E0-AFE7D9341A0E}"/>
                  </a:ext>
                </a:extLst>
              </p:cNvPr>
              <p:cNvSpPr/>
              <p:nvPr/>
            </p:nvSpPr>
            <p:spPr>
              <a:xfrm>
                <a:off x="7163316" y="267856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27" name="Graphic 461">
              <a:extLst>
                <a:ext uri="{FF2B5EF4-FFF2-40B4-BE49-F238E27FC236}">
                  <a16:creationId xmlns:a16="http://schemas.microsoft.com/office/drawing/2014/main" id="{C4666451-4D5F-2012-3E93-AB2DFD7BACE4}"/>
                </a:ext>
              </a:extLst>
            </p:cNvPr>
            <p:cNvGrpSpPr/>
            <p:nvPr/>
          </p:nvGrpSpPr>
          <p:grpSpPr>
            <a:xfrm>
              <a:off x="7168905" y="2662703"/>
              <a:ext cx="31731" cy="31731"/>
              <a:chOff x="7168905" y="2662703"/>
              <a:chExt cx="31731" cy="31731"/>
            </a:xfrm>
          </p:grpSpPr>
          <p:sp>
            <p:nvSpPr>
              <p:cNvPr id="628" name="Freeform 627">
                <a:extLst>
                  <a:ext uri="{FF2B5EF4-FFF2-40B4-BE49-F238E27FC236}">
                    <a16:creationId xmlns:a16="http://schemas.microsoft.com/office/drawing/2014/main" id="{64271D57-59A6-43C0-0DA4-E0D3E90F0F39}"/>
                  </a:ext>
                </a:extLst>
              </p:cNvPr>
              <p:cNvSpPr/>
              <p:nvPr/>
            </p:nvSpPr>
            <p:spPr>
              <a:xfrm>
                <a:off x="7184770"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29" name="Freeform 628">
                <a:extLst>
                  <a:ext uri="{FF2B5EF4-FFF2-40B4-BE49-F238E27FC236}">
                    <a16:creationId xmlns:a16="http://schemas.microsoft.com/office/drawing/2014/main" id="{B838C4D1-522B-BFFF-3B98-EDAB8D7C0E01}"/>
                  </a:ext>
                </a:extLst>
              </p:cNvPr>
              <p:cNvSpPr/>
              <p:nvPr/>
            </p:nvSpPr>
            <p:spPr>
              <a:xfrm>
                <a:off x="7168905" y="267856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30" name="Graphic 461">
              <a:extLst>
                <a:ext uri="{FF2B5EF4-FFF2-40B4-BE49-F238E27FC236}">
                  <a16:creationId xmlns:a16="http://schemas.microsoft.com/office/drawing/2014/main" id="{B9517E40-578E-105C-299B-6259B4946D92}"/>
                </a:ext>
              </a:extLst>
            </p:cNvPr>
            <p:cNvGrpSpPr/>
            <p:nvPr/>
          </p:nvGrpSpPr>
          <p:grpSpPr>
            <a:xfrm>
              <a:off x="7173773" y="2662703"/>
              <a:ext cx="31671" cy="31731"/>
              <a:chOff x="7173773" y="2662703"/>
              <a:chExt cx="31671" cy="31731"/>
            </a:xfrm>
          </p:grpSpPr>
          <p:sp>
            <p:nvSpPr>
              <p:cNvPr id="631" name="Freeform 630">
                <a:extLst>
                  <a:ext uri="{FF2B5EF4-FFF2-40B4-BE49-F238E27FC236}">
                    <a16:creationId xmlns:a16="http://schemas.microsoft.com/office/drawing/2014/main" id="{5B640296-7732-8463-F34D-E3A07C093011}"/>
                  </a:ext>
                </a:extLst>
              </p:cNvPr>
              <p:cNvSpPr/>
              <p:nvPr/>
            </p:nvSpPr>
            <p:spPr>
              <a:xfrm>
                <a:off x="7189578"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32" name="Freeform 631">
                <a:extLst>
                  <a:ext uri="{FF2B5EF4-FFF2-40B4-BE49-F238E27FC236}">
                    <a16:creationId xmlns:a16="http://schemas.microsoft.com/office/drawing/2014/main" id="{B3AC96C0-BE73-6FD0-2B82-ACE04A5CC4D1}"/>
                  </a:ext>
                </a:extLst>
              </p:cNvPr>
              <p:cNvSpPr/>
              <p:nvPr/>
            </p:nvSpPr>
            <p:spPr>
              <a:xfrm>
                <a:off x="7173773" y="2678569"/>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33" name="Graphic 461">
              <a:extLst>
                <a:ext uri="{FF2B5EF4-FFF2-40B4-BE49-F238E27FC236}">
                  <a16:creationId xmlns:a16="http://schemas.microsoft.com/office/drawing/2014/main" id="{D03A664C-06C6-3EB1-70E5-5C012CB10B6D}"/>
                </a:ext>
              </a:extLst>
            </p:cNvPr>
            <p:cNvGrpSpPr/>
            <p:nvPr/>
          </p:nvGrpSpPr>
          <p:grpSpPr>
            <a:xfrm>
              <a:off x="7179362" y="2662703"/>
              <a:ext cx="31731" cy="31731"/>
              <a:chOff x="7179362" y="2662703"/>
              <a:chExt cx="31731" cy="31731"/>
            </a:xfrm>
          </p:grpSpPr>
          <p:sp>
            <p:nvSpPr>
              <p:cNvPr id="634" name="Freeform 633">
                <a:extLst>
                  <a:ext uri="{FF2B5EF4-FFF2-40B4-BE49-F238E27FC236}">
                    <a16:creationId xmlns:a16="http://schemas.microsoft.com/office/drawing/2014/main" id="{BC32B8AF-5FE1-A8C9-54AB-7711D2531345}"/>
                  </a:ext>
                </a:extLst>
              </p:cNvPr>
              <p:cNvSpPr/>
              <p:nvPr/>
            </p:nvSpPr>
            <p:spPr>
              <a:xfrm>
                <a:off x="7195227"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35" name="Freeform 634">
                <a:extLst>
                  <a:ext uri="{FF2B5EF4-FFF2-40B4-BE49-F238E27FC236}">
                    <a16:creationId xmlns:a16="http://schemas.microsoft.com/office/drawing/2014/main" id="{433CD864-B729-E603-EAFE-3CBF87E212B5}"/>
                  </a:ext>
                </a:extLst>
              </p:cNvPr>
              <p:cNvSpPr/>
              <p:nvPr/>
            </p:nvSpPr>
            <p:spPr>
              <a:xfrm>
                <a:off x="7179362" y="267856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36" name="Graphic 461">
              <a:extLst>
                <a:ext uri="{FF2B5EF4-FFF2-40B4-BE49-F238E27FC236}">
                  <a16:creationId xmlns:a16="http://schemas.microsoft.com/office/drawing/2014/main" id="{689CE99C-C741-13F3-0BE6-3EDDF0359D1E}"/>
                </a:ext>
              </a:extLst>
            </p:cNvPr>
            <p:cNvGrpSpPr/>
            <p:nvPr/>
          </p:nvGrpSpPr>
          <p:grpSpPr>
            <a:xfrm>
              <a:off x="7190600" y="2662703"/>
              <a:ext cx="31731" cy="31731"/>
              <a:chOff x="7190600" y="2662703"/>
              <a:chExt cx="31731" cy="31731"/>
            </a:xfrm>
          </p:grpSpPr>
          <p:sp>
            <p:nvSpPr>
              <p:cNvPr id="637" name="Freeform 636">
                <a:extLst>
                  <a:ext uri="{FF2B5EF4-FFF2-40B4-BE49-F238E27FC236}">
                    <a16:creationId xmlns:a16="http://schemas.microsoft.com/office/drawing/2014/main" id="{128D701B-E396-CE8C-5718-166769FE3A5E}"/>
                  </a:ext>
                </a:extLst>
              </p:cNvPr>
              <p:cNvSpPr/>
              <p:nvPr/>
            </p:nvSpPr>
            <p:spPr>
              <a:xfrm>
                <a:off x="7206465"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38" name="Freeform 637">
                <a:extLst>
                  <a:ext uri="{FF2B5EF4-FFF2-40B4-BE49-F238E27FC236}">
                    <a16:creationId xmlns:a16="http://schemas.microsoft.com/office/drawing/2014/main" id="{4F75F6F4-A0B6-63CF-61CE-1F62B58DB22D}"/>
                  </a:ext>
                </a:extLst>
              </p:cNvPr>
              <p:cNvSpPr/>
              <p:nvPr/>
            </p:nvSpPr>
            <p:spPr>
              <a:xfrm>
                <a:off x="7190600" y="267856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39" name="Graphic 461">
              <a:extLst>
                <a:ext uri="{FF2B5EF4-FFF2-40B4-BE49-F238E27FC236}">
                  <a16:creationId xmlns:a16="http://schemas.microsoft.com/office/drawing/2014/main" id="{0F60DFA7-3CCE-88ED-F982-166F2228EF8E}"/>
                </a:ext>
              </a:extLst>
            </p:cNvPr>
            <p:cNvGrpSpPr/>
            <p:nvPr/>
          </p:nvGrpSpPr>
          <p:grpSpPr>
            <a:xfrm>
              <a:off x="7196249" y="2662703"/>
              <a:ext cx="31671" cy="31731"/>
              <a:chOff x="7196249" y="2662703"/>
              <a:chExt cx="31671" cy="31731"/>
            </a:xfrm>
          </p:grpSpPr>
          <p:sp>
            <p:nvSpPr>
              <p:cNvPr id="640" name="Freeform 639">
                <a:extLst>
                  <a:ext uri="{FF2B5EF4-FFF2-40B4-BE49-F238E27FC236}">
                    <a16:creationId xmlns:a16="http://schemas.microsoft.com/office/drawing/2014/main" id="{2B9B35AA-E5FF-1E45-7429-01A7E1DE5019}"/>
                  </a:ext>
                </a:extLst>
              </p:cNvPr>
              <p:cNvSpPr/>
              <p:nvPr/>
            </p:nvSpPr>
            <p:spPr>
              <a:xfrm>
                <a:off x="7212054"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41" name="Freeform 640">
                <a:extLst>
                  <a:ext uri="{FF2B5EF4-FFF2-40B4-BE49-F238E27FC236}">
                    <a16:creationId xmlns:a16="http://schemas.microsoft.com/office/drawing/2014/main" id="{BE6C2F12-29C0-638F-4615-90C5488B6A64}"/>
                  </a:ext>
                </a:extLst>
              </p:cNvPr>
              <p:cNvSpPr/>
              <p:nvPr/>
            </p:nvSpPr>
            <p:spPr>
              <a:xfrm>
                <a:off x="7196249" y="2678569"/>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42" name="Graphic 461">
              <a:extLst>
                <a:ext uri="{FF2B5EF4-FFF2-40B4-BE49-F238E27FC236}">
                  <a16:creationId xmlns:a16="http://schemas.microsoft.com/office/drawing/2014/main" id="{7A297A36-38B0-B9F5-6182-0E5A49EB97EF}"/>
                </a:ext>
              </a:extLst>
            </p:cNvPr>
            <p:cNvGrpSpPr/>
            <p:nvPr/>
          </p:nvGrpSpPr>
          <p:grpSpPr>
            <a:xfrm>
              <a:off x="7201057" y="2662703"/>
              <a:ext cx="31671" cy="31731"/>
              <a:chOff x="7201057" y="2662703"/>
              <a:chExt cx="31671" cy="31731"/>
            </a:xfrm>
          </p:grpSpPr>
          <p:sp>
            <p:nvSpPr>
              <p:cNvPr id="643" name="Freeform 642">
                <a:extLst>
                  <a:ext uri="{FF2B5EF4-FFF2-40B4-BE49-F238E27FC236}">
                    <a16:creationId xmlns:a16="http://schemas.microsoft.com/office/drawing/2014/main" id="{AB27A299-B149-C2AE-41D9-428FDC4B3B75}"/>
                  </a:ext>
                </a:extLst>
              </p:cNvPr>
              <p:cNvSpPr/>
              <p:nvPr/>
            </p:nvSpPr>
            <p:spPr>
              <a:xfrm>
                <a:off x="7216922"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44" name="Freeform 643">
                <a:extLst>
                  <a:ext uri="{FF2B5EF4-FFF2-40B4-BE49-F238E27FC236}">
                    <a16:creationId xmlns:a16="http://schemas.microsoft.com/office/drawing/2014/main" id="{6D589F74-7494-25F4-C41A-A916713DABCC}"/>
                  </a:ext>
                </a:extLst>
              </p:cNvPr>
              <p:cNvSpPr/>
              <p:nvPr/>
            </p:nvSpPr>
            <p:spPr>
              <a:xfrm>
                <a:off x="7201057" y="2678569"/>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45" name="Graphic 461">
              <a:extLst>
                <a:ext uri="{FF2B5EF4-FFF2-40B4-BE49-F238E27FC236}">
                  <a16:creationId xmlns:a16="http://schemas.microsoft.com/office/drawing/2014/main" id="{9F0C6E26-9478-4632-B0B3-1F8315B6F9E7}"/>
                </a:ext>
              </a:extLst>
            </p:cNvPr>
            <p:cNvGrpSpPr/>
            <p:nvPr/>
          </p:nvGrpSpPr>
          <p:grpSpPr>
            <a:xfrm>
              <a:off x="7211453" y="2662703"/>
              <a:ext cx="31731" cy="31731"/>
              <a:chOff x="7211453" y="2662703"/>
              <a:chExt cx="31731" cy="31731"/>
            </a:xfrm>
          </p:grpSpPr>
          <p:sp>
            <p:nvSpPr>
              <p:cNvPr id="646" name="Freeform 645">
                <a:extLst>
                  <a:ext uri="{FF2B5EF4-FFF2-40B4-BE49-F238E27FC236}">
                    <a16:creationId xmlns:a16="http://schemas.microsoft.com/office/drawing/2014/main" id="{891A2BBF-132C-D8F4-536D-507CAB9E1B77}"/>
                  </a:ext>
                </a:extLst>
              </p:cNvPr>
              <p:cNvSpPr/>
              <p:nvPr/>
            </p:nvSpPr>
            <p:spPr>
              <a:xfrm>
                <a:off x="7227319"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47" name="Freeform 646">
                <a:extLst>
                  <a:ext uri="{FF2B5EF4-FFF2-40B4-BE49-F238E27FC236}">
                    <a16:creationId xmlns:a16="http://schemas.microsoft.com/office/drawing/2014/main" id="{39E64A6F-282E-F021-E8ED-8AF3EB675A4D}"/>
                  </a:ext>
                </a:extLst>
              </p:cNvPr>
              <p:cNvSpPr/>
              <p:nvPr/>
            </p:nvSpPr>
            <p:spPr>
              <a:xfrm>
                <a:off x="7211453" y="267856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48" name="Graphic 461">
              <a:extLst>
                <a:ext uri="{FF2B5EF4-FFF2-40B4-BE49-F238E27FC236}">
                  <a16:creationId xmlns:a16="http://schemas.microsoft.com/office/drawing/2014/main" id="{BF70507E-55CA-8198-352A-C6021881AF66}"/>
                </a:ext>
              </a:extLst>
            </p:cNvPr>
            <p:cNvGrpSpPr/>
            <p:nvPr/>
          </p:nvGrpSpPr>
          <p:grpSpPr>
            <a:xfrm>
              <a:off x="7221129" y="2662703"/>
              <a:ext cx="31671" cy="31731"/>
              <a:chOff x="7221129" y="2662703"/>
              <a:chExt cx="31671" cy="31731"/>
            </a:xfrm>
          </p:grpSpPr>
          <p:sp>
            <p:nvSpPr>
              <p:cNvPr id="649" name="Freeform 648">
                <a:extLst>
                  <a:ext uri="{FF2B5EF4-FFF2-40B4-BE49-F238E27FC236}">
                    <a16:creationId xmlns:a16="http://schemas.microsoft.com/office/drawing/2014/main" id="{2F769472-2123-EC37-BB98-CDFE2B7D616E}"/>
                  </a:ext>
                </a:extLst>
              </p:cNvPr>
              <p:cNvSpPr/>
              <p:nvPr/>
            </p:nvSpPr>
            <p:spPr>
              <a:xfrm>
                <a:off x="7236994"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50" name="Freeform 649">
                <a:extLst>
                  <a:ext uri="{FF2B5EF4-FFF2-40B4-BE49-F238E27FC236}">
                    <a16:creationId xmlns:a16="http://schemas.microsoft.com/office/drawing/2014/main" id="{D12A24FA-150F-AF0A-5E9A-F2C24E94D960}"/>
                  </a:ext>
                </a:extLst>
              </p:cNvPr>
              <p:cNvSpPr/>
              <p:nvPr/>
            </p:nvSpPr>
            <p:spPr>
              <a:xfrm>
                <a:off x="7221129" y="2678569"/>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51" name="Graphic 461">
              <a:extLst>
                <a:ext uri="{FF2B5EF4-FFF2-40B4-BE49-F238E27FC236}">
                  <a16:creationId xmlns:a16="http://schemas.microsoft.com/office/drawing/2014/main" id="{7122795C-8F6D-DE21-BD59-5322FDF2B1DD}"/>
                </a:ext>
              </a:extLst>
            </p:cNvPr>
            <p:cNvGrpSpPr/>
            <p:nvPr/>
          </p:nvGrpSpPr>
          <p:grpSpPr>
            <a:xfrm>
              <a:off x="7233929" y="2662703"/>
              <a:ext cx="31731" cy="31731"/>
              <a:chOff x="7233929" y="2662703"/>
              <a:chExt cx="31731" cy="31731"/>
            </a:xfrm>
          </p:grpSpPr>
          <p:sp>
            <p:nvSpPr>
              <p:cNvPr id="652" name="Freeform 651">
                <a:extLst>
                  <a:ext uri="{FF2B5EF4-FFF2-40B4-BE49-F238E27FC236}">
                    <a16:creationId xmlns:a16="http://schemas.microsoft.com/office/drawing/2014/main" id="{04C03240-91DF-57BE-6597-6DB2FA7328C1}"/>
                  </a:ext>
                </a:extLst>
              </p:cNvPr>
              <p:cNvSpPr/>
              <p:nvPr/>
            </p:nvSpPr>
            <p:spPr>
              <a:xfrm>
                <a:off x="7249795"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53" name="Freeform 652">
                <a:extLst>
                  <a:ext uri="{FF2B5EF4-FFF2-40B4-BE49-F238E27FC236}">
                    <a16:creationId xmlns:a16="http://schemas.microsoft.com/office/drawing/2014/main" id="{56ED2665-0F5C-9664-92A0-854EF244EB2D}"/>
                  </a:ext>
                </a:extLst>
              </p:cNvPr>
              <p:cNvSpPr/>
              <p:nvPr/>
            </p:nvSpPr>
            <p:spPr>
              <a:xfrm>
                <a:off x="7233929" y="267856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54" name="Graphic 461">
              <a:extLst>
                <a:ext uri="{FF2B5EF4-FFF2-40B4-BE49-F238E27FC236}">
                  <a16:creationId xmlns:a16="http://schemas.microsoft.com/office/drawing/2014/main" id="{62393C76-3CC5-AD27-F2C5-E2DD4685CB29}"/>
                </a:ext>
              </a:extLst>
            </p:cNvPr>
            <p:cNvGrpSpPr/>
            <p:nvPr/>
          </p:nvGrpSpPr>
          <p:grpSpPr>
            <a:xfrm>
              <a:off x="7240780" y="2662703"/>
              <a:ext cx="31731" cy="31731"/>
              <a:chOff x="7240780" y="2662703"/>
              <a:chExt cx="31731" cy="31731"/>
            </a:xfrm>
          </p:grpSpPr>
          <p:sp>
            <p:nvSpPr>
              <p:cNvPr id="655" name="Freeform 654">
                <a:extLst>
                  <a:ext uri="{FF2B5EF4-FFF2-40B4-BE49-F238E27FC236}">
                    <a16:creationId xmlns:a16="http://schemas.microsoft.com/office/drawing/2014/main" id="{932647A3-0BB7-6EE6-AE79-4215281DB483}"/>
                  </a:ext>
                </a:extLst>
              </p:cNvPr>
              <p:cNvSpPr/>
              <p:nvPr/>
            </p:nvSpPr>
            <p:spPr>
              <a:xfrm>
                <a:off x="7256646"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56" name="Freeform 655">
                <a:extLst>
                  <a:ext uri="{FF2B5EF4-FFF2-40B4-BE49-F238E27FC236}">
                    <a16:creationId xmlns:a16="http://schemas.microsoft.com/office/drawing/2014/main" id="{9FF5F31B-02C8-A831-A5BD-F09A2EC64FB3}"/>
                  </a:ext>
                </a:extLst>
              </p:cNvPr>
              <p:cNvSpPr/>
              <p:nvPr/>
            </p:nvSpPr>
            <p:spPr>
              <a:xfrm>
                <a:off x="7240780" y="267856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57" name="Graphic 461">
              <a:extLst>
                <a:ext uri="{FF2B5EF4-FFF2-40B4-BE49-F238E27FC236}">
                  <a16:creationId xmlns:a16="http://schemas.microsoft.com/office/drawing/2014/main" id="{17879225-3A57-B869-7E2F-344EB7CF66DA}"/>
                </a:ext>
              </a:extLst>
            </p:cNvPr>
            <p:cNvGrpSpPr/>
            <p:nvPr/>
          </p:nvGrpSpPr>
          <p:grpSpPr>
            <a:xfrm>
              <a:off x="7247992" y="2662703"/>
              <a:ext cx="31731" cy="31731"/>
              <a:chOff x="7247992" y="2662703"/>
              <a:chExt cx="31731" cy="31731"/>
            </a:xfrm>
          </p:grpSpPr>
          <p:sp>
            <p:nvSpPr>
              <p:cNvPr id="658" name="Freeform 657">
                <a:extLst>
                  <a:ext uri="{FF2B5EF4-FFF2-40B4-BE49-F238E27FC236}">
                    <a16:creationId xmlns:a16="http://schemas.microsoft.com/office/drawing/2014/main" id="{B0D4F45E-5C3E-4CBC-1EA5-311465FD5FE5}"/>
                  </a:ext>
                </a:extLst>
              </p:cNvPr>
              <p:cNvSpPr/>
              <p:nvPr/>
            </p:nvSpPr>
            <p:spPr>
              <a:xfrm>
                <a:off x="7263858"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59" name="Freeform 658">
                <a:extLst>
                  <a:ext uri="{FF2B5EF4-FFF2-40B4-BE49-F238E27FC236}">
                    <a16:creationId xmlns:a16="http://schemas.microsoft.com/office/drawing/2014/main" id="{92C7DE66-0D8A-D0D6-DE6B-16ED6A2C1166}"/>
                  </a:ext>
                </a:extLst>
              </p:cNvPr>
              <p:cNvSpPr/>
              <p:nvPr/>
            </p:nvSpPr>
            <p:spPr>
              <a:xfrm>
                <a:off x="7247992" y="267856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60" name="Graphic 461">
              <a:extLst>
                <a:ext uri="{FF2B5EF4-FFF2-40B4-BE49-F238E27FC236}">
                  <a16:creationId xmlns:a16="http://schemas.microsoft.com/office/drawing/2014/main" id="{9FB19FB0-F4DD-86AB-7DD6-103FCE46A006}"/>
                </a:ext>
              </a:extLst>
            </p:cNvPr>
            <p:cNvGrpSpPr/>
            <p:nvPr/>
          </p:nvGrpSpPr>
          <p:grpSpPr>
            <a:xfrm>
              <a:off x="7256826" y="2662703"/>
              <a:ext cx="31731" cy="31731"/>
              <a:chOff x="7256826" y="2662703"/>
              <a:chExt cx="31731" cy="31731"/>
            </a:xfrm>
          </p:grpSpPr>
          <p:sp>
            <p:nvSpPr>
              <p:cNvPr id="661" name="Freeform 660">
                <a:extLst>
                  <a:ext uri="{FF2B5EF4-FFF2-40B4-BE49-F238E27FC236}">
                    <a16:creationId xmlns:a16="http://schemas.microsoft.com/office/drawing/2014/main" id="{3CE9A158-AEF5-7F3B-B50B-3AEB4B0B91C3}"/>
                  </a:ext>
                </a:extLst>
              </p:cNvPr>
              <p:cNvSpPr/>
              <p:nvPr/>
            </p:nvSpPr>
            <p:spPr>
              <a:xfrm>
                <a:off x="7272692"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62" name="Freeform 661">
                <a:extLst>
                  <a:ext uri="{FF2B5EF4-FFF2-40B4-BE49-F238E27FC236}">
                    <a16:creationId xmlns:a16="http://schemas.microsoft.com/office/drawing/2014/main" id="{2256A132-92C2-ACD1-0F82-4529FF553825}"/>
                  </a:ext>
                </a:extLst>
              </p:cNvPr>
              <p:cNvSpPr/>
              <p:nvPr/>
            </p:nvSpPr>
            <p:spPr>
              <a:xfrm>
                <a:off x="7256826" y="267856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63" name="Graphic 461">
              <a:extLst>
                <a:ext uri="{FF2B5EF4-FFF2-40B4-BE49-F238E27FC236}">
                  <a16:creationId xmlns:a16="http://schemas.microsoft.com/office/drawing/2014/main" id="{54E5335B-BA04-28C9-C7E2-35CE9291E317}"/>
                </a:ext>
              </a:extLst>
            </p:cNvPr>
            <p:cNvGrpSpPr/>
            <p:nvPr/>
          </p:nvGrpSpPr>
          <p:grpSpPr>
            <a:xfrm>
              <a:off x="7268906" y="2662703"/>
              <a:ext cx="31671" cy="31731"/>
              <a:chOff x="7268906" y="2662703"/>
              <a:chExt cx="31671" cy="31731"/>
            </a:xfrm>
          </p:grpSpPr>
          <p:sp>
            <p:nvSpPr>
              <p:cNvPr id="664" name="Freeform 663">
                <a:extLst>
                  <a:ext uri="{FF2B5EF4-FFF2-40B4-BE49-F238E27FC236}">
                    <a16:creationId xmlns:a16="http://schemas.microsoft.com/office/drawing/2014/main" id="{BA923399-987B-2505-8D0E-D532D4469DE1}"/>
                  </a:ext>
                </a:extLst>
              </p:cNvPr>
              <p:cNvSpPr/>
              <p:nvPr/>
            </p:nvSpPr>
            <p:spPr>
              <a:xfrm>
                <a:off x="7284711" y="266270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65" name="Freeform 664">
                <a:extLst>
                  <a:ext uri="{FF2B5EF4-FFF2-40B4-BE49-F238E27FC236}">
                    <a16:creationId xmlns:a16="http://schemas.microsoft.com/office/drawing/2014/main" id="{E0E75B91-D15C-EF7A-F794-078E8A5C569B}"/>
                  </a:ext>
                </a:extLst>
              </p:cNvPr>
              <p:cNvSpPr/>
              <p:nvPr/>
            </p:nvSpPr>
            <p:spPr>
              <a:xfrm>
                <a:off x="7268906" y="2678569"/>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66" name="Graphic 461">
              <a:extLst>
                <a:ext uri="{FF2B5EF4-FFF2-40B4-BE49-F238E27FC236}">
                  <a16:creationId xmlns:a16="http://schemas.microsoft.com/office/drawing/2014/main" id="{685762CF-561C-0D43-AB6C-89D94AACD722}"/>
                </a:ext>
              </a:extLst>
            </p:cNvPr>
            <p:cNvGrpSpPr/>
            <p:nvPr/>
          </p:nvGrpSpPr>
          <p:grpSpPr>
            <a:xfrm>
              <a:off x="7279903" y="2681994"/>
              <a:ext cx="31731" cy="31671"/>
              <a:chOff x="7279903" y="2681994"/>
              <a:chExt cx="31731" cy="31671"/>
            </a:xfrm>
          </p:grpSpPr>
          <p:sp>
            <p:nvSpPr>
              <p:cNvPr id="667" name="Freeform 666">
                <a:extLst>
                  <a:ext uri="{FF2B5EF4-FFF2-40B4-BE49-F238E27FC236}">
                    <a16:creationId xmlns:a16="http://schemas.microsoft.com/office/drawing/2014/main" id="{7155E8AC-A266-FB94-3A4C-C93C82B47A18}"/>
                  </a:ext>
                </a:extLst>
              </p:cNvPr>
              <p:cNvSpPr/>
              <p:nvPr/>
            </p:nvSpPr>
            <p:spPr>
              <a:xfrm>
                <a:off x="7295769" y="2681994"/>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68" name="Freeform 667">
                <a:extLst>
                  <a:ext uri="{FF2B5EF4-FFF2-40B4-BE49-F238E27FC236}">
                    <a16:creationId xmlns:a16="http://schemas.microsoft.com/office/drawing/2014/main" id="{DB401A53-8A8E-58D3-9FAF-35B63A89F007}"/>
                  </a:ext>
                </a:extLst>
              </p:cNvPr>
              <p:cNvSpPr/>
              <p:nvPr/>
            </p:nvSpPr>
            <p:spPr>
              <a:xfrm>
                <a:off x="7279903" y="2697860"/>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69" name="Graphic 461">
              <a:extLst>
                <a:ext uri="{FF2B5EF4-FFF2-40B4-BE49-F238E27FC236}">
                  <a16:creationId xmlns:a16="http://schemas.microsoft.com/office/drawing/2014/main" id="{B32B13C3-71DF-01D9-F379-AA980F69FB41}"/>
                </a:ext>
              </a:extLst>
            </p:cNvPr>
            <p:cNvGrpSpPr/>
            <p:nvPr/>
          </p:nvGrpSpPr>
          <p:grpSpPr>
            <a:xfrm>
              <a:off x="7290781" y="2681994"/>
              <a:ext cx="31671" cy="31671"/>
              <a:chOff x="7290781" y="2681994"/>
              <a:chExt cx="31671" cy="31671"/>
            </a:xfrm>
          </p:grpSpPr>
          <p:sp>
            <p:nvSpPr>
              <p:cNvPr id="670" name="Freeform 669">
                <a:extLst>
                  <a:ext uri="{FF2B5EF4-FFF2-40B4-BE49-F238E27FC236}">
                    <a16:creationId xmlns:a16="http://schemas.microsoft.com/office/drawing/2014/main" id="{665A8D41-C24F-EDF5-8761-71CEA8082096}"/>
                  </a:ext>
                </a:extLst>
              </p:cNvPr>
              <p:cNvSpPr/>
              <p:nvPr/>
            </p:nvSpPr>
            <p:spPr>
              <a:xfrm>
                <a:off x="7306586" y="2681994"/>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71" name="Freeform 670">
                <a:extLst>
                  <a:ext uri="{FF2B5EF4-FFF2-40B4-BE49-F238E27FC236}">
                    <a16:creationId xmlns:a16="http://schemas.microsoft.com/office/drawing/2014/main" id="{3F526EDE-3804-EA29-8AD1-323FF5556635}"/>
                  </a:ext>
                </a:extLst>
              </p:cNvPr>
              <p:cNvSpPr/>
              <p:nvPr/>
            </p:nvSpPr>
            <p:spPr>
              <a:xfrm>
                <a:off x="7290781" y="2697860"/>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72" name="Graphic 461">
              <a:extLst>
                <a:ext uri="{FF2B5EF4-FFF2-40B4-BE49-F238E27FC236}">
                  <a16:creationId xmlns:a16="http://schemas.microsoft.com/office/drawing/2014/main" id="{7EC06DC6-0D99-C094-8ECA-F2078B2705F0}"/>
                </a:ext>
              </a:extLst>
            </p:cNvPr>
            <p:cNvGrpSpPr/>
            <p:nvPr/>
          </p:nvGrpSpPr>
          <p:grpSpPr>
            <a:xfrm>
              <a:off x="7303221" y="2681994"/>
              <a:ext cx="31671" cy="31671"/>
              <a:chOff x="7303221" y="2681994"/>
              <a:chExt cx="31671" cy="31671"/>
            </a:xfrm>
          </p:grpSpPr>
          <p:sp>
            <p:nvSpPr>
              <p:cNvPr id="673" name="Freeform 672">
                <a:extLst>
                  <a:ext uri="{FF2B5EF4-FFF2-40B4-BE49-F238E27FC236}">
                    <a16:creationId xmlns:a16="http://schemas.microsoft.com/office/drawing/2014/main" id="{74FCEB10-36D7-CE2E-8BAD-07CF390759EE}"/>
                  </a:ext>
                </a:extLst>
              </p:cNvPr>
              <p:cNvSpPr/>
              <p:nvPr/>
            </p:nvSpPr>
            <p:spPr>
              <a:xfrm>
                <a:off x="7319026" y="2681994"/>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74" name="Freeform 673">
                <a:extLst>
                  <a:ext uri="{FF2B5EF4-FFF2-40B4-BE49-F238E27FC236}">
                    <a16:creationId xmlns:a16="http://schemas.microsoft.com/office/drawing/2014/main" id="{AA3A9F26-948E-A203-8734-DA9416A766A4}"/>
                  </a:ext>
                </a:extLst>
              </p:cNvPr>
              <p:cNvSpPr/>
              <p:nvPr/>
            </p:nvSpPr>
            <p:spPr>
              <a:xfrm>
                <a:off x="7303221" y="2697860"/>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75" name="Graphic 461">
              <a:extLst>
                <a:ext uri="{FF2B5EF4-FFF2-40B4-BE49-F238E27FC236}">
                  <a16:creationId xmlns:a16="http://schemas.microsoft.com/office/drawing/2014/main" id="{6CD3B9A3-706E-292C-B654-8A157E91FC0F}"/>
                </a:ext>
              </a:extLst>
            </p:cNvPr>
            <p:cNvGrpSpPr/>
            <p:nvPr/>
          </p:nvGrpSpPr>
          <p:grpSpPr>
            <a:xfrm>
              <a:off x="7322452" y="2681994"/>
              <a:ext cx="31731" cy="31671"/>
              <a:chOff x="7322452" y="2681994"/>
              <a:chExt cx="31731" cy="31671"/>
            </a:xfrm>
          </p:grpSpPr>
          <p:sp>
            <p:nvSpPr>
              <p:cNvPr id="676" name="Freeform 675">
                <a:extLst>
                  <a:ext uri="{FF2B5EF4-FFF2-40B4-BE49-F238E27FC236}">
                    <a16:creationId xmlns:a16="http://schemas.microsoft.com/office/drawing/2014/main" id="{33D29480-8701-7682-4530-8B5D5105FA59}"/>
                  </a:ext>
                </a:extLst>
              </p:cNvPr>
              <p:cNvSpPr/>
              <p:nvPr/>
            </p:nvSpPr>
            <p:spPr>
              <a:xfrm>
                <a:off x="7338318" y="2681994"/>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77" name="Freeform 676">
                <a:extLst>
                  <a:ext uri="{FF2B5EF4-FFF2-40B4-BE49-F238E27FC236}">
                    <a16:creationId xmlns:a16="http://schemas.microsoft.com/office/drawing/2014/main" id="{5DACE341-8E05-1981-7802-307289C1B94A}"/>
                  </a:ext>
                </a:extLst>
              </p:cNvPr>
              <p:cNvSpPr/>
              <p:nvPr/>
            </p:nvSpPr>
            <p:spPr>
              <a:xfrm>
                <a:off x="7322452" y="2697860"/>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78" name="Graphic 461">
              <a:extLst>
                <a:ext uri="{FF2B5EF4-FFF2-40B4-BE49-F238E27FC236}">
                  <a16:creationId xmlns:a16="http://schemas.microsoft.com/office/drawing/2014/main" id="{6E20B3DF-9FEB-4470-C71E-8AD79A2FCBF0}"/>
                </a:ext>
              </a:extLst>
            </p:cNvPr>
            <p:cNvGrpSpPr/>
            <p:nvPr/>
          </p:nvGrpSpPr>
          <p:grpSpPr>
            <a:xfrm>
              <a:off x="7333330" y="2706033"/>
              <a:ext cx="31671" cy="31731"/>
              <a:chOff x="7333330" y="2706033"/>
              <a:chExt cx="31671" cy="31731"/>
            </a:xfrm>
          </p:grpSpPr>
          <p:sp>
            <p:nvSpPr>
              <p:cNvPr id="679" name="Freeform 678">
                <a:extLst>
                  <a:ext uri="{FF2B5EF4-FFF2-40B4-BE49-F238E27FC236}">
                    <a16:creationId xmlns:a16="http://schemas.microsoft.com/office/drawing/2014/main" id="{D01FB84E-A985-F781-8AA5-BFB0E1B414EE}"/>
                  </a:ext>
                </a:extLst>
              </p:cNvPr>
              <p:cNvSpPr/>
              <p:nvPr/>
            </p:nvSpPr>
            <p:spPr>
              <a:xfrm>
                <a:off x="7349135" y="270603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0" name="Freeform 679">
                <a:extLst>
                  <a:ext uri="{FF2B5EF4-FFF2-40B4-BE49-F238E27FC236}">
                    <a16:creationId xmlns:a16="http://schemas.microsoft.com/office/drawing/2014/main" id="{3FA0F2D1-8FAF-50EF-A9A3-FF2FD5279D9C}"/>
                  </a:ext>
                </a:extLst>
              </p:cNvPr>
              <p:cNvSpPr/>
              <p:nvPr/>
            </p:nvSpPr>
            <p:spPr>
              <a:xfrm>
                <a:off x="7333330" y="2721899"/>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81" name="Graphic 461">
              <a:extLst>
                <a:ext uri="{FF2B5EF4-FFF2-40B4-BE49-F238E27FC236}">
                  <a16:creationId xmlns:a16="http://schemas.microsoft.com/office/drawing/2014/main" id="{6C15CA21-919B-E2F1-471C-C11399BCDD64}"/>
                </a:ext>
              </a:extLst>
            </p:cNvPr>
            <p:cNvGrpSpPr/>
            <p:nvPr/>
          </p:nvGrpSpPr>
          <p:grpSpPr>
            <a:xfrm>
              <a:off x="7346551" y="2706033"/>
              <a:ext cx="31731" cy="31731"/>
              <a:chOff x="7346551" y="2706033"/>
              <a:chExt cx="31731" cy="31731"/>
            </a:xfrm>
          </p:grpSpPr>
          <p:sp>
            <p:nvSpPr>
              <p:cNvPr id="682" name="Freeform 681">
                <a:extLst>
                  <a:ext uri="{FF2B5EF4-FFF2-40B4-BE49-F238E27FC236}">
                    <a16:creationId xmlns:a16="http://schemas.microsoft.com/office/drawing/2014/main" id="{263D77B1-66D1-5AF8-285B-DB792E892622}"/>
                  </a:ext>
                </a:extLst>
              </p:cNvPr>
              <p:cNvSpPr/>
              <p:nvPr/>
            </p:nvSpPr>
            <p:spPr>
              <a:xfrm>
                <a:off x="7362416" y="270603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3" name="Freeform 682">
                <a:extLst>
                  <a:ext uri="{FF2B5EF4-FFF2-40B4-BE49-F238E27FC236}">
                    <a16:creationId xmlns:a16="http://schemas.microsoft.com/office/drawing/2014/main" id="{897BC84F-AF91-91ED-98A5-8E573063DC32}"/>
                  </a:ext>
                </a:extLst>
              </p:cNvPr>
              <p:cNvSpPr/>
              <p:nvPr/>
            </p:nvSpPr>
            <p:spPr>
              <a:xfrm>
                <a:off x="7346551" y="272189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84" name="Graphic 461">
              <a:extLst>
                <a:ext uri="{FF2B5EF4-FFF2-40B4-BE49-F238E27FC236}">
                  <a16:creationId xmlns:a16="http://schemas.microsoft.com/office/drawing/2014/main" id="{EE903444-2310-A932-D790-10D584EF27C5}"/>
                </a:ext>
              </a:extLst>
            </p:cNvPr>
            <p:cNvGrpSpPr/>
            <p:nvPr/>
          </p:nvGrpSpPr>
          <p:grpSpPr>
            <a:xfrm>
              <a:off x="7359772" y="2706033"/>
              <a:ext cx="31731" cy="31731"/>
              <a:chOff x="7359772" y="2706033"/>
              <a:chExt cx="31731" cy="31731"/>
            </a:xfrm>
          </p:grpSpPr>
          <p:sp>
            <p:nvSpPr>
              <p:cNvPr id="685" name="Freeform 684">
                <a:extLst>
                  <a:ext uri="{FF2B5EF4-FFF2-40B4-BE49-F238E27FC236}">
                    <a16:creationId xmlns:a16="http://schemas.microsoft.com/office/drawing/2014/main" id="{3D64911C-81FF-BEE5-7799-500279322585}"/>
                  </a:ext>
                </a:extLst>
              </p:cNvPr>
              <p:cNvSpPr/>
              <p:nvPr/>
            </p:nvSpPr>
            <p:spPr>
              <a:xfrm>
                <a:off x="7375638" y="2706033"/>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6" name="Freeform 685">
                <a:extLst>
                  <a:ext uri="{FF2B5EF4-FFF2-40B4-BE49-F238E27FC236}">
                    <a16:creationId xmlns:a16="http://schemas.microsoft.com/office/drawing/2014/main" id="{8D185025-DE13-4284-C1CE-F582B8A0AC83}"/>
                  </a:ext>
                </a:extLst>
              </p:cNvPr>
              <p:cNvSpPr/>
              <p:nvPr/>
            </p:nvSpPr>
            <p:spPr>
              <a:xfrm>
                <a:off x="7359772" y="2721899"/>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87" name="Graphic 461">
              <a:extLst>
                <a:ext uri="{FF2B5EF4-FFF2-40B4-BE49-F238E27FC236}">
                  <a16:creationId xmlns:a16="http://schemas.microsoft.com/office/drawing/2014/main" id="{EB92F0AA-E3F8-DCAC-849A-B6103A6064E6}"/>
                </a:ext>
              </a:extLst>
            </p:cNvPr>
            <p:cNvGrpSpPr/>
            <p:nvPr/>
          </p:nvGrpSpPr>
          <p:grpSpPr>
            <a:xfrm>
              <a:off x="7378642" y="2742992"/>
              <a:ext cx="31731" cy="31731"/>
              <a:chOff x="7378642" y="2742992"/>
              <a:chExt cx="31731" cy="31731"/>
            </a:xfrm>
          </p:grpSpPr>
          <p:sp>
            <p:nvSpPr>
              <p:cNvPr id="688" name="Freeform 687">
                <a:extLst>
                  <a:ext uri="{FF2B5EF4-FFF2-40B4-BE49-F238E27FC236}">
                    <a16:creationId xmlns:a16="http://schemas.microsoft.com/office/drawing/2014/main" id="{675D218A-15D5-53ED-F6E9-F52807E03417}"/>
                  </a:ext>
                </a:extLst>
              </p:cNvPr>
              <p:cNvSpPr/>
              <p:nvPr/>
            </p:nvSpPr>
            <p:spPr>
              <a:xfrm>
                <a:off x="7394508"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9" name="Freeform 688">
                <a:extLst>
                  <a:ext uri="{FF2B5EF4-FFF2-40B4-BE49-F238E27FC236}">
                    <a16:creationId xmlns:a16="http://schemas.microsoft.com/office/drawing/2014/main" id="{EC4D7FE6-504A-35D1-AA59-B3F9842AE4B6}"/>
                  </a:ext>
                </a:extLst>
              </p:cNvPr>
              <p:cNvSpPr/>
              <p:nvPr/>
            </p:nvSpPr>
            <p:spPr>
              <a:xfrm>
                <a:off x="7378642"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90" name="Graphic 461">
              <a:extLst>
                <a:ext uri="{FF2B5EF4-FFF2-40B4-BE49-F238E27FC236}">
                  <a16:creationId xmlns:a16="http://schemas.microsoft.com/office/drawing/2014/main" id="{C34638AE-2D5D-ECF7-DA09-F162EE55B7BA}"/>
                </a:ext>
              </a:extLst>
            </p:cNvPr>
            <p:cNvGrpSpPr/>
            <p:nvPr/>
          </p:nvGrpSpPr>
          <p:grpSpPr>
            <a:xfrm>
              <a:off x="7387897" y="2742992"/>
              <a:ext cx="31731" cy="31731"/>
              <a:chOff x="7387897" y="2742992"/>
              <a:chExt cx="31731" cy="31731"/>
            </a:xfrm>
          </p:grpSpPr>
          <p:sp>
            <p:nvSpPr>
              <p:cNvPr id="691" name="Freeform 690">
                <a:extLst>
                  <a:ext uri="{FF2B5EF4-FFF2-40B4-BE49-F238E27FC236}">
                    <a16:creationId xmlns:a16="http://schemas.microsoft.com/office/drawing/2014/main" id="{1269B2F4-4203-D0E4-D5AC-EA0A846162B3}"/>
                  </a:ext>
                </a:extLst>
              </p:cNvPr>
              <p:cNvSpPr/>
              <p:nvPr/>
            </p:nvSpPr>
            <p:spPr>
              <a:xfrm>
                <a:off x="7403763"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92" name="Freeform 691">
                <a:extLst>
                  <a:ext uri="{FF2B5EF4-FFF2-40B4-BE49-F238E27FC236}">
                    <a16:creationId xmlns:a16="http://schemas.microsoft.com/office/drawing/2014/main" id="{1DD5F460-8F8F-403F-A45E-976C5FFB073D}"/>
                  </a:ext>
                </a:extLst>
              </p:cNvPr>
              <p:cNvSpPr/>
              <p:nvPr/>
            </p:nvSpPr>
            <p:spPr>
              <a:xfrm>
                <a:off x="7387897"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93" name="Graphic 461">
              <a:extLst>
                <a:ext uri="{FF2B5EF4-FFF2-40B4-BE49-F238E27FC236}">
                  <a16:creationId xmlns:a16="http://schemas.microsoft.com/office/drawing/2014/main" id="{F2B17EA0-2DE1-ED89-23F1-479FA26177A1}"/>
                </a:ext>
              </a:extLst>
            </p:cNvPr>
            <p:cNvGrpSpPr/>
            <p:nvPr/>
          </p:nvGrpSpPr>
          <p:grpSpPr>
            <a:xfrm>
              <a:off x="7422814" y="2742992"/>
              <a:ext cx="31731" cy="31731"/>
              <a:chOff x="7422814" y="2742992"/>
              <a:chExt cx="31731" cy="31731"/>
            </a:xfrm>
          </p:grpSpPr>
          <p:sp>
            <p:nvSpPr>
              <p:cNvPr id="694" name="Freeform 693">
                <a:extLst>
                  <a:ext uri="{FF2B5EF4-FFF2-40B4-BE49-F238E27FC236}">
                    <a16:creationId xmlns:a16="http://schemas.microsoft.com/office/drawing/2014/main" id="{634BC277-8D22-AFE6-CD29-2AF8391B4920}"/>
                  </a:ext>
                </a:extLst>
              </p:cNvPr>
              <p:cNvSpPr/>
              <p:nvPr/>
            </p:nvSpPr>
            <p:spPr>
              <a:xfrm>
                <a:off x="7438679"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95" name="Freeform 694">
                <a:extLst>
                  <a:ext uri="{FF2B5EF4-FFF2-40B4-BE49-F238E27FC236}">
                    <a16:creationId xmlns:a16="http://schemas.microsoft.com/office/drawing/2014/main" id="{EF07AE2E-11B2-D054-8503-2B59A2D4E62D}"/>
                  </a:ext>
                </a:extLst>
              </p:cNvPr>
              <p:cNvSpPr/>
              <p:nvPr/>
            </p:nvSpPr>
            <p:spPr>
              <a:xfrm>
                <a:off x="7422814"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96" name="Graphic 461">
              <a:extLst>
                <a:ext uri="{FF2B5EF4-FFF2-40B4-BE49-F238E27FC236}">
                  <a16:creationId xmlns:a16="http://schemas.microsoft.com/office/drawing/2014/main" id="{41BA1C05-CC37-C8B6-2267-7A83F1A60021}"/>
                </a:ext>
              </a:extLst>
            </p:cNvPr>
            <p:cNvGrpSpPr/>
            <p:nvPr/>
          </p:nvGrpSpPr>
          <p:grpSpPr>
            <a:xfrm>
              <a:off x="7428823" y="2742992"/>
              <a:ext cx="31731" cy="31731"/>
              <a:chOff x="7428823" y="2742992"/>
              <a:chExt cx="31731" cy="31731"/>
            </a:xfrm>
          </p:grpSpPr>
          <p:sp>
            <p:nvSpPr>
              <p:cNvPr id="697" name="Freeform 696">
                <a:extLst>
                  <a:ext uri="{FF2B5EF4-FFF2-40B4-BE49-F238E27FC236}">
                    <a16:creationId xmlns:a16="http://schemas.microsoft.com/office/drawing/2014/main" id="{2A59A10E-0479-C2AA-D8A1-2EAECFE0C1FA}"/>
                  </a:ext>
                </a:extLst>
              </p:cNvPr>
              <p:cNvSpPr/>
              <p:nvPr/>
            </p:nvSpPr>
            <p:spPr>
              <a:xfrm>
                <a:off x="7444689"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98" name="Freeform 697">
                <a:extLst>
                  <a:ext uri="{FF2B5EF4-FFF2-40B4-BE49-F238E27FC236}">
                    <a16:creationId xmlns:a16="http://schemas.microsoft.com/office/drawing/2014/main" id="{7ACF4AC8-5986-F7FD-E96A-9B85D9A42AB7}"/>
                  </a:ext>
                </a:extLst>
              </p:cNvPr>
              <p:cNvSpPr/>
              <p:nvPr/>
            </p:nvSpPr>
            <p:spPr>
              <a:xfrm>
                <a:off x="7428823"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99" name="Graphic 461">
              <a:extLst>
                <a:ext uri="{FF2B5EF4-FFF2-40B4-BE49-F238E27FC236}">
                  <a16:creationId xmlns:a16="http://schemas.microsoft.com/office/drawing/2014/main" id="{8D267C9E-787D-7EAE-006F-1F7A7709FB11}"/>
                </a:ext>
              </a:extLst>
            </p:cNvPr>
            <p:cNvGrpSpPr/>
            <p:nvPr/>
          </p:nvGrpSpPr>
          <p:grpSpPr>
            <a:xfrm>
              <a:off x="7434052" y="2742992"/>
              <a:ext cx="31731" cy="31731"/>
              <a:chOff x="7434052" y="2742992"/>
              <a:chExt cx="31731" cy="31731"/>
            </a:xfrm>
          </p:grpSpPr>
          <p:sp>
            <p:nvSpPr>
              <p:cNvPr id="700" name="Freeform 699">
                <a:extLst>
                  <a:ext uri="{FF2B5EF4-FFF2-40B4-BE49-F238E27FC236}">
                    <a16:creationId xmlns:a16="http://schemas.microsoft.com/office/drawing/2014/main" id="{C8803FA5-5260-5CC5-75A9-CDD871F77F19}"/>
                  </a:ext>
                </a:extLst>
              </p:cNvPr>
              <p:cNvSpPr/>
              <p:nvPr/>
            </p:nvSpPr>
            <p:spPr>
              <a:xfrm>
                <a:off x="7449917"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01" name="Freeform 700">
                <a:extLst>
                  <a:ext uri="{FF2B5EF4-FFF2-40B4-BE49-F238E27FC236}">
                    <a16:creationId xmlns:a16="http://schemas.microsoft.com/office/drawing/2014/main" id="{BA584D9F-D139-4B65-DFCD-777F65931DD3}"/>
                  </a:ext>
                </a:extLst>
              </p:cNvPr>
              <p:cNvSpPr/>
              <p:nvPr/>
            </p:nvSpPr>
            <p:spPr>
              <a:xfrm>
                <a:off x="7434052"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02" name="Graphic 461">
              <a:extLst>
                <a:ext uri="{FF2B5EF4-FFF2-40B4-BE49-F238E27FC236}">
                  <a16:creationId xmlns:a16="http://schemas.microsoft.com/office/drawing/2014/main" id="{00BB6B2E-C8CA-A165-532A-B2421777A27B}"/>
                </a:ext>
              </a:extLst>
            </p:cNvPr>
            <p:cNvGrpSpPr/>
            <p:nvPr/>
          </p:nvGrpSpPr>
          <p:grpSpPr>
            <a:xfrm>
              <a:off x="7460134" y="2742992"/>
              <a:ext cx="31731" cy="31731"/>
              <a:chOff x="7460134" y="2742992"/>
              <a:chExt cx="31731" cy="31731"/>
            </a:xfrm>
          </p:grpSpPr>
          <p:sp>
            <p:nvSpPr>
              <p:cNvPr id="703" name="Freeform 702">
                <a:extLst>
                  <a:ext uri="{FF2B5EF4-FFF2-40B4-BE49-F238E27FC236}">
                    <a16:creationId xmlns:a16="http://schemas.microsoft.com/office/drawing/2014/main" id="{ED603361-AE0E-3412-A4D7-B6EA3C418E45}"/>
                  </a:ext>
                </a:extLst>
              </p:cNvPr>
              <p:cNvSpPr/>
              <p:nvPr/>
            </p:nvSpPr>
            <p:spPr>
              <a:xfrm>
                <a:off x="7475999"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04" name="Freeform 703">
                <a:extLst>
                  <a:ext uri="{FF2B5EF4-FFF2-40B4-BE49-F238E27FC236}">
                    <a16:creationId xmlns:a16="http://schemas.microsoft.com/office/drawing/2014/main" id="{8AB72165-948D-8744-B92B-4C960337758C}"/>
                  </a:ext>
                </a:extLst>
              </p:cNvPr>
              <p:cNvSpPr/>
              <p:nvPr/>
            </p:nvSpPr>
            <p:spPr>
              <a:xfrm>
                <a:off x="7460134"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05" name="Graphic 461">
              <a:extLst>
                <a:ext uri="{FF2B5EF4-FFF2-40B4-BE49-F238E27FC236}">
                  <a16:creationId xmlns:a16="http://schemas.microsoft.com/office/drawing/2014/main" id="{BCD27F64-E611-5B49-75E5-64BDF81BD279}"/>
                </a:ext>
              </a:extLst>
            </p:cNvPr>
            <p:cNvGrpSpPr/>
            <p:nvPr/>
          </p:nvGrpSpPr>
          <p:grpSpPr>
            <a:xfrm>
              <a:off x="7465362" y="2742992"/>
              <a:ext cx="31731" cy="31731"/>
              <a:chOff x="7465362" y="2742992"/>
              <a:chExt cx="31731" cy="31731"/>
            </a:xfrm>
          </p:grpSpPr>
          <p:sp>
            <p:nvSpPr>
              <p:cNvPr id="706" name="Freeform 705">
                <a:extLst>
                  <a:ext uri="{FF2B5EF4-FFF2-40B4-BE49-F238E27FC236}">
                    <a16:creationId xmlns:a16="http://schemas.microsoft.com/office/drawing/2014/main" id="{33E42A16-0B4F-97DB-E467-45AC27C5D1DD}"/>
                  </a:ext>
                </a:extLst>
              </p:cNvPr>
              <p:cNvSpPr/>
              <p:nvPr/>
            </p:nvSpPr>
            <p:spPr>
              <a:xfrm>
                <a:off x="7481228"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07" name="Freeform 706">
                <a:extLst>
                  <a:ext uri="{FF2B5EF4-FFF2-40B4-BE49-F238E27FC236}">
                    <a16:creationId xmlns:a16="http://schemas.microsoft.com/office/drawing/2014/main" id="{CE946AF4-D32F-7556-802B-86F1EC279CFA}"/>
                  </a:ext>
                </a:extLst>
              </p:cNvPr>
              <p:cNvSpPr/>
              <p:nvPr/>
            </p:nvSpPr>
            <p:spPr>
              <a:xfrm>
                <a:off x="7465362"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08" name="Graphic 461">
              <a:extLst>
                <a:ext uri="{FF2B5EF4-FFF2-40B4-BE49-F238E27FC236}">
                  <a16:creationId xmlns:a16="http://schemas.microsoft.com/office/drawing/2014/main" id="{456D770E-9BDD-D72E-3E41-682DDC564504}"/>
                </a:ext>
              </a:extLst>
            </p:cNvPr>
            <p:cNvGrpSpPr/>
            <p:nvPr/>
          </p:nvGrpSpPr>
          <p:grpSpPr>
            <a:xfrm>
              <a:off x="7471372" y="2742992"/>
              <a:ext cx="31731" cy="31731"/>
              <a:chOff x="7471372" y="2742992"/>
              <a:chExt cx="31731" cy="31731"/>
            </a:xfrm>
          </p:grpSpPr>
          <p:sp>
            <p:nvSpPr>
              <p:cNvPr id="709" name="Freeform 708">
                <a:extLst>
                  <a:ext uri="{FF2B5EF4-FFF2-40B4-BE49-F238E27FC236}">
                    <a16:creationId xmlns:a16="http://schemas.microsoft.com/office/drawing/2014/main" id="{2C211EBF-EC1D-D7CD-17CC-2A28AAAF41DB}"/>
                  </a:ext>
                </a:extLst>
              </p:cNvPr>
              <p:cNvSpPr/>
              <p:nvPr/>
            </p:nvSpPr>
            <p:spPr>
              <a:xfrm>
                <a:off x="7487237"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0" name="Freeform 709">
                <a:extLst>
                  <a:ext uri="{FF2B5EF4-FFF2-40B4-BE49-F238E27FC236}">
                    <a16:creationId xmlns:a16="http://schemas.microsoft.com/office/drawing/2014/main" id="{8A5AA6C5-5ECA-7827-6679-B1E0AAA64E54}"/>
                  </a:ext>
                </a:extLst>
              </p:cNvPr>
              <p:cNvSpPr/>
              <p:nvPr/>
            </p:nvSpPr>
            <p:spPr>
              <a:xfrm>
                <a:off x="7471372"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11" name="Graphic 461">
              <a:extLst>
                <a:ext uri="{FF2B5EF4-FFF2-40B4-BE49-F238E27FC236}">
                  <a16:creationId xmlns:a16="http://schemas.microsoft.com/office/drawing/2014/main" id="{0CB6713C-9A11-7C2F-759F-44966EA269EE}"/>
                </a:ext>
              </a:extLst>
            </p:cNvPr>
            <p:cNvGrpSpPr/>
            <p:nvPr/>
          </p:nvGrpSpPr>
          <p:grpSpPr>
            <a:xfrm>
              <a:off x="7476600" y="2742992"/>
              <a:ext cx="31731" cy="31731"/>
              <a:chOff x="7476600" y="2742992"/>
              <a:chExt cx="31731" cy="31731"/>
            </a:xfrm>
          </p:grpSpPr>
          <p:sp>
            <p:nvSpPr>
              <p:cNvPr id="712" name="Freeform 711">
                <a:extLst>
                  <a:ext uri="{FF2B5EF4-FFF2-40B4-BE49-F238E27FC236}">
                    <a16:creationId xmlns:a16="http://schemas.microsoft.com/office/drawing/2014/main" id="{28DDCBF9-FC98-7B50-7AC0-9A2A0107CCFB}"/>
                  </a:ext>
                </a:extLst>
              </p:cNvPr>
              <p:cNvSpPr/>
              <p:nvPr/>
            </p:nvSpPr>
            <p:spPr>
              <a:xfrm>
                <a:off x="7492466"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3" name="Freeform 712">
                <a:extLst>
                  <a:ext uri="{FF2B5EF4-FFF2-40B4-BE49-F238E27FC236}">
                    <a16:creationId xmlns:a16="http://schemas.microsoft.com/office/drawing/2014/main" id="{B75662F5-B6AA-F320-179D-4DF0D852BD23}"/>
                  </a:ext>
                </a:extLst>
              </p:cNvPr>
              <p:cNvSpPr/>
              <p:nvPr/>
            </p:nvSpPr>
            <p:spPr>
              <a:xfrm>
                <a:off x="7476600"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14" name="Graphic 461">
              <a:extLst>
                <a:ext uri="{FF2B5EF4-FFF2-40B4-BE49-F238E27FC236}">
                  <a16:creationId xmlns:a16="http://schemas.microsoft.com/office/drawing/2014/main" id="{CDBC663D-D7F5-DDD7-0584-67427EEDCC44}"/>
                </a:ext>
              </a:extLst>
            </p:cNvPr>
            <p:cNvGrpSpPr/>
            <p:nvPr/>
          </p:nvGrpSpPr>
          <p:grpSpPr>
            <a:xfrm>
              <a:off x="7479785" y="2742992"/>
              <a:ext cx="31731" cy="31731"/>
              <a:chOff x="7479785" y="2742992"/>
              <a:chExt cx="31731" cy="31731"/>
            </a:xfrm>
          </p:grpSpPr>
          <p:sp>
            <p:nvSpPr>
              <p:cNvPr id="715" name="Freeform 714">
                <a:extLst>
                  <a:ext uri="{FF2B5EF4-FFF2-40B4-BE49-F238E27FC236}">
                    <a16:creationId xmlns:a16="http://schemas.microsoft.com/office/drawing/2014/main" id="{78178C02-CE7E-51F2-248F-38BBFA43AE13}"/>
                  </a:ext>
                </a:extLst>
              </p:cNvPr>
              <p:cNvSpPr/>
              <p:nvPr/>
            </p:nvSpPr>
            <p:spPr>
              <a:xfrm>
                <a:off x="7495651"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6" name="Freeform 715">
                <a:extLst>
                  <a:ext uri="{FF2B5EF4-FFF2-40B4-BE49-F238E27FC236}">
                    <a16:creationId xmlns:a16="http://schemas.microsoft.com/office/drawing/2014/main" id="{918A919B-AB6B-3156-354F-2EF8950CE5EB}"/>
                  </a:ext>
                </a:extLst>
              </p:cNvPr>
              <p:cNvSpPr/>
              <p:nvPr/>
            </p:nvSpPr>
            <p:spPr>
              <a:xfrm>
                <a:off x="7479785"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17" name="Graphic 461">
              <a:extLst>
                <a:ext uri="{FF2B5EF4-FFF2-40B4-BE49-F238E27FC236}">
                  <a16:creationId xmlns:a16="http://schemas.microsoft.com/office/drawing/2014/main" id="{315380BB-2D96-2ACE-193E-3663DC3D2C35}"/>
                </a:ext>
              </a:extLst>
            </p:cNvPr>
            <p:cNvGrpSpPr/>
            <p:nvPr/>
          </p:nvGrpSpPr>
          <p:grpSpPr>
            <a:xfrm>
              <a:off x="7507490" y="2742992"/>
              <a:ext cx="31731" cy="31731"/>
              <a:chOff x="7507490" y="2742992"/>
              <a:chExt cx="31731" cy="31731"/>
            </a:xfrm>
          </p:grpSpPr>
          <p:sp>
            <p:nvSpPr>
              <p:cNvPr id="718" name="Freeform 717">
                <a:extLst>
                  <a:ext uri="{FF2B5EF4-FFF2-40B4-BE49-F238E27FC236}">
                    <a16:creationId xmlns:a16="http://schemas.microsoft.com/office/drawing/2014/main" id="{051ED5F4-A9AD-259F-D144-0645884D240E}"/>
                  </a:ext>
                </a:extLst>
              </p:cNvPr>
              <p:cNvSpPr/>
              <p:nvPr/>
            </p:nvSpPr>
            <p:spPr>
              <a:xfrm>
                <a:off x="7523356"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9" name="Freeform 718">
                <a:extLst>
                  <a:ext uri="{FF2B5EF4-FFF2-40B4-BE49-F238E27FC236}">
                    <a16:creationId xmlns:a16="http://schemas.microsoft.com/office/drawing/2014/main" id="{82917B48-ED3F-B8E4-2563-481E24A44BA2}"/>
                  </a:ext>
                </a:extLst>
              </p:cNvPr>
              <p:cNvSpPr/>
              <p:nvPr/>
            </p:nvSpPr>
            <p:spPr>
              <a:xfrm>
                <a:off x="7507490"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20" name="Graphic 461">
              <a:extLst>
                <a:ext uri="{FF2B5EF4-FFF2-40B4-BE49-F238E27FC236}">
                  <a16:creationId xmlns:a16="http://schemas.microsoft.com/office/drawing/2014/main" id="{ACCC9EA9-8E2A-F65A-DFC9-215E350E0758}"/>
                </a:ext>
              </a:extLst>
            </p:cNvPr>
            <p:cNvGrpSpPr/>
            <p:nvPr/>
          </p:nvGrpSpPr>
          <p:grpSpPr>
            <a:xfrm>
              <a:off x="7539221" y="2742992"/>
              <a:ext cx="31731" cy="31731"/>
              <a:chOff x="7539221" y="2742992"/>
              <a:chExt cx="31731" cy="31731"/>
            </a:xfrm>
          </p:grpSpPr>
          <p:sp>
            <p:nvSpPr>
              <p:cNvPr id="721" name="Freeform 720">
                <a:extLst>
                  <a:ext uri="{FF2B5EF4-FFF2-40B4-BE49-F238E27FC236}">
                    <a16:creationId xmlns:a16="http://schemas.microsoft.com/office/drawing/2014/main" id="{02B16C7A-CE59-77B9-2CD2-479F99672CCC}"/>
                  </a:ext>
                </a:extLst>
              </p:cNvPr>
              <p:cNvSpPr/>
              <p:nvPr/>
            </p:nvSpPr>
            <p:spPr>
              <a:xfrm>
                <a:off x="7555087"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2" name="Freeform 721">
                <a:extLst>
                  <a:ext uri="{FF2B5EF4-FFF2-40B4-BE49-F238E27FC236}">
                    <a16:creationId xmlns:a16="http://schemas.microsoft.com/office/drawing/2014/main" id="{51248A0F-E94A-64AA-9D0B-E45AC0A5D996}"/>
                  </a:ext>
                </a:extLst>
              </p:cNvPr>
              <p:cNvSpPr/>
              <p:nvPr/>
            </p:nvSpPr>
            <p:spPr>
              <a:xfrm>
                <a:off x="7539221" y="2758858"/>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23" name="Graphic 461">
              <a:extLst>
                <a:ext uri="{FF2B5EF4-FFF2-40B4-BE49-F238E27FC236}">
                  <a16:creationId xmlns:a16="http://schemas.microsoft.com/office/drawing/2014/main" id="{B5ED1002-B9BE-EF55-E3C1-A3AC9A834294}"/>
                </a:ext>
              </a:extLst>
            </p:cNvPr>
            <p:cNvGrpSpPr/>
            <p:nvPr/>
          </p:nvGrpSpPr>
          <p:grpSpPr>
            <a:xfrm>
              <a:off x="7572154" y="2742992"/>
              <a:ext cx="31671" cy="31731"/>
              <a:chOff x="7572154" y="2742992"/>
              <a:chExt cx="31671" cy="31731"/>
            </a:xfrm>
          </p:grpSpPr>
          <p:sp>
            <p:nvSpPr>
              <p:cNvPr id="724" name="Freeform 723">
                <a:extLst>
                  <a:ext uri="{FF2B5EF4-FFF2-40B4-BE49-F238E27FC236}">
                    <a16:creationId xmlns:a16="http://schemas.microsoft.com/office/drawing/2014/main" id="{D78A9A09-8B5F-4DDD-9DCA-E4E5CDDEE639}"/>
                  </a:ext>
                </a:extLst>
              </p:cNvPr>
              <p:cNvSpPr/>
              <p:nvPr/>
            </p:nvSpPr>
            <p:spPr>
              <a:xfrm>
                <a:off x="7588020" y="274299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5" name="Freeform 724">
                <a:extLst>
                  <a:ext uri="{FF2B5EF4-FFF2-40B4-BE49-F238E27FC236}">
                    <a16:creationId xmlns:a16="http://schemas.microsoft.com/office/drawing/2014/main" id="{C00ED261-3571-4DE8-7763-3EEBADFB9EDD}"/>
                  </a:ext>
                </a:extLst>
              </p:cNvPr>
              <p:cNvSpPr/>
              <p:nvPr/>
            </p:nvSpPr>
            <p:spPr>
              <a:xfrm>
                <a:off x="7572154" y="2758858"/>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26" name="Graphic 461">
              <a:extLst>
                <a:ext uri="{FF2B5EF4-FFF2-40B4-BE49-F238E27FC236}">
                  <a16:creationId xmlns:a16="http://schemas.microsoft.com/office/drawing/2014/main" id="{4DC5B25D-6D75-439A-F4D5-A19347ED49CA}"/>
                </a:ext>
              </a:extLst>
            </p:cNvPr>
            <p:cNvGrpSpPr/>
            <p:nvPr/>
          </p:nvGrpSpPr>
          <p:grpSpPr>
            <a:xfrm>
              <a:off x="6956162" y="2546716"/>
              <a:ext cx="31731" cy="31671"/>
              <a:chOff x="6956162" y="2546716"/>
              <a:chExt cx="31731" cy="31671"/>
            </a:xfrm>
          </p:grpSpPr>
          <p:sp>
            <p:nvSpPr>
              <p:cNvPr id="727" name="Freeform 726">
                <a:extLst>
                  <a:ext uri="{FF2B5EF4-FFF2-40B4-BE49-F238E27FC236}">
                    <a16:creationId xmlns:a16="http://schemas.microsoft.com/office/drawing/2014/main" id="{7753003F-71E6-3FB7-96AD-EDF91CB07AA4}"/>
                  </a:ext>
                </a:extLst>
              </p:cNvPr>
              <p:cNvSpPr/>
              <p:nvPr/>
            </p:nvSpPr>
            <p:spPr>
              <a:xfrm>
                <a:off x="6972028" y="2546716"/>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8" name="Freeform 727">
                <a:extLst>
                  <a:ext uri="{FF2B5EF4-FFF2-40B4-BE49-F238E27FC236}">
                    <a16:creationId xmlns:a16="http://schemas.microsoft.com/office/drawing/2014/main" id="{2BF7FFBD-6748-315B-F092-6F7BDF5BA2BC}"/>
                  </a:ext>
                </a:extLst>
              </p:cNvPr>
              <p:cNvSpPr/>
              <p:nvPr/>
            </p:nvSpPr>
            <p:spPr>
              <a:xfrm>
                <a:off x="6956162" y="2562582"/>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29" name="Graphic 461">
              <a:extLst>
                <a:ext uri="{FF2B5EF4-FFF2-40B4-BE49-F238E27FC236}">
                  <a16:creationId xmlns:a16="http://schemas.microsoft.com/office/drawing/2014/main" id="{F5674DF3-1DC9-D6C6-83E7-D735017F326D}"/>
                </a:ext>
              </a:extLst>
            </p:cNvPr>
            <p:cNvGrpSpPr/>
            <p:nvPr/>
          </p:nvGrpSpPr>
          <p:grpSpPr>
            <a:xfrm>
              <a:off x="5735116" y="1910472"/>
              <a:ext cx="31731" cy="31731"/>
              <a:chOff x="5735116" y="1910472"/>
              <a:chExt cx="31731" cy="31731"/>
            </a:xfrm>
          </p:grpSpPr>
          <p:sp>
            <p:nvSpPr>
              <p:cNvPr id="730" name="Freeform 729">
                <a:extLst>
                  <a:ext uri="{FF2B5EF4-FFF2-40B4-BE49-F238E27FC236}">
                    <a16:creationId xmlns:a16="http://schemas.microsoft.com/office/drawing/2014/main" id="{135C781F-BB31-4F7D-B352-4EE7988388B0}"/>
                  </a:ext>
                </a:extLst>
              </p:cNvPr>
              <p:cNvSpPr/>
              <p:nvPr/>
            </p:nvSpPr>
            <p:spPr>
              <a:xfrm>
                <a:off x="5750981" y="1910472"/>
                <a:ext cx="6009" cy="31731"/>
              </a:xfrm>
              <a:custGeom>
                <a:avLst/>
                <a:gdLst>
                  <a:gd name="connsiteX0" fmla="*/ 0 w 6009"/>
                  <a:gd name="connsiteY0" fmla="*/ 0 h 31731"/>
                  <a:gd name="connsiteX1" fmla="*/ 0 w 6009"/>
                  <a:gd name="connsiteY1" fmla="*/ 31731 h 31731"/>
                </a:gdLst>
                <a:ahLst/>
                <a:cxnLst>
                  <a:cxn ang="0">
                    <a:pos x="connsiteX0" y="connsiteY0"/>
                  </a:cxn>
                  <a:cxn ang="0">
                    <a:pos x="connsiteX1" y="connsiteY1"/>
                  </a:cxn>
                </a:cxnLst>
                <a:rect l="l" t="t" r="r" b="b"/>
                <a:pathLst>
                  <a:path w="6009" h="31731">
                    <a:moveTo>
                      <a:pt x="0" y="0"/>
                    </a:moveTo>
                    <a:lnTo>
                      <a:pt x="0" y="3173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1" name="Freeform 730">
                <a:extLst>
                  <a:ext uri="{FF2B5EF4-FFF2-40B4-BE49-F238E27FC236}">
                    <a16:creationId xmlns:a16="http://schemas.microsoft.com/office/drawing/2014/main" id="{0B0EFA3F-6753-C0B4-BF09-825E8A8C34FF}"/>
                  </a:ext>
                </a:extLst>
              </p:cNvPr>
              <p:cNvSpPr/>
              <p:nvPr/>
            </p:nvSpPr>
            <p:spPr>
              <a:xfrm>
                <a:off x="5735116" y="1926337"/>
                <a:ext cx="31731" cy="6009"/>
              </a:xfrm>
              <a:custGeom>
                <a:avLst/>
                <a:gdLst>
                  <a:gd name="connsiteX0" fmla="*/ 0 w 31731"/>
                  <a:gd name="connsiteY0" fmla="*/ 0 h 6009"/>
                  <a:gd name="connsiteX1" fmla="*/ 31731 w 31731"/>
                  <a:gd name="connsiteY1" fmla="*/ 0 h 6009"/>
                </a:gdLst>
                <a:ahLst/>
                <a:cxnLst>
                  <a:cxn ang="0">
                    <a:pos x="connsiteX0" y="connsiteY0"/>
                  </a:cxn>
                  <a:cxn ang="0">
                    <a:pos x="connsiteX1" y="connsiteY1"/>
                  </a:cxn>
                </a:cxnLst>
                <a:rect l="l" t="t" r="r" b="b"/>
                <a:pathLst>
                  <a:path w="31731" h="6009">
                    <a:moveTo>
                      <a:pt x="0" y="0"/>
                    </a:moveTo>
                    <a:lnTo>
                      <a:pt x="3173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32" name="Graphic 461">
              <a:extLst>
                <a:ext uri="{FF2B5EF4-FFF2-40B4-BE49-F238E27FC236}">
                  <a16:creationId xmlns:a16="http://schemas.microsoft.com/office/drawing/2014/main" id="{B59075FB-E298-D699-C7B6-648FA8D162E6}"/>
                </a:ext>
              </a:extLst>
            </p:cNvPr>
            <p:cNvGrpSpPr/>
            <p:nvPr/>
          </p:nvGrpSpPr>
          <p:grpSpPr>
            <a:xfrm>
              <a:off x="5076455" y="1680902"/>
              <a:ext cx="31671" cy="31671"/>
              <a:chOff x="5076455" y="1680902"/>
              <a:chExt cx="31671" cy="31671"/>
            </a:xfrm>
          </p:grpSpPr>
          <p:sp>
            <p:nvSpPr>
              <p:cNvPr id="733" name="Freeform 732">
                <a:extLst>
                  <a:ext uri="{FF2B5EF4-FFF2-40B4-BE49-F238E27FC236}">
                    <a16:creationId xmlns:a16="http://schemas.microsoft.com/office/drawing/2014/main" id="{7B2A8F45-8070-0A6E-B8CE-9BF406953C2C}"/>
                  </a:ext>
                </a:extLst>
              </p:cNvPr>
              <p:cNvSpPr/>
              <p:nvPr/>
            </p:nvSpPr>
            <p:spPr>
              <a:xfrm>
                <a:off x="5092260" y="1680902"/>
                <a:ext cx="6009" cy="31671"/>
              </a:xfrm>
              <a:custGeom>
                <a:avLst/>
                <a:gdLst>
                  <a:gd name="connsiteX0" fmla="*/ 0 w 6009"/>
                  <a:gd name="connsiteY0" fmla="*/ 0 h 31671"/>
                  <a:gd name="connsiteX1" fmla="*/ 0 w 6009"/>
                  <a:gd name="connsiteY1" fmla="*/ 31671 h 31671"/>
                </a:gdLst>
                <a:ahLst/>
                <a:cxnLst>
                  <a:cxn ang="0">
                    <a:pos x="connsiteX0" y="connsiteY0"/>
                  </a:cxn>
                  <a:cxn ang="0">
                    <a:pos x="connsiteX1" y="connsiteY1"/>
                  </a:cxn>
                </a:cxnLst>
                <a:rect l="l" t="t" r="r" b="b"/>
                <a:pathLst>
                  <a:path w="6009" h="31671">
                    <a:moveTo>
                      <a:pt x="0" y="0"/>
                    </a:moveTo>
                    <a:lnTo>
                      <a:pt x="0" y="3167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4" name="Freeform 733">
                <a:extLst>
                  <a:ext uri="{FF2B5EF4-FFF2-40B4-BE49-F238E27FC236}">
                    <a16:creationId xmlns:a16="http://schemas.microsoft.com/office/drawing/2014/main" id="{A57BB116-99F9-D62D-708A-1AA2D803B440}"/>
                  </a:ext>
                </a:extLst>
              </p:cNvPr>
              <p:cNvSpPr/>
              <p:nvPr/>
            </p:nvSpPr>
            <p:spPr>
              <a:xfrm>
                <a:off x="5076455" y="1696768"/>
                <a:ext cx="31671" cy="6009"/>
              </a:xfrm>
              <a:custGeom>
                <a:avLst/>
                <a:gdLst>
                  <a:gd name="connsiteX0" fmla="*/ 0 w 31671"/>
                  <a:gd name="connsiteY0" fmla="*/ 0 h 6009"/>
                  <a:gd name="connsiteX1" fmla="*/ 31671 w 31671"/>
                  <a:gd name="connsiteY1" fmla="*/ 0 h 6009"/>
                </a:gdLst>
                <a:ahLst/>
                <a:cxnLst>
                  <a:cxn ang="0">
                    <a:pos x="connsiteX0" y="connsiteY0"/>
                  </a:cxn>
                  <a:cxn ang="0">
                    <a:pos x="connsiteX1" y="connsiteY1"/>
                  </a:cxn>
                </a:cxnLst>
                <a:rect l="l" t="t" r="r" b="b"/>
                <a:pathLst>
                  <a:path w="31671" h="6009">
                    <a:moveTo>
                      <a:pt x="0" y="0"/>
                    </a:moveTo>
                    <a:lnTo>
                      <a:pt x="3167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grpSp>
        <p:nvGrpSpPr>
          <p:cNvPr id="735" name="Graphic 461">
            <a:extLst>
              <a:ext uri="{FF2B5EF4-FFF2-40B4-BE49-F238E27FC236}">
                <a16:creationId xmlns:a16="http://schemas.microsoft.com/office/drawing/2014/main" id="{31D00577-5BDF-5864-136E-A74F1D47C4C2}"/>
              </a:ext>
            </a:extLst>
          </p:cNvPr>
          <p:cNvGrpSpPr/>
          <p:nvPr/>
        </p:nvGrpSpPr>
        <p:grpSpPr>
          <a:xfrm>
            <a:off x="4642887" y="1787773"/>
            <a:ext cx="3062735" cy="1139975"/>
            <a:chOff x="5031082" y="1681143"/>
            <a:chExt cx="2564990" cy="1139975"/>
          </a:xfrm>
          <a:noFill/>
        </p:grpSpPr>
        <p:sp>
          <p:nvSpPr>
            <p:cNvPr id="736" name="Freeform 735">
              <a:extLst>
                <a:ext uri="{FF2B5EF4-FFF2-40B4-BE49-F238E27FC236}">
                  <a16:creationId xmlns:a16="http://schemas.microsoft.com/office/drawing/2014/main" id="{2A604021-EE9F-BC6F-4FE6-218318AC739C}"/>
                </a:ext>
              </a:extLst>
            </p:cNvPr>
            <p:cNvSpPr/>
            <p:nvPr/>
          </p:nvSpPr>
          <p:spPr>
            <a:xfrm>
              <a:off x="5031082" y="1698210"/>
              <a:ext cx="2562406" cy="1106141"/>
            </a:xfrm>
            <a:custGeom>
              <a:avLst/>
              <a:gdLst>
                <a:gd name="connsiteX0" fmla="*/ 0 w 2562406"/>
                <a:gd name="connsiteY0" fmla="*/ 0 h 1106141"/>
                <a:gd name="connsiteX1" fmla="*/ 60457 w 2562406"/>
                <a:gd name="connsiteY1" fmla="*/ 0 h 1106141"/>
                <a:gd name="connsiteX2" fmla="*/ 60457 w 2562406"/>
                <a:gd name="connsiteY2" fmla="*/ 15024 h 1106141"/>
                <a:gd name="connsiteX3" fmla="*/ 67669 w 2562406"/>
                <a:gd name="connsiteY3" fmla="*/ 15024 h 1106141"/>
                <a:gd name="connsiteX4" fmla="*/ 67669 w 2562406"/>
                <a:gd name="connsiteY4" fmla="*/ 21755 h 1106141"/>
                <a:gd name="connsiteX5" fmla="*/ 105410 w 2562406"/>
                <a:gd name="connsiteY5" fmla="*/ 21755 h 1106141"/>
                <a:gd name="connsiteX6" fmla="*/ 105410 w 2562406"/>
                <a:gd name="connsiteY6" fmla="*/ 34135 h 1106141"/>
                <a:gd name="connsiteX7" fmla="*/ 146756 w 2562406"/>
                <a:gd name="connsiteY7" fmla="*/ 34135 h 1106141"/>
                <a:gd name="connsiteX8" fmla="*/ 146756 w 2562406"/>
                <a:gd name="connsiteY8" fmla="*/ 42909 h 1106141"/>
                <a:gd name="connsiteX9" fmla="*/ 166949 w 2562406"/>
                <a:gd name="connsiteY9" fmla="*/ 42909 h 1106141"/>
                <a:gd name="connsiteX10" fmla="*/ 166949 w 2562406"/>
                <a:gd name="connsiteY10" fmla="*/ 54808 h 1106141"/>
                <a:gd name="connsiteX11" fmla="*/ 206252 w 2562406"/>
                <a:gd name="connsiteY11" fmla="*/ 54808 h 1106141"/>
                <a:gd name="connsiteX12" fmla="*/ 206252 w 2562406"/>
                <a:gd name="connsiteY12" fmla="*/ 67729 h 1106141"/>
                <a:gd name="connsiteX13" fmla="*/ 224341 w 2562406"/>
                <a:gd name="connsiteY13" fmla="*/ 67729 h 1106141"/>
                <a:gd name="connsiteX14" fmla="*/ 224341 w 2562406"/>
                <a:gd name="connsiteY14" fmla="*/ 75001 h 1106141"/>
                <a:gd name="connsiteX15" fmla="*/ 233115 w 2562406"/>
                <a:gd name="connsiteY15" fmla="*/ 75001 h 1106141"/>
                <a:gd name="connsiteX16" fmla="*/ 233115 w 2562406"/>
                <a:gd name="connsiteY16" fmla="*/ 81191 h 1106141"/>
                <a:gd name="connsiteX17" fmla="*/ 247058 w 2562406"/>
                <a:gd name="connsiteY17" fmla="*/ 81191 h 1106141"/>
                <a:gd name="connsiteX18" fmla="*/ 247058 w 2562406"/>
                <a:gd name="connsiteY18" fmla="*/ 88943 h 1106141"/>
                <a:gd name="connsiteX19" fmla="*/ 257394 w 2562406"/>
                <a:gd name="connsiteY19" fmla="*/ 88943 h 1106141"/>
                <a:gd name="connsiteX20" fmla="*/ 257394 w 2562406"/>
                <a:gd name="connsiteY20" fmla="*/ 108595 h 1106141"/>
                <a:gd name="connsiteX21" fmla="*/ 330292 w 2562406"/>
                <a:gd name="connsiteY21" fmla="*/ 108595 h 1106141"/>
                <a:gd name="connsiteX22" fmla="*/ 330292 w 2562406"/>
                <a:gd name="connsiteY22" fmla="*/ 116828 h 1106141"/>
                <a:gd name="connsiteX23" fmla="*/ 368573 w 2562406"/>
                <a:gd name="connsiteY23" fmla="*/ 116828 h 1106141"/>
                <a:gd name="connsiteX24" fmla="*/ 368573 w 2562406"/>
                <a:gd name="connsiteY24" fmla="*/ 126684 h 1106141"/>
                <a:gd name="connsiteX25" fmla="*/ 389727 w 2562406"/>
                <a:gd name="connsiteY25" fmla="*/ 126684 h 1106141"/>
                <a:gd name="connsiteX26" fmla="*/ 389727 w 2562406"/>
                <a:gd name="connsiteY26" fmla="*/ 139064 h 1106141"/>
                <a:gd name="connsiteX27" fmla="*/ 398562 w 2562406"/>
                <a:gd name="connsiteY27" fmla="*/ 139064 h 1106141"/>
                <a:gd name="connsiteX28" fmla="*/ 398562 w 2562406"/>
                <a:gd name="connsiteY28" fmla="*/ 146336 h 1106141"/>
                <a:gd name="connsiteX29" fmla="*/ 423382 w 2562406"/>
                <a:gd name="connsiteY29" fmla="*/ 146336 h 1106141"/>
                <a:gd name="connsiteX30" fmla="*/ 423382 w 2562406"/>
                <a:gd name="connsiteY30" fmla="*/ 153066 h 1106141"/>
                <a:gd name="connsiteX31" fmla="*/ 434740 w 2562406"/>
                <a:gd name="connsiteY31" fmla="*/ 153066 h 1106141"/>
                <a:gd name="connsiteX32" fmla="*/ 434740 w 2562406"/>
                <a:gd name="connsiteY32" fmla="*/ 163884 h 1106141"/>
                <a:gd name="connsiteX33" fmla="*/ 444055 w 2562406"/>
                <a:gd name="connsiteY33" fmla="*/ 163884 h 1106141"/>
                <a:gd name="connsiteX34" fmla="*/ 444055 w 2562406"/>
                <a:gd name="connsiteY34" fmla="*/ 172658 h 1106141"/>
                <a:gd name="connsiteX35" fmla="*/ 454392 w 2562406"/>
                <a:gd name="connsiteY35" fmla="*/ 172658 h 1106141"/>
                <a:gd name="connsiteX36" fmla="*/ 454392 w 2562406"/>
                <a:gd name="connsiteY36" fmla="*/ 185098 h 1106141"/>
                <a:gd name="connsiteX37" fmla="*/ 472962 w 2562406"/>
                <a:gd name="connsiteY37" fmla="*/ 185098 h 1106141"/>
                <a:gd name="connsiteX38" fmla="*/ 472962 w 2562406"/>
                <a:gd name="connsiteY38" fmla="*/ 190807 h 1106141"/>
                <a:gd name="connsiteX39" fmla="*/ 487986 w 2562406"/>
                <a:gd name="connsiteY39" fmla="*/ 190807 h 1106141"/>
                <a:gd name="connsiteX40" fmla="*/ 487986 w 2562406"/>
                <a:gd name="connsiteY40" fmla="*/ 202166 h 1106141"/>
                <a:gd name="connsiteX41" fmla="*/ 494717 w 2562406"/>
                <a:gd name="connsiteY41" fmla="*/ 202166 h 1106141"/>
                <a:gd name="connsiteX42" fmla="*/ 494717 w 2562406"/>
                <a:gd name="connsiteY42" fmla="*/ 219233 h 1106141"/>
                <a:gd name="connsiteX43" fmla="*/ 505534 w 2562406"/>
                <a:gd name="connsiteY43" fmla="*/ 219233 h 1106141"/>
                <a:gd name="connsiteX44" fmla="*/ 505534 w 2562406"/>
                <a:gd name="connsiteY44" fmla="*/ 226985 h 1106141"/>
                <a:gd name="connsiteX45" fmla="*/ 530354 w 2562406"/>
                <a:gd name="connsiteY45" fmla="*/ 226985 h 1106141"/>
                <a:gd name="connsiteX46" fmla="*/ 530354 w 2562406"/>
                <a:gd name="connsiteY46" fmla="*/ 233656 h 1106141"/>
                <a:gd name="connsiteX47" fmla="*/ 550547 w 2562406"/>
                <a:gd name="connsiteY47" fmla="*/ 233656 h 1106141"/>
                <a:gd name="connsiteX48" fmla="*/ 550547 w 2562406"/>
                <a:gd name="connsiteY48" fmla="*/ 241529 h 1106141"/>
                <a:gd name="connsiteX49" fmla="*/ 557939 w 2562406"/>
                <a:gd name="connsiteY49" fmla="*/ 241529 h 1106141"/>
                <a:gd name="connsiteX50" fmla="*/ 557939 w 2562406"/>
                <a:gd name="connsiteY50" fmla="*/ 249341 h 1106141"/>
                <a:gd name="connsiteX51" fmla="*/ 564429 w 2562406"/>
                <a:gd name="connsiteY51" fmla="*/ 249341 h 1106141"/>
                <a:gd name="connsiteX52" fmla="*/ 564429 w 2562406"/>
                <a:gd name="connsiteY52" fmla="*/ 257875 h 1106141"/>
                <a:gd name="connsiteX53" fmla="*/ 582097 w 2562406"/>
                <a:gd name="connsiteY53" fmla="*/ 257875 h 1106141"/>
                <a:gd name="connsiteX54" fmla="*/ 582097 w 2562406"/>
                <a:gd name="connsiteY54" fmla="*/ 276205 h 1106141"/>
                <a:gd name="connsiteX55" fmla="*/ 595499 w 2562406"/>
                <a:gd name="connsiteY55" fmla="*/ 276205 h 1106141"/>
                <a:gd name="connsiteX56" fmla="*/ 595499 w 2562406"/>
                <a:gd name="connsiteY56" fmla="*/ 289366 h 1106141"/>
                <a:gd name="connsiteX57" fmla="*/ 602230 w 2562406"/>
                <a:gd name="connsiteY57" fmla="*/ 289366 h 1106141"/>
                <a:gd name="connsiteX58" fmla="*/ 602230 w 2562406"/>
                <a:gd name="connsiteY58" fmla="*/ 295616 h 1106141"/>
                <a:gd name="connsiteX59" fmla="*/ 620740 w 2562406"/>
                <a:gd name="connsiteY59" fmla="*/ 295616 h 1106141"/>
                <a:gd name="connsiteX60" fmla="*/ 620740 w 2562406"/>
                <a:gd name="connsiteY60" fmla="*/ 302347 h 1106141"/>
                <a:gd name="connsiteX61" fmla="*/ 635944 w 2562406"/>
                <a:gd name="connsiteY61" fmla="*/ 302347 h 1106141"/>
                <a:gd name="connsiteX62" fmla="*/ 635944 w 2562406"/>
                <a:gd name="connsiteY62" fmla="*/ 313705 h 1106141"/>
                <a:gd name="connsiteX63" fmla="*/ 648444 w 2562406"/>
                <a:gd name="connsiteY63" fmla="*/ 313705 h 1106141"/>
                <a:gd name="connsiteX64" fmla="*/ 648444 w 2562406"/>
                <a:gd name="connsiteY64" fmla="*/ 321758 h 1106141"/>
                <a:gd name="connsiteX65" fmla="*/ 656978 w 2562406"/>
                <a:gd name="connsiteY65" fmla="*/ 321758 h 1106141"/>
                <a:gd name="connsiteX66" fmla="*/ 656978 w 2562406"/>
                <a:gd name="connsiteY66" fmla="*/ 332275 h 1106141"/>
                <a:gd name="connsiteX67" fmla="*/ 668997 w 2562406"/>
                <a:gd name="connsiteY67" fmla="*/ 332275 h 1106141"/>
                <a:gd name="connsiteX68" fmla="*/ 668997 w 2562406"/>
                <a:gd name="connsiteY68" fmla="*/ 339847 h 1106141"/>
                <a:gd name="connsiteX69" fmla="*/ 702531 w 2562406"/>
                <a:gd name="connsiteY69" fmla="*/ 339847 h 1106141"/>
                <a:gd name="connsiteX70" fmla="*/ 702531 w 2562406"/>
                <a:gd name="connsiteY70" fmla="*/ 351266 h 1106141"/>
                <a:gd name="connsiteX71" fmla="*/ 711245 w 2562406"/>
                <a:gd name="connsiteY71" fmla="*/ 351266 h 1106141"/>
                <a:gd name="connsiteX72" fmla="*/ 711245 w 2562406"/>
                <a:gd name="connsiteY72" fmla="*/ 358417 h 1106141"/>
                <a:gd name="connsiteX73" fmla="*/ 739431 w 2562406"/>
                <a:gd name="connsiteY73" fmla="*/ 358417 h 1106141"/>
                <a:gd name="connsiteX74" fmla="*/ 739431 w 2562406"/>
                <a:gd name="connsiteY74" fmla="*/ 370917 h 1106141"/>
                <a:gd name="connsiteX75" fmla="*/ 748806 w 2562406"/>
                <a:gd name="connsiteY75" fmla="*/ 370917 h 1106141"/>
                <a:gd name="connsiteX76" fmla="*/ 748806 w 2562406"/>
                <a:gd name="connsiteY76" fmla="*/ 377888 h 1106141"/>
                <a:gd name="connsiteX77" fmla="*/ 770020 w 2562406"/>
                <a:gd name="connsiteY77" fmla="*/ 377888 h 1106141"/>
                <a:gd name="connsiteX78" fmla="*/ 770020 w 2562406"/>
                <a:gd name="connsiteY78" fmla="*/ 390148 h 1106141"/>
                <a:gd name="connsiteX79" fmla="*/ 781198 w 2562406"/>
                <a:gd name="connsiteY79" fmla="*/ 390148 h 1106141"/>
                <a:gd name="connsiteX80" fmla="*/ 781198 w 2562406"/>
                <a:gd name="connsiteY80" fmla="*/ 408237 h 1106141"/>
                <a:gd name="connsiteX81" fmla="*/ 795501 w 2562406"/>
                <a:gd name="connsiteY81" fmla="*/ 408237 h 1106141"/>
                <a:gd name="connsiteX82" fmla="*/ 795501 w 2562406"/>
                <a:gd name="connsiteY82" fmla="*/ 416531 h 1106141"/>
                <a:gd name="connsiteX83" fmla="*/ 804455 w 2562406"/>
                <a:gd name="connsiteY83" fmla="*/ 416531 h 1106141"/>
                <a:gd name="connsiteX84" fmla="*/ 804455 w 2562406"/>
                <a:gd name="connsiteY84" fmla="*/ 421639 h 1106141"/>
                <a:gd name="connsiteX85" fmla="*/ 823867 w 2562406"/>
                <a:gd name="connsiteY85" fmla="*/ 421639 h 1106141"/>
                <a:gd name="connsiteX86" fmla="*/ 823867 w 2562406"/>
                <a:gd name="connsiteY86" fmla="*/ 435281 h 1106141"/>
                <a:gd name="connsiteX87" fmla="*/ 829275 w 2562406"/>
                <a:gd name="connsiteY87" fmla="*/ 435281 h 1106141"/>
                <a:gd name="connsiteX88" fmla="*/ 829275 w 2562406"/>
                <a:gd name="connsiteY88" fmla="*/ 442012 h 1106141"/>
                <a:gd name="connsiteX89" fmla="*/ 833242 w 2562406"/>
                <a:gd name="connsiteY89" fmla="*/ 442012 h 1106141"/>
                <a:gd name="connsiteX90" fmla="*/ 833242 w 2562406"/>
                <a:gd name="connsiteY90" fmla="*/ 460341 h 1106141"/>
                <a:gd name="connsiteX91" fmla="*/ 841535 w 2562406"/>
                <a:gd name="connsiteY91" fmla="*/ 460341 h 1106141"/>
                <a:gd name="connsiteX92" fmla="*/ 841535 w 2562406"/>
                <a:gd name="connsiteY92" fmla="*/ 469476 h 1106141"/>
                <a:gd name="connsiteX93" fmla="*/ 865454 w 2562406"/>
                <a:gd name="connsiteY93" fmla="*/ 469476 h 1106141"/>
                <a:gd name="connsiteX94" fmla="*/ 865454 w 2562406"/>
                <a:gd name="connsiteY94" fmla="*/ 474164 h 1106141"/>
                <a:gd name="connsiteX95" fmla="*/ 887569 w 2562406"/>
                <a:gd name="connsiteY95" fmla="*/ 474164 h 1106141"/>
                <a:gd name="connsiteX96" fmla="*/ 887569 w 2562406"/>
                <a:gd name="connsiteY96" fmla="*/ 485762 h 1106141"/>
                <a:gd name="connsiteX97" fmla="*/ 900550 w 2562406"/>
                <a:gd name="connsiteY97" fmla="*/ 485762 h 1106141"/>
                <a:gd name="connsiteX98" fmla="*/ 900550 w 2562406"/>
                <a:gd name="connsiteY98" fmla="*/ 493395 h 1106141"/>
                <a:gd name="connsiteX99" fmla="*/ 921103 w 2562406"/>
                <a:gd name="connsiteY99" fmla="*/ 493395 h 1106141"/>
                <a:gd name="connsiteX100" fmla="*/ 921103 w 2562406"/>
                <a:gd name="connsiteY100" fmla="*/ 499404 h 1106141"/>
                <a:gd name="connsiteX101" fmla="*/ 929337 w 2562406"/>
                <a:gd name="connsiteY101" fmla="*/ 499404 h 1106141"/>
                <a:gd name="connsiteX102" fmla="*/ 929337 w 2562406"/>
                <a:gd name="connsiteY102" fmla="*/ 507457 h 1106141"/>
                <a:gd name="connsiteX103" fmla="*/ 951032 w 2562406"/>
                <a:gd name="connsiteY103" fmla="*/ 507457 h 1106141"/>
                <a:gd name="connsiteX104" fmla="*/ 951032 w 2562406"/>
                <a:gd name="connsiteY104" fmla="*/ 512385 h 1106141"/>
                <a:gd name="connsiteX105" fmla="*/ 959986 w 2562406"/>
                <a:gd name="connsiteY105" fmla="*/ 512385 h 1106141"/>
                <a:gd name="connsiteX106" fmla="*/ 959986 w 2562406"/>
                <a:gd name="connsiteY106" fmla="*/ 517734 h 1106141"/>
                <a:gd name="connsiteX107" fmla="*/ 970924 w 2562406"/>
                <a:gd name="connsiteY107" fmla="*/ 517734 h 1106141"/>
                <a:gd name="connsiteX108" fmla="*/ 970924 w 2562406"/>
                <a:gd name="connsiteY108" fmla="*/ 530234 h 1106141"/>
                <a:gd name="connsiteX109" fmla="*/ 978977 w 2562406"/>
                <a:gd name="connsiteY109" fmla="*/ 530234 h 1106141"/>
                <a:gd name="connsiteX110" fmla="*/ 978977 w 2562406"/>
                <a:gd name="connsiteY110" fmla="*/ 537205 h 1106141"/>
                <a:gd name="connsiteX111" fmla="*/ 986128 w 2562406"/>
                <a:gd name="connsiteY111" fmla="*/ 537205 h 1106141"/>
                <a:gd name="connsiteX112" fmla="*/ 986128 w 2562406"/>
                <a:gd name="connsiteY112" fmla="*/ 544777 h 1106141"/>
                <a:gd name="connsiteX113" fmla="*/ 992138 w 2562406"/>
                <a:gd name="connsiteY113" fmla="*/ 544777 h 1106141"/>
                <a:gd name="connsiteX114" fmla="*/ 992138 w 2562406"/>
                <a:gd name="connsiteY114" fmla="*/ 557999 h 1106141"/>
                <a:gd name="connsiteX115" fmla="*/ 999770 w 2562406"/>
                <a:gd name="connsiteY115" fmla="*/ 557999 h 1106141"/>
                <a:gd name="connsiteX116" fmla="*/ 999770 w 2562406"/>
                <a:gd name="connsiteY116" fmla="*/ 568455 h 1106141"/>
                <a:gd name="connsiteX117" fmla="*/ 1007823 w 2562406"/>
                <a:gd name="connsiteY117" fmla="*/ 568455 h 1106141"/>
                <a:gd name="connsiteX118" fmla="*/ 1007823 w 2562406"/>
                <a:gd name="connsiteY118" fmla="*/ 576508 h 1106141"/>
                <a:gd name="connsiteX119" fmla="*/ 1021225 w 2562406"/>
                <a:gd name="connsiteY119" fmla="*/ 576508 h 1106141"/>
                <a:gd name="connsiteX120" fmla="*/ 1021225 w 2562406"/>
                <a:gd name="connsiteY120" fmla="*/ 589910 h 1106141"/>
                <a:gd name="connsiteX121" fmla="*/ 1028797 w 2562406"/>
                <a:gd name="connsiteY121" fmla="*/ 589910 h 1106141"/>
                <a:gd name="connsiteX122" fmla="*/ 1028797 w 2562406"/>
                <a:gd name="connsiteY122" fmla="*/ 600006 h 1106141"/>
                <a:gd name="connsiteX123" fmla="*/ 1086249 w 2562406"/>
                <a:gd name="connsiteY123" fmla="*/ 600006 h 1106141"/>
                <a:gd name="connsiteX124" fmla="*/ 1086249 w 2562406"/>
                <a:gd name="connsiteY124" fmla="*/ 607819 h 1106141"/>
                <a:gd name="connsiteX125" fmla="*/ 1093160 w 2562406"/>
                <a:gd name="connsiteY125" fmla="*/ 607819 h 1106141"/>
                <a:gd name="connsiteX126" fmla="*/ 1093160 w 2562406"/>
                <a:gd name="connsiteY126" fmla="*/ 618336 h 1106141"/>
                <a:gd name="connsiteX127" fmla="*/ 1105661 w 2562406"/>
                <a:gd name="connsiteY127" fmla="*/ 618336 h 1106141"/>
                <a:gd name="connsiteX128" fmla="*/ 1105661 w 2562406"/>
                <a:gd name="connsiteY128" fmla="*/ 627471 h 1106141"/>
                <a:gd name="connsiteX129" fmla="*/ 1114615 w 2562406"/>
                <a:gd name="connsiteY129" fmla="*/ 627471 h 1106141"/>
                <a:gd name="connsiteX130" fmla="*/ 1114615 w 2562406"/>
                <a:gd name="connsiteY130" fmla="*/ 639069 h 1106141"/>
                <a:gd name="connsiteX131" fmla="*/ 1137392 w 2562406"/>
                <a:gd name="connsiteY131" fmla="*/ 639069 h 1106141"/>
                <a:gd name="connsiteX132" fmla="*/ 1137392 w 2562406"/>
                <a:gd name="connsiteY132" fmla="*/ 646701 h 1106141"/>
                <a:gd name="connsiteX133" fmla="*/ 1142560 w 2562406"/>
                <a:gd name="connsiteY133" fmla="*/ 646701 h 1106141"/>
                <a:gd name="connsiteX134" fmla="*/ 1142560 w 2562406"/>
                <a:gd name="connsiteY134" fmla="*/ 661906 h 1106141"/>
                <a:gd name="connsiteX135" fmla="*/ 1161310 w 2562406"/>
                <a:gd name="connsiteY135" fmla="*/ 661906 h 1106141"/>
                <a:gd name="connsiteX136" fmla="*/ 1161310 w 2562406"/>
                <a:gd name="connsiteY136" fmla="*/ 675488 h 1106141"/>
                <a:gd name="connsiteX137" fmla="*/ 1182524 w 2562406"/>
                <a:gd name="connsiteY137" fmla="*/ 675488 h 1106141"/>
                <a:gd name="connsiteX138" fmla="*/ 1182524 w 2562406"/>
                <a:gd name="connsiteY138" fmla="*/ 679755 h 1106141"/>
                <a:gd name="connsiteX139" fmla="*/ 1189676 w 2562406"/>
                <a:gd name="connsiteY139" fmla="*/ 679755 h 1106141"/>
                <a:gd name="connsiteX140" fmla="*/ 1189676 w 2562406"/>
                <a:gd name="connsiteY140" fmla="*/ 691834 h 1106141"/>
                <a:gd name="connsiteX141" fmla="*/ 1202897 w 2562406"/>
                <a:gd name="connsiteY141" fmla="*/ 691834 h 1106141"/>
                <a:gd name="connsiteX142" fmla="*/ 1202897 w 2562406"/>
                <a:gd name="connsiteY142" fmla="*/ 700789 h 1106141"/>
                <a:gd name="connsiteX143" fmla="*/ 1228799 w 2562406"/>
                <a:gd name="connsiteY143" fmla="*/ 700789 h 1106141"/>
                <a:gd name="connsiteX144" fmla="*/ 1228799 w 2562406"/>
                <a:gd name="connsiteY144" fmla="*/ 707459 h 1106141"/>
                <a:gd name="connsiteX145" fmla="*/ 1253619 w 2562406"/>
                <a:gd name="connsiteY145" fmla="*/ 707459 h 1106141"/>
                <a:gd name="connsiteX146" fmla="*/ 1253619 w 2562406"/>
                <a:gd name="connsiteY146" fmla="*/ 713048 h 1106141"/>
                <a:gd name="connsiteX147" fmla="*/ 1274172 w 2562406"/>
                <a:gd name="connsiteY147" fmla="*/ 713048 h 1106141"/>
                <a:gd name="connsiteX148" fmla="*/ 1274172 w 2562406"/>
                <a:gd name="connsiteY148" fmla="*/ 724226 h 1106141"/>
                <a:gd name="connsiteX149" fmla="*/ 1315699 w 2562406"/>
                <a:gd name="connsiteY149" fmla="*/ 724226 h 1106141"/>
                <a:gd name="connsiteX150" fmla="*/ 1315699 w 2562406"/>
                <a:gd name="connsiteY150" fmla="*/ 742796 h 1106141"/>
                <a:gd name="connsiteX151" fmla="*/ 1330903 w 2562406"/>
                <a:gd name="connsiteY151" fmla="*/ 742796 h 1106141"/>
                <a:gd name="connsiteX152" fmla="*/ 1330903 w 2562406"/>
                <a:gd name="connsiteY152" fmla="*/ 749046 h 1106141"/>
                <a:gd name="connsiteX153" fmla="*/ 1338295 w 2562406"/>
                <a:gd name="connsiteY153" fmla="*/ 749046 h 1106141"/>
                <a:gd name="connsiteX154" fmla="*/ 1338295 w 2562406"/>
                <a:gd name="connsiteY154" fmla="*/ 758662 h 1106141"/>
                <a:gd name="connsiteX155" fmla="*/ 1355302 w 2562406"/>
                <a:gd name="connsiteY155" fmla="*/ 758662 h 1106141"/>
                <a:gd name="connsiteX156" fmla="*/ 1355302 w 2562406"/>
                <a:gd name="connsiteY156" fmla="*/ 774527 h 1106141"/>
                <a:gd name="connsiteX157" fmla="*/ 1405123 w 2562406"/>
                <a:gd name="connsiteY157" fmla="*/ 774527 h 1106141"/>
                <a:gd name="connsiteX158" fmla="*/ 1405123 w 2562406"/>
                <a:gd name="connsiteY158" fmla="*/ 780958 h 1106141"/>
                <a:gd name="connsiteX159" fmla="*/ 1424113 w 2562406"/>
                <a:gd name="connsiteY159" fmla="*/ 780958 h 1106141"/>
                <a:gd name="connsiteX160" fmla="*/ 1424113 w 2562406"/>
                <a:gd name="connsiteY160" fmla="*/ 788109 h 1106141"/>
                <a:gd name="connsiteX161" fmla="*/ 1466782 w 2562406"/>
                <a:gd name="connsiteY161" fmla="*/ 788109 h 1106141"/>
                <a:gd name="connsiteX162" fmla="*/ 1466782 w 2562406"/>
                <a:gd name="connsiteY162" fmla="*/ 793939 h 1106141"/>
                <a:gd name="connsiteX163" fmla="*/ 1512395 w 2562406"/>
                <a:gd name="connsiteY163" fmla="*/ 793939 h 1106141"/>
                <a:gd name="connsiteX164" fmla="*/ 1512395 w 2562406"/>
                <a:gd name="connsiteY164" fmla="*/ 805117 h 1106141"/>
                <a:gd name="connsiteX165" fmla="*/ 1521530 w 2562406"/>
                <a:gd name="connsiteY165" fmla="*/ 805117 h 1106141"/>
                <a:gd name="connsiteX166" fmla="*/ 1521530 w 2562406"/>
                <a:gd name="connsiteY166" fmla="*/ 812268 h 1106141"/>
                <a:gd name="connsiteX167" fmla="*/ 1557047 w 2562406"/>
                <a:gd name="connsiteY167" fmla="*/ 812268 h 1106141"/>
                <a:gd name="connsiteX168" fmla="*/ 1557047 w 2562406"/>
                <a:gd name="connsiteY168" fmla="*/ 823446 h 1106141"/>
                <a:gd name="connsiteX169" fmla="*/ 1567805 w 2562406"/>
                <a:gd name="connsiteY169" fmla="*/ 823446 h 1106141"/>
                <a:gd name="connsiteX170" fmla="*/ 1567805 w 2562406"/>
                <a:gd name="connsiteY170" fmla="*/ 834143 h 1106141"/>
                <a:gd name="connsiteX171" fmla="*/ 1591483 w 2562406"/>
                <a:gd name="connsiteY171" fmla="*/ 834143 h 1106141"/>
                <a:gd name="connsiteX172" fmla="*/ 1591483 w 2562406"/>
                <a:gd name="connsiteY172" fmla="*/ 850009 h 1106141"/>
                <a:gd name="connsiteX173" fmla="*/ 1607348 w 2562406"/>
                <a:gd name="connsiteY173" fmla="*/ 850009 h 1106141"/>
                <a:gd name="connsiteX174" fmla="*/ 1607348 w 2562406"/>
                <a:gd name="connsiteY174" fmla="*/ 857160 h 1106141"/>
                <a:gd name="connsiteX175" fmla="*/ 1652241 w 2562406"/>
                <a:gd name="connsiteY175" fmla="*/ 857160 h 1106141"/>
                <a:gd name="connsiteX176" fmla="*/ 1652241 w 2562406"/>
                <a:gd name="connsiteY176" fmla="*/ 862990 h 1106141"/>
                <a:gd name="connsiteX177" fmla="*/ 1657409 w 2562406"/>
                <a:gd name="connsiteY177" fmla="*/ 862990 h 1106141"/>
                <a:gd name="connsiteX178" fmla="*/ 1657409 w 2562406"/>
                <a:gd name="connsiteY178" fmla="*/ 869480 h 1106141"/>
                <a:gd name="connsiteX179" fmla="*/ 1663239 w 2562406"/>
                <a:gd name="connsiteY179" fmla="*/ 869480 h 1106141"/>
                <a:gd name="connsiteX180" fmla="*/ 1663239 w 2562406"/>
                <a:gd name="connsiteY180" fmla="*/ 875490 h 1106141"/>
                <a:gd name="connsiteX181" fmla="*/ 1670390 w 2562406"/>
                <a:gd name="connsiteY181" fmla="*/ 875490 h 1106141"/>
                <a:gd name="connsiteX182" fmla="*/ 1670390 w 2562406"/>
                <a:gd name="connsiteY182" fmla="*/ 879997 h 1106141"/>
                <a:gd name="connsiteX183" fmla="*/ 1678864 w 2562406"/>
                <a:gd name="connsiteY183" fmla="*/ 879997 h 1106141"/>
                <a:gd name="connsiteX184" fmla="*/ 1678864 w 2562406"/>
                <a:gd name="connsiteY184" fmla="*/ 888050 h 1106141"/>
                <a:gd name="connsiteX185" fmla="*/ 1701881 w 2562406"/>
                <a:gd name="connsiteY185" fmla="*/ 888050 h 1106141"/>
                <a:gd name="connsiteX186" fmla="*/ 1701881 w 2562406"/>
                <a:gd name="connsiteY186" fmla="*/ 895202 h 1106141"/>
                <a:gd name="connsiteX187" fmla="*/ 1736977 w 2562406"/>
                <a:gd name="connsiteY187" fmla="*/ 895202 h 1106141"/>
                <a:gd name="connsiteX188" fmla="*/ 1736977 w 2562406"/>
                <a:gd name="connsiteY188" fmla="*/ 904997 h 1106141"/>
                <a:gd name="connsiteX189" fmla="*/ 1762639 w 2562406"/>
                <a:gd name="connsiteY189" fmla="*/ 904997 h 1106141"/>
                <a:gd name="connsiteX190" fmla="*/ 1762639 w 2562406"/>
                <a:gd name="connsiteY190" fmla="*/ 922005 h 1106141"/>
                <a:gd name="connsiteX191" fmla="*/ 1774718 w 2562406"/>
                <a:gd name="connsiteY191" fmla="*/ 922005 h 1106141"/>
                <a:gd name="connsiteX192" fmla="*/ 1774718 w 2562406"/>
                <a:gd name="connsiteY192" fmla="*/ 929817 h 1106141"/>
                <a:gd name="connsiteX193" fmla="*/ 1789682 w 2562406"/>
                <a:gd name="connsiteY193" fmla="*/ 929817 h 1106141"/>
                <a:gd name="connsiteX194" fmla="*/ 1789682 w 2562406"/>
                <a:gd name="connsiteY194" fmla="*/ 940334 h 1106141"/>
                <a:gd name="connsiteX195" fmla="*/ 1825199 w 2562406"/>
                <a:gd name="connsiteY195" fmla="*/ 940334 h 1106141"/>
                <a:gd name="connsiteX196" fmla="*/ 1825199 w 2562406"/>
                <a:gd name="connsiteY196" fmla="*/ 949709 h 1106141"/>
                <a:gd name="connsiteX197" fmla="*/ 1839502 w 2562406"/>
                <a:gd name="connsiteY197" fmla="*/ 949709 h 1106141"/>
                <a:gd name="connsiteX198" fmla="*/ 1839502 w 2562406"/>
                <a:gd name="connsiteY198" fmla="*/ 953976 h 1106141"/>
                <a:gd name="connsiteX199" fmla="*/ 1867207 w 2562406"/>
                <a:gd name="connsiteY199" fmla="*/ 953976 h 1106141"/>
                <a:gd name="connsiteX200" fmla="*/ 1867207 w 2562406"/>
                <a:gd name="connsiteY200" fmla="*/ 959746 h 1106141"/>
                <a:gd name="connsiteX201" fmla="*/ 1879286 w 2562406"/>
                <a:gd name="connsiteY201" fmla="*/ 959746 h 1106141"/>
                <a:gd name="connsiteX202" fmla="*/ 1879286 w 2562406"/>
                <a:gd name="connsiteY202" fmla="*/ 965815 h 1106141"/>
                <a:gd name="connsiteX203" fmla="*/ 1922436 w 2562406"/>
                <a:gd name="connsiteY203" fmla="*/ 965815 h 1106141"/>
                <a:gd name="connsiteX204" fmla="*/ 1922436 w 2562406"/>
                <a:gd name="connsiteY204" fmla="*/ 987931 h 1106141"/>
                <a:gd name="connsiteX205" fmla="*/ 1953265 w 2562406"/>
                <a:gd name="connsiteY205" fmla="*/ 987931 h 1106141"/>
                <a:gd name="connsiteX206" fmla="*/ 1953265 w 2562406"/>
                <a:gd name="connsiteY206" fmla="*/ 1000191 h 1106141"/>
                <a:gd name="connsiteX207" fmla="*/ 1983194 w 2562406"/>
                <a:gd name="connsiteY207" fmla="*/ 1000191 h 1106141"/>
                <a:gd name="connsiteX208" fmla="*/ 1983194 w 2562406"/>
                <a:gd name="connsiteY208" fmla="*/ 1009566 h 1106141"/>
                <a:gd name="connsiteX209" fmla="*/ 2001343 w 2562406"/>
                <a:gd name="connsiteY209" fmla="*/ 1009566 h 1106141"/>
                <a:gd name="connsiteX210" fmla="*/ 2001343 w 2562406"/>
                <a:gd name="connsiteY210" fmla="*/ 1016056 h 1106141"/>
                <a:gd name="connsiteX211" fmla="*/ 2014925 w 2562406"/>
                <a:gd name="connsiteY211" fmla="*/ 1016056 h 1106141"/>
                <a:gd name="connsiteX212" fmla="*/ 2014925 w 2562406"/>
                <a:gd name="connsiteY212" fmla="*/ 1030359 h 1106141"/>
                <a:gd name="connsiteX213" fmla="*/ 2037761 w 2562406"/>
                <a:gd name="connsiteY213" fmla="*/ 1030359 h 1106141"/>
                <a:gd name="connsiteX214" fmla="*/ 2037761 w 2562406"/>
                <a:gd name="connsiteY214" fmla="*/ 1041117 h 1106141"/>
                <a:gd name="connsiteX215" fmla="*/ 2094253 w 2562406"/>
                <a:gd name="connsiteY215" fmla="*/ 1041117 h 1106141"/>
                <a:gd name="connsiteX216" fmla="*/ 2094253 w 2562406"/>
                <a:gd name="connsiteY216" fmla="*/ 1057643 h 1106141"/>
                <a:gd name="connsiteX217" fmla="*/ 2161080 w 2562406"/>
                <a:gd name="connsiteY217" fmla="*/ 1057643 h 1106141"/>
                <a:gd name="connsiteX218" fmla="*/ 2161080 w 2562406"/>
                <a:gd name="connsiteY218" fmla="*/ 1073028 h 1106141"/>
                <a:gd name="connsiteX219" fmla="*/ 2223220 w 2562406"/>
                <a:gd name="connsiteY219" fmla="*/ 1073028 h 1106141"/>
                <a:gd name="connsiteX220" fmla="*/ 2223220 w 2562406"/>
                <a:gd name="connsiteY220" fmla="*/ 1082463 h 1106141"/>
                <a:gd name="connsiteX221" fmla="*/ 2299663 w 2562406"/>
                <a:gd name="connsiteY221" fmla="*/ 1082463 h 1106141"/>
                <a:gd name="connsiteX222" fmla="*/ 2299663 w 2562406"/>
                <a:gd name="connsiteY222" fmla="*/ 1106141 h 1106141"/>
                <a:gd name="connsiteX223" fmla="*/ 2470579 w 2562406"/>
                <a:gd name="connsiteY223" fmla="*/ 1106141 h 1106141"/>
                <a:gd name="connsiteX224" fmla="*/ 2562407 w 2562406"/>
                <a:gd name="connsiteY224" fmla="*/ 1106141 h 1106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2562406" h="1106141">
                  <a:moveTo>
                    <a:pt x="0" y="0"/>
                  </a:moveTo>
                  <a:lnTo>
                    <a:pt x="60457" y="0"/>
                  </a:lnTo>
                  <a:lnTo>
                    <a:pt x="60457" y="15024"/>
                  </a:lnTo>
                  <a:lnTo>
                    <a:pt x="67669" y="15024"/>
                  </a:lnTo>
                  <a:lnTo>
                    <a:pt x="67669" y="21755"/>
                  </a:lnTo>
                  <a:lnTo>
                    <a:pt x="105410" y="21755"/>
                  </a:lnTo>
                  <a:lnTo>
                    <a:pt x="105410" y="34135"/>
                  </a:lnTo>
                  <a:lnTo>
                    <a:pt x="146756" y="34135"/>
                  </a:lnTo>
                  <a:lnTo>
                    <a:pt x="146756" y="42909"/>
                  </a:lnTo>
                  <a:lnTo>
                    <a:pt x="166949" y="42909"/>
                  </a:lnTo>
                  <a:lnTo>
                    <a:pt x="166949" y="54808"/>
                  </a:lnTo>
                  <a:lnTo>
                    <a:pt x="206252" y="54808"/>
                  </a:lnTo>
                  <a:lnTo>
                    <a:pt x="206252" y="67729"/>
                  </a:lnTo>
                  <a:lnTo>
                    <a:pt x="224341" y="67729"/>
                  </a:lnTo>
                  <a:lnTo>
                    <a:pt x="224341" y="75001"/>
                  </a:lnTo>
                  <a:lnTo>
                    <a:pt x="233115" y="75001"/>
                  </a:lnTo>
                  <a:lnTo>
                    <a:pt x="233115" y="81191"/>
                  </a:lnTo>
                  <a:lnTo>
                    <a:pt x="247058" y="81191"/>
                  </a:lnTo>
                  <a:lnTo>
                    <a:pt x="247058" y="88943"/>
                  </a:lnTo>
                  <a:lnTo>
                    <a:pt x="257394" y="88943"/>
                  </a:lnTo>
                  <a:lnTo>
                    <a:pt x="257394" y="108595"/>
                  </a:lnTo>
                  <a:lnTo>
                    <a:pt x="330292" y="108595"/>
                  </a:lnTo>
                  <a:lnTo>
                    <a:pt x="330292" y="116828"/>
                  </a:lnTo>
                  <a:lnTo>
                    <a:pt x="368573" y="116828"/>
                  </a:lnTo>
                  <a:lnTo>
                    <a:pt x="368573" y="126684"/>
                  </a:lnTo>
                  <a:lnTo>
                    <a:pt x="389727" y="126684"/>
                  </a:lnTo>
                  <a:lnTo>
                    <a:pt x="389727" y="139064"/>
                  </a:lnTo>
                  <a:lnTo>
                    <a:pt x="398562" y="139064"/>
                  </a:lnTo>
                  <a:lnTo>
                    <a:pt x="398562" y="146336"/>
                  </a:lnTo>
                  <a:lnTo>
                    <a:pt x="423382" y="146336"/>
                  </a:lnTo>
                  <a:lnTo>
                    <a:pt x="423382" y="153066"/>
                  </a:lnTo>
                  <a:lnTo>
                    <a:pt x="434740" y="153066"/>
                  </a:lnTo>
                  <a:lnTo>
                    <a:pt x="434740" y="163884"/>
                  </a:lnTo>
                  <a:lnTo>
                    <a:pt x="444055" y="163884"/>
                  </a:lnTo>
                  <a:lnTo>
                    <a:pt x="444055" y="172658"/>
                  </a:lnTo>
                  <a:lnTo>
                    <a:pt x="454392" y="172658"/>
                  </a:lnTo>
                  <a:lnTo>
                    <a:pt x="454392" y="185098"/>
                  </a:lnTo>
                  <a:lnTo>
                    <a:pt x="472962" y="185098"/>
                  </a:lnTo>
                  <a:lnTo>
                    <a:pt x="472962" y="190807"/>
                  </a:lnTo>
                  <a:lnTo>
                    <a:pt x="487986" y="190807"/>
                  </a:lnTo>
                  <a:lnTo>
                    <a:pt x="487986" y="202166"/>
                  </a:lnTo>
                  <a:lnTo>
                    <a:pt x="494717" y="202166"/>
                  </a:lnTo>
                  <a:lnTo>
                    <a:pt x="494717" y="219233"/>
                  </a:lnTo>
                  <a:lnTo>
                    <a:pt x="505534" y="219233"/>
                  </a:lnTo>
                  <a:lnTo>
                    <a:pt x="505534" y="226985"/>
                  </a:lnTo>
                  <a:lnTo>
                    <a:pt x="530354" y="226985"/>
                  </a:lnTo>
                  <a:lnTo>
                    <a:pt x="530354" y="233656"/>
                  </a:lnTo>
                  <a:lnTo>
                    <a:pt x="550547" y="233656"/>
                  </a:lnTo>
                  <a:lnTo>
                    <a:pt x="550547" y="241529"/>
                  </a:lnTo>
                  <a:lnTo>
                    <a:pt x="557939" y="241529"/>
                  </a:lnTo>
                  <a:lnTo>
                    <a:pt x="557939" y="249341"/>
                  </a:lnTo>
                  <a:lnTo>
                    <a:pt x="564429" y="249341"/>
                  </a:lnTo>
                  <a:lnTo>
                    <a:pt x="564429" y="257875"/>
                  </a:lnTo>
                  <a:lnTo>
                    <a:pt x="582097" y="257875"/>
                  </a:lnTo>
                  <a:lnTo>
                    <a:pt x="582097" y="276205"/>
                  </a:lnTo>
                  <a:lnTo>
                    <a:pt x="595499" y="276205"/>
                  </a:lnTo>
                  <a:lnTo>
                    <a:pt x="595499" y="289366"/>
                  </a:lnTo>
                  <a:lnTo>
                    <a:pt x="602230" y="289366"/>
                  </a:lnTo>
                  <a:lnTo>
                    <a:pt x="602230" y="295616"/>
                  </a:lnTo>
                  <a:lnTo>
                    <a:pt x="620740" y="295616"/>
                  </a:lnTo>
                  <a:lnTo>
                    <a:pt x="620740" y="302347"/>
                  </a:lnTo>
                  <a:lnTo>
                    <a:pt x="635944" y="302347"/>
                  </a:lnTo>
                  <a:lnTo>
                    <a:pt x="635944" y="313705"/>
                  </a:lnTo>
                  <a:lnTo>
                    <a:pt x="648444" y="313705"/>
                  </a:lnTo>
                  <a:lnTo>
                    <a:pt x="648444" y="321758"/>
                  </a:lnTo>
                  <a:lnTo>
                    <a:pt x="656978" y="321758"/>
                  </a:lnTo>
                  <a:lnTo>
                    <a:pt x="656978" y="332275"/>
                  </a:lnTo>
                  <a:lnTo>
                    <a:pt x="668997" y="332275"/>
                  </a:lnTo>
                  <a:lnTo>
                    <a:pt x="668997" y="339847"/>
                  </a:lnTo>
                  <a:lnTo>
                    <a:pt x="702531" y="339847"/>
                  </a:lnTo>
                  <a:lnTo>
                    <a:pt x="702531" y="351266"/>
                  </a:lnTo>
                  <a:lnTo>
                    <a:pt x="711245" y="351266"/>
                  </a:lnTo>
                  <a:lnTo>
                    <a:pt x="711245" y="358417"/>
                  </a:lnTo>
                  <a:lnTo>
                    <a:pt x="739431" y="358417"/>
                  </a:lnTo>
                  <a:lnTo>
                    <a:pt x="739431" y="370917"/>
                  </a:lnTo>
                  <a:lnTo>
                    <a:pt x="748806" y="370917"/>
                  </a:lnTo>
                  <a:lnTo>
                    <a:pt x="748806" y="377888"/>
                  </a:lnTo>
                  <a:lnTo>
                    <a:pt x="770020" y="377888"/>
                  </a:lnTo>
                  <a:lnTo>
                    <a:pt x="770020" y="390148"/>
                  </a:lnTo>
                  <a:lnTo>
                    <a:pt x="781198" y="390148"/>
                  </a:lnTo>
                  <a:lnTo>
                    <a:pt x="781198" y="408237"/>
                  </a:lnTo>
                  <a:lnTo>
                    <a:pt x="795501" y="408237"/>
                  </a:lnTo>
                  <a:lnTo>
                    <a:pt x="795501" y="416531"/>
                  </a:lnTo>
                  <a:lnTo>
                    <a:pt x="804455" y="416531"/>
                  </a:lnTo>
                  <a:lnTo>
                    <a:pt x="804455" y="421639"/>
                  </a:lnTo>
                  <a:lnTo>
                    <a:pt x="823867" y="421639"/>
                  </a:lnTo>
                  <a:lnTo>
                    <a:pt x="823867" y="435281"/>
                  </a:lnTo>
                  <a:lnTo>
                    <a:pt x="829275" y="435281"/>
                  </a:lnTo>
                  <a:lnTo>
                    <a:pt x="829275" y="442012"/>
                  </a:lnTo>
                  <a:lnTo>
                    <a:pt x="833242" y="442012"/>
                  </a:lnTo>
                  <a:lnTo>
                    <a:pt x="833242" y="460341"/>
                  </a:lnTo>
                  <a:lnTo>
                    <a:pt x="841535" y="460341"/>
                  </a:lnTo>
                  <a:lnTo>
                    <a:pt x="841535" y="469476"/>
                  </a:lnTo>
                  <a:lnTo>
                    <a:pt x="865454" y="469476"/>
                  </a:lnTo>
                  <a:lnTo>
                    <a:pt x="865454" y="474164"/>
                  </a:lnTo>
                  <a:lnTo>
                    <a:pt x="887569" y="474164"/>
                  </a:lnTo>
                  <a:lnTo>
                    <a:pt x="887569" y="485762"/>
                  </a:lnTo>
                  <a:lnTo>
                    <a:pt x="900550" y="485762"/>
                  </a:lnTo>
                  <a:lnTo>
                    <a:pt x="900550" y="493395"/>
                  </a:lnTo>
                  <a:lnTo>
                    <a:pt x="921103" y="493395"/>
                  </a:lnTo>
                  <a:lnTo>
                    <a:pt x="921103" y="499404"/>
                  </a:lnTo>
                  <a:lnTo>
                    <a:pt x="929337" y="499404"/>
                  </a:lnTo>
                  <a:lnTo>
                    <a:pt x="929337" y="507457"/>
                  </a:lnTo>
                  <a:lnTo>
                    <a:pt x="951032" y="507457"/>
                  </a:lnTo>
                  <a:lnTo>
                    <a:pt x="951032" y="512385"/>
                  </a:lnTo>
                  <a:lnTo>
                    <a:pt x="959986" y="512385"/>
                  </a:lnTo>
                  <a:lnTo>
                    <a:pt x="959986" y="517734"/>
                  </a:lnTo>
                  <a:lnTo>
                    <a:pt x="970924" y="517734"/>
                  </a:lnTo>
                  <a:lnTo>
                    <a:pt x="970924" y="530234"/>
                  </a:lnTo>
                  <a:lnTo>
                    <a:pt x="978977" y="530234"/>
                  </a:lnTo>
                  <a:lnTo>
                    <a:pt x="978977" y="537205"/>
                  </a:lnTo>
                  <a:lnTo>
                    <a:pt x="986128" y="537205"/>
                  </a:lnTo>
                  <a:lnTo>
                    <a:pt x="986128" y="544777"/>
                  </a:lnTo>
                  <a:lnTo>
                    <a:pt x="992138" y="544777"/>
                  </a:lnTo>
                  <a:lnTo>
                    <a:pt x="992138" y="557999"/>
                  </a:lnTo>
                  <a:lnTo>
                    <a:pt x="999770" y="557999"/>
                  </a:lnTo>
                  <a:lnTo>
                    <a:pt x="999770" y="568455"/>
                  </a:lnTo>
                  <a:lnTo>
                    <a:pt x="1007823" y="568455"/>
                  </a:lnTo>
                  <a:lnTo>
                    <a:pt x="1007823" y="576508"/>
                  </a:lnTo>
                  <a:lnTo>
                    <a:pt x="1021225" y="576508"/>
                  </a:lnTo>
                  <a:lnTo>
                    <a:pt x="1021225" y="589910"/>
                  </a:lnTo>
                  <a:lnTo>
                    <a:pt x="1028797" y="589910"/>
                  </a:lnTo>
                  <a:lnTo>
                    <a:pt x="1028797" y="600006"/>
                  </a:lnTo>
                  <a:lnTo>
                    <a:pt x="1086249" y="600006"/>
                  </a:lnTo>
                  <a:lnTo>
                    <a:pt x="1086249" y="607819"/>
                  </a:lnTo>
                  <a:lnTo>
                    <a:pt x="1093160" y="607819"/>
                  </a:lnTo>
                  <a:lnTo>
                    <a:pt x="1093160" y="618336"/>
                  </a:lnTo>
                  <a:lnTo>
                    <a:pt x="1105661" y="618336"/>
                  </a:lnTo>
                  <a:lnTo>
                    <a:pt x="1105661" y="627471"/>
                  </a:lnTo>
                  <a:lnTo>
                    <a:pt x="1114615" y="627471"/>
                  </a:lnTo>
                  <a:lnTo>
                    <a:pt x="1114615" y="639069"/>
                  </a:lnTo>
                  <a:lnTo>
                    <a:pt x="1137392" y="639069"/>
                  </a:lnTo>
                  <a:lnTo>
                    <a:pt x="1137392" y="646701"/>
                  </a:lnTo>
                  <a:lnTo>
                    <a:pt x="1142560" y="646701"/>
                  </a:lnTo>
                  <a:lnTo>
                    <a:pt x="1142560" y="661906"/>
                  </a:lnTo>
                  <a:lnTo>
                    <a:pt x="1161310" y="661906"/>
                  </a:lnTo>
                  <a:lnTo>
                    <a:pt x="1161310" y="675488"/>
                  </a:lnTo>
                  <a:lnTo>
                    <a:pt x="1182524" y="675488"/>
                  </a:lnTo>
                  <a:lnTo>
                    <a:pt x="1182524" y="679755"/>
                  </a:lnTo>
                  <a:lnTo>
                    <a:pt x="1189676" y="679755"/>
                  </a:lnTo>
                  <a:lnTo>
                    <a:pt x="1189676" y="691834"/>
                  </a:lnTo>
                  <a:lnTo>
                    <a:pt x="1202897" y="691834"/>
                  </a:lnTo>
                  <a:lnTo>
                    <a:pt x="1202897" y="700789"/>
                  </a:lnTo>
                  <a:lnTo>
                    <a:pt x="1228799" y="700789"/>
                  </a:lnTo>
                  <a:lnTo>
                    <a:pt x="1228799" y="707459"/>
                  </a:lnTo>
                  <a:lnTo>
                    <a:pt x="1253619" y="707459"/>
                  </a:lnTo>
                  <a:lnTo>
                    <a:pt x="1253619" y="713048"/>
                  </a:lnTo>
                  <a:lnTo>
                    <a:pt x="1274172" y="713048"/>
                  </a:lnTo>
                  <a:lnTo>
                    <a:pt x="1274172" y="724226"/>
                  </a:lnTo>
                  <a:lnTo>
                    <a:pt x="1315699" y="724226"/>
                  </a:lnTo>
                  <a:lnTo>
                    <a:pt x="1315699" y="742796"/>
                  </a:lnTo>
                  <a:lnTo>
                    <a:pt x="1330903" y="742796"/>
                  </a:lnTo>
                  <a:lnTo>
                    <a:pt x="1330903" y="749046"/>
                  </a:lnTo>
                  <a:lnTo>
                    <a:pt x="1338295" y="749046"/>
                  </a:lnTo>
                  <a:lnTo>
                    <a:pt x="1338295" y="758662"/>
                  </a:lnTo>
                  <a:lnTo>
                    <a:pt x="1355302" y="758662"/>
                  </a:lnTo>
                  <a:lnTo>
                    <a:pt x="1355302" y="774527"/>
                  </a:lnTo>
                  <a:lnTo>
                    <a:pt x="1405123" y="774527"/>
                  </a:lnTo>
                  <a:lnTo>
                    <a:pt x="1405123" y="780958"/>
                  </a:lnTo>
                  <a:lnTo>
                    <a:pt x="1424113" y="780958"/>
                  </a:lnTo>
                  <a:lnTo>
                    <a:pt x="1424113" y="788109"/>
                  </a:lnTo>
                  <a:lnTo>
                    <a:pt x="1466782" y="788109"/>
                  </a:lnTo>
                  <a:lnTo>
                    <a:pt x="1466782" y="793939"/>
                  </a:lnTo>
                  <a:lnTo>
                    <a:pt x="1512395" y="793939"/>
                  </a:lnTo>
                  <a:lnTo>
                    <a:pt x="1512395" y="805117"/>
                  </a:lnTo>
                  <a:lnTo>
                    <a:pt x="1521530" y="805117"/>
                  </a:lnTo>
                  <a:lnTo>
                    <a:pt x="1521530" y="812268"/>
                  </a:lnTo>
                  <a:lnTo>
                    <a:pt x="1557047" y="812268"/>
                  </a:lnTo>
                  <a:lnTo>
                    <a:pt x="1557047" y="823446"/>
                  </a:lnTo>
                  <a:lnTo>
                    <a:pt x="1567805" y="823446"/>
                  </a:lnTo>
                  <a:lnTo>
                    <a:pt x="1567805" y="834143"/>
                  </a:lnTo>
                  <a:lnTo>
                    <a:pt x="1591483" y="834143"/>
                  </a:lnTo>
                  <a:lnTo>
                    <a:pt x="1591483" y="850009"/>
                  </a:lnTo>
                  <a:lnTo>
                    <a:pt x="1607348" y="850009"/>
                  </a:lnTo>
                  <a:lnTo>
                    <a:pt x="1607348" y="857160"/>
                  </a:lnTo>
                  <a:lnTo>
                    <a:pt x="1652241" y="857160"/>
                  </a:lnTo>
                  <a:lnTo>
                    <a:pt x="1652241" y="862990"/>
                  </a:lnTo>
                  <a:lnTo>
                    <a:pt x="1657409" y="862990"/>
                  </a:lnTo>
                  <a:lnTo>
                    <a:pt x="1657409" y="869480"/>
                  </a:lnTo>
                  <a:lnTo>
                    <a:pt x="1663239" y="869480"/>
                  </a:lnTo>
                  <a:lnTo>
                    <a:pt x="1663239" y="875490"/>
                  </a:lnTo>
                  <a:lnTo>
                    <a:pt x="1670390" y="875490"/>
                  </a:lnTo>
                  <a:lnTo>
                    <a:pt x="1670390" y="879997"/>
                  </a:lnTo>
                  <a:lnTo>
                    <a:pt x="1678864" y="879997"/>
                  </a:lnTo>
                  <a:lnTo>
                    <a:pt x="1678864" y="888050"/>
                  </a:lnTo>
                  <a:lnTo>
                    <a:pt x="1701881" y="888050"/>
                  </a:lnTo>
                  <a:lnTo>
                    <a:pt x="1701881" y="895202"/>
                  </a:lnTo>
                  <a:lnTo>
                    <a:pt x="1736977" y="895202"/>
                  </a:lnTo>
                  <a:lnTo>
                    <a:pt x="1736977" y="904997"/>
                  </a:lnTo>
                  <a:lnTo>
                    <a:pt x="1762639" y="904997"/>
                  </a:lnTo>
                  <a:lnTo>
                    <a:pt x="1762639" y="922005"/>
                  </a:lnTo>
                  <a:lnTo>
                    <a:pt x="1774718" y="922005"/>
                  </a:lnTo>
                  <a:lnTo>
                    <a:pt x="1774718" y="929817"/>
                  </a:lnTo>
                  <a:lnTo>
                    <a:pt x="1789682" y="929817"/>
                  </a:lnTo>
                  <a:lnTo>
                    <a:pt x="1789682" y="940334"/>
                  </a:lnTo>
                  <a:lnTo>
                    <a:pt x="1825199" y="940334"/>
                  </a:lnTo>
                  <a:lnTo>
                    <a:pt x="1825199" y="949709"/>
                  </a:lnTo>
                  <a:lnTo>
                    <a:pt x="1839502" y="949709"/>
                  </a:lnTo>
                  <a:lnTo>
                    <a:pt x="1839502" y="953976"/>
                  </a:lnTo>
                  <a:lnTo>
                    <a:pt x="1867207" y="953976"/>
                  </a:lnTo>
                  <a:lnTo>
                    <a:pt x="1867207" y="959746"/>
                  </a:lnTo>
                  <a:lnTo>
                    <a:pt x="1879286" y="959746"/>
                  </a:lnTo>
                  <a:lnTo>
                    <a:pt x="1879286" y="965815"/>
                  </a:lnTo>
                  <a:lnTo>
                    <a:pt x="1922436" y="965815"/>
                  </a:lnTo>
                  <a:lnTo>
                    <a:pt x="1922436" y="987931"/>
                  </a:lnTo>
                  <a:lnTo>
                    <a:pt x="1953265" y="987931"/>
                  </a:lnTo>
                  <a:lnTo>
                    <a:pt x="1953265" y="1000191"/>
                  </a:lnTo>
                  <a:lnTo>
                    <a:pt x="1983194" y="1000191"/>
                  </a:lnTo>
                  <a:lnTo>
                    <a:pt x="1983194" y="1009566"/>
                  </a:lnTo>
                  <a:lnTo>
                    <a:pt x="2001343" y="1009566"/>
                  </a:lnTo>
                  <a:lnTo>
                    <a:pt x="2001343" y="1016056"/>
                  </a:lnTo>
                  <a:lnTo>
                    <a:pt x="2014925" y="1016056"/>
                  </a:lnTo>
                  <a:lnTo>
                    <a:pt x="2014925" y="1030359"/>
                  </a:lnTo>
                  <a:lnTo>
                    <a:pt x="2037761" y="1030359"/>
                  </a:lnTo>
                  <a:lnTo>
                    <a:pt x="2037761" y="1041117"/>
                  </a:lnTo>
                  <a:lnTo>
                    <a:pt x="2094253" y="1041117"/>
                  </a:lnTo>
                  <a:lnTo>
                    <a:pt x="2094253" y="1057643"/>
                  </a:lnTo>
                  <a:lnTo>
                    <a:pt x="2161080" y="1057643"/>
                  </a:lnTo>
                  <a:lnTo>
                    <a:pt x="2161080" y="1073028"/>
                  </a:lnTo>
                  <a:lnTo>
                    <a:pt x="2223220" y="1073028"/>
                  </a:lnTo>
                  <a:lnTo>
                    <a:pt x="2223220" y="1082463"/>
                  </a:lnTo>
                  <a:lnTo>
                    <a:pt x="2299663" y="1082463"/>
                  </a:lnTo>
                  <a:lnTo>
                    <a:pt x="2299663" y="1106141"/>
                  </a:lnTo>
                  <a:lnTo>
                    <a:pt x="2470579" y="1106141"/>
                  </a:lnTo>
                  <a:lnTo>
                    <a:pt x="2562407" y="1106141"/>
                  </a:lnTo>
                </a:path>
              </a:pathLst>
            </a:custGeom>
            <a:no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737" name="Graphic 461">
              <a:extLst>
                <a:ext uri="{FF2B5EF4-FFF2-40B4-BE49-F238E27FC236}">
                  <a16:creationId xmlns:a16="http://schemas.microsoft.com/office/drawing/2014/main" id="{7F55BB1E-266B-10EF-4C26-4E2642DA4416}"/>
                </a:ext>
              </a:extLst>
            </p:cNvPr>
            <p:cNvGrpSpPr/>
            <p:nvPr/>
          </p:nvGrpSpPr>
          <p:grpSpPr>
            <a:xfrm>
              <a:off x="5076215" y="1681143"/>
              <a:ext cx="33714" cy="33774"/>
              <a:chOff x="5076215" y="1681143"/>
              <a:chExt cx="33714" cy="33774"/>
            </a:xfrm>
          </p:grpSpPr>
          <p:sp>
            <p:nvSpPr>
              <p:cNvPr id="738" name="Freeform 737">
                <a:extLst>
                  <a:ext uri="{FF2B5EF4-FFF2-40B4-BE49-F238E27FC236}">
                    <a16:creationId xmlns:a16="http://schemas.microsoft.com/office/drawing/2014/main" id="{9F9C382D-A96E-EB89-9430-073D82310FF9}"/>
                  </a:ext>
                </a:extLst>
              </p:cNvPr>
              <p:cNvSpPr/>
              <p:nvPr/>
            </p:nvSpPr>
            <p:spPr>
              <a:xfrm>
                <a:off x="5093102" y="1681143"/>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9" name="Freeform 738">
                <a:extLst>
                  <a:ext uri="{FF2B5EF4-FFF2-40B4-BE49-F238E27FC236}">
                    <a16:creationId xmlns:a16="http://schemas.microsoft.com/office/drawing/2014/main" id="{2CDF7AB0-D513-778F-611D-8E113BCF7B4C}"/>
                  </a:ext>
                </a:extLst>
              </p:cNvPr>
              <p:cNvSpPr/>
              <p:nvPr/>
            </p:nvSpPr>
            <p:spPr>
              <a:xfrm>
                <a:off x="5076215" y="1698030"/>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40" name="Graphic 461">
              <a:extLst>
                <a:ext uri="{FF2B5EF4-FFF2-40B4-BE49-F238E27FC236}">
                  <a16:creationId xmlns:a16="http://schemas.microsoft.com/office/drawing/2014/main" id="{D1E615D2-BAA9-B4ED-C391-B8B5F20DE96C}"/>
                </a:ext>
              </a:extLst>
            </p:cNvPr>
            <p:cNvGrpSpPr/>
            <p:nvPr/>
          </p:nvGrpSpPr>
          <p:grpSpPr>
            <a:xfrm>
              <a:off x="5095325" y="1703438"/>
              <a:ext cx="33774" cy="33774"/>
              <a:chOff x="5095325" y="1703438"/>
              <a:chExt cx="33774" cy="33774"/>
            </a:xfrm>
          </p:grpSpPr>
          <p:sp>
            <p:nvSpPr>
              <p:cNvPr id="741" name="Freeform 740">
                <a:extLst>
                  <a:ext uri="{FF2B5EF4-FFF2-40B4-BE49-F238E27FC236}">
                    <a16:creationId xmlns:a16="http://schemas.microsoft.com/office/drawing/2014/main" id="{97EFF0A3-E480-95C2-9E55-3E8BA12B9979}"/>
                  </a:ext>
                </a:extLst>
              </p:cNvPr>
              <p:cNvSpPr/>
              <p:nvPr/>
            </p:nvSpPr>
            <p:spPr>
              <a:xfrm>
                <a:off x="5112213" y="1703438"/>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2" name="Freeform 741">
                <a:extLst>
                  <a:ext uri="{FF2B5EF4-FFF2-40B4-BE49-F238E27FC236}">
                    <a16:creationId xmlns:a16="http://schemas.microsoft.com/office/drawing/2014/main" id="{3E82E77A-2B76-142C-439B-ED3F4D29D0CF}"/>
                  </a:ext>
                </a:extLst>
              </p:cNvPr>
              <p:cNvSpPr/>
              <p:nvPr/>
            </p:nvSpPr>
            <p:spPr>
              <a:xfrm>
                <a:off x="5095325" y="1720326"/>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43" name="Graphic 461">
              <a:extLst>
                <a:ext uri="{FF2B5EF4-FFF2-40B4-BE49-F238E27FC236}">
                  <a16:creationId xmlns:a16="http://schemas.microsoft.com/office/drawing/2014/main" id="{BF4ABB42-8A11-2AE5-765C-8B77E5437805}"/>
                </a:ext>
              </a:extLst>
            </p:cNvPr>
            <p:cNvGrpSpPr/>
            <p:nvPr/>
          </p:nvGrpSpPr>
          <p:grpSpPr>
            <a:xfrm>
              <a:off x="5150374" y="1715939"/>
              <a:ext cx="33774" cy="33774"/>
              <a:chOff x="5150374" y="1715939"/>
              <a:chExt cx="33774" cy="33774"/>
            </a:xfrm>
          </p:grpSpPr>
          <p:sp>
            <p:nvSpPr>
              <p:cNvPr id="744" name="Freeform 743">
                <a:extLst>
                  <a:ext uri="{FF2B5EF4-FFF2-40B4-BE49-F238E27FC236}">
                    <a16:creationId xmlns:a16="http://schemas.microsoft.com/office/drawing/2014/main" id="{2D5E740D-C681-C177-8EC9-A1CB8A155E1E}"/>
                  </a:ext>
                </a:extLst>
              </p:cNvPr>
              <p:cNvSpPr/>
              <p:nvPr/>
            </p:nvSpPr>
            <p:spPr>
              <a:xfrm>
                <a:off x="5167261" y="1715939"/>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5" name="Freeform 744">
                <a:extLst>
                  <a:ext uri="{FF2B5EF4-FFF2-40B4-BE49-F238E27FC236}">
                    <a16:creationId xmlns:a16="http://schemas.microsoft.com/office/drawing/2014/main" id="{CFB6230C-E907-0AF7-2ECA-3B6270C6785C}"/>
                  </a:ext>
                </a:extLst>
              </p:cNvPr>
              <p:cNvSpPr/>
              <p:nvPr/>
            </p:nvSpPr>
            <p:spPr>
              <a:xfrm>
                <a:off x="5150374" y="1732826"/>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46" name="Graphic 461">
              <a:extLst>
                <a:ext uri="{FF2B5EF4-FFF2-40B4-BE49-F238E27FC236}">
                  <a16:creationId xmlns:a16="http://schemas.microsoft.com/office/drawing/2014/main" id="{AC34FAAE-ABE8-1EAD-DBD0-B3D575E6952F}"/>
                </a:ext>
              </a:extLst>
            </p:cNvPr>
            <p:cNvGrpSpPr/>
            <p:nvPr/>
          </p:nvGrpSpPr>
          <p:grpSpPr>
            <a:xfrm>
              <a:off x="5281686" y="1790098"/>
              <a:ext cx="33774" cy="33774"/>
              <a:chOff x="5281686" y="1790098"/>
              <a:chExt cx="33774" cy="33774"/>
            </a:xfrm>
          </p:grpSpPr>
          <p:sp>
            <p:nvSpPr>
              <p:cNvPr id="747" name="Freeform 746">
                <a:extLst>
                  <a:ext uri="{FF2B5EF4-FFF2-40B4-BE49-F238E27FC236}">
                    <a16:creationId xmlns:a16="http://schemas.microsoft.com/office/drawing/2014/main" id="{2327704C-480E-F02A-860E-18F7F1AE3F50}"/>
                  </a:ext>
                </a:extLst>
              </p:cNvPr>
              <p:cNvSpPr/>
              <p:nvPr/>
            </p:nvSpPr>
            <p:spPr>
              <a:xfrm>
                <a:off x="5298573" y="1790098"/>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8" name="Freeform 747">
                <a:extLst>
                  <a:ext uri="{FF2B5EF4-FFF2-40B4-BE49-F238E27FC236}">
                    <a16:creationId xmlns:a16="http://schemas.microsoft.com/office/drawing/2014/main" id="{E4E54221-17DB-F1C3-8CC0-91610C5B7FC7}"/>
                  </a:ext>
                </a:extLst>
              </p:cNvPr>
              <p:cNvSpPr/>
              <p:nvPr/>
            </p:nvSpPr>
            <p:spPr>
              <a:xfrm>
                <a:off x="5281686" y="1806985"/>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49" name="Graphic 461">
              <a:extLst>
                <a:ext uri="{FF2B5EF4-FFF2-40B4-BE49-F238E27FC236}">
                  <a16:creationId xmlns:a16="http://schemas.microsoft.com/office/drawing/2014/main" id="{D00096CE-4330-4C1A-70BE-08AE0C5A4E97}"/>
                </a:ext>
              </a:extLst>
            </p:cNvPr>
            <p:cNvGrpSpPr/>
            <p:nvPr/>
          </p:nvGrpSpPr>
          <p:grpSpPr>
            <a:xfrm>
              <a:off x="5369186" y="1798091"/>
              <a:ext cx="33714" cy="33774"/>
              <a:chOff x="5369186" y="1798091"/>
              <a:chExt cx="33714" cy="33774"/>
            </a:xfrm>
          </p:grpSpPr>
          <p:sp>
            <p:nvSpPr>
              <p:cNvPr id="750" name="Freeform 749">
                <a:extLst>
                  <a:ext uri="{FF2B5EF4-FFF2-40B4-BE49-F238E27FC236}">
                    <a16:creationId xmlns:a16="http://schemas.microsoft.com/office/drawing/2014/main" id="{DD94FE20-1B26-0377-DD4C-7F8202AC0344}"/>
                  </a:ext>
                </a:extLst>
              </p:cNvPr>
              <p:cNvSpPr/>
              <p:nvPr/>
            </p:nvSpPr>
            <p:spPr>
              <a:xfrm>
                <a:off x="5386014" y="1798091"/>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1" name="Freeform 750">
                <a:extLst>
                  <a:ext uri="{FF2B5EF4-FFF2-40B4-BE49-F238E27FC236}">
                    <a16:creationId xmlns:a16="http://schemas.microsoft.com/office/drawing/2014/main" id="{26915C43-F420-32C5-19C5-6DE435B5B51F}"/>
                  </a:ext>
                </a:extLst>
              </p:cNvPr>
              <p:cNvSpPr/>
              <p:nvPr/>
            </p:nvSpPr>
            <p:spPr>
              <a:xfrm>
                <a:off x="5369186" y="1814978"/>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52" name="Graphic 461">
              <a:extLst>
                <a:ext uri="{FF2B5EF4-FFF2-40B4-BE49-F238E27FC236}">
                  <a16:creationId xmlns:a16="http://schemas.microsoft.com/office/drawing/2014/main" id="{CAFE1855-EC04-C022-FC3C-DFDC4C0EDE6C}"/>
                </a:ext>
              </a:extLst>
            </p:cNvPr>
            <p:cNvGrpSpPr/>
            <p:nvPr/>
          </p:nvGrpSpPr>
          <p:grpSpPr>
            <a:xfrm>
              <a:off x="5533972" y="1907647"/>
              <a:ext cx="33774" cy="33774"/>
              <a:chOff x="5533972" y="1907647"/>
              <a:chExt cx="33774" cy="33774"/>
            </a:xfrm>
          </p:grpSpPr>
          <p:sp>
            <p:nvSpPr>
              <p:cNvPr id="753" name="Freeform 752">
                <a:extLst>
                  <a:ext uri="{FF2B5EF4-FFF2-40B4-BE49-F238E27FC236}">
                    <a16:creationId xmlns:a16="http://schemas.microsoft.com/office/drawing/2014/main" id="{221E8132-D33F-8178-5C1E-9BF8F51489BC}"/>
                  </a:ext>
                </a:extLst>
              </p:cNvPr>
              <p:cNvSpPr/>
              <p:nvPr/>
            </p:nvSpPr>
            <p:spPr>
              <a:xfrm>
                <a:off x="5550859" y="1907647"/>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4" name="Freeform 753">
                <a:extLst>
                  <a:ext uri="{FF2B5EF4-FFF2-40B4-BE49-F238E27FC236}">
                    <a16:creationId xmlns:a16="http://schemas.microsoft.com/office/drawing/2014/main" id="{FB6CBEFC-FB3D-06AE-89F5-5D872A2C2D9D}"/>
                  </a:ext>
                </a:extLst>
              </p:cNvPr>
              <p:cNvSpPr/>
              <p:nvPr/>
            </p:nvSpPr>
            <p:spPr>
              <a:xfrm>
                <a:off x="5533972" y="1924534"/>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55" name="Graphic 461">
              <a:extLst>
                <a:ext uri="{FF2B5EF4-FFF2-40B4-BE49-F238E27FC236}">
                  <a16:creationId xmlns:a16="http://schemas.microsoft.com/office/drawing/2014/main" id="{B3119B7E-0C9B-8413-37C8-9C42C933F0A5}"/>
                </a:ext>
              </a:extLst>
            </p:cNvPr>
            <p:cNvGrpSpPr/>
            <p:nvPr/>
          </p:nvGrpSpPr>
          <p:grpSpPr>
            <a:xfrm>
              <a:off x="5596713" y="1944607"/>
              <a:ext cx="33774" cy="33714"/>
              <a:chOff x="5596713" y="1944607"/>
              <a:chExt cx="33774" cy="33714"/>
            </a:xfrm>
          </p:grpSpPr>
          <p:sp>
            <p:nvSpPr>
              <p:cNvPr id="756" name="Freeform 755">
                <a:extLst>
                  <a:ext uri="{FF2B5EF4-FFF2-40B4-BE49-F238E27FC236}">
                    <a16:creationId xmlns:a16="http://schemas.microsoft.com/office/drawing/2014/main" id="{6ADC94B2-A7CE-8286-2ADE-516426872C6F}"/>
                  </a:ext>
                </a:extLst>
              </p:cNvPr>
              <p:cNvSpPr/>
              <p:nvPr/>
            </p:nvSpPr>
            <p:spPr>
              <a:xfrm>
                <a:off x="5613600" y="1944607"/>
                <a:ext cx="6009" cy="33714"/>
              </a:xfrm>
              <a:custGeom>
                <a:avLst/>
                <a:gdLst>
                  <a:gd name="connsiteX0" fmla="*/ 0 w 6009"/>
                  <a:gd name="connsiteY0" fmla="*/ 0 h 33714"/>
                  <a:gd name="connsiteX1" fmla="*/ 0 w 6009"/>
                  <a:gd name="connsiteY1" fmla="*/ 33714 h 33714"/>
                </a:gdLst>
                <a:ahLst/>
                <a:cxnLst>
                  <a:cxn ang="0">
                    <a:pos x="connsiteX0" y="connsiteY0"/>
                  </a:cxn>
                  <a:cxn ang="0">
                    <a:pos x="connsiteX1" y="connsiteY1"/>
                  </a:cxn>
                </a:cxnLst>
                <a:rect l="l" t="t" r="r" b="b"/>
                <a:pathLst>
                  <a:path w="6009" h="33714">
                    <a:moveTo>
                      <a:pt x="0" y="0"/>
                    </a:moveTo>
                    <a:lnTo>
                      <a:pt x="0" y="3371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7" name="Freeform 756">
                <a:extLst>
                  <a:ext uri="{FF2B5EF4-FFF2-40B4-BE49-F238E27FC236}">
                    <a16:creationId xmlns:a16="http://schemas.microsoft.com/office/drawing/2014/main" id="{E5DBD034-94CA-D486-9D91-BA746E19A8F0}"/>
                  </a:ext>
                </a:extLst>
              </p:cNvPr>
              <p:cNvSpPr/>
              <p:nvPr/>
            </p:nvSpPr>
            <p:spPr>
              <a:xfrm>
                <a:off x="5596713" y="1961494"/>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58" name="Graphic 461">
              <a:extLst>
                <a:ext uri="{FF2B5EF4-FFF2-40B4-BE49-F238E27FC236}">
                  <a16:creationId xmlns:a16="http://schemas.microsoft.com/office/drawing/2014/main" id="{F5AC2564-1490-F519-E7C5-3E8C30F260A1}"/>
                </a:ext>
              </a:extLst>
            </p:cNvPr>
            <p:cNvGrpSpPr/>
            <p:nvPr/>
          </p:nvGrpSpPr>
          <p:grpSpPr>
            <a:xfrm>
              <a:off x="5681509" y="2014800"/>
              <a:ext cx="33774" cy="33714"/>
              <a:chOff x="5681509" y="2014800"/>
              <a:chExt cx="33774" cy="33714"/>
            </a:xfrm>
          </p:grpSpPr>
          <p:sp>
            <p:nvSpPr>
              <p:cNvPr id="759" name="Freeform 758">
                <a:extLst>
                  <a:ext uri="{FF2B5EF4-FFF2-40B4-BE49-F238E27FC236}">
                    <a16:creationId xmlns:a16="http://schemas.microsoft.com/office/drawing/2014/main" id="{8970FC0B-CAFC-9E9B-EC1A-26600D6BCCA8}"/>
                  </a:ext>
                </a:extLst>
              </p:cNvPr>
              <p:cNvSpPr/>
              <p:nvPr/>
            </p:nvSpPr>
            <p:spPr>
              <a:xfrm>
                <a:off x="5698397" y="2014800"/>
                <a:ext cx="6009" cy="33714"/>
              </a:xfrm>
              <a:custGeom>
                <a:avLst/>
                <a:gdLst>
                  <a:gd name="connsiteX0" fmla="*/ 0 w 6009"/>
                  <a:gd name="connsiteY0" fmla="*/ 0 h 33714"/>
                  <a:gd name="connsiteX1" fmla="*/ 0 w 6009"/>
                  <a:gd name="connsiteY1" fmla="*/ 33714 h 33714"/>
                </a:gdLst>
                <a:ahLst/>
                <a:cxnLst>
                  <a:cxn ang="0">
                    <a:pos x="connsiteX0" y="connsiteY0"/>
                  </a:cxn>
                  <a:cxn ang="0">
                    <a:pos x="connsiteX1" y="connsiteY1"/>
                  </a:cxn>
                </a:cxnLst>
                <a:rect l="l" t="t" r="r" b="b"/>
                <a:pathLst>
                  <a:path w="6009" h="33714">
                    <a:moveTo>
                      <a:pt x="0" y="0"/>
                    </a:moveTo>
                    <a:lnTo>
                      <a:pt x="0" y="3371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0" name="Freeform 759">
                <a:extLst>
                  <a:ext uri="{FF2B5EF4-FFF2-40B4-BE49-F238E27FC236}">
                    <a16:creationId xmlns:a16="http://schemas.microsoft.com/office/drawing/2014/main" id="{93578C73-58B7-7ABE-91F2-06A03528B24A}"/>
                  </a:ext>
                </a:extLst>
              </p:cNvPr>
              <p:cNvSpPr/>
              <p:nvPr/>
            </p:nvSpPr>
            <p:spPr>
              <a:xfrm>
                <a:off x="5681509" y="2031627"/>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61" name="Graphic 461">
              <a:extLst>
                <a:ext uri="{FF2B5EF4-FFF2-40B4-BE49-F238E27FC236}">
                  <a16:creationId xmlns:a16="http://schemas.microsoft.com/office/drawing/2014/main" id="{683FCA9D-05BA-98AD-88D9-75FF7557E189}"/>
                </a:ext>
              </a:extLst>
            </p:cNvPr>
            <p:cNvGrpSpPr/>
            <p:nvPr/>
          </p:nvGrpSpPr>
          <p:grpSpPr>
            <a:xfrm>
              <a:off x="5763121" y="2051459"/>
              <a:ext cx="33774" cy="33774"/>
              <a:chOff x="5763121" y="2051459"/>
              <a:chExt cx="33774" cy="33774"/>
            </a:xfrm>
          </p:grpSpPr>
          <p:sp>
            <p:nvSpPr>
              <p:cNvPr id="762" name="Freeform 761">
                <a:extLst>
                  <a:ext uri="{FF2B5EF4-FFF2-40B4-BE49-F238E27FC236}">
                    <a16:creationId xmlns:a16="http://schemas.microsoft.com/office/drawing/2014/main" id="{13B1D785-85B7-72D8-8BD7-1169BBA1D26D}"/>
                  </a:ext>
                </a:extLst>
              </p:cNvPr>
              <p:cNvSpPr/>
              <p:nvPr/>
            </p:nvSpPr>
            <p:spPr>
              <a:xfrm>
                <a:off x="5780008" y="2051459"/>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3" name="Freeform 762">
                <a:extLst>
                  <a:ext uri="{FF2B5EF4-FFF2-40B4-BE49-F238E27FC236}">
                    <a16:creationId xmlns:a16="http://schemas.microsoft.com/office/drawing/2014/main" id="{A6FE8D32-DADB-4DA0-127D-0BA27481C59F}"/>
                  </a:ext>
                </a:extLst>
              </p:cNvPr>
              <p:cNvSpPr/>
              <p:nvPr/>
            </p:nvSpPr>
            <p:spPr>
              <a:xfrm>
                <a:off x="5763121" y="2068346"/>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64" name="Graphic 461">
              <a:extLst>
                <a:ext uri="{FF2B5EF4-FFF2-40B4-BE49-F238E27FC236}">
                  <a16:creationId xmlns:a16="http://schemas.microsoft.com/office/drawing/2014/main" id="{E0A09262-5520-EC2E-1EEA-E1751C565E86}"/>
                </a:ext>
              </a:extLst>
            </p:cNvPr>
            <p:cNvGrpSpPr/>
            <p:nvPr/>
          </p:nvGrpSpPr>
          <p:grpSpPr>
            <a:xfrm>
              <a:off x="5775621" y="2055966"/>
              <a:ext cx="33774" cy="33774"/>
              <a:chOff x="5775621" y="2055966"/>
              <a:chExt cx="33774" cy="33774"/>
            </a:xfrm>
          </p:grpSpPr>
          <p:sp>
            <p:nvSpPr>
              <p:cNvPr id="765" name="Freeform 764">
                <a:extLst>
                  <a:ext uri="{FF2B5EF4-FFF2-40B4-BE49-F238E27FC236}">
                    <a16:creationId xmlns:a16="http://schemas.microsoft.com/office/drawing/2014/main" id="{08348D12-5706-F5EF-CEF7-08CB1D91F5E0}"/>
                  </a:ext>
                </a:extLst>
              </p:cNvPr>
              <p:cNvSpPr/>
              <p:nvPr/>
            </p:nvSpPr>
            <p:spPr>
              <a:xfrm>
                <a:off x="5792508" y="2055966"/>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6" name="Freeform 765">
                <a:extLst>
                  <a:ext uri="{FF2B5EF4-FFF2-40B4-BE49-F238E27FC236}">
                    <a16:creationId xmlns:a16="http://schemas.microsoft.com/office/drawing/2014/main" id="{01E2CFBA-4641-3AAC-A8E0-A1F14EBAE25B}"/>
                  </a:ext>
                </a:extLst>
              </p:cNvPr>
              <p:cNvSpPr/>
              <p:nvPr/>
            </p:nvSpPr>
            <p:spPr>
              <a:xfrm>
                <a:off x="5775621" y="2072853"/>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67" name="Graphic 461">
              <a:extLst>
                <a:ext uri="{FF2B5EF4-FFF2-40B4-BE49-F238E27FC236}">
                  <a16:creationId xmlns:a16="http://schemas.microsoft.com/office/drawing/2014/main" id="{4407D5AE-A0E5-14AD-6EE8-84783304C1C6}"/>
                </a:ext>
              </a:extLst>
            </p:cNvPr>
            <p:cNvGrpSpPr/>
            <p:nvPr/>
          </p:nvGrpSpPr>
          <p:grpSpPr>
            <a:xfrm>
              <a:off x="5788422" y="2071411"/>
              <a:ext cx="33774" cy="33774"/>
              <a:chOff x="5788422" y="2071411"/>
              <a:chExt cx="33774" cy="33774"/>
            </a:xfrm>
          </p:grpSpPr>
          <p:sp>
            <p:nvSpPr>
              <p:cNvPr id="768" name="Freeform 767">
                <a:extLst>
                  <a:ext uri="{FF2B5EF4-FFF2-40B4-BE49-F238E27FC236}">
                    <a16:creationId xmlns:a16="http://schemas.microsoft.com/office/drawing/2014/main" id="{B7137082-0E90-28C2-9060-117BB31DA013}"/>
                  </a:ext>
                </a:extLst>
              </p:cNvPr>
              <p:cNvSpPr/>
              <p:nvPr/>
            </p:nvSpPr>
            <p:spPr>
              <a:xfrm>
                <a:off x="5805309" y="2071411"/>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9" name="Freeform 768">
                <a:extLst>
                  <a:ext uri="{FF2B5EF4-FFF2-40B4-BE49-F238E27FC236}">
                    <a16:creationId xmlns:a16="http://schemas.microsoft.com/office/drawing/2014/main" id="{0087A555-4495-0B37-8011-AFA8062124F7}"/>
                  </a:ext>
                </a:extLst>
              </p:cNvPr>
              <p:cNvSpPr/>
              <p:nvPr/>
            </p:nvSpPr>
            <p:spPr>
              <a:xfrm>
                <a:off x="5788422" y="2088298"/>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70" name="Graphic 461">
              <a:extLst>
                <a:ext uri="{FF2B5EF4-FFF2-40B4-BE49-F238E27FC236}">
                  <a16:creationId xmlns:a16="http://schemas.microsoft.com/office/drawing/2014/main" id="{B236CC0C-9DF2-334C-E87A-C1514BBE2936}"/>
                </a:ext>
              </a:extLst>
            </p:cNvPr>
            <p:cNvGrpSpPr/>
            <p:nvPr/>
          </p:nvGrpSpPr>
          <p:grpSpPr>
            <a:xfrm>
              <a:off x="5828266" y="2102241"/>
              <a:ext cx="33774" cy="33774"/>
              <a:chOff x="5828266" y="2102241"/>
              <a:chExt cx="33774" cy="33774"/>
            </a:xfrm>
          </p:grpSpPr>
          <p:sp>
            <p:nvSpPr>
              <p:cNvPr id="771" name="Freeform 770">
                <a:extLst>
                  <a:ext uri="{FF2B5EF4-FFF2-40B4-BE49-F238E27FC236}">
                    <a16:creationId xmlns:a16="http://schemas.microsoft.com/office/drawing/2014/main" id="{40752F7C-45BE-0FC2-246B-5851575880C5}"/>
                  </a:ext>
                </a:extLst>
              </p:cNvPr>
              <p:cNvSpPr/>
              <p:nvPr/>
            </p:nvSpPr>
            <p:spPr>
              <a:xfrm>
                <a:off x="5845153" y="2102241"/>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2" name="Freeform 771">
                <a:extLst>
                  <a:ext uri="{FF2B5EF4-FFF2-40B4-BE49-F238E27FC236}">
                    <a16:creationId xmlns:a16="http://schemas.microsoft.com/office/drawing/2014/main" id="{4532C821-F07C-CBF4-855C-86067CA7D78B}"/>
                  </a:ext>
                </a:extLst>
              </p:cNvPr>
              <p:cNvSpPr/>
              <p:nvPr/>
            </p:nvSpPr>
            <p:spPr>
              <a:xfrm>
                <a:off x="5828266" y="2119128"/>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73" name="Graphic 461">
              <a:extLst>
                <a:ext uri="{FF2B5EF4-FFF2-40B4-BE49-F238E27FC236}">
                  <a16:creationId xmlns:a16="http://schemas.microsoft.com/office/drawing/2014/main" id="{D4DA65E9-6C4A-77FC-5DCE-6C9CBFF18E1E}"/>
                </a:ext>
              </a:extLst>
            </p:cNvPr>
            <p:cNvGrpSpPr/>
            <p:nvPr/>
          </p:nvGrpSpPr>
          <p:grpSpPr>
            <a:xfrm>
              <a:off x="5855129" y="2141063"/>
              <a:ext cx="33774" cy="33774"/>
              <a:chOff x="5855129" y="2141063"/>
              <a:chExt cx="33774" cy="33774"/>
            </a:xfrm>
          </p:grpSpPr>
          <p:sp>
            <p:nvSpPr>
              <p:cNvPr id="774" name="Freeform 773">
                <a:extLst>
                  <a:ext uri="{FF2B5EF4-FFF2-40B4-BE49-F238E27FC236}">
                    <a16:creationId xmlns:a16="http://schemas.microsoft.com/office/drawing/2014/main" id="{B3CE32F5-F28D-89D5-E368-26016B18029E}"/>
                  </a:ext>
                </a:extLst>
              </p:cNvPr>
              <p:cNvSpPr/>
              <p:nvPr/>
            </p:nvSpPr>
            <p:spPr>
              <a:xfrm>
                <a:off x="5872016" y="2141063"/>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5" name="Freeform 774">
                <a:extLst>
                  <a:ext uri="{FF2B5EF4-FFF2-40B4-BE49-F238E27FC236}">
                    <a16:creationId xmlns:a16="http://schemas.microsoft.com/office/drawing/2014/main" id="{B7CB3EA3-B18C-8C1F-82C9-858430D05B1C}"/>
                  </a:ext>
                </a:extLst>
              </p:cNvPr>
              <p:cNvSpPr/>
              <p:nvPr/>
            </p:nvSpPr>
            <p:spPr>
              <a:xfrm>
                <a:off x="5855129" y="2157950"/>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76" name="Graphic 461">
              <a:extLst>
                <a:ext uri="{FF2B5EF4-FFF2-40B4-BE49-F238E27FC236}">
                  <a16:creationId xmlns:a16="http://schemas.microsoft.com/office/drawing/2014/main" id="{229CE2E0-FC37-20C4-E611-38543BB0D63A}"/>
                </a:ext>
              </a:extLst>
            </p:cNvPr>
            <p:cNvGrpSpPr/>
            <p:nvPr/>
          </p:nvGrpSpPr>
          <p:grpSpPr>
            <a:xfrm>
              <a:off x="6086682" y="2281930"/>
              <a:ext cx="33774" cy="33774"/>
              <a:chOff x="6086682" y="2281930"/>
              <a:chExt cx="33774" cy="33774"/>
            </a:xfrm>
          </p:grpSpPr>
          <p:sp>
            <p:nvSpPr>
              <p:cNvPr id="777" name="Freeform 776">
                <a:extLst>
                  <a:ext uri="{FF2B5EF4-FFF2-40B4-BE49-F238E27FC236}">
                    <a16:creationId xmlns:a16="http://schemas.microsoft.com/office/drawing/2014/main" id="{1859B09F-4346-9A73-DCDB-4E73DAD5EAD7}"/>
                  </a:ext>
                </a:extLst>
              </p:cNvPr>
              <p:cNvSpPr/>
              <p:nvPr/>
            </p:nvSpPr>
            <p:spPr>
              <a:xfrm>
                <a:off x="6103569" y="2281930"/>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8" name="Freeform 777">
                <a:extLst>
                  <a:ext uri="{FF2B5EF4-FFF2-40B4-BE49-F238E27FC236}">
                    <a16:creationId xmlns:a16="http://schemas.microsoft.com/office/drawing/2014/main" id="{5D6B6F52-3CF1-B259-19DD-C4AEBFAEB47A}"/>
                  </a:ext>
                </a:extLst>
              </p:cNvPr>
              <p:cNvSpPr/>
              <p:nvPr/>
            </p:nvSpPr>
            <p:spPr>
              <a:xfrm>
                <a:off x="6086682" y="2298817"/>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79" name="Graphic 461">
              <a:extLst>
                <a:ext uri="{FF2B5EF4-FFF2-40B4-BE49-F238E27FC236}">
                  <a16:creationId xmlns:a16="http://schemas.microsoft.com/office/drawing/2014/main" id="{70F5B346-9D47-467F-A554-2220D0437BEA}"/>
                </a:ext>
              </a:extLst>
            </p:cNvPr>
            <p:cNvGrpSpPr/>
            <p:nvPr/>
          </p:nvGrpSpPr>
          <p:grpSpPr>
            <a:xfrm>
              <a:off x="6106634" y="2299779"/>
              <a:ext cx="33774" cy="33774"/>
              <a:chOff x="6106634" y="2299779"/>
              <a:chExt cx="33774" cy="33774"/>
            </a:xfrm>
          </p:grpSpPr>
          <p:sp>
            <p:nvSpPr>
              <p:cNvPr id="780" name="Freeform 779">
                <a:extLst>
                  <a:ext uri="{FF2B5EF4-FFF2-40B4-BE49-F238E27FC236}">
                    <a16:creationId xmlns:a16="http://schemas.microsoft.com/office/drawing/2014/main" id="{73CDD273-C990-0A2C-9625-252AD3CD4C65}"/>
                  </a:ext>
                </a:extLst>
              </p:cNvPr>
              <p:cNvSpPr/>
              <p:nvPr/>
            </p:nvSpPr>
            <p:spPr>
              <a:xfrm>
                <a:off x="6123521" y="2299779"/>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1" name="Freeform 780">
                <a:extLst>
                  <a:ext uri="{FF2B5EF4-FFF2-40B4-BE49-F238E27FC236}">
                    <a16:creationId xmlns:a16="http://schemas.microsoft.com/office/drawing/2014/main" id="{E197B586-01B2-A424-0843-F69B39B97FD1}"/>
                  </a:ext>
                </a:extLst>
              </p:cNvPr>
              <p:cNvSpPr/>
              <p:nvPr/>
            </p:nvSpPr>
            <p:spPr>
              <a:xfrm>
                <a:off x="6106634" y="2316666"/>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82" name="Graphic 461">
              <a:extLst>
                <a:ext uri="{FF2B5EF4-FFF2-40B4-BE49-F238E27FC236}">
                  <a16:creationId xmlns:a16="http://schemas.microsoft.com/office/drawing/2014/main" id="{7F62D9E1-56D7-BDA7-6DE1-B4219C9488B2}"/>
                </a:ext>
              </a:extLst>
            </p:cNvPr>
            <p:cNvGrpSpPr/>
            <p:nvPr/>
          </p:nvGrpSpPr>
          <p:grpSpPr>
            <a:xfrm>
              <a:off x="6106634" y="2289923"/>
              <a:ext cx="33774" cy="33774"/>
              <a:chOff x="6106634" y="2289923"/>
              <a:chExt cx="33774" cy="33774"/>
            </a:xfrm>
          </p:grpSpPr>
          <p:sp>
            <p:nvSpPr>
              <p:cNvPr id="783" name="Freeform 782">
                <a:extLst>
                  <a:ext uri="{FF2B5EF4-FFF2-40B4-BE49-F238E27FC236}">
                    <a16:creationId xmlns:a16="http://schemas.microsoft.com/office/drawing/2014/main" id="{E6F94F25-D62E-AE86-A8CD-9E2DB4D6505B}"/>
                  </a:ext>
                </a:extLst>
              </p:cNvPr>
              <p:cNvSpPr/>
              <p:nvPr/>
            </p:nvSpPr>
            <p:spPr>
              <a:xfrm>
                <a:off x="6123521" y="2289923"/>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4" name="Freeform 783">
                <a:extLst>
                  <a:ext uri="{FF2B5EF4-FFF2-40B4-BE49-F238E27FC236}">
                    <a16:creationId xmlns:a16="http://schemas.microsoft.com/office/drawing/2014/main" id="{F0DE6AB8-D909-C472-0675-4416462B70C7}"/>
                  </a:ext>
                </a:extLst>
              </p:cNvPr>
              <p:cNvSpPr/>
              <p:nvPr/>
            </p:nvSpPr>
            <p:spPr>
              <a:xfrm>
                <a:off x="6106634" y="2306810"/>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85" name="Graphic 461">
              <a:extLst>
                <a:ext uri="{FF2B5EF4-FFF2-40B4-BE49-F238E27FC236}">
                  <a16:creationId xmlns:a16="http://schemas.microsoft.com/office/drawing/2014/main" id="{09FC8D7C-F86D-4BB7-C8D7-EFC9C33C873D}"/>
                </a:ext>
              </a:extLst>
            </p:cNvPr>
            <p:cNvGrpSpPr/>
            <p:nvPr/>
          </p:nvGrpSpPr>
          <p:grpSpPr>
            <a:xfrm>
              <a:off x="6570281" y="2504228"/>
              <a:ext cx="33774" cy="33714"/>
              <a:chOff x="6570281" y="2504228"/>
              <a:chExt cx="33774" cy="33714"/>
            </a:xfrm>
          </p:grpSpPr>
          <p:sp>
            <p:nvSpPr>
              <p:cNvPr id="786" name="Freeform 785">
                <a:extLst>
                  <a:ext uri="{FF2B5EF4-FFF2-40B4-BE49-F238E27FC236}">
                    <a16:creationId xmlns:a16="http://schemas.microsoft.com/office/drawing/2014/main" id="{D08F6283-E170-1770-9D37-AE1E05119043}"/>
                  </a:ext>
                </a:extLst>
              </p:cNvPr>
              <p:cNvSpPr/>
              <p:nvPr/>
            </p:nvSpPr>
            <p:spPr>
              <a:xfrm>
                <a:off x="6587168" y="2504228"/>
                <a:ext cx="6009" cy="33714"/>
              </a:xfrm>
              <a:custGeom>
                <a:avLst/>
                <a:gdLst>
                  <a:gd name="connsiteX0" fmla="*/ 0 w 6009"/>
                  <a:gd name="connsiteY0" fmla="*/ 0 h 33714"/>
                  <a:gd name="connsiteX1" fmla="*/ 0 w 6009"/>
                  <a:gd name="connsiteY1" fmla="*/ 33714 h 33714"/>
                </a:gdLst>
                <a:ahLst/>
                <a:cxnLst>
                  <a:cxn ang="0">
                    <a:pos x="connsiteX0" y="connsiteY0"/>
                  </a:cxn>
                  <a:cxn ang="0">
                    <a:pos x="connsiteX1" y="connsiteY1"/>
                  </a:cxn>
                </a:cxnLst>
                <a:rect l="l" t="t" r="r" b="b"/>
                <a:pathLst>
                  <a:path w="6009" h="33714">
                    <a:moveTo>
                      <a:pt x="0" y="0"/>
                    </a:moveTo>
                    <a:lnTo>
                      <a:pt x="0" y="3371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7" name="Freeform 786">
                <a:extLst>
                  <a:ext uri="{FF2B5EF4-FFF2-40B4-BE49-F238E27FC236}">
                    <a16:creationId xmlns:a16="http://schemas.microsoft.com/office/drawing/2014/main" id="{59628A64-5F28-C857-9A2F-7277F1D270A9}"/>
                  </a:ext>
                </a:extLst>
              </p:cNvPr>
              <p:cNvSpPr/>
              <p:nvPr/>
            </p:nvSpPr>
            <p:spPr>
              <a:xfrm>
                <a:off x="6570281" y="2521055"/>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88" name="Graphic 461">
              <a:extLst>
                <a:ext uri="{FF2B5EF4-FFF2-40B4-BE49-F238E27FC236}">
                  <a16:creationId xmlns:a16="http://schemas.microsoft.com/office/drawing/2014/main" id="{D3099353-222C-2D0B-052A-940D816AA836}"/>
                </a:ext>
              </a:extLst>
            </p:cNvPr>
            <p:cNvGrpSpPr/>
            <p:nvPr/>
          </p:nvGrpSpPr>
          <p:grpSpPr>
            <a:xfrm>
              <a:off x="6840115" y="2629410"/>
              <a:ext cx="33774" cy="33774"/>
              <a:chOff x="6840115" y="2629410"/>
              <a:chExt cx="33774" cy="33774"/>
            </a:xfrm>
          </p:grpSpPr>
          <p:sp>
            <p:nvSpPr>
              <p:cNvPr id="789" name="Freeform 788">
                <a:extLst>
                  <a:ext uri="{FF2B5EF4-FFF2-40B4-BE49-F238E27FC236}">
                    <a16:creationId xmlns:a16="http://schemas.microsoft.com/office/drawing/2014/main" id="{04CBF8F3-0262-089E-88F3-72B5E956AF1A}"/>
                  </a:ext>
                </a:extLst>
              </p:cNvPr>
              <p:cNvSpPr/>
              <p:nvPr/>
            </p:nvSpPr>
            <p:spPr>
              <a:xfrm>
                <a:off x="6857002" y="2629410"/>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0" name="Freeform 789">
                <a:extLst>
                  <a:ext uri="{FF2B5EF4-FFF2-40B4-BE49-F238E27FC236}">
                    <a16:creationId xmlns:a16="http://schemas.microsoft.com/office/drawing/2014/main" id="{97B11984-D8A9-A184-3DB9-1D0107968B51}"/>
                  </a:ext>
                </a:extLst>
              </p:cNvPr>
              <p:cNvSpPr/>
              <p:nvPr/>
            </p:nvSpPr>
            <p:spPr>
              <a:xfrm>
                <a:off x="6840115" y="2646297"/>
                <a:ext cx="33774" cy="6009"/>
              </a:xfrm>
              <a:custGeom>
                <a:avLst/>
                <a:gdLst>
                  <a:gd name="connsiteX0" fmla="*/ 33775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5"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91" name="Graphic 461">
              <a:extLst>
                <a:ext uri="{FF2B5EF4-FFF2-40B4-BE49-F238E27FC236}">
                  <a16:creationId xmlns:a16="http://schemas.microsoft.com/office/drawing/2014/main" id="{2231068B-4642-5347-0391-92D650B28A62}"/>
                </a:ext>
              </a:extLst>
            </p:cNvPr>
            <p:cNvGrpSpPr/>
            <p:nvPr/>
          </p:nvGrpSpPr>
          <p:grpSpPr>
            <a:xfrm>
              <a:off x="7043242" y="2711321"/>
              <a:ext cx="33714" cy="33714"/>
              <a:chOff x="7043242" y="2711321"/>
              <a:chExt cx="33714" cy="33714"/>
            </a:xfrm>
          </p:grpSpPr>
          <p:sp>
            <p:nvSpPr>
              <p:cNvPr id="792" name="Freeform 791">
                <a:extLst>
                  <a:ext uri="{FF2B5EF4-FFF2-40B4-BE49-F238E27FC236}">
                    <a16:creationId xmlns:a16="http://schemas.microsoft.com/office/drawing/2014/main" id="{3C75233A-8F49-3A12-9667-B39D05312154}"/>
                  </a:ext>
                </a:extLst>
              </p:cNvPr>
              <p:cNvSpPr/>
              <p:nvPr/>
            </p:nvSpPr>
            <p:spPr>
              <a:xfrm>
                <a:off x="7060069" y="2711321"/>
                <a:ext cx="6009" cy="33714"/>
              </a:xfrm>
              <a:custGeom>
                <a:avLst/>
                <a:gdLst>
                  <a:gd name="connsiteX0" fmla="*/ 0 w 6009"/>
                  <a:gd name="connsiteY0" fmla="*/ 0 h 33714"/>
                  <a:gd name="connsiteX1" fmla="*/ 0 w 6009"/>
                  <a:gd name="connsiteY1" fmla="*/ 33714 h 33714"/>
                </a:gdLst>
                <a:ahLst/>
                <a:cxnLst>
                  <a:cxn ang="0">
                    <a:pos x="connsiteX0" y="connsiteY0"/>
                  </a:cxn>
                  <a:cxn ang="0">
                    <a:pos x="connsiteX1" y="connsiteY1"/>
                  </a:cxn>
                </a:cxnLst>
                <a:rect l="l" t="t" r="r" b="b"/>
                <a:pathLst>
                  <a:path w="6009" h="33714">
                    <a:moveTo>
                      <a:pt x="0" y="0"/>
                    </a:moveTo>
                    <a:lnTo>
                      <a:pt x="0" y="3371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3" name="Freeform 792">
                <a:extLst>
                  <a:ext uri="{FF2B5EF4-FFF2-40B4-BE49-F238E27FC236}">
                    <a16:creationId xmlns:a16="http://schemas.microsoft.com/office/drawing/2014/main" id="{636EA52D-3E92-70A9-7B05-0A8C63228D99}"/>
                  </a:ext>
                </a:extLst>
              </p:cNvPr>
              <p:cNvSpPr/>
              <p:nvPr/>
            </p:nvSpPr>
            <p:spPr>
              <a:xfrm>
                <a:off x="7043242" y="2728149"/>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94" name="Graphic 461">
              <a:extLst>
                <a:ext uri="{FF2B5EF4-FFF2-40B4-BE49-F238E27FC236}">
                  <a16:creationId xmlns:a16="http://schemas.microsoft.com/office/drawing/2014/main" id="{F25D8B7C-87C8-2941-EBC3-EC79756A9349}"/>
                </a:ext>
              </a:extLst>
            </p:cNvPr>
            <p:cNvGrpSpPr/>
            <p:nvPr/>
          </p:nvGrpSpPr>
          <p:grpSpPr>
            <a:xfrm>
              <a:off x="7018242" y="2703569"/>
              <a:ext cx="33714" cy="33774"/>
              <a:chOff x="7018242" y="2703569"/>
              <a:chExt cx="33714" cy="33774"/>
            </a:xfrm>
          </p:grpSpPr>
          <p:sp>
            <p:nvSpPr>
              <p:cNvPr id="795" name="Freeform 794">
                <a:extLst>
                  <a:ext uri="{FF2B5EF4-FFF2-40B4-BE49-F238E27FC236}">
                    <a16:creationId xmlns:a16="http://schemas.microsoft.com/office/drawing/2014/main" id="{8ECD97F2-2E4A-D5C2-8609-FD83CE16B695}"/>
                  </a:ext>
                </a:extLst>
              </p:cNvPr>
              <p:cNvSpPr/>
              <p:nvPr/>
            </p:nvSpPr>
            <p:spPr>
              <a:xfrm>
                <a:off x="7035129" y="2703569"/>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6" name="Freeform 795">
                <a:extLst>
                  <a:ext uri="{FF2B5EF4-FFF2-40B4-BE49-F238E27FC236}">
                    <a16:creationId xmlns:a16="http://schemas.microsoft.com/office/drawing/2014/main" id="{A7B3AF55-9381-AB9D-04F2-D7F6EF32E55A}"/>
                  </a:ext>
                </a:extLst>
              </p:cNvPr>
              <p:cNvSpPr/>
              <p:nvPr/>
            </p:nvSpPr>
            <p:spPr>
              <a:xfrm>
                <a:off x="7018242" y="2720456"/>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797" name="Graphic 461">
              <a:extLst>
                <a:ext uri="{FF2B5EF4-FFF2-40B4-BE49-F238E27FC236}">
                  <a16:creationId xmlns:a16="http://schemas.microsoft.com/office/drawing/2014/main" id="{53B1A700-4B9E-E004-E357-182396D28B16}"/>
                </a:ext>
              </a:extLst>
            </p:cNvPr>
            <p:cNvGrpSpPr/>
            <p:nvPr/>
          </p:nvGrpSpPr>
          <p:grpSpPr>
            <a:xfrm>
              <a:off x="7013975" y="2698280"/>
              <a:ext cx="33774" cy="33774"/>
              <a:chOff x="7013975" y="2698280"/>
              <a:chExt cx="33774" cy="33774"/>
            </a:xfrm>
          </p:grpSpPr>
          <p:sp>
            <p:nvSpPr>
              <p:cNvPr id="798" name="Freeform 797">
                <a:extLst>
                  <a:ext uri="{FF2B5EF4-FFF2-40B4-BE49-F238E27FC236}">
                    <a16:creationId xmlns:a16="http://schemas.microsoft.com/office/drawing/2014/main" id="{00E71A6E-05FC-2792-1CCB-278DE321BE2F}"/>
                  </a:ext>
                </a:extLst>
              </p:cNvPr>
              <p:cNvSpPr/>
              <p:nvPr/>
            </p:nvSpPr>
            <p:spPr>
              <a:xfrm>
                <a:off x="7030862" y="2698280"/>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9" name="Freeform 798">
                <a:extLst>
                  <a:ext uri="{FF2B5EF4-FFF2-40B4-BE49-F238E27FC236}">
                    <a16:creationId xmlns:a16="http://schemas.microsoft.com/office/drawing/2014/main" id="{176C9AD1-161F-FAE2-4197-CA14FA467230}"/>
                  </a:ext>
                </a:extLst>
              </p:cNvPr>
              <p:cNvSpPr/>
              <p:nvPr/>
            </p:nvSpPr>
            <p:spPr>
              <a:xfrm>
                <a:off x="7013975" y="2715168"/>
                <a:ext cx="33774" cy="6009"/>
              </a:xfrm>
              <a:custGeom>
                <a:avLst/>
                <a:gdLst>
                  <a:gd name="connsiteX0" fmla="*/ 33775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5"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00" name="Graphic 461">
              <a:extLst>
                <a:ext uri="{FF2B5EF4-FFF2-40B4-BE49-F238E27FC236}">
                  <a16:creationId xmlns:a16="http://schemas.microsoft.com/office/drawing/2014/main" id="{544E5CC5-DC75-F841-6BFC-CEDEC2EF2027}"/>
                </a:ext>
              </a:extLst>
            </p:cNvPr>
            <p:cNvGrpSpPr/>
            <p:nvPr/>
          </p:nvGrpSpPr>
          <p:grpSpPr>
            <a:xfrm>
              <a:off x="6952797" y="2669795"/>
              <a:ext cx="33774" cy="33774"/>
              <a:chOff x="6952797" y="2669795"/>
              <a:chExt cx="33774" cy="33774"/>
            </a:xfrm>
          </p:grpSpPr>
          <p:sp>
            <p:nvSpPr>
              <p:cNvPr id="801" name="Freeform 800">
                <a:extLst>
                  <a:ext uri="{FF2B5EF4-FFF2-40B4-BE49-F238E27FC236}">
                    <a16:creationId xmlns:a16="http://schemas.microsoft.com/office/drawing/2014/main" id="{D6F371D5-62C9-86D6-99F9-2F7934C779A5}"/>
                  </a:ext>
                </a:extLst>
              </p:cNvPr>
              <p:cNvSpPr/>
              <p:nvPr/>
            </p:nvSpPr>
            <p:spPr>
              <a:xfrm>
                <a:off x="6969684" y="266979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2" name="Freeform 801">
                <a:extLst>
                  <a:ext uri="{FF2B5EF4-FFF2-40B4-BE49-F238E27FC236}">
                    <a16:creationId xmlns:a16="http://schemas.microsoft.com/office/drawing/2014/main" id="{63B2145D-C239-514B-5267-76AFBFE34057}"/>
                  </a:ext>
                </a:extLst>
              </p:cNvPr>
              <p:cNvSpPr/>
              <p:nvPr/>
            </p:nvSpPr>
            <p:spPr>
              <a:xfrm>
                <a:off x="6952797" y="2686682"/>
                <a:ext cx="33774" cy="6009"/>
              </a:xfrm>
              <a:custGeom>
                <a:avLst/>
                <a:gdLst>
                  <a:gd name="connsiteX0" fmla="*/ 33775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5"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03" name="Graphic 461">
              <a:extLst>
                <a:ext uri="{FF2B5EF4-FFF2-40B4-BE49-F238E27FC236}">
                  <a16:creationId xmlns:a16="http://schemas.microsoft.com/office/drawing/2014/main" id="{2F46C413-C9AA-AEC4-2C3E-E81BCC1D8AD5}"/>
                </a:ext>
              </a:extLst>
            </p:cNvPr>
            <p:cNvGrpSpPr/>
            <p:nvPr/>
          </p:nvGrpSpPr>
          <p:grpSpPr>
            <a:xfrm>
              <a:off x="6961571" y="2675684"/>
              <a:ext cx="33774" cy="33774"/>
              <a:chOff x="6961571" y="2675684"/>
              <a:chExt cx="33774" cy="33774"/>
            </a:xfrm>
          </p:grpSpPr>
          <p:sp>
            <p:nvSpPr>
              <p:cNvPr id="804" name="Freeform 803">
                <a:extLst>
                  <a:ext uri="{FF2B5EF4-FFF2-40B4-BE49-F238E27FC236}">
                    <a16:creationId xmlns:a16="http://schemas.microsoft.com/office/drawing/2014/main" id="{F1420C87-F856-95B2-B3DE-EE4C816CD919}"/>
                  </a:ext>
                </a:extLst>
              </p:cNvPr>
              <p:cNvSpPr/>
              <p:nvPr/>
            </p:nvSpPr>
            <p:spPr>
              <a:xfrm>
                <a:off x="6978458" y="267568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5" name="Freeform 804">
                <a:extLst>
                  <a:ext uri="{FF2B5EF4-FFF2-40B4-BE49-F238E27FC236}">
                    <a16:creationId xmlns:a16="http://schemas.microsoft.com/office/drawing/2014/main" id="{0959CB47-B9B7-7041-E131-8F286F654DA2}"/>
                  </a:ext>
                </a:extLst>
              </p:cNvPr>
              <p:cNvSpPr/>
              <p:nvPr/>
            </p:nvSpPr>
            <p:spPr>
              <a:xfrm>
                <a:off x="6961571" y="269257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06" name="Graphic 461">
              <a:extLst>
                <a:ext uri="{FF2B5EF4-FFF2-40B4-BE49-F238E27FC236}">
                  <a16:creationId xmlns:a16="http://schemas.microsoft.com/office/drawing/2014/main" id="{7534FDA6-2366-1332-907B-4FD33574537A}"/>
                </a:ext>
              </a:extLst>
            </p:cNvPr>
            <p:cNvGrpSpPr/>
            <p:nvPr/>
          </p:nvGrpSpPr>
          <p:grpSpPr>
            <a:xfrm>
              <a:off x="6985009" y="2683917"/>
              <a:ext cx="33774" cy="33774"/>
              <a:chOff x="6985009" y="2683917"/>
              <a:chExt cx="33774" cy="33774"/>
            </a:xfrm>
          </p:grpSpPr>
          <p:sp>
            <p:nvSpPr>
              <p:cNvPr id="807" name="Freeform 806">
                <a:extLst>
                  <a:ext uri="{FF2B5EF4-FFF2-40B4-BE49-F238E27FC236}">
                    <a16:creationId xmlns:a16="http://schemas.microsoft.com/office/drawing/2014/main" id="{A33F05C4-D7E0-3441-4F26-0DED6909B1FC}"/>
                  </a:ext>
                </a:extLst>
              </p:cNvPr>
              <p:cNvSpPr/>
              <p:nvPr/>
            </p:nvSpPr>
            <p:spPr>
              <a:xfrm>
                <a:off x="7001896" y="2683917"/>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8" name="Freeform 807">
                <a:extLst>
                  <a:ext uri="{FF2B5EF4-FFF2-40B4-BE49-F238E27FC236}">
                    <a16:creationId xmlns:a16="http://schemas.microsoft.com/office/drawing/2014/main" id="{6972D161-23D1-5AED-BF93-2CA552BECCF9}"/>
                  </a:ext>
                </a:extLst>
              </p:cNvPr>
              <p:cNvSpPr/>
              <p:nvPr/>
            </p:nvSpPr>
            <p:spPr>
              <a:xfrm>
                <a:off x="6985009" y="2700805"/>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09" name="Graphic 461">
              <a:extLst>
                <a:ext uri="{FF2B5EF4-FFF2-40B4-BE49-F238E27FC236}">
                  <a16:creationId xmlns:a16="http://schemas.microsoft.com/office/drawing/2014/main" id="{4FCF9F10-0B8F-4BA2-3CB3-CA8B0B239329}"/>
                </a:ext>
              </a:extLst>
            </p:cNvPr>
            <p:cNvGrpSpPr/>
            <p:nvPr/>
          </p:nvGrpSpPr>
          <p:grpSpPr>
            <a:xfrm>
              <a:off x="6988434" y="2683917"/>
              <a:ext cx="33774" cy="33774"/>
              <a:chOff x="6988434" y="2683917"/>
              <a:chExt cx="33774" cy="33774"/>
            </a:xfrm>
          </p:grpSpPr>
          <p:sp>
            <p:nvSpPr>
              <p:cNvPr id="810" name="Freeform 809">
                <a:extLst>
                  <a:ext uri="{FF2B5EF4-FFF2-40B4-BE49-F238E27FC236}">
                    <a16:creationId xmlns:a16="http://schemas.microsoft.com/office/drawing/2014/main" id="{CDA754EA-C349-2B96-B096-AD0D1580A4E6}"/>
                  </a:ext>
                </a:extLst>
              </p:cNvPr>
              <p:cNvSpPr/>
              <p:nvPr/>
            </p:nvSpPr>
            <p:spPr>
              <a:xfrm>
                <a:off x="7005321" y="2683917"/>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1" name="Freeform 810">
                <a:extLst>
                  <a:ext uri="{FF2B5EF4-FFF2-40B4-BE49-F238E27FC236}">
                    <a16:creationId xmlns:a16="http://schemas.microsoft.com/office/drawing/2014/main" id="{F25BBA75-68A7-6022-0AAB-1F553903FF4E}"/>
                  </a:ext>
                </a:extLst>
              </p:cNvPr>
              <p:cNvSpPr/>
              <p:nvPr/>
            </p:nvSpPr>
            <p:spPr>
              <a:xfrm>
                <a:off x="6988434" y="2700805"/>
                <a:ext cx="33774" cy="6009"/>
              </a:xfrm>
              <a:custGeom>
                <a:avLst/>
                <a:gdLst>
                  <a:gd name="connsiteX0" fmla="*/ 33775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5"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12" name="Graphic 461">
              <a:extLst>
                <a:ext uri="{FF2B5EF4-FFF2-40B4-BE49-F238E27FC236}">
                  <a16:creationId xmlns:a16="http://schemas.microsoft.com/office/drawing/2014/main" id="{8013A83D-1679-1CCB-577E-5EB51B0A48DB}"/>
                </a:ext>
              </a:extLst>
            </p:cNvPr>
            <p:cNvGrpSpPr/>
            <p:nvPr/>
          </p:nvGrpSpPr>
          <p:grpSpPr>
            <a:xfrm>
              <a:off x="6990838" y="2683917"/>
              <a:ext cx="33774" cy="33774"/>
              <a:chOff x="6990838" y="2683917"/>
              <a:chExt cx="33774" cy="33774"/>
            </a:xfrm>
          </p:grpSpPr>
          <p:sp>
            <p:nvSpPr>
              <p:cNvPr id="813" name="Freeform 812">
                <a:extLst>
                  <a:ext uri="{FF2B5EF4-FFF2-40B4-BE49-F238E27FC236}">
                    <a16:creationId xmlns:a16="http://schemas.microsoft.com/office/drawing/2014/main" id="{DAA22006-2D12-00BD-76E9-40E19E3250F2}"/>
                  </a:ext>
                </a:extLst>
              </p:cNvPr>
              <p:cNvSpPr/>
              <p:nvPr/>
            </p:nvSpPr>
            <p:spPr>
              <a:xfrm>
                <a:off x="7007725" y="2683917"/>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4" name="Freeform 813">
                <a:extLst>
                  <a:ext uri="{FF2B5EF4-FFF2-40B4-BE49-F238E27FC236}">
                    <a16:creationId xmlns:a16="http://schemas.microsoft.com/office/drawing/2014/main" id="{350F314A-0B5D-7BE8-77EC-588834819B99}"/>
                  </a:ext>
                </a:extLst>
              </p:cNvPr>
              <p:cNvSpPr/>
              <p:nvPr/>
            </p:nvSpPr>
            <p:spPr>
              <a:xfrm>
                <a:off x="6990838" y="2700805"/>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15" name="Graphic 461">
              <a:extLst>
                <a:ext uri="{FF2B5EF4-FFF2-40B4-BE49-F238E27FC236}">
                  <a16:creationId xmlns:a16="http://schemas.microsoft.com/office/drawing/2014/main" id="{89240DE0-1D50-3A4C-14CC-4FB6C1E8EE3C}"/>
                </a:ext>
              </a:extLst>
            </p:cNvPr>
            <p:cNvGrpSpPr/>
            <p:nvPr/>
          </p:nvGrpSpPr>
          <p:grpSpPr>
            <a:xfrm>
              <a:off x="6996427" y="2691610"/>
              <a:ext cx="33774" cy="33774"/>
              <a:chOff x="6996427" y="2691610"/>
              <a:chExt cx="33774" cy="33774"/>
            </a:xfrm>
          </p:grpSpPr>
          <p:sp>
            <p:nvSpPr>
              <p:cNvPr id="816" name="Freeform 815">
                <a:extLst>
                  <a:ext uri="{FF2B5EF4-FFF2-40B4-BE49-F238E27FC236}">
                    <a16:creationId xmlns:a16="http://schemas.microsoft.com/office/drawing/2014/main" id="{6D7FB416-09D5-A9E7-C517-F885EBA24006}"/>
                  </a:ext>
                </a:extLst>
              </p:cNvPr>
              <p:cNvSpPr/>
              <p:nvPr/>
            </p:nvSpPr>
            <p:spPr>
              <a:xfrm>
                <a:off x="7013314" y="2691610"/>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7" name="Freeform 816">
                <a:extLst>
                  <a:ext uri="{FF2B5EF4-FFF2-40B4-BE49-F238E27FC236}">
                    <a16:creationId xmlns:a16="http://schemas.microsoft.com/office/drawing/2014/main" id="{CB792421-A671-E81F-411A-0271F2C1A995}"/>
                  </a:ext>
                </a:extLst>
              </p:cNvPr>
              <p:cNvSpPr/>
              <p:nvPr/>
            </p:nvSpPr>
            <p:spPr>
              <a:xfrm>
                <a:off x="6996427" y="2708497"/>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18" name="Graphic 461">
              <a:extLst>
                <a:ext uri="{FF2B5EF4-FFF2-40B4-BE49-F238E27FC236}">
                  <a16:creationId xmlns:a16="http://schemas.microsoft.com/office/drawing/2014/main" id="{2C32978D-0831-E8FE-633C-FCFAE4FD5BAE}"/>
                </a:ext>
              </a:extLst>
            </p:cNvPr>
            <p:cNvGrpSpPr/>
            <p:nvPr/>
          </p:nvGrpSpPr>
          <p:grpSpPr>
            <a:xfrm>
              <a:off x="7001355" y="2691610"/>
              <a:ext cx="33774" cy="33774"/>
              <a:chOff x="7001355" y="2691610"/>
              <a:chExt cx="33774" cy="33774"/>
            </a:xfrm>
          </p:grpSpPr>
          <p:sp>
            <p:nvSpPr>
              <p:cNvPr id="819" name="Freeform 818">
                <a:extLst>
                  <a:ext uri="{FF2B5EF4-FFF2-40B4-BE49-F238E27FC236}">
                    <a16:creationId xmlns:a16="http://schemas.microsoft.com/office/drawing/2014/main" id="{CF36EF2E-43B7-6455-E7CE-B986623A65B8}"/>
                  </a:ext>
                </a:extLst>
              </p:cNvPr>
              <p:cNvSpPr/>
              <p:nvPr/>
            </p:nvSpPr>
            <p:spPr>
              <a:xfrm>
                <a:off x="7018242" y="2691610"/>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20" name="Freeform 819">
                <a:extLst>
                  <a:ext uri="{FF2B5EF4-FFF2-40B4-BE49-F238E27FC236}">
                    <a16:creationId xmlns:a16="http://schemas.microsoft.com/office/drawing/2014/main" id="{583450FB-DA1C-C279-5FA5-02E05CDA0B9A}"/>
                  </a:ext>
                </a:extLst>
              </p:cNvPr>
              <p:cNvSpPr/>
              <p:nvPr/>
            </p:nvSpPr>
            <p:spPr>
              <a:xfrm>
                <a:off x="7001355" y="2708497"/>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21" name="Graphic 461">
              <a:extLst>
                <a:ext uri="{FF2B5EF4-FFF2-40B4-BE49-F238E27FC236}">
                  <a16:creationId xmlns:a16="http://schemas.microsoft.com/office/drawing/2014/main" id="{7914D152-AF12-4D1B-864A-F688A2D53091}"/>
                </a:ext>
              </a:extLst>
            </p:cNvPr>
            <p:cNvGrpSpPr/>
            <p:nvPr/>
          </p:nvGrpSpPr>
          <p:grpSpPr>
            <a:xfrm>
              <a:off x="7052257" y="2711321"/>
              <a:ext cx="33774" cy="33714"/>
              <a:chOff x="7052257" y="2711321"/>
              <a:chExt cx="33774" cy="33714"/>
            </a:xfrm>
          </p:grpSpPr>
          <p:sp>
            <p:nvSpPr>
              <p:cNvPr id="822" name="Freeform 821">
                <a:extLst>
                  <a:ext uri="{FF2B5EF4-FFF2-40B4-BE49-F238E27FC236}">
                    <a16:creationId xmlns:a16="http://schemas.microsoft.com/office/drawing/2014/main" id="{EDF2B744-72B6-72B6-3B6F-376225CEDD73}"/>
                  </a:ext>
                </a:extLst>
              </p:cNvPr>
              <p:cNvSpPr/>
              <p:nvPr/>
            </p:nvSpPr>
            <p:spPr>
              <a:xfrm>
                <a:off x="7069144" y="2711321"/>
                <a:ext cx="6009" cy="33714"/>
              </a:xfrm>
              <a:custGeom>
                <a:avLst/>
                <a:gdLst>
                  <a:gd name="connsiteX0" fmla="*/ 0 w 6009"/>
                  <a:gd name="connsiteY0" fmla="*/ 0 h 33714"/>
                  <a:gd name="connsiteX1" fmla="*/ 0 w 6009"/>
                  <a:gd name="connsiteY1" fmla="*/ 33714 h 33714"/>
                </a:gdLst>
                <a:ahLst/>
                <a:cxnLst>
                  <a:cxn ang="0">
                    <a:pos x="connsiteX0" y="connsiteY0"/>
                  </a:cxn>
                  <a:cxn ang="0">
                    <a:pos x="connsiteX1" y="connsiteY1"/>
                  </a:cxn>
                </a:cxnLst>
                <a:rect l="l" t="t" r="r" b="b"/>
                <a:pathLst>
                  <a:path w="6009" h="33714">
                    <a:moveTo>
                      <a:pt x="0" y="0"/>
                    </a:moveTo>
                    <a:lnTo>
                      <a:pt x="0" y="3371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23" name="Freeform 822">
                <a:extLst>
                  <a:ext uri="{FF2B5EF4-FFF2-40B4-BE49-F238E27FC236}">
                    <a16:creationId xmlns:a16="http://schemas.microsoft.com/office/drawing/2014/main" id="{8377814E-AF7F-7810-31B1-93A1B022CD5F}"/>
                  </a:ext>
                </a:extLst>
              </p:cNvPr>
              <p:cNvSpPr/>
              <p:nvPr/>
            </p:nvSpPr>
            <p:spPr>
              <a:xfrm>
                <a:off x="7052257" y="2728149"/>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24" name="Graphic 461">
              <a:extLst>
                <a:ext uri="{FF2B5EF4-FFF2-40B4-BE49-F238E27FC236}">
                  <a16:creationId xmlns:a16="http://schemas.microsoft.com/office/drawing/2014/main" id="{E9F03D02-C02D-7F52-6C11-7E78636B09F8}"/>
                </a:ext>
              </a:extLst>
            </p:cNvPr>
            <p:cNvGrpSpPr/>
            <p:nvPr/>
          </p:nvGrpSpPr>
          <p:grpSpPr>
            <a:xfrm>
              <a:off x="7065298" y="2722199"/>
              <a:ext cx="33714" cy="33774"/>
              <a:chOff x="7065298" y="2722199"/>
              <a:chExt cx="33714" cy="33774"/>
            </a:xfrm>
          </p:grpSpPr>
          <p:sp>
            <p:nvSpPr>
              <p:cNvPr id="825" name="Freeform 824">
                <a:extLst>
                  <a:ext uri="{FF2B5EF4-FFF2-40B4-BE49-F238E27FC236}">
                    <a16:creationId xmlns:a16="http://schemas.microsoft.com/office/drawing/2014/main" id="{AF883C18-9138-D141-C610-E7000F08F7E8}"/>
                  </a:ext>
                </a:extLst>
              </p:cNvPr>
              <p:cNvSpPr/>
              <p:nvPr/>
            </p:nvSpPr>
            <p:spPr>
              <a:xfrm>
                <a:off x="7082185" y="2722199"/>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26" name="Freeform 825">
                <a:extLst>
                  <a:ext uri="{FF2B5EF4-FFF2-40B4-BE49-F238E27FC236}">
                    <a16:creationId xmlns:a16="http://schemas.microsoft.com/office/drawing/2014/main" id="{F0EB3683-476A-509E-B620-4F68D8DC2850}"/>
                  </a:ext>
                </a:extLst>
              </p:cNvPr>
              <p:cNvSpPr/>
              <p:nvPr/>
            </p:nvSpPr>
            <p:spPr>
              <a:xfrm>
                <a:off x="7065298" y="2739086"/>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27" name="Graphic 461">
              <a:extLst>
                <a:ext uri="{FF2B5EF4-FFF2-40B4-BE49-F238E27FC236}">
                  <a16:creationId xmlns:a16="http://schemas.microsoft.com/office/drawing/2014/main" id="{0CD07DD2-9154-340D-6A8A-2624976643B0}"/>
                </a:ext>
              </a:extLst>
            </p:cNvPr>
            <p:cNvGrpSpPr/>
            <p:nvPr/>
          </p:nvGrpSpPr>
          <p:grpSpPr>
            <a:xfrm>
              <a:off x="7075635" y="2722199"/>
              <a:ext cx="33774" cy="33774"/>
              <a:chOff x="7075635" y="2722199"/>
              <a:chExt cx="33774" cy="33774"/>
            </a:xfrm>
          </p:grpSpPr>
          <p:sp>
            <p:nvSpPr>
              <p:cNvPr id="828" name="Freeform 827">
                <a:extLst>
                  <a:ext uri="{FF2B5EF4-FFF2-40B4-BE49-F238E27FC236}">
                    <a16:creationId xmlns:a16="http://schemas.microsoft.com/office/drawing/2014/main" id="{FF2947FF-E501-2F31-8D23-BC235BEA185F}"/>
                  </a:ext>
                </a:extLst>
              </p:cNvPr>
              <p:cNvSpPr/>
              <p:nvPr/>
            </p:nvSpPr>
            <p:spPr>
              <a:xfrm>
                <a:off x="7092522" y="2722199"/>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29" name="Freeform 828">
                <a:extLst>
                  <a:ext uri="{FF2B5EF4-FFF2-40B4-BE49-F238E27FC236}">
                    <a16:creationId xmlns:a16="http://schemas.microsoft.com/office/drawing/2014/main" id="{3C3FB704-2395-C4EB-36B1-B962E27DBDFC}"/>
                  </a:ext>
                </a:extLst>
              </p:cNvPr>
              <p:cNvSpPr/>
              <p:nvPr/>
            </p:nvSpPr>
            <p:spPr>
              <a:xfrm>
                <a:off x="7075635" y="2739086"/>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30" name="Graphic 461">
              <a:extLst>
                <a:ext uri="{FF2B5EF4-FFF2-40B4-BE49-F238E27FC236}">
                  <a16:creationId xmlns:a16="http://schemas.microsoft.com/office/drawing/2014/main" id="{4DD340DC-5A1E-9426-6500-55AC3E2CC2B6}"/>
                </a:ext>
              </a:extLst>
            </p:cNvPr>
            <p:cNvGrpSpPr/>
            <p:nvPr/>
          </p:nvGrpSpPr>
          <p:grpSpPr>
            <a:xfrm>
              <a:off x="7079781" y="2722199"/>
              <a:ext cx="33774" cy="33774"/>
              <a:chOff x="7079781" y="2722199"/>
              <a:chExt cx="33774" cy="33774"/>
            </a:xfrm>
          </p:grpSpPr>
          <p:sp>
            <p:nvSpPr>
              <p:cNvPr id="831" name="Freeform 830">
                <a:extLst>
                  <a:ext uri="{FF2B5EF4-FFF2-40B4-BE49-F238E27FC236}">
                    <a16:creationId xmlns:a16="http://schemas.microsoft.com/office/drawing/2014/main" id="{E7319EDE-2142-A6FF-5A76-BFE8B5DF29DE}"/>
                  </a:ext>
                </a:extLst>
              </p:cNvPr>
              <p:cNvSpPr/>
              <p:nvPr/>
            </p:nvSpPr>
            <p:spPr>
              <a:xfrm>
                <a:off x="7096668" y="2722199"/>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2" name="Freeform 831">
                <a:extLst>
                  <a:ext uri="{FF2B5EF4-FFF2-40B4-BE49-F238E27FC236}">
                    <a16:creationId xmlns:a16="http://schemas.microsoft.com/office/drawing/2014/main" id="{6948D7F4-B70B-648F-1560-22303744971D}"/>
                  </a:ext>
                </a:extLst>
              </p:cNvPr>
              <p:cNvSpPr/>
              <p:nvPr/>
            </p:nvSpPr>
            <p:spPr>
              <a:xfrm>
                <a:off x="7079781" y="2739086"/>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33" name="Graphic 461">
              <a:extLst>
                <a:ext uri="{FF2B5EF4-FFF2-40B4-BE49-F238E27FC236}">
                  <a16:creationId xmlns:a16="http://schemas.microsoft.com/office/drawing/2014/main" id="{A7FE2CF9-4D05-6D5A-50C3-0DED36BF3E26}"/>
                </a:ext>
              </a:extLst>
            </p:cNvPr>
            <p:cNvGrpSpPr/>
            <p:nvPr/>
          </p:nvGrpSpPr>
          <p:grpSpPr>
            <a:xfrm>
              <a:off x="7085070" y="2722199"/>
              <a:ext cx="33774" cy="33774"/>
              <a:chOff x="7085070" y="2722199"/>
              <a:chExt cx="33774" cy="33774"/>
            </a:xfrm>
          </p:grpSpPr>
          <p:sp>
            <p:nvSpPr>
              <p:cNvPr id="834" name="Freeform 833">
                <a:extLst>
                  <a:ext uri="{FF2B5EF4-FFF2-40B4-BE49-F238E27FC236}">
                    <a16:creationId xmlns:a16="http://schemas.microsoft.com/office/drawing/2014/main" id="{8D714BBC-F1A7-EBE4-8104-B43814426479}"/>
                  </a:ext>
                </a:extLst>
              </p:cNvPr>
              <p:cNvSpPr/>
              <p:nvPr/>
            </p:nvSpPr>
            <p:spPr>
              <a:xfrm>
                <a:off x="7101957" y="2722199"/>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5" name="Freeform 834">
                <a:extLst>
                  <a:ext uri="{FF2B5EF4-FFF2-40B4-BE49-F238E27FC236}">
                    <a16:creationId xmlns:a16="http://schemas.microsoft.com/office/drawing/2014/main" id="{C3DE47C6-23B2-BB7D-3B04-901E34FD8702}"/>
                  </a:ext>
                </a:extLst>
              </p:cNvPr>
              <p:cNvSpPr/>
              <p:nvPr/>
            </p:nvSpPr>
            <p:spPr>
              <a:xfrm>
                <a:off x="7085070" y="2739086"/>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36" name="Graphic 461">
              <a:extLst>
                <a:ext uri="{FF2B5EF4-FFF2-40B4-BE49-F238E27FC236}">
                  <a16:creationId xmlns:a16="http://schemas.microsoft.com/office/drawing/2014/main" id="{9DAE35CA-FC86-5667-30E1-30A87E22AF1E}"/>
                </a:ext>
              </a:extLst>
            </p:cNvPr>
            <p:cNvGrpSpPr/>
            <p:nvPr/>
          </p:nvGrpSpPr>
          <p:grpSpPr>
            <a:xfrm>
              <a:off x="7098351" y="2722199"/>
              <a:ext cx="33774" cy="33774"/>
              <a:chOff x="7098351" y="2722199"/>
              <a:chExt cx="33774" cy="33774"/>
            </a:xfrm>
          </p:grpSpPr>
          <p:sp>
            <p:nvSpPr>
              <p:cNvPr id="837" name="Freeform 836">
                <a:extLst>
                  <a:ext uri="{FF2B5EF4-FFF2-40B4-BE49-F238E27FC236}">
                    <a16:creationId xmlns:a16="http://schemas.microsoft.com/office/drawing/2014/main" id="{E45801CC-7872-E44D-D746-7C43D5CACDD5}"/>
                  </a:ext>
                </a:extLst>
              </p:cNvPr>
              <p:cNvSpPr/>
              <p:nvPr/>
            </p:nvSpPr>
            <p:spPr>
              <a:xfrm>
                <a:off x="7115238" y="2722199"/>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8" name="Freeform 837">
                <a:extLst>
                  <a:ext uri="{FF2B5EF4-FFF2-40B4-BE49-F238E27FC236}">
                    <a16:creationId xmlns:a16="http://schemas.microsoft.com/office/drawing/2014/main" id="{146CCF62-66BB-A50A-DE8E-4EF27C03204C}"/>
                  </a:ext>
                </a:extLst>
              </p:cNvPr>
              <p:cNvSpPr/>
              <p:nvPr/>
            </p:nvSpPr>
            <p:spPr>
              <a:xfrm>
                <a:off x="7098351" y="2739086"/>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39" name="Graphic 461">
              <a:extLst>
                <a:ext uri="{FF2B5EF4-FFF2-40B4-BE49-F238E27FC236}">
                  <a16:creationId xmlns:a16="http://schemas.microsoft.com/office/drawing/2014/main" id="{12A2C89C-FB53-3E4E-6A9B-763A2A6D251D}"/>
                </a:ext>
              </a:extLst>
            </p:cNvPr>
            <p:cNvGrpSpPr/>
            <p:nvPr/>
          </p:nvGrpSpPr>
          <p:grpSpPr>
            <a:xfrm>
              <a:off x="7110851" y="2730733"/>
              <a:ext cx="33774" cy="33714"/>
              <a:chOff x="7110851" y="2730733"/>
              <a:chExt cx="33774" cy="33714"/>
            </a:xfrm>
          </p:grpSpPr>
          <p:sp>
            <p:nvSpPr>
              <p:cNvPr id="840" name="Freeform 839">
                <a:extLst>
                  <a:ext uri="{FF2B5EF4-FFF2-40B4-BE49-F238E27FC236}">
                    <a16:creationId xmlns:a16="http://schemas.microsoft.com/office/drawing/2014/main" id="{A8BE5832-0BD9-0229-6862-018DA23C71BE}"/>
                  </a:ext>
                </a:extLst>
              </p:cNvPr>
              <p:cNvSpPr/>
              <p:nvPr/>
            </p:nvSpPr>
            <p:spPr>
              <a:xfrm>
                <a:off x="7127738" y="2730733"/>
                <a:ext cx="6009" cy="33714"/>
              </a:xfrm>
              <a:custGeom>
                <a:avLst/>
                <a:gdLst>
                  <a:gd name="connsiteX0" fmla="*/ 0 w 6009"/>
                  <a:gd name="connsiteY0" fmla="*/ 0 h 33714"/>
                  <a:gd name="connsiteX1" fmla="*/ 0 w 6009"/>
                  <a:gd name="connsiteY1" fmla="*/ 33714 h 33714"/>
                </a:gdLst>
                <a:ahLst/>
                <a:cxnLst>
                  <a:cxn ang="0">
                    <a:pos x="connsiteX0" y="connsiteY0"/>
                  </a:cxn>
                  <a:cxn ang="0">
                    <a:pos x="connsiteX1" y="connsiteY1"/>
                  </a:cxn>
                </a:cxnLst>
                <a:rect l="l" t="t" r="r" b="b"/>
                <a:pathLst>
                  <a:path w="6009" h="33714">
                    <a:moveTo>
                      <a:pt x="0" y="0"/>
                    </a:moveTo>
                    <a:lnTo>
                      <a:pt x="0" y="3371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1" name="Freeform 840">
                <a:extLst>
                  <a:ext uri="{FF2B5EF4-FFF2-40B4-BE49-F238E27FC236}">
                    <a16:creationId xmlns:a16="http://schemas.microsoft.com/office/drawing/2014/main" id="{3C2B483B-D5D0-AF18-C85F-82A2575F982D}"/>
                  </a:ext>
                </a:extLst>
              </p:cNvPr>
              <p:cNvSpPr/>
              <p:nvPr/>
            </p:nvSpPr>
            <p:spPr>
              <a:xfrm>
                <a:off x="7110851" y="2747560"/>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42" name="Graphic 461">
              <a:extLst>
                <a:ext uri="{FF2B5EF4-FFF2-40B4-BE49-F238E27FC236}">
                  <a16:creationId xmlns:a16="http://schemas.microsoft.com/office/drawing/2014/main" id="{45DDF07B-335C-012B-155F-F29C6919A491}"/>
                </a:ext>
              </a:extLst>
            </p:cNvPr>
            <p:cNvGrpSpPr/>
            <p:nvPr/>
          </p:nvGrpSpPr>
          <p:grpSpPr>
            <a:xfrm>
              <a:off x="7121488" y="2731514"/>
              <a:ext cx="33774" cy="33774"/>
              <a:chOff x="7121488" y="2731514"/>
              <a:chExt cx="33774" cy="33774"/>
            </a:xfrm>
          </p:grpSpPr>
          <p:sp>
            <p:nvSpPr>
              <p:cNvPr id="843" name="Freeform 842">
                <a:extLst>
                  <a:ext uri="{FF2B5EF4-FFF2-40B4-BE49-F238E27FC236}">
                    <a16:creationId xmlns:a16="http://schemas.microsoft.com/office/drawing/2014/main" id="{2E008413-9EEA-9B31-85E6-15C5CB69A05B}"/>
                  </a:ext>
                </a:extLst>
              </p:cNvPr>
              <p:cNvSpPr/>
              <p:nvPr/>
            </p:nvSpPr>
            <p:spPr>
              <a:xfrm>
                <a:off x="7138376" y="273151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4" name="Freeform 843">
                <a:extLst>
                  <a:ext uri="{FF2B5EF4-FFF2-40B4-BE49-F238E27FC236}">
                    <a16:creationId xmlns:a16="http://schemas.microsoft.com/office/drawing/2014/main" id="{D3241EFD-68C6-419E-E629-F56B0C27B629}"/>
                  </a:ext>
                </a:extLst>
              </p:cNvPr>
              <p:cNvSpPr/>
              <p:nvPr/>
            </p:nvSpPr>
            <p:spPr>
              <a:xfrm>
                <a:off x="7121488" y="274840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45" name="Graphic 461">
              <a:extLst>
                <a:ext uri="{FF2B5EF4-FFF2-40B4-BE49-F238E27FC236}">
                  <a16:creationId xmlns:a16="http://schemas.microsoft.com/office/drawing/2014/main" id="{7506136C-1FB5-96C3-18EC-01039AAD0BDB}"/>
                </a:ext>
              </a:extLst>
            </p:cNvPr>
            <p:cNvGrpSpPr/>
            <p:nvPr/>
          </p:nvGrpSpPr>
          <p:grpSpPr>
            <a:xfrm>
              <a:off x="7133448" y="2739747"/>
              <a:ext cx="33774" cy="33774"/>
              <a:chOff x="7133448" y="2739747"/>
              <a:chExt cx="33774" cy="33774"/>
            </a:xfrm>
          </p:grpSpPr>
          <p:sp>
            <p:nvSpPr>
              <p:cNvPr id="846" name="Freeform 845">
                <a:extLst>
                  <a:ext uri="{FF2B5EF4-FFF2-40B4-BE49-F238E27FC236}">
                    <a16:creationId xmlns:a16="http://schemas.microsoft.com/office/drawing/2014/main" id="{8C685182-7759-07FD-D77A-46F03DC8A645}"/>
                  </a:ext>
                </a:extLst>
              </p:cNvPr>
              <p:cNvSpPr/>
              <p:nvPr/>
            </p:nvSpPr>
            <p:spPr>
              <a:xfrm>
                <a:off x="7150335" y="2739747"/>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7" name="Freeform 846">
                <a:extLst>
                  <a:ext uri="{FF2B5EF4-FFF2-40B4-BE49-F238E27FC236}">
                    <a16:creationId xmlns:a16="http://schemas.microsoft.com/office/drawing/2014/main" id="{88C7E8D3-6B07-20B4-55E1-FFBD749E6FE4}"/>
                  </a:ext>
                </a:extLst>
              </p:cNvPr>
              <p:cNvSpPr/>
              <p:nvPr/>
            </p:nvSpPr>
            <p:spPr>
              <a:xfrm>
                <a:off x="7133448" y="2756634"/>
                <a:ext cx="33774" cy="6009"/>
              </a:xfrm>
              <a:custGeom>
                <a:avLst/>
                <a:gdLst>
                  <a:gd name="connsiteX0" fmla="*/ 33775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5"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48" name="Graphic 461">
              <a:extLst>
                <a:ext uri="{FF2B5EF4-FFF2-40B4-BE49-F238E27FC236}">
                  <a16:creationId xmlns:a16="http://schemas.microsoft.com/office/drawing/2014/main" id="{12DD06E8-872F-A05C-4CE5-7C77ABC6F91F}"/>
                </a:ext>
              </a:extLst>
            </p:cNvPr>
            <p:cNvGrpSpPr/>
            <p:nvPr/>
          </p:nvGrpSpPr>
          <p:grpSpPr>
            <a:xfrm>
              <a:off x="7148352" y="2740829"/>
              <a:ext cx="33774" cy="33714"/>
              <a:chOff x="7148352" y="2740829"/>
              <a:chExt cx="33774" cy="33714"/>
            </a:xfrm>
          </p:grpSpPr>
          <p:sp>
            <p:nvSpPr>
              <p:cNvPr id="849" name="Freeform 848">
                <a:extLst>
                  <a:ext uri="{FF2B5EF4-FFF2-40B4-BE49-F238E27FC236}">
                    <a16:creationId xmlns:a16="http://schemas.microsoft.com/office/drawing/2014/main" id="{C6B79623-CFE0-E9D9-5257-F1565AED148D}"/>
                  </a:ext>
                </a:extLst>
              </p:cNvPr>
              <p:cNvSpPr/>
              <p:nvPr/>
            </p:nvSpPr>
            <p:spPr>
              <a:xfrm>
                <a:off x="7165239" y="2740829"/>
                <a:ext cx="6009" cy="33714"/>
              </a:xfrm>
              <a:custGeom>
                <a:avLst/>
                <a:gdLst>
                  <a:gd name="connsiteX0" fmla="*/ 0 w 6009"/>
                  <a:gd name="connsiteY0" fmla="*/ 0 h 33714"/>
                  <a:gd name="connsiteX1" fmla="*/ 0 w 6009"/>
                  <a:gd name="connsiteY1" fmla="*/ 33714 h 33714"/>
                </a:gdLst>
                <a:ahLst/>
                <a:cxnLst>
                  <a:cxn ang="0">
                    <a:pos x="connsiteX0" y="connsiteY0"/>
                  </a:cxn>
                  <a:cxn ang="0">
                    <a:pos x="connsiteX1" y="connsiteY1"/>
                  </a:cxn>
                </a:cxnLst>
                <a:rect l="l" t="t" r="r" b="b"/>
                <a:pathLst>
                  <a:path w="6009" h="33714">
                    <a:moveTo>
                      <a:pt x="0" y="0"/>
                    </a:moveTo>
                    <a:lnTo>
                      <a:pt x="0" y="3371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0" name="Freeform 849">
                <a:extLst>
                  <a:ext uri="{FF2B5EF4-FFF2-40B4-BE49-F238E27FC236}">
                    <a16:creationId xmlns:a16="http://schemas.microsoft.com/office/drawing/2014/main" id="{289395E5-538A-CF84-E64E-2465E7F49C3F}"/>
                  </a:ext>
                </a:extLst>
              </p:cNvPr>
              <p:cNvSpPr/>
              <p:nvPr/>
            </p:nvSpPr>
            <p:spPr>
              <a:xfrm>
                <a:off x="7148352" y="2757716"/>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51" name="Graphic 461">
              <a:extLst>
                <a:ext uri="{FF2B5EF4-FFF2-40B4-BE49-F238E27FC236}">
                  <a16:creationId xmlns:a16="http://schemas.microsoft.com/office/drawing/2014/main" id="{53A68759-DF01-6677-8BEF-5AF5EBAD59FA}"/>
                </a:ext>
              </a:extLst>
            </p:cNvPr>
            <p:cNvGrpSpPr/>
            <p:nvPr/>
          </p:nvGrpSpPr>
          <p:grpSpPr>
            <a:xfrm>
              <a:off x="7161934" y="2740829"/>
              <a:ext cx="33714" cy="33714"/>
              <a:chOff x="7161934" y="2740829"/>
              <a:chExt cx="33714" cy="33714"/>
            </a:xfrm>
          </p:grpSpPr>
          <p:sp>
            <p:nvSpPr>
              <p:cNvPr id="852" name="Freeform 851">
                <a:extLst>
                  <a:ext uri="{FF2B5EF4-FFF2-40B4-BE49-F238E27FC236}">
                    <a16:creationId xmlns:a16="http://schemas.microsoft.com/office/drawing/2014/main" id="{0B462827-7FE5-8997-7495-B1E3AA3C1A1D}"/>
                  </a:ext>
                </a:extLst>
              </p:cNvPr>
              <p:cNvSpPr/>
              <p:nvPr/>
            </p:nvSpPr>
            <p:spPr>
              <a:xfrm>
                <a:off x="7178821" y="2740829"/>
                <a:ext cx="6009" cy="33714"/>
              </a:xfrm>
              <a:custGeom>
                <a:avLst/>
                <a:gdLst>
                  <a:gd name="connsiteX0" fmla="*/ 0 w 6009"/>
                  <a:gd name="connsiteY0" fmla="*/ 0 h 33714"/>
                  <a:gd name="connsiteX1" fmla="*/ 0 w 6009"/>
                  <a:gd name="connsiteY1" fmla="*/ 33714 h 33714"/>
                </a:gdLst>
                <a:ahLst/>
                <a:cxnLst>
                  <a:cxn ang="0">
                    <a:pos x="connsiteX0" y="connsiteY0"/>
                  </a:cxn>
                  <a:cxn ang="0">
                    <a:pos x="connsiteX1" y="connsiteY1"/>
                  </a:cxn>
                </a:cxnLst>
                <a:rect l="l" t="t" r="r" b="b"/>
                <a:pathLst>
                  <a:path w="6009" h="33714">
                    <a:moveTo>
                      <a:pt x="0" y="0"/>
                    </a:moveTo>
                    <a:lnTo>
                      <a:pt x="0" y="3371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3" name="Freeform 852">
                <a:extLst>
                  <a:ext uri="{FF2B5EF4-FFF2-40B4-BE49-F238E27FC236}">
                    <a16:creationId xmlns:a16="http://schemas.microsoft.com/office/drawing/2014/main" id="{2A942B4D-F97A-B42A-D2D3-53B116910E7D}"/>
                  </a:ext>
                </a:extLst>
              </p:cNvPr>
              <p:cNvSpPr/>
              <p:nvPr/>
            </p:nvSpPr>
            <p:spPr>
              <a:xfrm>
                <a:off x="7161934" y="2757716"/>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54" name="Graphic 461">
              <a:extLst>
                <a:ext uri="{FF2B5EF4-FFF2-40B4-BE49-F238E27FC236}">
                  <a16:creationId xmlns:a16="http://schemas.microsoft.com/office/drawing/2014/main" id="{E0DCCFF6-31E0-FE13-A846-28E486C90D7C}"/>
                </a:ext>
              </a:extLst>
            </p:cNvPr>
            <p:cNvGrpSpPr/>
            <p:nvPr/>
          </p:nvGrpSpPr>
          <p:grpSpPr>
            <a:xfrm>
              <a:off x="7176537" y="2751707"/>
              <a:ext cx="33774" cy="33774"/>
              <a:chOff x="7176537" y="2751707"/>
              <a:chExt cx="33774" cy="33774"/>
            </a:xfrm>
          </p:grpSpPr>
          <p:sp>
            <p:nvSpPr>
              <p:cNvPr id="855" name="Freeform 854">
                <a:extLst>
                  <a:ext uri="{FF2B5EF4-FFF2-40B4-BE49-F238E27FC236}">
                    <a16:creationId xmlns:a16="http://schemas.microsoft.com/office/drawing/2014/main" id="{DCB2BB77-8D3A-F107-2FC0-283D015467C6}"/>
                  </a:ext>
                </a:extLst>
              </p:cNvPr>
              <p:cNvSpPr/>
              <p:nvPr/>
            </p:nvSpPr>
            <p:spPr>
              <a:xfrm>
                <a:off x="7193424" y="2751707"/>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6" name="Freeform 855">
                <a:extLst>
                  <a:ext uri="{FF2B5EF4-FFF2-40B4-BE49-F238E27FC236}">
                    <a16:creationId xmlns:a16="http://schemas.microsoft.com/office/drawing/2014/main" id="{0CB21D86-65BE-B807-00C3-A6A673CC43A6}"/>
                  </a:ext>
                </a:extLst>
              </p:cNvPr>
              <p:cNvSpPr/>
              <p:nvPr/>
            </p:nvSpPr>
            <p:spPr>
              <a:xfrm>
                <a:off x="7176537" y="2768594"/>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57" name="Graphic 461">
              <a:extLst>
                <a:ext uri="{FF2B5EF4-FFF2-40B4-BE49-F238E27FC236}">
                  <a16:creationId xmlns:a16="http://schemas.microsoft.com/office/drawing/2014/main" id="{2E7000EF-1FCF-B1BF-217F-C879D16E3BFC}"/>
                </a:ext>
              </a:extLst>
            </p:cNvPr>
            <p:cNvGrpSpPr/>
            <p:nvPr/>
          </p:nvGrpSpPr>
          <p:grpSpPr>
            <a:xfrm>
              <a:off x="7187955" y="2751707"/>
              <a:ext cx="33774" cy="33774"/>
              <a:chOff x="7187955" y="2751707"/>
              <a:chExt cx="33774" cy="33774"/>
            </a:xfrm>
          </p:grpSpPr>
          <p:sp>
            <p:nvSpPr>
              <p:cNvPr id="858" name="Freeform 857">
                <a:extLst>
                  <a:ext uri="{FF2B5EF4-FFF2-40B4-BE49-F238E27FC236}">
                    <a16:creationId xmlns:a16="http://schemas.microsoft.com/office/drawing/2014/main" id="{276EB5BE-760D-7887-81CB-8517B37E20A5}"/>
                  </a:ext>
                </a:extLst>
              </p:cNvPr>
              <p:cNvSpPr/>
              <p:nvPr/>
            </p:nvSpPr>
            <p:spPr>
              <a:xfrm>
                <a:off x="7204843" y="2751707"/>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9" name="Freeform 858">
                <a:extLst>
                  <a:ext uri="{FF2B5EF4-FFF2-40B4-BE49-F238E27FC236}">
                    <a16:creationId xmlns:a16="http://schemas.microsoft.com/office/drawing/2014/main" id="{2AFB0429-1381-1981-BCEA-9494609493DE}"/>
                  </a:ext>
                </a:extLst>
              </p:cNvPr>
              <p:cNvSpPr/>
              <p:nvPr/>
            </p:nvSpPr>
            <p:spPr>
              <a:xfrm>
                <a:off x="7187955" y="2768594"/>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60" name="Graphic 461">
              <a:extLst>
                <a:ext uri="{FF2B5EF4-FFF2-40B4-BE49-F238E27FC236}">
                  <a16:creationId xmlns:a16="http://schemas.microsoft.com/office/drawing/2014/main" id="{75DEF216-88F6-4750-C91A-A6665DEDF885}"/>
                </a:ext>
              </a:extLst>
            </p:cNvPr>
            <p:cNvGrpSpPr/>
            <p:nvPr/>
          </p:nvGrpSpPr>
          <p:grpSpPr>
            <a:xfrm>
              <a:off x="7212956" y="2751707"/>
              <a:ext cx="33774" cy="33774"/>
              <a:chOff x="7212956" y="2751707"/>
              <a:chExt cx="33774" cy="33774"/>
            </a:xfrm>
          </p:grpSpPr>
          <p:sp>
            <p:nvSpPr>
              <p:cNvPr id="861" name="Freeform 860">
                <a:extLst>
                  <a:ext uri="{FF2B5EF4-FFF2-40B4-BE49-F238E27FC236}">
                    <a16:creationId xmlns:a16="http://schemas.microsoft.com/office/drawing/2014/main" id="{CCE15E46-5436-A283-94AF-9E0B0FF3B9EF}"/>
                  </a:ext>
                </a:extLst>
              </p:cNvPr>
              <p:cNvSpPr/>
              <p:nvPr/>
            </p:nvSpPr>
            <p:spPr>
              <a:xfrm>
                <a:off x="7229843" y="2751707"/>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2" name="Freeform 861">
                <a:extLst>
                  <a:ext uri="{FF2B5EF4-FFF2-40B4-BE49-F238E27FC236}">
                    <a16:creationId xmlns:a16="http://schemas.microsoft.com/office/drawing/2014/main" id="{4DB5F6CF-9046-023F-C043-C79895C7BE0A}"/>
                  </a:ext>
                </a:extLst>
              </p:cNvPr>
              <p:cNvSpPr/>
              <p:nvPr/>
            </p:nvSpPr>
            <p:spPr>
              <a:xfrm>
                <a:off x="7212956" y="2768594"/>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63" name="Graphic 461">
              <a:extLst>
                <a:ext uri="{FF2B5EF4-FFF2-40B4-BE49-F238E27FC236}">
                  <a16:creationId xmlns:a16="http://schemas.microsoft.com/office/drawing/2014/main" id="{DBF6EAA1-AA87-751D-3511-BF9576C3858F}"/>
                </a:ext>
              </a:extLst>
            </p:cNvPr>
            <p:cNvGrpSpPr/>
            <p:nvPr/>
          </p:nvGrpSpPr>
          <p:grpSpPr>
            <a:xfrm>
              <a:off x="7218304" y="2762885"/>
              <a:ext cx="33714" cy="33774"/>
              <a:chOff x="7218304" y="2762885"/>
              <a:chExt cx="33714" cy="33774"/>
            </a:xfrm>
          </p:grpSpPr>
          <p:sp>
            <p:nvSpPr>
              <p:cNvPr id="864" name="Freeform 863">
                <a:extLst>
                  <a:ext uri="{FF2B5EF4-FFF2-40B4-BE49-F238E27FC236}">
                    <a16:creationId xmlns:a16="http://schemas.microsoft.com/office/drawing/2014/main" id="{DD1B5931-5E88-26FA-EF2A-32B094AFD388}"/>
                  </a:ext>
                </a:extLst>
              </p:cNvPr>
              <p:cNvSpPr/>
              <p:nvPr/>
            </p:nvSpPr>
            <p:spPr>
              <a:xfrm>
                <a:off x="7235131"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5" name="Freeform 864">
                <a:extLst>
                  <a:ext uri="{FF2B5EF4-FFF2-40B4-BE49-F238E27FC236}">
                    <a16:creationId xmlns:a16="http://schemas.microsoft.com/office/drawing/2014/main" id="{714A3FFA-B61B-A210-8ADD-5C215BB0D49F}"/>
                  </a:ext>
                </a:extLst>
              </p:cNvPr>
              <p:cNvSpPr/>
              <p:nvPr/>
            </p:nvSpPr>
            <p:spPr>
              <a:xfrm>
                <a:off x="7218304" y="2779772"/>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66" name="Graphic 461">
              <a:extLst>
                <a:ext uri="{FF2B5EF4-FFF2-40B4-BE49-F238E27FC236}">
                  <a16:creationId xmlns:a16="http://schemas.microsoft.com/office/drawing/2014/main" id="{6ABDFBCD-AA39-9913-EB61-A326C22ED5E3}"/>
                </a:ext>
              </a:extLst>
            </p:cNvPr>
            <p:cNvGrpSpPr/>
            <p:nvPr/>
          </p:nvGrpSpPr>
          <p:grpSpPr>
            <a:xfrm>
              <a:off x="7221970" y="2762885"/>
              <a:ext cx="33774" cy="33774"/>
              <a:chOff x="7221970" y="2762885"/>
              <a:chExt cx="33774" cy="33774"/>
            </a:xfrm>
          </p:grpSpPr>
          <p:sp>
            <p:nvSpPr>
              <p:cNvPr id="867" name="Freeform 866">
                <a:extLst>
                  <a:ext uri="{FF2B5EF4-FFF2-40B4-BE49-F238E27FC236}">
                    <a16:creationId xmlns:a16="http://schemas.microsoft.com/office/drawing/2014/main" id="{36D28E7C-7D23-427E-8FDD-54E75CF9BCC6}"/>
                  </a:ext>
                </a:extLst>
              </p:cNvPr>
              <p:cNvSpPr/>
              <p:nvPr/>
            </p:nvSpPr>
            <p:spPr>
              <a:xfrm>
                <a:off x="7238857"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8" name="Freeform 867">
                <a:extLst>
                  <a:ext uri="{FF2B5EF4-FFF2-40B4-BE49-F238E27FC236}">
                    <a16:creationId xmlns:a16="http://schemas.microsoft.com/office/drawing/2014/main" id="{41AF47A9-8492-29C4-E797-72D3F26144F0}"/>
                  </a:ext>
                </a:extLst>
              </p:cNvPr>
              <p:cNvSpPr/>
              <p:nvPr/>
            </p:nvSpPr>
            <p:spPr>
              <a:xfrm>
                <a:off x="7221970" y="2779772"/>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69" name="Graphic 461">
              <a:extLst>
                <a:ext uri="{FF2B5EF4-FFF2-40B4-BE49-F238E27FC236}">
                  <a16:creationId xmlns:a16="http://schemas.microsoft.com/office/drawing/2014/main" id="{3F8AA292-2EB4-4A0F-1BAB-FA6FB3333E1C}"/>
                </a:ext>
              </a:extLst>
            </p:cNvPr>
            <p:cNvGrpSpPr/>
            <p:nvPr/>
          </p:nvGrpSpPr>
          <p:grpSpPr>
            <a:xfrm>
              <a:off x="7227319" y="2762885"/>
              <a:ext cx="33774" cy="33774"/>
              <a:chOff x="7227319" y="2762885"/>
              <a:chExt cx="33774" cy="33774"/>
            </a:xfrm>
          </p:grpSpPr>
          <p:sp>
            <p:nvSpPr>
              <p:cNvPr id="870" name="Freeform 869">
                <a:extLst>
                  <a:ext uri="{FF2B5EF4-FFF2-40B4-BE49-F238E27FC236}">
                    <a16:creationId xmlns:a16="http://schemas.microsoft.com/office/drawing/2014/main" id="{2C286DDB-2652-F8AF-C643-AF25B41AC924}"/>
                  </a:ext>
                </a:extLst>
              </p:cNvPr>
              <p:cNvSpPr/>
              <p:nvPr/>
            </p:nvSpPr>
            <p:spPr>
              <a:xfrm>
                <a:off x="7244206"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1" name="Freeform 870">
                <a:extLst>
                  <a:ext uri="{FF2B5EF4-FFF2-40B4-BE49-F238E27FC236}">
                    <a16:creationId xmlns:a16="http://schemas.microsoft.com/office/drawing/2014/main" id="{35741CAF-B680-E2BD-CC80-8482B388B4A9}"/>
                  </a:ext>
                </a:extLst>
              </p:cNvPr>
              <p:cNvSpPr/>
              <p:nvPr/>
            </p:nvSpPr>
            <p:spPr>
              <a:xfrm>
                <a:off x="7227319" y="2779772"/>
                <a:ext cx="33774" cy="6009"/>
              </a:xfrm>
              <a:custGeom>
                <a:avLst/>
                <a:gdLst>
                  <a:gd name="connsiteX0" fmla="*/ 33775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5"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72" name="Graphic 461">
              <a:extLst>
                <a:ext uri="{FF2B5EF4-FFF2-40B4-BE49-F238E27FC236}">
                  <a16:creationId xmlns:a16="http://schemas.microsoft.com/office/drawing/2014/main" id="{DD8DD1E5-7DAA-AA2E-6212-71CB7911D240}"/>
                </a:ext>
              </a:extLst>
            </p:cNvPr>
            <p:cNvGrpSpPr/>
            <p:nvPr/>
          </p:nvGrpSpPr>
          <p:grpSpPr>
            <a:xfrm>
              <a:off x="7232127" y="2762885"/>
              <a:ext cx="33714" cy="33774"/>
              <a:chOff x="7232127" y="2762885"/>
              <a:chExt cx="33714" cy="33774"/>
            </a:xfrm>
          </p:grpSpPr>
          <p:sp>
            <p:nvSpPr>
              <p:cNvPr id="873" name="Freeform 872">
                <a:extLst>
                  <a:ext uri="{FF2B5EF4-FFF2-40B4-BE49-F238E27FC236}">
                    <a16:creationId xmlns:a16="http://schemas.microsoft.com/office/drawing/2014/main" id="{B0299428-BC26-0CDF-C374-1CFED80D8151}"/>
                  </a:ext>
                </a:extLst>
              </p:cNvPr>
              <p:cNvSpPr/>
              <p:nvPr/>
            </p:nvSpPr>
            <p:spPr>
              <a:xfrm>
                <a:off x="7248954"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4" name="Freeform 873">
                <a:extLst>
                  <a:ext uri="{FF2B5EF4-FFF2-40B4-BE49-F238E27FC236}">
                    <a16:creationId xmlns:a16="http://schemas.microsoft.com/office/drawing/2014/main" id="{F2B28BBC-8221-9A24-2CE0-4B4A7792C7F1}"/>
                  </a:ext>
                </a:extLst>
              </p:cNvPr>
              <p:cNvSpPr/>
              <p:nvPr/>
            </p:nvSpPr>
            <p:spPr>
              <a:xfrm>
                <a:off x="7232127" y="2779772"/>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75" name="Graphic 461">
              <a:extLst>
                <a:ext uri="{FF2B5EF4-FFF2-40B4-BE49-F238E27FC236}">
                  <a16:creationId xmlns:a16="http://schemas.microsoft.com/office/drawing/2014/main" id="{21CC6E47-DBDD-92CE-B80E-321D208CC556}"/>
                </a:ext>
              </a:extLst>
            </p:cNvPr>
            <p:cNvGrpSpPr/>
            <p:nvPr/>
          </p:nvGrpSpPr>
          <p:grpSpPr>
            <a:xfrm>
              <a:off x="7237415" y="2762885"/>
              <a:ext cx="33774" cy="33774"/>
              <a:chOff x="7237415" y="2762885"/>
              <a:chExt cx="33774" cy="33774"/>
            </a:xfrm>
          </p:grpSpPr>
          <p:sp>
            <p:nvSpPr>
              <p:cNvPr id="876" name="Freeform 875">
                <a:extLst>
                  <a:ext uri="{FF2B5EF4-FFF2-40B4-BE49-F238E27FC236}">
                    <a16:creationId xmlns:a16="http://schemas.microsoft.com/office/drawing/2014/main" id="{EC0BD687-4D08-E90B-3D74-CBCB2682B463}"/>
                  </a:ext>
                </a:extLst>
              </p:cNvPr>
              <p:cNvSpPr/>
              <p:nvPr/>
            </p:nvSpPr>
            <p:spPr>
              <a:xfrm>
                <a:off x="7254302"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7" name="Freeform 876">
                <a:extLst>
                  <a:ext uri="{FF2B5EF4-FFF2-40B4-BE49-F238E27FC236}">
                    <a16:creationId xmlns:a16="http://schemas.microsoft.com/office/drawing/2014/main" id="{0E414E14-14FD-D7DB-6C6B-00A56289B9C6}"/>
                  </a:ext>
                </a:extLst>
              </p:cNvPr>
              <p:cNvSpPr/>
              <p:nvPr/>
            </p:nvSpPr>
            <p:spPr>
              <a:xfrm>
                <a:off x="7237415" y="2779772"/>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78" name="Graphic 461">
              <a:extLst>
                <a:ext uri="{FF2B5EF4-FFF2-40B4-BE49-F238E27FC236}">
                  <a16:creationId xmlns:a16="http://schemas.microsoft.com/office/drawing/2014/main" id="{616AA73E-96FC-575F-BE5B-71319906AE69}"/>
                </a:ext>
              </a:extLst>
            </p:cNvPr>
            <p:cNvGrpSpPr/>
            <p:nvPr/>
          </p:nvGrpSpPr>
          <p:grpSpPr>
            <a:xfrm>
              <a:off x="7242463" y="2762885"/>
              <a:ext cx="33774" cy="33774"/>
              <a:chOff x="7242463" y="2762885"/>
              <a:chExt cx="33774" cy="33774"/>
            </a:xfrm>
          </p:grpSpPr>
          <p:sp>
            <p:nvSpPr>
              <p:cNvPr id="879" name="Freeform 878">
                <a:extLst>
                  <a:ext uri="{FF2B5EF4-FFF2-40B4-BE49-F238E27FC236}">
                    <a16:creationId xmlns:a16="http://schemas.microsoft.com/office/drawing/2014/main" id="{2C867680-58AF-FCB4-E66C-CCA16AC33822}"/>
                  </a:ext>
                </a:extLst>
              </p:cNvPr>
              <p:cNvSpPr/>
              <p:nvPr/>
            </p:nvSpPr>
            <p:spPr>
              <a:xfrm>
                <a:off x="7259350"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0" name="Freeform 879">
                <a:extLst>
                  <a:ext uri="{FF2B5EF4-FFF2-40B4-BE49-F238E27FC236}">
                    <a16:creationId xmlns:a16="http://schemas.microsoft.com/office/drawing/2014/main" id="{E9A70DC8-7790-E5CE-FB83-51F1337DA6D4}"/>
                  </a:ext>
                </a:extLst>
              </p:cNvPr>
              <p:cNvSpPr/>
              <p:nvPr/>
            </p:nvSpPr>
            <p:spPr>
              <a:xfrm>
                <a:off x="7242463" y="2779772"/>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81" name="Graphic 461">
              <a:extLst>
                <a:ext uri="{FF2B5EF4-FFF2-40B4-BE49-F238E27FC236}">
                  <a16:creationId xmlns:a16="http://schemas.microsoft.com/office/drawing/2014/main" id="{EB40BF86-24A3-BD1B-B3BB-33DB6FEC8CB6}"/>
                </a:ext>
              </a:extLst>
            </p:cNvPr>
            <p:cNvGrpSpPr/>
            <p:nvPr/>
          </p:nvGrpSpPr>
          <p:grpSpPr>
            <a:xfrm>
              <a:off x="7268004" y="2762885"/>
              <a:ext cx="33774" cy="33774"/>
              <a:chOff x="7268004" y="2762885"/>
              <a:chExt cx="33774" cy="33774"/>
            </a:xfrm>
          </p:grpSpPr>
          <p:sp>
            <p:nvSpPr>
              <p:cNvPr id="882" name="Freeform 881">
                <a:extLst>
                  <a:ext uri="{FF2B5EF4-FFF2-40B4-BE49-F238E27FC236}">
                    <a16:creationId xmlns:a16="http://schemas.microsoft.com/office/drawing/2014/main" id="{B5FFE2CC-333B-49FE-E3CF-85D94721FABC}"/>
                  </a:ext>
                </a:extLst>
              </p:cNvPr>
              <p:cNvSpPr/>
              <p:nvPr/>
            </p:nvSpPr>
            <p:spPr>
              <a:xfrm>
                <a:off x="7284892"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3" name="Freeform 882">
                <a:extLst>
                  <a:ext uri="{FF2B5EF4-FFF2-40B4-BE49-F238E27FC236}">
                    <a16:creationId xmlns:a16="http://schemas.microsoft.com/office/drawing/2014/main" id="{263377C7-0AA7-EF0D-6C78-E6AC934E48CD}"/>
                  </a:ext>
                </a:extLst>
              </p:cNvPr>
              <p:cNvSpPr/>
              <p:nvPr/>
            </p:nvSpPr>
            <p:spPr>
              <a:xfrm>
                <a:off x="7268004" y="2779772"/>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84" name="Graphic 461">
              <a:extLst>
                <a:ext uri="{FF2B5EF4-FFF2-40B4-BE49-F238E27FC236}">
                  <a16:creationId xmlns:a16="http://schemas.microsoft.com/office/drawing/2014/main" id="{1E9C75BB-AEEF-8221-0D81-3362AF8EA7AA}"/>
                </a:ext>
              </a:extLst>
            </p:cNvPr>
            <p:cNvGrpSpPr/>
            <p:nvPr/>
          </p:nvGrpSpPr>
          <p:grpSpPr>
            <a:xfrm>
              <a:off x="7278341" y="2762885"/>
              <a:ext cx="33774" cy="33774"/>
              <a:chOff x="7278341" y="2762885"/>
              <a:chExt cx="33774" cy="33774"/>
            </a:xfrm>
          </p:grpSpPr>
          <p:sp>
            <p:nvSpPr>
              <p:cNvPr id="885" name="Freeform 884">
                <a:extLst>
                  <a:ext uri="{FF2B5EF4-FFF2-40B4-BE49-F238E27FC236}">
                    <a16:creationId xmlns:a16="http://schemas.microsoft.com/office/drawing/2014/main" id="{D7AAD0BB-B1E8-63F9-0DAF-84564FAC4EEA}"/>
                  </a:ext>
                </a:extLst>
              </p:cNvPr>
              <p:cNvSpPr/>
              <p:nvPr/>
            </p:nvSpPr>
            <p:spPr>
              <a:xfrm>
                <a:off x="7295228"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6" name="Freeform 885">
                <a:extLst>
                  <a:ext uri="{FF2B5EF4-FFF2-40B4-BE49-F238E27FC236}">
                    <a16:creationId xmlns:a16="http://schemas.microsoft.com/office/drawing/2014/main" id="{DF0D2129-FDBA-8FB3-067D-69A0EEAE7D77}"/>
                  </a:ext>
                </a:extLst>
              </p:cNvPr>
              <p:cNvSpPr/>
              <p:nvPr/>
            </p:nvSpPr>
            <p:spPr>
              <a:xfrm>
                <a:off x="7278341" y="2779772"/>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87" name="Graphic 461">
              <a:extLst>
                <a:ext uri="{FF2B5EF4-FFF2-40B4-BE49-F238E27FC236}">
                  <a16:creationId xmlns:a16="http://schemas.microsoft.com/office/drawing/2014/main" id="{E9E2C299-239F-CC25-DF56-46AE8D1D83B0}"/>
                </a:ext>
              </a:extLst>
            </p:cNvPr>
            <p:cNvGrpSpPr/>
            <p:nvPr/>
          </p:nvGrpSpPr>
          <p:grpSpPr>
            <a:xfrm>
              <a:off x="7290841" y="2762885"/>
              <a:ext cx="33774" cy="33774"/>
              <a:chOff x="7290841" y="2762885"/>
              <a:chExt cx="33774" cy="33774"/>
            </a:xfrm>
          </p:grpSpPr>
          <p:sp>
            <p:nvSpPr>
              <p:cNvPr id="888" name="Freeform 887">
                <a:extLst>
                  <a:ext uri="{FF2B5EF4-FFF2-40B4-BE49-F238E27FC236}">
                    <a16:creationId xmlns:a16="http://schemas.microsoft.com/office/drawing/2014/main" id="{AC907AE4-AEAE-C043-FE46-21CFB08361D8}"/>
                  </a:ext>
                </a:extLst>
              </p:cNvPr>
              <p:cNvSpPr/>
              <p:nvPr/>
            </p:nvSpPr>
            <p:spPr>
              <a:xfrm>
                <a:off x="7307728"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9" name="Freeform 888">
                <a:extLst>
                  <a:ext uri="{FF2B5EF4-FFF2-40B4-BE49-F238E27FC236}">
                    <a16:creationId xmlns:a16="http://schemas.microsoft.com/office/drawing/2014/main" id="{AE695F38-C046-C1DE-DE23-863DFFBCE632}"/>
                  </a:ext>
                </a:extLst>
              </p:cNvPr>
              <p:cNvSpPr/>
              <p:nvPr/>
            </p:nvSpPr>
            <p:spPr>
              <a:xfrm>
                <a:off x="7290841" y="2779772"/>
                <a:ext cx="33774" cy="6009"/>
              </a:xfrm>
              <a:custGeom>
                <a:avLst/>
                <a:gdLst>
                  <a:gd name="connsiteX0" fmla="*/ 33775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5"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90" name="Graphic 461">
              <a:extLst>
                <a:ext uri="{FF2B5EF4-FFF2-40B4-BE49-F238E27FC236}">
                  <a16:creationId xmlns:a16="http://schemas.microsoft.com/office/drawing/2014/main" id="{1521C0A1-65C2-F845-7FC9-2D83FF4A6CAD}"/>
                </a:ext>
              </a:extLst>
            </p:cNvPr>
            <p:cNvGrpSpPr/>
            <p:nvPr/>
          </p:nvGrpSpPr>
          <p:grpSpPr>
            <a:xfrm>
              <a:off x="7303341" y="2762885"/>
              <a:ext cx="33774" cy="33774"/>
              <a:chOff x="7303341" y="2762885"/>
              <a:chExt cx="33774" cy="33774"/>
            </a:xfrm>
          </p:grpSpPr>
          <p:sp>
            <p:nvSpPr>
              <p:cNvPr id="891" name="Freeform 890">
                <a:extLst>
                  <a:ext uri="{FF2B5EF4-FFF2-40B4-BE49-F238E27FC236}">
                    <a16:creationId xmlns:a16="http://schemas.microsoft.com/office/drawing/2014/main" id="{32434544-5F9A-D07E-EAB0-9B50344367A6}"/>
                  </a:ext>
                </a:extLst>
              </p:cNvPr>
              <p:cNvSpPr/>
              <p:nvPr/>
            </p:nvSpPr>
            <p:spPr>
              <a:xfrm>
                <a:off x="7320228"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2" name="Freeform 891">
                <a:extLst>
                  <a:ext uri="{FF2B5EF4-FFF2-40B4-BE49-F238E27FC236}">
                    <a16:creationId xmlns:a16="http://schemas.microsoft.com/office/drawing/2014/main" id="{1EEF074E-90CB-C357-DDF8-4BEB2D970083}"/>
                  </a:ext>
                </a:extLst>
              </p:cNvPr>
              <p:cNvSpPr/>
              <p:nvPr/>
            </p:nvSpPr>
            <p:spPr>
              <a:xfrm>
                <a:off x="7303341" y="2779772"/>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93" name="Graphic 461">
              <a:extLst>
                <a:ext uri="{FF2B5EF4-FFF2-40B4-BE49-F238E27FC236}">
                  <a16:creationId xmlns:a16="http://schemas.microsoft.com/office/drawing/2014/main" id="{AEA562ED-F7AF-0182-3373-7BAAA125896C}"/>
                </a:ext>
              </a:extLst>
            </p:cNvPr>
            <p:cNvGrpSpPr/>
            <p:nvPr/>
          </p:nvGrpSpPr>
          <p:grpSpPr>
            <a:xfrm>
              <a:off x="7312115" y="2762885"/>
              <a:ext cx="33774" cy="33774"/>
              <a:chOff x="7312115" y="2762885"/>
              <a:chExt cx="33774" cy="33774"/>
            </a:xfrm>
          </p:grpSpPr>
          <p:sp>
            <p:nvSpPr>
              <p:cNvPr id="894" name="Freeform 893">
                <a:extLst>
                  <a:ext uri="{FF2B5EF4-FFF2-40B4-BE49-F238E27FC236}">
                    <a16:creationId xmlns:a16="http://schemas.microsoft.com/office/drawing/2014/main" id="{FA04A732-A4D1-7940-7A73-7D7641A9A188}"/>
                  </a:ext>
                </a:extLst>
              </p:cNvPr>
              <p:cNvSpPr/>
              <p:nvPr/>
            </p:nvSpPr>
            <p:spPr>
              <a:xfrm>
                <a:off x="7329003" y="2762885"/>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5" name="Freeform 894">
                <a:extLst>
                  <a:ext uri="{FF2B5EF4-FFF2-40B4-BE49-F238E27FC236}">
                    <a16:creationId xmlns:a16="http://schemas.microsoft.com/office/drawing/2014/main" id="{447A4662-90A3-AD25-AC6D-DEFA5C05D5D0}"/>
                  </a:ext>
                </a:extLst>
              </p:cNvPr>
              <p:cNvSpPr/>
              <p:nvPr/>
            </p:nvSpPr>
            <p:spPr>
              <a:xfrm>
                <a:off x="7312115" y="2779772"/>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96" name="Graphic 461">
              <a:extLst>
                <a:ext uri="{FF2B5EF4-FFF2-40B4-BE49-F238E27FC236}">
                  <a16:creationId xmlns:a16="http://schemas.microsoft.com/office/drawing/2014/main" id="{D5E2F615-5FD5-478B-EC67-5B901A9EA7DD}"/>
                </a:ext>
              </a:extLst>
            </p:cNvPr>
            <p:cNvGrpSpPr/>
            <p:nvPr/>
          </p:nvGrpSpPr>
          <p:grpSpPr>
            <a:xfrm>
              <a:off x="7324856" y="2787344"/>
              <a:ext cx="33774" cy="33774"/>
              <a:chOff x="7324856" y="2787344"/>
              <a:chExt cx="33774" cy="33774"/>
            </a:xfrm>
          </p:grpSpPr>
          <p:sp>
            <p:nvSpPr>
              <p:cNvPr id="897" name="Freeform 896">
                <a:extLst>
                  <a:ext uri="{FF2B5EF4-FFF2-40B4-BE49-F238E27FC236}">
                    <a16:creationId xmlns:a16="http://schemas.microsoft.com/office/drawing/2014/main" id="{885A6922-A152-15F5-8DDF-A01AE02E5019}"/>
                  </a:ext>
                </a:extLst>
              </p:cNvPr>
              <p:cNvSpPr/>
              <p:nvPr/>
            </p:nvSpPr>
            <p:spPr>
              <a:xfrm>
                <a:off x="7341743"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8" name="Freeform 897">
                <a:extLst>
                  <a:ext uri="{FF2B5EF4-FFF2-40B4-BE49-F238E27FC236}">
                    <a16:creationId xmlns:a16="http://schemas.microsoft.com/office/drawing/2014/main" id="{01C3E7C1-0465-D52E-4507-79E2F204AA83}"/>
                  </a:ext>
                </a:extLst>
              </p:cNvPr>
              <p:cNvSpPr/>
              <p:nvPr/>
            </p:nvSpPr>
            <p:spPr>
              <a:xfrm>
                <a:off x="7324856"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99" name="Graphic 461">
              <a:extLst>
                <a:ext uri="{FF2B5EF4-FFF2-40B4-BE49-F238E27FC236}">
                  <a16:creationId xmlns:a16="http://schemas.microsoft.com/office/drawing/2014/main" id="{E5BFBDD0-83F9-E769-7CB9-6A7AD12087C8}"/>
                </a:ext>
              </a:extLst>
            </p:cNvPr>
            <p:cNvGrpSpPr/>
            <p:nvPr/>
          </p:nvGrpSpPr>
          <p:grpSpPr>
            <a:xfrm>
              <a:off x="7333149" y="2787344"/>
              <a:ext cx="33714" cy="33774"/>
              <a:chOff x="7333149" y="2787344"/>
              <a:chExt cx="33714" cy="33774"/>
            </a:xfrm>
          </p:grpSpPr>
          <p:sp>
            <p:nvSpPr>
              <p:cNvPr id="900" name="Freeform 899">
                <a:extLst>
                  <a:ext uri="{FF2B5EF4-FFF2-40B4-BE49-F238E27FC236}">
                    <a16:creationId xmlns:a16="http://schemas.microsoft.com/office/drawing/2014/main" id="{85CA9D50-E18E-8993-EC63-FB0BAEE3C301}"/>
                  </a:ext>
                </a:extLst>
              </p:cNvPr>
              <p:cNvSpPr/>
              <p:nvPr/>
            </p:nvSpPr>
            <p:spPr>
              <a:xfrm>
                <a:off x="7349976"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1" name="Freeform 900">
                <a:extLst>
                  <a:ext uri="{FF2B5EF4-FFF2-40B4-BE49-F238E27FC236}">
                    <a16:creationId xmlns:a16="http://schemas.microsoft.com/office/drawing/2014/main" id="{FB631A55-F902-DB2F-A525-EB920222A562}"/>
                  </a:ext>
                </a:extLst>
              </p:cNvPr>
              <p:cNvSpPr/>
              <p:nvPr/>
            </p:nvSpPr>
            <p:spPr>
              <a:xfrm>
                <a:off x="7333149" y="2804231"/>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02" name="Graphic 461">
              <a:extLst>
                <a:ext uri="{FF2B5EF4-FFF2-40B4-BE49-F238E27FC236}">
                  <a16:creationId xmlns:a16="http://schemas.microsoft.com/office/drawing/2014/main" id="{F68FF1FF-5199-8EF0-E12C-75CC408B86DA}"/>
                </a:ext>
              </a:extLst>
            </p:cNvPr>
            <p:cNvGrpSpPr/>
            <p:nvPr/>
          </p:nvGrpSpPr>
          <p:grpSpPr>
            <a:xfrm>
              <a:off x="7347452" y="2787344"/>
              <a:ext cx="33774" cy="33774"/>
              <a:chOff x="7347452" y="2787344"/>
              <a:chExt cx="33774" cy="33774"/>
            </a:xfrm>
          </p:grpSpPr>
          <p:sp>
            <p:nvSpPr>
              <p:cNvPr id="903" name="Freeform 902">
                <a:extLst>
                  <a:ext uri="{FF2B5EF4-FFF2-40B4-BE49-F238E27FC236}">
                    <a16:creationId xmlns:a16="http://schemas.microsoft.com/office/drawing/2014/main" id="{F853E162-D69C-538D-79D2-2A65BFD05D01}"/>
                  </a:ext>
                </a:extLst>
              </p:cNvPr>
              <p:cNvSpPr/>
              <p:nvPr/>
            </p:nvSpPr>
            <p:spPr>
              <a:xfrm>
                <a:off x="7364339"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4" name="Freeform 903">
                <a:extLst>
                  <a:ext uri="{FF2B5EF4-FFF2-40B4-BE49-F238E27FC236}">
                    <a16:creationId xmlns:a16="http://schemas.microsoft.com/office/drawing/2014/main" id="{43BCA0D2-FDEA-B7CE-056D-FE886EADE4E8}"/>
                  </a:ext>
                </a:extLst>
              </p:cNvPr>
              <p:cNvSpPr/>
              <p:nvPr/>
            </p:nvSpPr>
            <p:spPr>
              <a:xfrm>
                <a:off x="7347452"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05" name="Graphic 461">
              <a:extLst>
                <a:ext uri="{FF2B5EF4-FFF2-40B4-BE49-F238E27FC236}">
                  <a16:creationId xmlns:a16="http://schemas.microsoft.com/office/drawing/2014/main" id="{6D20CF90-AC8F-3D62-3898-B3D79FCF4FFD}"/>
                </a:ext>
              </a:extLst>
            </p:cNvPr>
            <p:cNvGrpSpPr/>
            <p:nvPr/>
          </p:nvGrpSpPr>
          <p:grpSpPr>
            <a:xfrm>
              <a:off x="7357068" y="2787344"/>
              <a:ext cx="33714" cy="33774"/>
              <a:chOff x="7357068" y="2787344"/>
              <a:chExt cx="33714" cy="33774"/>
            </a:xfrm>
          </p:grpSpPr>
          <p:sp>
            <p:nvSpPr>
              <p:cNvPr id="906" name="Freeform 905">
                <a:extLst>
                  <a:ext uri="{FF2B5EF4-FFF2-40B4-BE49-F238E27FC236}">
                    <a16:creationId xmlns:a16="http://schemas.microsoft.com/office/drawing/2014/main" id="{B3CBF43C-7F26-EF52-9427-37EC59CF086E}"/>
                  </a:ext>
                </a:extLst>
              </p:cNvPr>
              <p:cNvSpPr/>
              <p:nvPr/>
            </p:nvSpPr>
            <p:spPr>
              <a:xfrm>
                <a:off x="7373955"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7" name="Freeform 906">
                <a:extLst>
                  <a:ext uri="{FF2B5EF4-FFF2-40B4-BE49-F238E27FC236}">
                    <a16:creationId xmlns:a16="http://schemas.microsoft.com/office/drawing/2014/main" id="{9AA224BA-1684-DB28-58AD-EF99234F400E}"/>
                  </a:ext>
                </a:extLst>
              </p:cNvPr>
              <p:cNvSpPr/>
              <p:nvPr/>
            </p:nvSpPr>
            <p:spPr>
              <a:xfrm>
                <a:off x="7357068" y="2804231"/>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08" name="Graphic 461">
              <a:extLst>
                <a:ext uri="{FF2B5EF4-FFF2-40B4-BE49-F238E27FC236}">
                  <a16:creationId xmlns:a16="http://schemas.microsoft.com/office/drawing/2014/main" id="{B5BB7A00-4D9A-AF5F-9DA3-DD0ED927BCF9}"/>
                </a:ext>
              </a:extLst>
            </p:cNvPr>
            <p:cNvGrpSpPr/>
            <p:nvPr/>
          </p:nvGrpSpPr>
          <p:grpSpPr>
            <a:xfrm>
              <a:off x="7366623" y="2787344"/>
              <a:ext cx="33774" cy="33774"/>
              <a:chOff x="7366623" y="2787344"/>
              <a:chExt cx="33774" cy="33774"/>
            </a:xfrm>
          </p:grpSpPr>
          <p:sp>
            <p:nvSpPr>
              <p:cNvPr id="909" name="Freeform 908">
                <a:extLst>
                  <a:ext uri="{FF2B5EF4-FFF2-40B4-BE49-F238E27FC236}">
                    <a16:creationId xmlns:a16="http://schemas.microsoft.com/office/drawing/2014/main" id="{ED4AE006-9E24-14D1-67F7-B9380C049A4E}"/>
                  </a:ext>
                </a:extLst>
              </p:cNvPr>
              <p:cNvSpPr/>
              <p:nvPr/>
            </p:nvSpPr>
            <p:spPr>
              <a:xfrm>
                <a:off x="7383510"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0" name="Freeform 909">
                <a:extLst>
                  <a:ext uri="{FF2B5EF4-FFF2-40B4-BE49-F238E27FC236}">
                    <a16:creationId xmlns:a16="http://schemas.microsoft.com/office/drawing/2014/main" id="{5112CF42-96E8-41B5-3D47-F28BDF211644}"/>
                  </a:ext>
                </a:extLst>
              </p:cNvPr>
              <p:cNvSpPr/>
              <p:nvPr/>
            </p:nvSpPr>
            <p:spPr>
              <a:xfrm>
                <a:off x="7366623"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11" name="Graphic 461">
              <a:extLst>
                <a:ext uri="{FF2B5EF4-FFF2-40B4-BE49-F238E27FC236}">
                  <a16:creationId xmlns:a16="http://schemas.microsoft.com/office/drawing/2014/main" id="{F2858472-4F5D-13C5-238E-6E8D6D751287}"/>
                </a:ext>
              </a:extLst>
            </p:cNvPr>
            <p:cNvGrpSpPr/>
            <p:nvPr/>
          </p:nvGrpSpPr>
          <p:grpSpPr>
            <a:xfrm>
              <a:off x="7377260" y="2787344"/>
              <a:ext cx="33774" cy="33774"/>
              <a:chOff x="7377260" y="2787344"/>
              <a:chExt cx="33774" cy="33774"/>
            </a:xfrm>
          </p:grpSpPr>
          <p:sp>
            <p:nvSpPr>
              <p:cNvPr id="912" name="Freeform 911">
                <a:extLst>
                  <a:ext uri="{FF2B5EF4-FFF2-40B4-BE49-F238E27FC236}">
                    <a16:creationId xmlns:a16="http://schemas.microsoft.com/office/drawing/2014/main" id="{7E3C8B17-90B7-2AEB-83F5-006032EDFEDD}"/>
                  </a:ext>
                </a:extLst>
              </p:cNvPr>
              <p:cNvSpPr/>
              <p:nvPr/>
            </p:nvSpPr>
            <p:spPr>
              <a:xfrm>
                <a:off x="7394147"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3" name="Freeform 912">
                <a:extLst>
                  <a:ext uri="{FF2B5EF4-FFF2-40B4-BE49-F238E27FC236}">
                    <a16:creationId xmlns:a16="http://schemas.microsoft.com/office/drawing/2014/main" id="{5880DB7F-CF49-9734-5005-2BE6C9E56BB9}"/>
                  </a:ext>
                </a:extLst>
              </p:cNvPr>
              <p:cNvSpPr/>
              <p:nvPr/>
            </p:nvSpPr>
            <p:spPr>
              <a:xfrm>
                <a:off x="7377260"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14" name="Graphic 461">
              <a:extLst>
                <a:ext uri="{FF2B5EF4-FFF2-40B4-BE49-F238E27FC236}">
                  <a16:creationId xmlns:a16="http://schemas.microsoft.com/office/drawing/2014/main" id="{ABEB506F-2AA4-849F-48C7-4EC9A01B5D1B}"/>
                </a:ext>
              </a:extLst>
            </p:cNvPr>
            <p:cNvGrpSpPr/>
            <p:nvPr/>
          </p:nvGrpSpPr>
          <p:grpSpPr>
            <a:xfrm>
              <a:off x="7390782" y="2787344"/>
              <a:ext cx="33774" cy="33774"/>
              <a:chOff x="7390782" y="2787344"/>
              <a:chExt cx="33774" cy="33774"/>
            </a:xfrm>
          </p:grpSpPr>
          <p:sp>
            <p:nvSpPr>
              <p:cNvPr id="915" name="Freeform 914">
                <a:extLst>
                  <a:ext uri="{FF2B5EF4-FFF2-40B4-BE49-F238E27FC236}">
                    <a16:creationId xmlns:a16="http://schemas.microsoft.com/office/drawing/2014/main" id="{A360F1C9-5E5B-8C31-A4C6-F4822D3C126C}"/>
                  </a:ext>
                </a:extLst>
              </p:cNvPr>
              <p:cNvSpPr/>
              <p:nvPr/>
            </p:nvSpPr>
            <p:spPr>
              <a:xfrm>
                <a:off x="7407669"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6" name="Freeform 915">
                <a:extLst>
                  <a:ext uri="{FF2B5EF4-FFF2-40B4-BE49-F238E27FC236}">
                    <a16:creationId xmlns:a16="http://schemas.microsoft.com/office/drawing/2014/main" id="{1503F4CB-10A2-15F8-692B-7C783D5C22B0}"/>
                  </a:ext>
                </a:extLst>
              </p:cNvPr>
              <p:cNvSpPr/>
              <p:nvPr/>
            </p:nvSpPr>
            <p:spPr>
              <a:xfrm>
                <a:off x="7390782"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17" name="Graphic 461">
              <a:extLst>
                <a:ext uri="{FF2B5EF4-FFF2-40B4-BE49-F238E27FC236}">
                  <a16:creationId xmlns:a16="http://schemas.microsoft.com/office/drawing/2014/main" id="{538379A3-BC83-19BF-E395-F1FE550D6B81}"/>
                </a:ext>
              </a:extLst>
            </p:cNvPr>
            <p:cNvGrpSpPr/>
            <p:nvPr/>
          </p:nvGrpSpPr>
          <p:grpSpPr>
            <a:xfrm>
              <a:off x="7416323" y="2787344"/>
              <a:ext cx="33774" cy="33774"/>
              <a:chOff x="7416323" y="2787344"/>
              <a:chExt cx="33774" cy="33774"/>
            </a:xfrm>
          </p:grpSpPr>
          <p:sp>
            <p:nvSpPr>
              <p:cNvPr id="918" name="Freeform 917">
                <a:extLst>
                  <a:ext uri="{FF2B5EF4-FFF2-40B4-BE49-F238E27FC236}">
                    <a16:creationId xmlns:a16="http://schemas.microsoft.com/office/drawing/2014/main" id="{8B4FCCE1-AC97-72E6-6E5D-DA81BDC61448}"/>
                  </a:ext>
                </a:extLst>
              </p:cNvPr>
              <p:cNvSpPr/>
              <p:nvPr/>
            </p:nvSpPr>
            <p:spPr>
              <a:xfrm>
                <a:off x="7433210"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9" name="Freeform 918">
                <a:extLst>
                  <a:ext uri="{FF2B5EF4-FFF2-40B4-BE49-F238E27FC236}">
                    <a16:creationId xmlns:a16="http://schemas.microsoft.com/office/drawing/2014/main" id="{CF3B1637-77F9-2C77-4908-0174C7E16773}"/>
                  </a:ext>
                </a:extLst>
              </p:cNvPr>
              <p:cNvSpPr/>
              <p:nvPr/>
            </p:nvSpPr>
            <p:spPr>
              <a:xfrm>
                <a:off x="7416323"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20" name="Graphic 461">
              <a:extLst>
                <a:ext uri="{FF2B5EF4-FFF2-40B4-BE49-F238E27FC236}">
                  <a16:creationId xmlns:a16="http://schemas.microsoft.com/office/drawing/2014/main" id="{97AADD2D-C73B-821F-2D21-9705B53B060D}"/>
                </a:ext>
              </a:extLst>
            </p:cNvPr>
            <p:cNvGrpSpPr/>
            <p:nvPr/>
          </p:nvGrpSpPr>
          <p:grpSpPr>
            <a:xfrm>
              <a:off x="7447994" y="2787344"/>
              <a:ext cx="33714" cy="33774"/>
              <a:chOff x="7447994" y="2787344"/>
              <a:chExt cx="33714" cy="33774"/>
            </a:xfrm>
          </p:grpSpPr>
          <p:sp>
            <p:nvSpPr>
              <p:cNvPr id="921" name="Freeform 920">
                <a:extLst>
                  <a:ext uri="{FF2B5EF4-FFF2-40B4-BE49-F238E27FC236}">
                    <a16:creationId xmlns:a16="http://schemas.microsoft.com/office/drawing/2014/main" id="{5A211722-22BF-53EE-EB5C-AD4D8F79A6B9}"/>
                  </a:ext>
                </a:extLst>
              </p:cNvPr>
              <p:cNvSpPr/>
              <p:nvPr/>
            </p:nvSpPr>
            <p:spPr>
              <a:xfrm>
                <a:off x="7464821"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2" name="Freeform 921">
                <a:extLst>
                  <a:ext uri="{FF2B5EF4-FFF2-40B4-BE49-F238E27FC236}">
                    <a16:creationId xmlns:a16="http://schemas.microsoft.com/office/drawing/2014/main" id="{E80BFE5A-E435-17DE-9391-1176A42AE484}"/>
                  </a:ext>
                </a:extLst>
              </p:cNvPr>
              <p:cNvSpPr/>
              <p:nvPr/>
            </p:nvSpPr>
            <p:spPr>
              <a:xfrm>
                <a:off x="7447994" y="2804231"/>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23" name="Graphic 461">
              <a:extLst>
                <a:ext uri="{FF2B5EF4-FFF2-40B4-BE49-F238E27FC236}">
                  <a16:creationId xmlns:a16="http://schemas.microsoft.com/office/drawing/2014/main" id="{9B4DCF45-D4C7-B83A-F456-0CB37060280F}"/>
                </a:ext>
              </a:extLst>
            </p:cNvPr>
            <p:cNvGrpSpPr/>
            <p:nvPr/>
          </p:nvGrpSpPr>
          <p:grpSpPr>
            <a:xfrm>
              <a:off x="7458090" y="2787344"/>
              <a:ext cx="33714" cy="33774"/>
              <a:chOff x="7458090" y="2787344"/>
              <a:chExt cx="33714" cy="33774"/>
            </a:xfrm>
          </p:grpSpPr>
          <p:sp>
            <p:nvSpPr>
              <p:cNvPr id="924" name="Freeform 923">
                <a:extLst>
                  <a:ext uri="{FF2B5EF4-FFF2-40B4-BE49-F238E27FC236}">
                    <a16:creationId xmlns:a16="http://schemas.microsoft.com/office/drawing/2014/main" id="{CF0EACBA-9D01-F800-13D5-18B97ACEF547}"/>
                  </a:ext>
                </a:extLst>
              </p:cNvPr>
              <p:cNvSpPr/>
              <p:nvPr/>
            </p:nvSpPr>
            <p:spPr>
              <a:xfrm>
                <a:off x="7474978"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5" name="Freeform 924">
                <a:extLst>
                  <a:ext uri="{FF2B5EF4-FFF2-40B4-BE49-F238E27FC236}">
                    <a16:creationId xmlns:a16="http://schemas.microsoft.com/office/drawing/2014/main" id="{49AC47A7-FD76-D8DF-9581-CC5DCF06C7D9}"/>
                  </a:ext>
                </a:extLst>
              </p:cNvPr>
              <p:cNvSpPr/>
              <p:nvPr/>
            </p:nvSpPr>
            <p:spPr>
              <a:xfrm>
                <a:off x="7458090" y="2804231"/>
                <a:ext cx="33714" cy="6009"/>
              </a:xfrm>
              <a:custGeom>
                <a:avLst/>
                <a:gdLst>
                  <a:gd name="connsiteX0" fmla="*/ 33714 w 33714"/>
                  <a:gd name="connsiteY0" fmla="*/ 0 h 6009"/>
                  <a:gd name="connsiteX1" fmla="*/ 0 w 33714"/>
                  <a:gd name="connsiteY1" fmla="*/ 0 h 6009"/>
                </a:gdLst>
                <a:ahLst/>
                <a:cxnLst>
                  <a:cxn ang="0">
                    <a:pos x="connsiteX0" y="connsiteY0"/>
                  </a:cxn>
                  <a:cxn ang="0">
                    <a:pos x="connsiteX1" y="connsiteY1"/>
                  </a:cxn>
                </a:cxnLst>
                <a:rect l="l" t="t" r="r" b="b"/>
                <a:pathLst>
                  <a:path w="33714" h="6009">
                    <a:moveTo>
                      <a:pt x="3371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26" name="Graphic 461">
              <a:extLst>
                <a:ext uri="{FF2B5EF4-FFF2-40B4-BE49-F238E27FC236}">
                  <a16:creationId xmlns:a16="http://schemas.microsoft.com/office/drawing/2014/main" id="{762804B7-5907-BCED-2062-2C9E467D34C7}"/>
                </a:ext>
              </a:extLst>
            </p:cNvPr>
            <p:cNvGrpSpPr/>
            <p:nvPr/>
          </p:nvGrpSpPr>
          <p:grpSpPr>
            <a:xfrm>
              <a:off x="7460194" y="2787344"/>
              <a:ext cx="33774" cy="33774"/>
              <a:chOff x="7460194" y="2787344"/>
              <a:chExt cx="33774" cy="33774"/>
            </a:xfrm>
          </p:grpSpPr>
          <p:sp>
            <p:nvSpPr>
              <p:cNvPr id="927" name="Freeform 926">
                <a:extLst>
                  <a:ext uri="{FF2B5EF4-FFF2-40B4-BE49-F238E27FC236}">
                    <a16:creationId xmlns:a16="http://schemas.microsoft.com/office/drawing/2014/main" id="{697462B6-1645-7354-0B24-AE846B59F8A7}"/>
                  </a:ext>
                </a:extLst>
              </p:cNvPr>
              <p:cNvSpPr/>
              <p:nvPr/>
            </p:nvSpPr>
            <p:spPr>
              <a:xfrm>
                <a:off x="7477081"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8" name="Freeform 927">
                <a:extLst>
                  <a:ext uri="{FF2B5EF4-FFF2-40B4-BE49-F238E27FC236}">
                    <a16:creationId xmlns:a16="http://schemas.microsoft.com/office/drawing/2014/main" id="{DBB42FCE-F07F-5EB0-33E3-178061A31B95}"/>
                  </a:ext>
                </a:extLst>
              </p:cNvPr>
              <p:cNvSpPr/>
              <p:nvPr/>
            </p:nvSpPr>
            <p:spPr>
              <a:xfrm>
                <a:off x="7460194" y="2804231"/>
                <a:ext cx="33774" cy="6009"/>
              </a:xfrm>
              <a:custGeom>
                <a:avLst/>
                <a:gdLst>
                  <a:gd name="connsiteX0" fmla="*/ 33775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5"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29" name="Graphic 461">
              <a:extLst>
                <a:ext uri="{FF2B5EF4-FFF2-40B4-BE49-F238E27FC236}">
                  <a16:creationId xmlns:a16="http://schemas.microsoft.com/office/drawing/2014/main" id="{C64465AB-0F0D-3946-A797-A56C10DB0B4E}"/>
                </a:ext>
              </a:extLst>
            </p:cNvPr>
            <p:cNvGrpSpPr/>
            <p:nvPr/>
          </p:nvGrpSpPr>
          <p:grpSpPr>
            <a:xfrm>
              <a:off x="7469509" y="2787344"/>
              <a:ext cx="33774" cy="33774"/>
              <a:chOff x="7469509" y="2787344"/>
              <a:chExt cx="33774" cy="33774"/>
            </a:xfrm>
          </p:grpSpPr>
          <p:sp>
            <p:nvSpPr>
              <p:cNvPr id="930" name="Freeform 929">
                <a:extLst>
                  <a:ext uri="{FF2B5EF4-FFF2-40B4-BE49-F238E27FC236}">
                    <a16:creationId xmlns:a16="http://schemas.microsoft.com/office/drawing/2014/main" id="{3910C944-5D36-FF28-EB62-F00320168281}"/>
                  </a:ext>
                </a:extLst>
              </p:cNvPr>
              <p:cNvSpPr/>
              <p:nvPr/>
            </p:nvSpPr>
            <p:spPr>
              <a:xfrm>
                <a:off x="7486396"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1" name="Freeform 930">
                <a:extLst>
                  <a:ext uri="{FF2B5EF4-FFF2-40B4-BE49-F238E27FC236}">
                    <a16:creationId xmlns:a16="http://schemas.microsoft.com/office/drawing/2014/main" id="{74DEAE8B-DC2D-8C84-31C9-84DC3E6037B0}"/>
                  </a:ext>
                </a:extLst>
              </p:cNvPr>
              <p:cNvSpPr/>
              <p:nvPr/>
            </p:nvSpPr>
            <p:spPr>
              <a:xfrm>
                <a:off x="7469509"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32" name="Graphic 461">
              <a:extLst>
                <a:ext uri="{FF2B5EF4-FFF2-40B4-BE49-F238E27FC236}">
                  <a16:creationId xmlns:a16="http://schemas.microsoft.com/office/drawing/2014/main" id="{99BF4A29-7F97-D5D7-4B5C-B2732A3074F7}"/>
                </a:ext>
              </a:extLst>
            </p:cNvPr>
            <p:cNvGrpSpPr/>
            <p:nvPr/>
          </p:nvGrpSpPr>
          <p:grpSpPr>
            <a:xfrm>
              <a:off x="7490483" y="2787344"/>
              <a:ext cx="33774" cy="33774"/>
              <a:chOff x="7490483" y="2787344"/>
              <a:chExt cx="33774" cy="33774"/>
            </a:xfrm>
          </p:grpSpPr>
          <p:sp>
            <p:nvSpPr>
              <p:cNvPr id="933" name="Freeform 932">
                <a:extLst>
                  <a:ext uri="{FF2B5EF4-FFF2-40B4-BE49-F238E27FC236}">
                    <a16:creationId xmlns:a16="http://schemas.microsoft.com/office/drawing/2014/main" id="{C31C8E47-C8B6-D4F1-606A-316A25F7F9DD}"/>
                  </a:ext>
                </a:extLst>
              </p:cNvPr>
              <p:cNvSpPr/>
              <p:nvPr/>
            </p:nvSpPr>
            <p:spPr>
              <a:xfrm>
                <a:off x="7507370"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4" name="Freeform 933">
                <a:extLst>
                  <a:ext uri="{FF2B5EF4-FFF2-40B4-BE49-F238E27FC236}">
                    <a16:creationId xmlns:a16="http://schemas.microsoft.com/office/drawing/2014/main" id="{12902E46-3F54-85DE-A7E4-DCB64832583E}"/>
                  </a:ext>
                </a:extLst>
              </p:cNvPr>
              <p:cNvSpPr/>
              <p:nvPr/>
            </p:nvSpPr>
            <p:spPr>
              <a:xfrm>
                <a:off x="7490483"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35" name="Graphic 461">
              <a:extLst>
                <a:ext uri="{FF2B5EF4-FFF2-40B4-BE49-F238E27FC236}">
                  <a16:creationId xmlns:a16="http://schemas.microsoft.com/office/drawing/2014/main" id="{6DB6B1A8-0C8E-8659-6EA9-B1A39D72CD20}"/>
                </a:ext>
              </a:extLst>
            </p:cNvPr>
            <p:cNvGrpSpPr/>
            <p:nvPr/>
          </p:nvGrpSpPr>
          <p:grpSpPr>
            <a:xfrm>
              <a:off x="7479845" y="2787344"/>
              <a:ext cx="33774" cy="33774"/>
              <a:chOff x="7479845" y="2787344"/>
              <a:chExt cx="33774" cy="33774"/>
            </a:xfrm>
          </p:grpSpPr>
          <p:sp>
            <p:nvSpPr>
              <p:cNvPr id="936" name="Freeform 935">
                <a:extLst>
                  <a:ext uri="{FF2B5EF4-FFF2-40B4-BE49-F238E27FC236}">
                    <a16:creationId xmlns:a16="http://schemas.microsoft.com/office/drawing/2014/main" id="{B19A6AF6-4F30-290D-90AB-C78835554D34}"/>
                  </a:ext>
                </a:extLst>
              </p:cNvPr>
              <p:cNvSpPr/>
              <p:nvPr/>
            </p:nvSpPr>
            <p:spPr>
              <a:xfrm>
                <a:off x="7496733"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7" name="Freeform 936">
                <a:extLst>
                  <a:ext uri="{FF2B5EF4-FFF2-40B4-BE49-F238E27FC236}">
                    <a16:creationId xmlns:a16="http://schemas.microsoft.com/office/drawing/2014/main" id="{8676765C-682B-E262-0270-6096357F61C4}"/>
                  </a:ext>
                </a:extLst>
              </p:cNvPr>
              <p:cNvSpPr/>
              <p:nvPr/>
            </p:nvSpPr>
            <p:spPr>
              <a:xfrm>
                <a:off x="7479845"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38" name="Graphic 461">
              <a:extLst>
                <a:ext uri="{FF2B5EF4-FFF2-40B4-BE49-F238E27FC236}">
                  <a16:creationId xmlns:a16="http://schemas.microsoft.com/office/drawing/2014/main" id="{F9A75841-FBC1-E698-F239-C45853696F72}"/>
                </a:ext>
              </a:extLst>
            </p:cNvPr>
            <p:cNvGrpSpPr/>
            <p:nvPr/>
          </p:nvGrpSpPr>
          <p:grpSpPr>
            <a:xfrm>
              <a:off x="7538620" y="2787344"/>
              <a:ext cx="33774" cy="33774"/>
              <a:chOff x="7538620" y="2787344"/>
              <a:chExt cx="33774" cy="33774"/>
            </a:xfrm>
          </p:grpSpPr>
          <p:sp>
            <p:nvSpPr>
              <p:cNvPr id="939" name="Freeform 938">
                <a:extLst>
                  <a:ext uri="{FF2B5EF4-FFF2-40B4-BE49-F238E27FC236}">
                    <a16:creationId xmlns:a16="http://schemas.microsoft.com/office/drawing/2014/main" id="{592510AF-B671-7A8E-60A7-75230923DBD1}"/>
                  </a:ext>
                </a:extLst>
              </p:cNvPr>
              <p:cNvSpPr/>
              <p:nvPr/>
            </p:nvSpPr>
            <p:spPr>
              <a:xfrm>
                <a:off x="7555507"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0" name="Freeform 939">
                <a:extLst>
                  <a:ext uri="{FF2B5EF4-FFF2-40B4-BE49-F238E27FC236}">
                    <a16:creationId xmlns:a16="http://schemas.microsoft.com/office/drawing/2014/main" id="{489768B9-D519-0B37-FCFA-3C1943ABB338}"/>
                  </a:ext>
                </a:extLst>
              </p:cNvPr>
              <p:cNvSpPr/>
              <p:nvPr/>
            </p:nvSpPr>
            <p:spPr>
              <a:xfrm>
                <a:off x="7538620"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41" name="Graphic 461">
              <a:extLst>
                <a:ext uri="{FF2B5EF4-FFF2-40B4-BE49-F238E27FC236}">
                  <a16:creationId xmlns:a16="http://schemas.microsoft.com/office/drawing/2014/main" id="{B3AF75DA-75DC-E86E-70ED-B05F4850AA79}"/>
                </a:ext>
              </a:extLst>
            </p:cNvPr>
            <p:cNvGrpSpPr/>
            <p:nvPr/>
          </p:nvGrpSpPr>
          <p:grpSpPr>
            <a:xfrm>
              <a:off x="7562298" y="2787344"/>
              <a:ext cx="33774" cy="33774"/>
              <a:chOff x="7562298" y="2787344"/>
              <a:chExt cx="33774" cy="33774"/>
            </a:xfrm>
          </p:grpSpPr>
          <p:sp>
            <p:nvSpPr>
              <p:cNvPr id="942" name="Freeform 941">
                <a:extLst>
                  <a:ext uri="{FF2B5EF4-FFF2-40B4-BE49-F238E27FC236}">
                    <a16:creationId xmlns:a16="http://schemas.microsoft.com/office/drawing/2014/main" id="{B496FA27-EE1B-3451-42B1-5077D3265567}"/>
                  </a:ext>
                </a:extLst>
              </p:cNvPr>
              <p:cNvSpPr/>
              <p:nvPr/>
            </p:nvSpPr>
            <p:spPr>
              <a:xfrm>
                <a:off x="7579185" y="2787344"/>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3" name="Freeform 942">
                <a:extLst>
                  <a:ext uri="{FF2B5EF4-FFF2-40B4-BE49-F238E27FC236}">
                    <a16:creationId xmlns:a16="http://schemas.microsoft.com/office/drawing/2014/main" id="{7A605A37-B1E2-CC0C-6FFF-7BE34F7FCFF8}"/>
                  </a:ext>
                </a:extLst>
              </p:cNvPr>
              <p:cNvSpPr/>
              <p:nvPr/>
            </p:nvSpPr>
            <p:spPr>
              <a:xfrm>
                <a:off x="7562298" y="2804231"/>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44" name="Graphic 461">
              <a:extLst>
                <a:ext uri="{FF2B5EF4-FFF2-40B4-BE49-F238E27FC236}">
                  <a16:creationId xmlns:a16="http://schemas.microsoft.com/office/drawing/2014/main" id="{C6DE6ED9-F3BE-624B-7F7F-9FDA1CA174C2}"/>
                </a:ext>
              </a:extLst>
            </p:cNvPr>
            <p:cNvGrpSpPr/>
            <p:nvPr/>
          </p:nvGrpSpPr>
          <p:grpSpPr>
            <a:xfrm>
              <a:off x="7200456" y="2752608"/>
              <a:ext cx="33774" cy="33774"/>
              <a:chOff x="7200456" y="2752608"/>
              <a:chExt cx="33774" cy="33774"/>
            </a:xfrm>
          </p:grpSpPr>
          <p:sp>
            <p:nvSpPr>
              <p:cNvPr id="945" name="Freeform 944">
                <a:extLst>
                  <a:ext uri="{FF2B5EF4-FFF2-40B4-BE49-F238E27FC236}">
                    <a16:creationId xmlns:a16="http://schemas.microsoft.com/office/drawing/2014/main" id="{FE9944A6-177E-CC02-636C-80C2B4B35390}"/>
                  </a:ext>
                </a:extLst>
              </p:cNvPr>
              <p:cNvSpPr/>
              <p:nvPr/>
            </p:nvSpPr>
            <p:spPr>
              <a:xfrm>
                <a:off x="7217343" y="2752608"/>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6" name="Freeform 945">
                <a:extLst>
                  <a:ext uri="{FF2B5EF4-FFF2-40B4-BE49-F238E27FC236}">
                    <a16:creationId xmlns:a16="http://schemas.microsoft.com/office/drawing/2014/main" id="{09B93764-8AFF-A093-B123-5D531EAFF4E0}"/>
                  </a:ext>
                </a:extLst>
              </p:cNvPr>
              <p:cNvSpPr/>
              <p:nvPr/>
            </p:nvSpPr>
            <p:spPr>
              <a:xfrm>
                <a:off x="7200456" y="2769495"/>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47" name="Graphic 461">
              <a:extLst>
                <a:ext uri="{FF2B5EF4-FFF2-40B4-BE49-F238E27FC236}">
                  <a16:creationId xmlns:a16="http://schemas.microsoft.com/office/drawing/2014/main" id="{B3B9C49B-4FAA-2A23-5D16-BC1C6AD47E4A}"/>
                </a:ext>
              </a:extLst>
            </p:cNvPr>
            <p:cNvGrpSpPr/>
            <p:nvPr/>
          </p:nvGrpSpPr>
          <p:grpSpPr>
            <a:xfrm>
              <a:off x="7121488" y="2739447"/>
              <a:ext cx="33774" cy="33774"/>
              <a:chOff x="7121488" y="2739447"/>
              <a:chExt cx="33774" cy="33774"/>
            </a:xfrm>
          </p:grpSpPr>
          <p:sp>
            <p:nvSpPr>
              <p:cNvPr id="948" name="Freeform 947">
                <a:extLst>
                  <a:ext uri="{FF2B5EF4-FFF2-40B4-BE49-F238E27FC236}">
                    <a16:creationId xmlns:a16="http://schemas.microsoft.com/office/drawing/2014/main" id="{D88CDA9B-3021-A808-714A-C8586EA666F8}"/>
                  </a:ext>
                </a:extLst>
              </p:cNvPr>
              <p:cNvSpPr/>
              <p:nvPr/>
            </p:nvSpPr>
            <p:spPr>
              <a:xfrm>
                <a:off x="7138376" y="2739447"/>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9" name="Freeform 948">
                <a:extLst>
                  <a:ext uri="{FF2B5EF4-FFF2-40B4-BE49-F238E27FC236}">
                    <a16:creationId xmlns:a16="http://schemas.microsoft.com/office/drawing/2014/main" id="{A3F9F60F-C387-E553-E199-BC4E15766F6B}"/>
                  </a:ext>
                </a:extLst>
              </p:cNvPr>
              <p:cNvSpPr/>
              <p:nvPr/>
            </p:nvSpPr>
            <p:spPr>
              <a:xfrm>
                <a:off x="7121488" y="2756334"/>
                <a:ext cx="33774" cy="6009"/>
              </a:xfrm>
              <a:custGeom>
                <a:avLst/>
                <a:gdLst>
                  <a:gd name="connsiteX0" fmla="*/ 33774 w 33774"/>
                  <a:gd name="connsiteY0" fmla="*/ 0 h 6009"/>
                  <a:gd name="connsiteX1" fmla="*/ 0 w 33774"/>
                  <a:gd name="connsiteY1" fmla="*/ 0 h 6009"/>
                </a:gdLst>
                <a:ahLst/>
                <a:cxnLst>
                  <a:cxn ang="0">
                    <a:pos x="connsiteX0" y="connsiteY0"/>
                  </a:cxn>
                  <a:cxn ang="0">
                    <a:pos x="connsiteX1" y="connsiteY1"/>
                  </a:cxn>
                </a:cxnLst>
                <a:rect l="l" t="t" r="r" b="b"/>
                <a:pathLst>
                  <a:path w="33774" h="6009">
                    <a:moveTo>
                      <a:pt x="33774" y="0"/>
                    </a:moveTo>
                    <a:lnTo>
                      <a:pt x="0" y="0"/>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950" name="Freeform 949">
              <a:extLst>
                <a:ext uri="{FF2B5EF4-FFF2-40B4-BE49-F238E27FC236}">
                  <a16:creationId xmlns:a16="http://schemas.microsoft.com/office/drawing/2014/main" id="{FAE49D6D-27C0-D0D9-696A-76409AE560A4}"/>
                </a:ext>
              </a:extLst>
            </p:cNvPr>
            <p:cNvSpPr/>
            <p:nvPr/>
          </p:nvSpPr>
          <p:spPr>
            <a:xfrm>
              <a:off x="5047128" y="1681143"/>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1" name="Freeform 950">
              <a:extLst>
                <a:ext uri="{FF2B5EF4-FFF2-40B4-BE49-F238E27FC236}">
                  <a16:creationId xmlns:a16="http://schemas.microsoft.com/office/drawing/2014/main" id="{6A96A58E-D474-FAD8-C915-5486ED32AD14}"/>
                </a:ext>
              </a:extLst>
            </p:cNvPr>
            <p:cNvSpPr/>
            <p:nvPr/>
          </p:nvSpPr>
          <p:spPr>
            <a:xfrm>
              <a:off x="5051996" y="1681143"/>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2" name="Freeform 951">
              <a:extLst>
                <a:ext uri="{FF2B5EF4-FFF2-40B4-BE49-F238E27FC236}">
                  <a16:creationId xmlns:a16="http://schemas.microsoft.com/office/drawing/2014/main" id="{BD041099-1B02-4BC2-58D3-E985AEAEDED2}"/>
                </a:ext>
              </a:extLst>
            </p:cNvPr>
            <p:cNvSpPr/>
            <p:nvPr/>
          </p:nvSpPr>
          <p:spPr>
            <a:xfrm>
              <a:off x="5062573" y="1681143"/>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3" name="Freeform 952">
              <a:extLst>
                <a:ext uri="{FF2B5EF4-FFF2-40B4-BE49-F238E27FC236}">
                  <a16:creationId xmlns:a16="http://schemas.microsoft.com/office/drawing/2014/main" id="{47898B74-95D0-516D-5DA3-093191130A0F}"/>
                </a:ext>
              </a:extLst>
            </p:cNvPr>
            <p:cNvSpPr/>
            <p:nvPr/>
          </p:nvSpPr>
          <p:spPr>
            <a:xfrm>
              <a:off x="5077537" y="1684027"/>
              <a:ext cx="6009" cy="33774"/>
            </a:xfrm>
            <a:custGeom>
              <a:avLst/>
              <a:gdLst>
                <a:gd name="connsiteX0" fmla="*/ 0 w 6009"/>
                <a:gd name="connsiteY0" fmla="*/ 0 h 33774"/>
                <a:gd name="connsiteX1" fmla="*/ 0 w 6009"/>
                <a:gd name="connsiteY1" fmla="*/ 33774 h 33774"/>
              </a:gdLst>
              <a:ahLst/>
              <a:cxnLst>
                <a:cxn ang="0">
                  <a:pos x="connsiteX0" y="connsiteY0"/>
                </a:cxn>
                <a:cxn ang="0">
                  <a:pos x="connsiteX1" y="connsiteY1"/>
                </a:cxn>
              </a:cxnLst>
              <a:rect l="l" t="t" r="r" b="b"/>
              <a:pathLst>
                <a:path w="6009" h="33774">
                  <a:moveTo>
                    <a:pt x="0" y="0"/>
                  </a:moveTo>
                  <a:lnTo>
                    <a:pt x="0" y="33774"/>
                  </a:lnTo>
                </a:path>
              </a:pathLst>
            </a:custGeom>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954" name="Graphic 461">
            <a:extLst>
              <a:ext uri="{FF2B5EF4-FFF2-40B4-BE49-F238E27FC236}">
                <a16:creationId xmlns:a16="http://schemas.microsoft.com/office/drawing/2014/main" id="{7D14E0BB-8F70-AD84-1DA4-0050D1AA0462}"/>
              </a:ext>
            </a:extLst>
          </p:cNvPr>
          <p:cNvGrpSpPr/>
          <p:nvPr/>
        </p:nvGrpSpPr>
        <p:grpSpPr>
          <a:xfrm>
            <a:off x="6716536" y="1968063"/>
            <a:ext cx="85894" cy="1481205"/>
            <a:chOff x="6777254" y="1947672"/>
            <a:chExt cx="71935" cy="1394966"/>
          </a:xfrm>
          <a:solidFill>
            <a:srgbClr val="EB1700"/>
          </a:solidFill>
        </p:grpSpPr>
        <p:sp>
          <p:nvSpPr>
            <p:cNvPr id="955" name="Freeform 954">
              <a:extLst>
                <a:ext uri="{FF2B5EF4-FFF2-40B4-BE49-F238E27FC236}">
                  <a16:creationId xmlns:a16="http://schemas.microsoft.com/office/drawing/2014/main" id="{0939EF85-53F4-EE05-A90F-CD7172DB7D17}"/>
                </a:ext>
              </a:extLst>
            </p:cNvPr>
            <p:cNvSpPr/>
            <p:nvPr/>
          </p:nvSpPr>
          <p:spPr>
            <a:xfrm>
              <a:off x="6813192" y="1999415"/>
              <a:ext cx="6009" cy="1343223"/>
            </a:xfrm>
            <a:custGeom>
              <a:avLst/>
              <a:gdLst>
                <a:gd name="connsiteX0" fmla="*/ 0 w 6009"/>
                <a:gd name="connsiteY0" fmla="*/ 1343223 h 1343223"/>
                <a:gd name="connsiteX1" fmla="*/ 0 w 6009"/>
                <a:gd name="connsiteY1" fmla="*/ 0 h 1343223"/>
              </a:gdLst>
              <a:ahLst/>
              <a:cxnLst>
                <a:cxn ang="0">
                  <a:pos x="connsiteX0" y="connsiteY0"/>
                </a:cxn>
                <a:cxn ang="0">
                  <a:pos x="connsiteX1" y="connsiteY1"/>
                </a:cxn>
              </a:cxnLst>
              <a:rect l="l" t="t" r="r" b="b"/>
              <a:pathLst>
                <a:path w="6009" h="1343223">
                  <a:moveTo>
                    <a:pt x="0" y="1343223"/>
                  </a:moveTo>
                  <a:lnTo>
                    <a:pt x="0" y="0"/>
                  </a:lnTo>
                </a:path>
              </a:pathLst>
            </a:custGeom>
            <a:ln w="36016" cap="flat">
              <a:solidFill>
                <a:srgbClr val="EB17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6" name="Freeform 955">
              <a:extLst>
                <a:ext uri="{FF2B5EF4-FFF2-40B4-BE49-F238E27FC236}">
                  <a16:creationId xmlns:a16="http://schemas.microsoft.com/office/drawing/2014/main" id="{4909CE5B-1181-C81E-A5F3-EFF46B699530}"/>
                </a:ext>
              </a:extLst>
            </p:cNvPr>
            <p:cNvSpPr/>
            <p:nvPr/>
          </p:nvSpPr>
          <p:spPr>
            <a:xfrm>
              <a:off x="6777254" y="1947672"/>
              <a:ext cx="71935" cy="62320"/>
            </a:xfrm>
            <a:custGeom>
              <a:avLst/>
              <a:gdLst>
                <a:gd name="connsiteX0" fmla="*/ 71936 w 71935"/>
                <a:gd name="connsiteY0" fmla="*/ 62320 h 62320"/>
                <a:gd name="connsiteX1" fmla="*/ 35938 w 71935"/>
                <a:gd name="connsiteY1" fmla="*/ 0 h 62320"/>
                <a:gd name="connsiteX2" fmla="*/ 0 w 71935"/>
                <a:gd name="connsiteY2" fmla="*/ 62320 h 62320"/>
                <a:gd name="connsiteX3" fmla="*/ 71936 w 71935"/>
                <a:gd name="connsiteY3" fmla="*/ 62320 h 62320"/>
              </a:gdLst>
              <a:ahLst/>
              <a:cxnLst>
                <a:cxn ang="0">
                  <a:pos x="connsiteX0" y="connsiteY0"/>
                </a:cxn>
                <a:cxn ang="0">
                  <a:pos x="connsiteX1" y="connsiteY1"/>
                </a:cxn>
                <a:cxn ang="0">
                  <a:pos x="connsiteX2" y="connsiteY2"/>
                </a:cxn>
                <a:cxn ang="0">
                  <a:pos x="connsiteX3" y="connsiteY3"/>
                </a:cxn>
              </a:cxnLst>
              <a:rect l="l" t="t" r="r" b="b"/>
              <a:pathLst>
                <a:path w="71935" h="62320">
                  <a:moveTo>
                    <a:pt x="71936" y="62320"/>
                  </a:moveTo>
                  <a:lnTo>
                    <a:pt x="35938" y="0"/>
                  </a:lnTo>
                  <a:lnTo>
                    <a:pt x="0" y="62320"/>
                  </a:lnTo>
                  <a:lnTo>
                    <a:pt x="71936" y="62320"/>
                  </a:lnTo>
                  <a:close/>
                </a:path>
              </a:pathLst>
            </a:custGeom>
            <a:solidFill>
              <a:srgbClr val="EB1700"/>
            </a:solidFill>
            <a:ln w="6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957" name="TextBox 956">
            <a:extLst>
              <a:ext uri="{FF2B5EF4-FFF2-40B4-BE49-F238E27FC236}">
                <a16:creationId xmlns:a16="http://schemas.microsoft.com/office/drawing/2014/main" id="{8F917A1A-9636-BC6D-C6BC-F59118445310}"/>
              </a:ext>
            </a:extLst>
          </p:cNvPr>
          <p:cNvSpPr txBox="1"/>
          <p:nvPr/>
        </p:nvSpPr>
        <p:spPr>
          <a:xfrm rot="16200000">
            <a:off x="3391796" y="2546329"/>
            <a:ext cx="1824713" cy="153888"/>
          </a:xfrm>
          <a:prstGeom prst="rect">
            <a:avLst/>
          </a:prstGeom>
          <a:noFill/>
        </p:spPr>
        <p:txBody>
          <a:bodyPr wrap="square" lIns="0" tIns="0" rIns="3600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bability of OS</a:t>
            </a:r>
          </a:p>
        </p:txBody>
      </p:sp>
      <p:sp>
        <p:nvSpPr>
          <p:cNvPr id="959" name="TextBox 958">
            <a:extLst>
              <a:ext uri="{FF2B5EF4-FFF2-40B4-BE49-F238E27FC236}">
                <a16:creationId xmlns:a16="http://schemas.microsoft.com/office/drawing/2014/main" id="{D8E85E86-E7DB-4E1B-5793-5D5036DD604C}"/>
              </a:ext>
            </a:extLst>
          </p:cNvPr>
          <p:cNvSpPr txBox="1"/>
          <p:nvPr/>
        </p:nvSpPr>
        <p:spPr>
          <a:xfrm>
            <a:off x="4259168" y="3407266"/>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960" name="TextBox 959">
            <a:extLst>
              <a:ext uri="{FF2B5EF4-FFF2-40B4-BE49-F238E27FC236}">
                <a16:creationId xmlns:a16="http://schemas.microsoft.com/office/drawing/2014/main" id="{170B8690-54BB-96A0-7ACE-F4C451AB6F3B}"/>
              </a:ext>
            </a:extLst>
          </p:cNvPr>
          <p:cNvSpPr txBox="1"/>
          <p:nvPr/>
        </p:nvSpPr>
        <p:spPr>
          <a:xfrm>
            <a:off x="4259168" y="3252070"/>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1</a:t>
            </a:r>
          </a:p>
        </p:txBody>
      </p:sp>
      <p:sp>
        <p:nvSpPr>
          <p:cNvPr id="961" name="TextBox 960">
            <a:extLst>
              <a:ext uri="{FF2B5EF4-FFF2-40B4-BE49-F238E27FC236}">
                <a16:creationId xmlns:a16="http://schemas.microsoft.com/office/drawing/2014/main" id="{6F98CA13-B85B-AFA3-DC22-50CF74E07F28}"/>
              </a:ext>
            </a:extLst>
          </p:cNvPr>
          <p:cNvSpPr txBox="1"/>
          <p:nvPr/>
        </p:nvSpPr>
        <p:spPr>
          <a:xfrm>
            <a:off x="4259168" y="3084290"/>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2</a:t>
            </a:r>
          </a:p>
        </p:txBody>
      </p:sp>
      <p:sp>
        <p:nvSpPr>
          <p:cNvPr id="962" name="TextBox 961">
            <a:extLst>
              <a:ext uri="{FF2B5EF4-FFF2-40B4-BE49-F238E27FC236}">
                <a16:creationId xmlns:a16="http://schemas.microsoft.com/office/drawing/2014/main" id="{D0D85061-E03B-8CCF-DB98-9C1E1890F7A8}"/>
              </a:ext>
            </a:extLst>
          </p:cNvPr>
          <p:cNvSpPr txBox="1"/>
          <p:nvPr/>
        </p:nvSpPr>
        <p:spPr>
          <a:xfrm>
            <a:off x="4259168" y="2920705"/>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3</a:t>
            </a:r>
          </a:p>
        </p:txBody>
      </p:sp>
      <p:sp>
        <p:nvSpPr>
          <p:cNvPr id="963" name="TextBox 962">
            <a:extLst>
              <a:ext uri="{FF2B5EF4-FFF2-40B4-BE49-F238E27FC236}">
                <a16:creationId xmlns:a16="http://schemas.microsoft.com/office/drawing/2014/main" id="{BCE6AE52-D3A4-9B63-0D95-3E56FAFF0A3F}"/>
              </a:ext>
            </a:extLst>
          </p:cNvPr>
          <p:cNvSpPr txBox="1"/>
          <p:nvPr/>
        </p:nvSpPr>
        <p:spPr>
          <a:xfrm>
            <a:off x="4259168" y="2748731"/>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4</a:t>
            </a:r>
          </a:p>
        </p:txBody>
      </p:sp>
      <p:sp>
        <p:nvSpPr>
          <p:cNvPr id="964" name="TextBox 963">
            <a:extLst>
              <a:ext uri="{FF2B5EF4-FFF2-40B4-BE49-F238E27FC236}">
                <a16:creationId xmlns:a16="http://schemas.microsoft.com/office/drawing/2014/main" id="{C95D2324-3460-DA2E-893E-44F41C752A0A}"/>
              </a:ext>
            </a:extLst>
          </p:cNvPr>
          <p:cNvSpPr txBox="1"/>
          <p:nvPr/>
        </p:nvSpPr>
        <p:spPr>
          <a:xfrm>
            <a:off x="4259168" y="2580951"/>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5</a:t>
            </a:r>
          </a:p>
        </p:txBody>
      </p:sp>
      <p:sp>
        <p:nvSpPr>
          <p:cNvPr id="965" name="TextBox 964">
            <a:extLst>
              <a:ext uri="{FF2B5EF4-FFF2-40B4-BE49-F238E27FC236}">
                <a16:creationId xmlns:a16="http://schemas.microsoft.com/office/drawing/2014/main" id="{4817C112-D492-8EF8-96F9-6A2B8DB159C0}"/>
              </a:ext>
            </a:extLst>
          </p:cNvPr>
          <p:cNvSpPr txBox="1"/>
          <p:nvPr/>
        </p:nvSpPr>
        <p:spPr>
          <a:xfrm>
            <a:off x="4259168" y="2417366"/>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a:t>
            </a:r>
          </a:p>
        </p:txBody>
      </p:sp>
      <p:sp>
        <p:nvSpPr>
          <p:cNvPr id="966" name="TextBox 965">
            <a:extLst>
              <a:ext uri="{FF2B5EF4-FFF2-40B4-BE49-F238E27FC236}">
                <a16:creationId xmlns:a16="http://schemas.microsoft.com/office/drawing/2014/main" id="{620BC8C0-BC6C-E487-751F-A1C816466AC1}"/>
              </a:ext>
            </a:extLst>
          </p:cNvPr>
          <p:cNvSpPr txBox="1"/>
          <p:nvPr/>
        </p:nvSpPr>
        <p:spPr>
          <a:xfrm>
            <a:off x="4259168" y="2241198"/>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7</a:t>
            </a:r>
          </a:p>
        </p:txBody>
      </p:sp>
      <p:sp>
        <p:nvSpPr>
          <p:cNvPr id="967" name="TextBox 966">
            <a:extLst>
              <a:ext uri="{FF2B5EF4-FFF2-40B4-BE49-F238E27FC236}">
                <a16:creationId xmlns:a16="http://schemas.microsoft.com/office/drawing/2014/main" id="{1ACD2583-365F-1333-2C4F-82F8DBBCEC89}"/>
              </a:ext>
            </a:extLst>
          </p:cNvPr>
          <p:cNvSpPr txBox="1"/>
          <p:nvPr/>
        </p:nvSpPr>
        <p:spPr>
          <a:xfrm>
            <a:off x="4259168" y="2073418"/>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8</a:t>
            </a:r>
          </a:p>
        </p:txBody>
      </p:sp>
      <p:sp>
        <p:nvSpPr>
          <p:cNvPr id="968" name="TextBox 967">
            <a:extLst>
              <a:ext uri="{FF2B5EF4-FFF2-40B4-BE49-F238E27FC236}">
                <a16:creationId xmlns:a16="http://schemas.microsoft.com/office/drawing/2014/main" id="{7CA07B51-3688-2A4C-7E20-E7E4CDF2DBDF}"/>
              </a:ext>
            </a:extLst>
          </p:cNvPr>
          <p:cNvSpPr txBox="1"/>
          <p:nvPr/>
        </p:nvSpPr>
        <p:spPr>
          <a:xfrm>
            <a:off x="4259168" y="1909832"/>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9</a:t>
            </a:r>
          </a:p>
        </p:txBody>
      </p:sp>
      <p:sp>
        <p:nvSpPr>
          <p:cNvPr id="969" name="TextBox 968">
            <a:extLst>
              <a:ext uri="{FF2B5EF4-FFF2-40B4-BE49-F238E27FC236}">
                <a16:creationId xmlns:a16="http://schemas.microsoft.com/office/drawing/2014/main" id="{3F72DB6C-50ED-274D-CD6C-94692C769F76}"/>
              </a:ext>
            </a:extLst>
          </p:cNvPr>
          <p:cNvSpPr txBox="1"/>
          <p:nvPr/>
        </p:nvSpPr>
        <p:spPr>
          <a:xfrm>
            <a:off x="4259168" y="1750442"/>
            <a:ext cx="373476" cy="107722"/>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971" name="TextBox 970">
            <a:extLst>
              <a:ext uri="{FF2B5EF4-FFF2-40B4-BE49-F238E27FC236}">
                <a16:creationId xmlns:a16="http://schemas.microsoft.com/office/drawing/2014/main" id="{8A37F527-1E61-DF95-C769-76F3C26CF0F9}"/>
              </a:ext>
            </a:extLst>
          </p:cNvPr>
          <p:cNvSpPr txBox="1"/>
          <p:nvPr/>
        </p:nvSpPr>
        <p:spPr>
          <a:xfrm>
            <a:off x="7705813"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4</a:t>
            </a:r>
          </a:p>
        </p:txBody>
      </p:sp>
      <p:sp>
        <p:nvSpPr>
          <p:cNvPr id="972" name="TextBox 971">
            <a:extLst>
              <a:ext uri="{FF2B5EF4-FFF2-40B4-BE49-F238E27FC236}">
                <a16:creationId xmlns:a16="http://schemas.microsoft.com/office/drawing/2014/main" id="{3F324396-923D-955B-FB6E-0C81F3B7EE8C}"/>
              </a:ext>
            </a:extLst>
          </p:cNvPr>
          <p:cNvSpPr txBox="1"/>
          <p:nvPr/>
        </p:nvSpPr>
        <p:spPr>
          <a:xfrm>
            <a:off x="7515491"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1</a:t>
            </a:r>
          </a:p>
        </p:txBody>
      </p:sp>
      <p:sp>
        <p:nvSpPr>
          <p:cNvPr id="973" name="TextBox 972">
            <a:extLst>
              <a:ext uri="{FF2B5EF4-FFF2-40B4-BE49-F238E27FC236}">
                <a16:creationId xmlns:a16="http://schemas.microsoft.com/office/drawing/2014/main" id="{88FD9CDA-C469-A9D8-EAB4-830354D82B11}"/>
              </a:ext>
            </a:extLst>
          </p:cNvPr>
          <p:cNvSpPr txBox="1"/>
          <p:nvPr/>
        </p:nvSpPr>
        <p:spPr>
          <a:xfrm>
            <a:off x="7335187"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p>
        </p:txBody>
      </p:sp>
      <p:sp>
        <p:nvSpPr>
          <p:cNvPr id="974" name="TextBox 973">
            <a:extLst>
              <a:ext uri="{FF2B5EF4-FFF2-40B4-BE49-F238E27FC236}">
                <a16:creationId xmlns:a16="http://schemas.microsoft.com/office/drawing/2014/main" id="{A02968B1-2458-E68C-C0DE-81AEE573CB39}"/>
              </a:ext>
            </a:extLst>
          </p:cNvPr>
          <p:cNvSpPr txBox="1"/>
          <p:nvPr/>
        </p:nvSpPr>
        <p:spPr>
          <a:xfrm>
            <a:off x="7169908"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5</a:t>
            </a:r>
          </a:p>
        </p:txBody>
      </p:sp>
      <p:sp>
        <p:nvSpPr>
          <p:cNvPr id="975" name="TextBox 974">
            <a:extLst>
              <a:ext uri="{FF2B5EF4-FFF2-40B4-BE49-F238E27FC236}">
                <a16:creationId xmlns:a16="http://schemas.microsoft.com/office/drawing/2014/main" id="{CF8AE131-94C6-711D-6E26-A83983D7863D}"/>
              </a:ext>
            </a:extLst>
          </p:cNvPr>
          <p:cNvSpPr txBox="1"/>
          <p:nvPr/>
        </p:nvSpPr>
        <p:spPr>
          <a:xfrm>
            <a:off x="6989604"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a:t>
            </a:r>
          </a:p>
        </p:txBody>
      </p:sp>
      <p:sp>
        <p:nvSpPr>
          <p:cNvPr id="976" name="TextBox 975">
            <a:extLst>
              <a:ext uri="{FF2B5EF4-FFF2-40B4-BE49-F238E27FC236}">
                <a16:creationId xmlns:a16="http://schemas.microsoft.com/office/drawing/2014/main" id="{16FE28C0-0754-1B59-F3C7-0926B57FD94A}"/>
              </a:ext>
            </a:extLst>
          </p:cNvPr>
          <p:cNvSpPr txBox="1"/>
          <p:nvPr/>
        </p:nvSpPr>
        <p:spPr>
          <a:xfrm>
            <a:off x="6814309"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9</a:t>
            </a:r>
          </a:p>
        </p:txBody>
      </p:sp>
      <p:sp>
        <p:nvSpPr>
          <p:cNvPr id="977" name="TextBox 976">
            <a:extLst>
              <a:ext uri="{FF2B5EF4-FFF2-40B4-BE49-F238E27FC236}">
                <a16:creationId xmlns:a16="http://schemas.microsoft.com/office/drawing/2014/main" id="{223E0CD2-82D3-8E50-D7EB-CF7F7719ABC2}"/>
              </a:ext>
            </a:extLst>
          </p:cNvPr>
          <p:cNvSpPr txBox="1"/>
          <p:nvPr/>
        </p:nvSpPr>
        <p:spPr>
          <a:xfrm>
            <a:off x="6644021"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sp>
        <p:nvSpPr>
          <p:cNvPr id="978" name="TextBox 977">
            <a:extLst>
              <a:ext uri="{FF2B5EF4-FFF2-40B4-BE49-F238E27FC236}">
                <a16:creationId xmlns:a16="http://schemas.microsoft.com/office/drawing/2014/main" id="{6B95A2C6-45E4-BD32-D345-22BF0543F177}"/>
              </a:ext>
            </a:extLst>
          </p:cNvPr>
          <p:cNvSpPr txBox="1"/>
          <p:nvPr/>
        </p:nvSpPr>
        <p:spPr>
          <a:xfrm>
            <a:off x="6473734"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3</a:t>
            </a:r>
          </a:p>
        </p:txBody>
      </p:sp>
      <p:sp>
        <p:nvSpPr>
          <p:cNvPr id="979" name="TextBox 978">
            <a:extLst>
              <a:ext uri="{FF2B5EF4-FFF2-40B4-BE49-F238E27FC236}">
                <a16:creationId xmlns:a16="http://schemas.microsoft.com/office/drawing/2014/main" id="{E1AAC517-C74A-8B4F-F577-BAA4534E43D2}"/>
              </a:ext>
            </a:extLst>
          </p:cNvPr>
          <p:cNvSpPr txBox="1"/>
          <p:nvPr/>
        </p:nvSpPr>
        <p:spPr>
          <a:xfrm>
            <a:off x="6288420"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sp>
        <p:nvSpPr>
          <p:cNvPr id="980" name="TextBox 979">
            <a:extLst>
              <a:ext uri="{FF2B5EF4-FFF2-40B4-BE49-F238E27FC236}">
                <a16:creationId xmlns:a16="http://schemas.microsoft.com/office/drawing/2014/main" id="{21EDC1DC-2678-08DA-77DE-06652CF4FEB8}"/>
              </a:ext>
            </a:extLst>
          </p:cNvPr>
          <p:cNvSpPr txBox="1"/>
          <p:nvPr/>
        </p:nvSpPr>
        <p:spPr>
          <a:xfrm>
            <a:off x="6113123"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a:t>
            </a:r>
          </a:p>
        </p:txBody>
      </p:sp>
      <p:sp>
        <p:nvSpPr>
          <p:cNvPr id="981" name="TextBox 980">
            <a:extLst>
              <a:ext uri="{FF2B5EF4-FFF2-40B4-BE49-F238E27FC236}">
                <a16:creationId xmlns:a16="http://schemas.microsoft.com/office/drawing/2014/main" id="{31DFA806-1324-B053-6157-C2CECEC21B97}"/>
              </a:ext>
            </a:extLst>
          </p:cNvPr>
          <p:cNvSpPr txBox="1"/>
          <p:nvPr/>
        </p:nvSpPr>
        <p:spPr>
          <a:xfrm>
            <a:off x="5942836"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982" name="TextBox 981">
            <a:extLst>
              <a:ext uri="{FF2B5EF4-FFF2-40B4-BE49-F238E27FC236}">
                <a16:creationId xmlns:a16="http://schemas.microsoft.com/office/drawing/2014/main" id="{58FA574D-EA99-2014-F4B7-2442156DCC97}"/>
              </a:ext>
            </a:extLst>
          </p:cNvPr>
          <p:cNvSpPr txBox="1"/>
          <p:nvPr/>
        </p:nvSpPr>
        <p:spPr>
          <a:xfrm>
            <a:off x="5757524"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a:t>
            </a:r>
          </a:p>
        </p:txBody>
      </p:sp>
      <p:sp>
        <p:nvSpPr>
          <p:cNvPr id="983" name="TextBox 982">
            <a:extLst>
              <a:ext uri="{FF2B5EF4-FFF2-40B4-BE49-F238E27FC236}">
                <a16:creationId xmlns:a16="http://schemas.microsoft.com/office/drawing/2014/main" id="{6CAC03B7-CC1C-EFD5-D115-8B33E2A41B01}"/>
              </a:ext>
            </a:extLst>
          </p:cNvPr>
          <p:cNvSpPr txBox="1"/>
          <p:nvPr/>
        </p:nvSpPr>
        <p:spPr>
          <a:xfrm>
            <a:off x="5597253"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sp>
        <p:nvSpPr>
          <p:cNvPr id="984" name="TextBox 983">
            <a:extLst>
              <a:ext uri="{FF2B5EF4-FFF2-40B4-BE49-F238E27FC236}">
                <a16:creationId xmlns:a16="http://schemas.microsoft.com/office/drawing/2014/main" id="{C9A086F9-7B7E-F1FA-D9A5-DEDDF414F97F}"/>
              </a:ext>
            </a:extLst>
          </p:cNvPr>
          <p:cNvSpPr txBox="1"/>
          <p:nvPr/>
        </p:nvSpPr>
        <p:spPr>
          <a:xfrm>
            <a:off x="5416950"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985" name="TextBox 984">
            <a:extLst>
              <a:ext uri="{FF2B5EF4-FFF2-40B4-BE49-F238E27FC236}">
                <a16:creationId xmlns:a16="http://schemas.microsoft.com/office/drawing/2014/main" id="{6E7081E2-8D64-DEED-1308-0752C24E53D7}"/>
              </a:ext>
            </a:extLst>
          </p:cNvPr>
          <p:cNvSpPr txBox="1"/>
          <p:nvPr/>
        </p:nvSpPr>
        <p:spPr>
          <a:xfrm>
            <a:off x="5231636"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986" name="TextBox 985">
            <a:extLst>
              <a:ext uri="{FF2B5EF4-FFF2-40B4-BE49-F238E27FC236}">
                <a16:creationId xmlns:a16="http://schemas.microsoft.com/office/drawing/2014/main" id="{CE7066B3-8DA7-5C89-5DC4-87E82B16A714}"/>
              </a:ext>
            </a:extLst>
          </p:cNvPr>
          <p:cNvSpPr txBox="1"/>
          <p:nvPr/>
        </p:nvSpPr>
        <p:spPr>
          <a:xfrm>
            <a:off x="5071366"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p>
        </p:txBody>
      </p:sp>
      <p:sp>
        <p:nvSpPr>
          <p:cNvPr id="987" name="TextBox 986">
            <a:extLst>
              <a:ext uri="{FF2B5EF4-FFF2-40B4-BE49-F238E27FC236}">
                <a16:creationId xmlns:a16="http://schemas.microsoft.com/office/drawing/2014/main" id="{0B2BF8D9-4F26-C956-1119-548E0C345AA9}"/>
              </a:ext>
            </a:extLst>
          </p:cNvPr>
          <p:cNvSpPr txBox="1"/>
          <p:nvPr/>
        </p:nvSpPr>
        <p:spPr>
          <a:xfrm>
            <a:off x="4891063"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988" name="TextBox 987">
            <a:extLst>
              <a:ext uri="{FF2B5EF4-FFF2-40B4-BE49-F238E27FC236}">
                <a16:creationId xmlns:a16="http://schemas.microsoft.com/office/drawing/2014/main" id="{A9308530-7096-D49C-9EDF-540875238924}"/>
              </a:ext>
            </a:extLst>
          </p:cNvPr>
          <p:cNvSpPr txBox="1"/>
          <p:nvPr/>
        </p:nvSpPr>
        <p:spPr>
          <a:xfrm>
            <a:off x="4715766"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989" name="TextBox 988">
            <a:extLst>
              <a:ext uri="{FF2B5EF4-FFF2-40B4-BE49-F238E27FC236}">
                <a16:creationId xmlns:a16="http://schemas.microsoft.com/office/drawing/2014/main" id="{CEED3305-9EC5-E2EA-A2ED-CEB5AF8C1469}"/>
              </a:ext>
            </a:extLst>
          </p:cNvPr>
          <p:cNvSpPr txBox="1"/>
          <p:nvPr/>
        </p:nvSpPr>
        <p:spPr>
          <a:xfrm>
            <a:off x="4545479" y="3527020"/>
            <a:ext cx="234753"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991" name="TextBox 990">
            <a:extLst>
              <a:ext uri="{FF2B5EF4-FFF2-40B4-BE49-F238E27FC236}">
                <a16:creationId xmlns:a16="http://schemas.microsoft.com/office/drawing/2014/main" id="{A054367B-B795-492C-F113-2595AC1F4415}"/>
              </a:ext>
            </a:extLst>
          </p:cNvPr>
          <p:cNvSpPr txBox="1"/>
          <p:nvPr/>
        </p:nvSpPr>
        <p:spPr>
          <a:xfrm>
            <a:off x="7153537" y="2584971"/>
            <a:ext cx="853949" cy="12311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p>
        </p:txBody>
      </p:sp>
      <p:sp>
        <p:nvSpPr>
          <p:cNvPr id="992" name="TextBox 991">
            <a:extLst>
              <a:ext uri="{FF2B5EF4-FFF2-40B4-BE49-F238E27FC236}">
                <a16:creationId xmlns:a16="http://schemas.microsoft.com/office/drawing/2014/main" id="{2AA71DEC-6FEB-9BB3-BB95-013DF985C8A8}"/>
              </a:ext>
            </a:extLst>
          </p:cNvPr>
          <p:cNvSpPr txBox="1"/>
          <p:nvPr/>
        </p:nvSpPr>
        <p:spPr>
          <a:xfrm>
            <a:off x="6912411" y="2973869"/>
            <a:ext cx="1279220" cy="12311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parator EGFR TKI</a:t>
            </a:r>
          </a:p>
        </p:txBody>
      </p:sp>
      <p:sp>
        <p:nvSpPr>
          <p:cNvPr id="993" name="TextBox 992">
            <a:extLst>
              <a:ext uri="{FF2B5EF4-FFF2-40B4-BE49-F238E27FC236}">
                <a16:creationId xmlns:a16="http://schemas.microsoft.com/office/drawing/2014/main" id="{27D252B2-73EE-2CAE-9137-493FC51791C2}"/>
              </a:ext>
            </a:extLst>
          </p:cNvPr>
          <p:cNvSpPr txBox="1"/>
          <p:nvPr/>
        </p:nvSpPr>
        <p:spPr>
          <a:xfrm>
            <a:off x="5847455" y="1631561"/>
            <a:ext cx="1811573"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 </a:t>
            </a:r>
            <a:r>
              <a:rPr kumimoji="0" lang="en-US" sz="10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54%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60)</a:t>
            </a:r>
          </a:p>
        </p:txBody>
      </p:sp>
      <p:sp>
        <p:nvSpPr>
          <p:cNvPr id="994" name="TextBox 993">
            <a:extLst>
              <a:ext uri="{FF2B5EF4-FFF2-40B4-BE49-F238E27FC236}">
                <a16:creationId xmlns:a16="http://schemas.microsoft.com/office/drawing/2014/main" id="{63679487-5297-CAC5-653D-C094D9FD2317}"/>
              </a:ext>
            </a:extLst>
          </p:cNvPr>
          <p:cNvSpPr txBox="1"/>
          <p:nvPr/>
        </p:nvSpPr>
        <p:spPr>
          <a:xfrm>
            <a:off x="5847455" y="1803536"/>
            <a:ext cx="1811573"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G EGFR TKI: 44%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8–50)</a:t>
            </a:r>
          </a:p>
        </p:txBody>
      </p:sp>
      <p:sp>
        <p:nvSpPr>
          <p:cNvPr id="995" name="TextBox 994">
            <a:extLst>
              <a:ext uri="{FF2B5EF4-FFF2-40B4-BE49-F238E27FC236}">
                <a16:creationId xmlns:a16="http://schemas.microsoft.com/office/drawing/2014/main" id="{9BCF81ED-E2EE-C504-0B31-9755DA7FD5C0}"/>
              </a:ext>
            </a:extLst>
          </p:cNvPr>
          <p:cNvSpPr txBox="1"/>
          <p:nvPr/>
        </p:nvSpPr>
        <p:spPr>
          <a:xfrm>
            <a:off x="4731122" y="3190028"/>
            <a:ext cx="1499142" cy="18466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80; 95.05% </a:t>
            </a:r>
            <a:b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I, 0.64–1.00)</a:t>
            </a: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0.046 </a:t>
            </a:r>
          </a:p>
        </p:txBody>
      </p:sp>
      <p:sp>
        <p:nvSpPr>
          <p:cNvPr id="998" name="TextBox 997">
            <a:extLst>
              <a:ext uri="{FF2B5EF4-FFF2-40B4-BE49-F238E27FC236}">
                <a16:creationId xmlns:a16="http://schemas.microsoft.com/office/drawing/2014/main" id="{707C8EE3-DB78-DE08-22E6-B2259D7BF657}"/>
              </a:ext>
            </a:extLst>
          </p:cNvPr>
          <p:cNvSpPr txBox="1"/>
          <p:nvPr/>
        </p:nvSpPr>
        <p:spPr>
          <a:xfrm>
            <a:off x="5046613" y="2720876"/>
            <a:ext cx="1368620" cy="107722"/>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S </a:t>
            </a: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 CI)</a:t>
            </a:r>
          </a:p>
        </p:txBody>
      </p:sp>
      <p:sp>
        <p:nvSpPr>
          <p:cNvPr id="999" name="TextBox 998">
            <a:extLst>
              <a:ext uri="{FF2B5EF4-FFF2-40B4-BE49-F238E27FC236}">
                <a16:creationId xmlns:a16="http://schemas.microsoft.com/office/drawing/2014/main" id="{CA3C4F6E-DC94-EBC1-85A5-E5EB7C57CE31}"/>
              </a:ext>
            </a:extLst>
          </p:cNvPr>
          <p:cNvSpPr txBox="1"/>
          <p:nvPr/>
        </p:nvSpPr>
        <p:spPr>
          <a:xfrm>
            <a:off x="4649287" y="2808201"/>
            <a:ext cx="637567" cy="323165"/>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para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 TKI</a:t>
            </a:r>
          </a:p>
        </p:txBody>
      </p:sp>
      <p:sp>
        <p:nvSpPr>
          <p:cNvPr id="1000" name="TextBox 999">
            <a:extLst>
              <a:ext uri="{FF2B5EF4-FFF2-40B4-BE49-F238E27FC236}">
                <a16:creationId xmlns:a16="http://schemas.microsoft.com/office/drawing/2014/main" id="{FB2E998A-E9F4-0E31-8FD7-569064D84680}"/>
              </a:ext>
            </a:extLst>
          </p:cNvPr>
          <p:cNvSpPr txBox="1"/>
          <p:nvPr/>
        </p:nvSpPr>
        <p:spPr>
          <a:xfrm>
            <a:off x="5384559" y="2844154"/>
            <a:ext cx="1116884" cy="266740"/>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700" b="1"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38.6</a:t>
            </a: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34.5–41.8)</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700" b="1"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31.8</a:t>
            </a: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6.6–36.0)</a:t>
            </a:r>
          </a:p>
        </p:txBody>
      </p:sp>
      <p:graphicFrame>
        <p:nvGraphicFramePr>
          <p:cNvPr id="1004" name="Table 1003">
            <a:extLst>
              <a:ext uri="{FF2B5EF4-FFF2-40B4-BE49-F238E27FC236}">
                <a16:creationId xmlns:a16="http://schemas.microsoft.com/office/drawing/2014/main" id="{1CBE9571-9868-AA9C-6874-32B59B80B4EC}"/>
              </a:ext>
            </a:extLst>
          </p:cNvPr>
          <p:cNvGraphicFramePr>
            <a:graphicFrameLocks noGrp="1"/>
          </p:cNvGraphicFramePr>
          <p:nvPr/>
        </p:nvGraphicFramePr>
        <p:xfrm>
          <a:off x="4591718" y="3825998"/>
          <a:ext cx="3335610" cy="288000"/>
        </p:xfrm>
        <a:graphic>
          <a:graphicData uri="http://schemas.openxmlformats.org/drawingml/2006/table">
            <a:tbl>
              <a:tblPr firstRow="1" bandRow="1">
                <a:tableStyleId>{5C22544A-7EE6-4342-B048-85BDC9FD1C3A}</a:tableStyleId>
              </a:tblPr>
              <a:tblGrid>
                <a:gridCol w="147935">
                  <a:extLst>
                    <a:ext uri="{9D8B030D-6E8A-4147-A177-3AD203B41FA5}">
                      <a16:colId xmlns:a16="http://schemas.microsoft.com/office/drawing/2014/main" val="1314269448"/>
                    </a:ext>
                  </a:extLst>
                </a:gridCol>
                <a:gridCol w="180000">
                  <a:extLst>
                    <a:ext uri="{9D8B030D-6E8A-4147-A177-3AD203B41FA5}">
                      <a16:colId xmlns:a16="http://schemas.microsoft.com/office/drawing/2014/main" val="116629626"/>
                    </a:ext>
                  </a:extLst>
                </a:gridCol>
                <a:gridCol w="180000">
                  <a:extLst>
                    <a:ext uri="{9D8B030D-6E8A-4147-A177-3AD203B41FA5}">
                      <a16:colId xmlns:a16="http://schemas.microsoft.com/office/drawing/2014/main" val="2991798050"/>
                    </a:ext>
                  </a:extLst>
                </a:gridCol>
                <a:gridCol w="180000">
                  <a:extLst>
                    <a:ext uri="{9D8B030D-6E8A-4147-A177-3AD203B41FA5}">
                      <a16:colId xmlns:a16="http://schemas.microsoft.com/office/drawing/2014/main" val="1214577513"/>
                    </a:ext>
                  </a:extLst>
                </a:gridCol>
                <a:gridCol w="147935">
                  <a:extLst>
                    <a:ext uri="{9D8B030D-6E8A-4147-A177-3AD203B41FA5}">
                      <a16:colId xmlns:a16="http://schemas.microsoft.com/office/drawing/2014/main" val="2137396224"/>
                    </a:ext>
                  </a:extLst>
                </a:gridCol>
                <a:gridCol w="216000">
                  <a:extLst>
                    <a:ext uri="{9D8B030D-6E8A-4147-A177-3AD203B41FA5}">
                      <a16:colId xmlns:a16="http://schemas.microsoft.com/office/drawing/2014/main" val="2884935801"/>
                    </a:ext>
                  </a:extLst>
                </a:gridCol>
                <a:gridCol w="147935">
                  <a:extLst>
                    <a:ext uri="{9D8B030D-6E8A-4147-A177-3AD203B41FA5}">
                      <a16:colId xmlns:a16="http://schemas.microsoft.com/office/drawing/2014/main" val="3447660963"/>
                    </a:ext>
                  </a:extLst>
                </a:gridCol>
                <a:gridCol w="180000">
                  <a:extLst>
                    <a:ext uri="{9D8B030D-6E8A-4147-A177-3AD203B41FA5}">
                      <a16:colId xmlns:a16="http://schemas.microsoft.com/office/drawing/2014/main" val="1372302851"/>
                    </a:ext>
                  </a:extLst>
                </a:gridCol>
                <a:gridCol w="180000">
                  <a:extLst>
                    <a:ext uri="{9D8B030D-6E8A-4147-A177-3AD203B41FA5}">
                      <a16:colId xmlns:a16="http://schemas.microsoft.com/office/drawing/2014/main" val="564489534"/>
                    </a:ext>
                  </a:extLst>
                </a:gridCol>
                <a:gridCol w="147935">
                  <a:extLst>
                    <a:ext uri="{9D8B030D-6E8A-4147-A177-3AD203B41FA5}">
                      <a16:colId xmlns:a16="http://schemas.microsoft.com/office/drawing/2014/main" val="2577812930"/>
                    </a:ext>
                  </a:extLst>
                </a:gridCol>
                <a:gridCol w="216000">
                  <a:extLst>
                    <a:ext uri="{9D8B030D-6E8A-4147-A177-3AD203B41FA5}">
                      <a16:colId xmlns:a16="http://schemas.microsoft.com/office/drawing/2014/main" val="286668852"/>
                    </a:ext>
                  </a:extLst>
                </a:gridCol>
                <a:gridCol w="147935">
                  <a:extLst>
                    <a:ext uri="{9D8B030D-6E8A-4147-A177-3AD203B41FA5}">
                      <a16:colId xmlns:a16="http://schemas.microsoft.com/office/drawing/2014/main" val="1370536244"/>
                    </a:ext>
                  </a:extLst>
                </a:gridCol>
                <a:gridCol w="180000">
                  <a:extLst>
                    <a:ext uri="{9D8B030D-6E8A-4147-A177-3AD203B41FA5}">
                      <a16:colId xmlns:a16="http://schemas.microsoft.com/office/drawing/2014/main" val="4240204546"/>
                    </a:ext>
                  </a:extLst>
                </a:gridCol>
                <a:gridCol w="144000">
                  <a:extLst>
                    <a:ext uri="{9D8B030D-6E8A-4147-A177-3AD203B41FA5}">
                      <a16:colId xmlns:a16="http://schemas.microsoft.com/office/drawing/2014/main" val="1092239200"/>
                    </a:ext>
                  </a:extLst>
                </a:gridCol>
                <a:gridCol w="252000">
                  <a:extLst>
                    <a:ext uri="{9D8B030D-6E8A-4147-A177-3AD203B41FA5}">
                      <a16:colId xmlns:a16="http://schemas.microsoft.com/office/drawing/2014/main" val="1486906339"/>
                    </a:ext>
                  </a:extLst>
                </a:gridCol>
                <a:gridCol w="108000">
                  <a:extLst>
                    <a:ext uri="{9D8B030D-6E8A-4147-A177-3AD203B41FA5}">
                      <a16:colId xmlns:a16="http://schemas.microsoft.com/office/drawing/2014/main" val="2328841640"/>
                    </a:ext>
                  </a:extLst>
                </a:gridCol>
                <a:gridCol w="216000">
                  <a:extLst>
                    <a:ext uri="{9D8B030D-6E8A-4147-A177-3AD203B41FA5}">
                      <a16:colId xmlns:a16="http://schemas.microsoft.com/office/drawing/2014/main" val="2485856974"/>
                    </a:ext>
                  </a:extLst>
                </a:gridCol>
                <a:gridCol w="147935">
                  <a:extLst>
                    <a:ext uri="{9D8B030D-6E8A-4147-A177-3AD203B41FA5}">
                      <a16:colId xmlns:a16="http://schemas.microsoft.com/office/drawing/2014/main" val="170856128"/>
                    </a:ext>
                  </a:extLst>
                </a:gridCol>
                <a:gridCol w="216000">
                  <a:extLst>
                    <a:ext uri="{9D8B030D-6E8A-4147-A177-3AD203B41FA5}">
                      <a16:colId xmlns:a16="http://schemas.microsoft.com/office/drawing/2014/main" val="4014806483"/>
                    </a:ext>
                  </a:extLst>
                </a:gridCol>
              </a:tblGrid>
              <a:tr h="144000">
                <a:tc>
                  <a:txBody>
                    <a:bodyPr/>
                    <a:lstStyle/>
                    <a:p>
                      <a:pPr algn="ctr"/>
                      <a:r>
                        <a:rPr lang="en-US" sz="550" b="0" dirty="0">
                          <a:solidFill>
                            <a:schemeClr val="tx1"/>
                          </a:solidFill>
                          <a:latin typeface="Arial "/>
                        </a:rPr>
                        <a:t>279</a:t>
                      </a:r>
                    </a:p>
                  </a:txBody>
                  <a:tcPr marL="0" marR="0" marT="0" marB="0"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7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7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5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4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3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1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0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9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8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6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5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3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2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8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5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0</a:t>
                      </a:r>
                    </a:p>
                  </a:txBody>
                  <a:tcPr marL="0" marR="0" marT="0" marB="0" anchor="ctr">
                    <a:lnL w="6350" cap="flat" cmpd="sng" algn="ctr">
                      <a:no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9576515"/>
                  </a:ext>
                </a:extLst>
              </a:tr>
              <a:tr h="144000">
                <a:tc>
                  <a:txBody>
                    <a:bodyPr/>
                    <a:lstStyle/>
                    <a:p>
                      <a:pPr algn="ctr"/>
                      <a:r>
                        <a:rPr lang="en-US" sz="550" b="0" dirty="0">
                          <a:solidFill>
                            <a:schemeClr val="tx1"/>
                          </a:solidFill>
                          <a:latin typeface="Arial "/>
                        </a:rPr>
                        <a:t>277</a:t>
                      </a:r>
                    </a:p>
                  </a:txBody>
                  <a:tcPr marL="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6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5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3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1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0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8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6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4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3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3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2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1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0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7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4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1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550" b="0" dirty="0">
                          <a:solidFill>
                            <a:schemeClr val="tx1"/>
                          </a:solidFill>
                          <a:latin typeface="Arial "/>
                        </a:rPr>
                        <a:t>0</a:t>
                      </a:r>
                    </a:p>
                  </a:txBody>
                  <a:tcPr marL="0" marR="0" marT="0" marB="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5938405"/>
                  </a:ext>
                </a:extLst>
              </a:tr>
            </a:tbl>
          </a:graphicData>
        </a:graphic>
      </p:graphicFrame>
      <p:grpSp>
        <p:nvGrpSpPr>
          <p:cNvPr id="11" name="Group 10">
            <a:extLst>
              <a:ext uri="{FF2B5EF4-FFF2-40B4-BE49-F238E27FC236}">
                <a16:creationId xmlns:a16="http://schemas.microsoft.com/office/drawing/2014/main" id="{858BF7B9-9337-E83E-10CC-642273737B1C}"/>
              </a:ext>
            </a:extLst>
          </p:cNvPr>
          <p:cNvGrpSpPr/>
          <p:nvPr/>
        </p:nvGrpSpPr>
        <p:grpSpPr>
          <a:xfrm>
            <a:off x="8176971" y="3344055"/>
            <a:ext cx="3849942" cy="2747059"/>
            <a:chOff x="8093943" y="3327992"/>
            <a:chExt cx="3849942" cy="2204807"/>
          </a:xfrm>
        </p:grpSpPr>
        <p:sp>
          <p:nvSpPr>
            <p:cNvPr id="1020" name="Freeform 1019">
              <a:extLst>
                <a:ext uri="{FF2B5EF4-FFF2-40B4-BE49-F238E27FC236}">
                  <a16:creationId xmlns:a16="http://schemas.microsoft.com/office/drawing/2014/main" id="{5C7262CD-A112-D9C1-7941-175FFEE82C9F}"/>
                </a:ext>
              </a:extLst>
            </p:cNvPr>
            <p:cNvSpPr/>
            <p:nvPr/>
          </p:nvSpPr>
          <p:spPr>
            <a:xfrm>
              <a:off x="8521007" y="3359573"/>
              <a:ext cx="3219678" cy="1835441"/>
            </a:xfrm>
            <a:custGeom>
              <a:avLst/>
              <a:gdLst>
                <a:gd name="connsiteX0" fmla="*/ 0 w 3219678"/>
                <a:gd name="connsiteY0" fmla="*/ 0 h 1932338"/>
                <a:gd name="connsiteX1" fmla="*/ 0 w 3219678"/>
                <a:gd name="connsiteY1" fmla="*/ 1932339 h 1932338"/>
                <a:gd name="connsiteX2" fmla="*/ 3219679 w 3219678"/>
                <a:gd name="connsiteY2" fmla="*/ 1932339 h 1932338"/>
              </a:gdLst>
              <a:ahLst/>
              <a:cxnLst>
                <a:cxn ang="0">
                  <a:pos x="connsiteX0" y="connsiteY0"/>
                </a:cxn>
                <a:cxn ang="0">
                  <a:pos x="connsiteX1" y="connsiteY1"/>
                </a:cxn>
                <a:cxn ang="0">
                  <a:pos x="connsiteX2" y="connsiteY2"/>
                </a:cxn>
              </a:cxnLst>
              <a:rect l="l" t="t" r="r" b="b"/>
              <a:pathLst>
                <a:path w="3219678" h="1932338">
                  <a:moveTo>
                    <a:pt x="0" y="0"/>
                  </a:moveTo>
                  <a:lnTo>
                    <a:pt x="0" y="1932339"/>
                  </a:lnTo>
                  <a:lnTo>
                    <a:pt x="3219679" y="1932339"/>
                  </a:lnTo>
                </a:path>
              </a:pathLst>
            </a:custGeom>
            <a:noFill/>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021" name="Graphic 1006">
              <a:extLst>
                <a:ext uri="{FF2B5EF4-FFF2-40B4-BE49-F238E27FC236}">
                  <a16:creationId xmlns:a16="http://schemas.microsoft.com/office/drawing/2014/main" id="{7FFE3DDC-C05B-9A8C-D7AE-DC2869453DE7}"/>
                </a:ext>
              </a:extLst>
            </p:cNvPr>
            <p:cNvGrpSpPr/>
            <p:nvPr/>
          </p:nvGrpSpPr>
          <p:grpSpPr>
            <a:xfrm>
              <a:off x="8688492" y="3363199"/>
              <a:ext cx="2501266" cy="1785294"/>
              <a:chOff x="8712115" y="3268296"/>
              <a:chExt cx="2501266" cy="1785294"/>
            </a:xfrm>
            <a:noFill/>
          </p:grpSpPr>
          <p:sp>
            <p:nvSpPr>
              <p:cNvPr id="1022" name="Freeform 1021">
                <a:extLst>
                  <a:ext uri="{FF2B5EF4-FFF2-40B4-BE49-F238E27FC236}">
                    <a16:creationId xmlns:a16="http://schemas.microsoft.com/office/drawing/2014/main" id="{946E84D8-DF3F-84A9-4033-7E0200DF9CF3}"/>
                  </a:ext>
                </a:extLst>
              </p:cNvPr>
              <p:cNvSpPr/>
              <p:nvPr/>
            </p:nvSpPr>
            <p:spPr>
              <a:xfrm>
                <a:off x="8712115" y="3268296"/>
                <a:ext cx="2499477" cy="1763498"/>
              </a:xfrm>
              <a:custGeom>
                <a:avLst/>
                <a:gdLst>
                  <a:gd name="connsiteX0" fmla="*/ 0 w 2499477"/>
                  <a:gd name="connsiteY0" fmla="*/ 0 h 1763498"/>
                  <a:gd name="connsiteX1" fmla="*/ 0 w 2499477"/>
                  <a:gd name="connsiteY1" fmla="*/ 88595 h 1763498"/>
                  <a:gd name="connsiteX2" fmla="*/ 4283 w 2499477"/>
                  <a:gd name="connsiteY2" fmla="*/ 88595 h 1763498"/>
                  <a:gd name="connsiteX3" fmla="*/ 4283 w 2499477"/>
                  <a:gd name="connsiteY3" fmla="*/ 127091 h 1763498"/>
                  <a:gd name="connsiteX4" fmla="*/ 11603 w 2499477"/>
                  <a:gd name="connsiteY4" fmla="*/ 127091 h 1763498"/>
                  <a:gd name="connsiteX5" fmla="*/ 11603 w 2499477"/>
                  <a:gd name="connsiteY5" fmla="*/ 153388 h 1763498"/>
                  <a:gd name="connsiteX6" fmla="*/ 17079 w 2499477"/>
                  <a:gd name="connsiteY6" fmla="*/ 153388 h 1763498"/>
                  <a:gd name="connsiteX7" fmla="*/ 17079 w 2499477"/>
                  <a:gd name="connsiteY7" fmla="*/ 182721 h 1763498"/>
                  <a:gd name="connsiteX8" fmla="*/ 21959 w 2499477"/>
                  <a:gd name="connsiteY8" fmla="*/ 182721 h 1763498"/>
                  <a:gd name="connsiteX9" fmla="*/ 21959 w 2499477"/>
                  <a:gd name="connsiteY9" fmla="*/ 208367 h 1763498"/>
                  <a:gd name="connsiteX10" fmla="*/ 27489 w 2499477"/>
                  <a:gd name="connsiteY10" fmla="*/ 208367 h 1763498"/>
                  <a:gd name="connsiteX11" fmla="*/ 27489 w 2499477"/>
                  <a:gd name="connsiteY11" fmla="*/ 227940 h 1763498"/>
                  <a:gd name="connsiteX12" fmla="*/ 32369 w 2499477"/>
                  <a:gd name="connsiteY12" fmla="*/ 227940 h 1763498"/>
                  <a:gd name="connsiteX13" fmla="*/ 32369 w 2499477"/>
                  <a:gd name="connsiteY13" fmla="*/ 243826 h 1763498"/>
                  <a:gd name="connsiteX14" fmla="*/ 39093 w 2499477"/>
                  <a:gd name="connsiteY14" fmla="*/ 243826 h 1763498"/>
                  <a:gd name="connsiteX15" fmla="*/ 39093 w 2499477"/>
                  <a:gd name="connsiteY15" fmla="*/ 275599 h 1763498"/>
                  <a:gd name="connsiteX16" fmla="*/ 45219 w 2499477"/>
                  <a:gd name="connsiteY16" fmla="*/ 275599 h 1763498"/>
                  <a:gd name="connsiteX17" fmla="*/ 45219 w 2499477"/>
                  <a:gd name="connsiteY17" fmla="*/ 289046 h 1763498"/>
                  <a:gd name="connsiteX18" fmla="*/ 50696 w 2499477"/>
                  <a:gd name="connsiteY18" fmla="*/ 289046 h 1763498"/>
                  <a:gd name="connsiteX19" fmla="*/ 50696 w 2499477"/>
                  <a:gd name="connsiteY19" fmla="*/ 303089 h 1763498"/>
                  <a:gd name="connsiteX20" fmla="*/ 58015 w 2499477"/>
                  <a:gd name="connsiteY20" fmla="*/ 303089 h 1763498"/>
                  <a:gd name="connsiteX21" fmla="*/ 58015 w 2499477"/>
                  <a:gd name="connsiteY21" fmla="*/ 311059 h 1763498"/>
                  <a:gd name="connsiteX22" fmla="*/ 69022 w 2499477"/>
                  <a:gd name="connsiteY22" fmla="*/ 311059 h 1763498"/>
                  <a:gd name="connsiteX23" fmla="*/ 69022 w 2499477"/>
                  <a:gd name="connsiteY23" fmla="*/ 317782 h 1763498"/>
                  <a:gd name="connsiteX24" fmla="*/ 75149 w 2499477"/>
                  <a:gd name="connsiteY24" fmla="*/ 317782 h 1763498"/>
                  <a:gd name="connsiteX25" fmla="*/ 75149 w 2499477"/>
                  <a:gd name="connsiteY25" fmla="*/ 323855 h 1763498"/>
                  <a:gd name="connsiteX26" fmla="*/ 80028 w 2499477"/>
                  <a:gd name="connsiteY26" fmla="*/ 323855 h 1763498"/>
                  <a:gd name="connsiteX27" fmla="*/ 80028 w 2499477"/>
                  <a:gd name="connsiteY27" fmla="*/ 331445 h 1763498"/>
                  <a:gd name="connsiteX28" fmla="*/ 84746 w 2499477"/>
                  <a:gd name="connsiteY28" fmla="*/ 331445 h 1763498"/>
                  <a:gd name="connsiteX29" fmla="*/ 84746 w 2499477"/>
                  <a:gd name="connsiteY29" fmla="*/ 340717 h 1763498"/>
                  <a:gd name="connsiteX30" fmla="*/ 89951 w 2499477"/>
                  <a:gd name="connsiteY30" fmla="*/ 340717 h 1763498"/>
                  <a:gd name="connsiteX31" fmla="*/ 89951 w 2499477"/>
                  <a:gd name="connsiteY31" fmla="*/ 346627 h 1763498"/>
                  <a:gd name="connsiteX32" fmla="*/ 95156 w 2499477"/>
                  <a:gd name="connsiteY32" fmla="*/ 346627 h 1763498"/>
                  <a:gd name="connsiteX33" fmla="*/ 95156 w 2499477"/>
                  <a:gd name="connsiteY33" fmla="*/ 356007 h 1763498"/>
                  <a:gd name="connsiteX34" fmla="*/ 99764 w 2499477"/>
                  <a:gd name="connsiteY34" fmla="*/ 356007 h 1763498"/>
                  <a:gd name="connsiteX35" fmla="*/ 99764 w 2499477"/>
                  <a:gd name="connsiteY35" fmla="*/ 361537 h 1763498"/>
                  <a:gd name="connsiteX36" fmla="*/ 103994 w 2499477"/>
                  <a:gd name="connsiteY36" fmla="*/ 361537 h 1763498"/>
                  <a:gd name="connsiteX37" fmla="*/ 103994 w 2499477"/>
                  <a:gd name="connsiteY37" fmla="*/ 370104 h 1763498"/>
                  <a:gd name="connsiteX38" fmla="*/ 110066 w 2499477"/>
                  <a:gd name="connsiteY38" fmla="*/ 370104 h 1763498"/>
                  <a:gd name="connsiteX39" fmla="*/ 110066 w 2499477"/>
                  <a:gd name="connsiteY39" fmla="*/ 376014 h 1763498"/>
                  <a:gd name="connsiteX40" fmla="*/ 114838 w 2499477"/>
                  <a:gd name="connsiteY40" fmla="*/ 376014 h 1763498"/>
                  <a:gd name="connsiteX41" fmla="*/ 114838 w 2499477"/>
                  <a:gd name="connsiteY41" fmla="*/ 386804 h 1763498"/>
                  <a:gd name="connsiteX42" fmla="*/ 120314 w 2499477"/>
                  <a:gd name="connsiteY42" fmla="*/ 386804 h 1763498"/>
                  <a:gd name="connsiteX43" fmla="*/ 120314 w 2499477"/>
                  <a:gd name="connsiteY43" fmla="*/ 391738 h 1763498"/>
                  <a:gd name="connsiteX44" fmla="*/ 120314 w 2499477"/>
                  <a:gd name="connsiteY44" fmla="*/ 396509 h 1763498"/>
                  <a:gd name="connsiteX45" fmla="*/ 125085 w 2499477"/>
                  <a:gd name="connsiteY45" fmla="*/ 396509 h 1763498"/>
                  <a:gd name="connsiteX46" fmla="*/ 125085 w 2499477"/>
                  <a:gd name="connsiteY46" fmla="*/ 402419 h 1763498"/>
                  <a:gd name="connsiteX47" fmla="*/ 134899 w 2499477"/>
                  <a:gd name="connsiteY47" fmla="*/ 402419 h 1763498"/>
                  <a:gd name="connsiteX48" fmla="*/ 134899 w 2499477"/>
                  <a:gd name="connsiteY48" fmla="*/ 407462 h 1763498"/>
                  <a:gd name="connsiteX49" fmla="*/ 140971 w 2499477"/>
                  <a:gd name="connsiteY49" fmla="*/ 407462 h 1763498"/>
                  <a:gd name="connsiteX50" fmla="*/ 140971 w 2499477"/>
                  <a:gd name="connsiteY50" fmla="*/ 412829 h 1763498"/>
                  <a:gd name="connsiteX51" fmla="*/ 149809 w 2499477"/>
                  <a:gd name="connsiteY51" fmla="*/ 412829 h 1763498"/>
                  <a:gd name="connsiteX52" fmla="*/ 149809 w 2499477"/>
                  <a:gd name="connsiteY52" fmla="*/ 422264 h 1763498"/>
                  <a:gd name="connsiteX53" fmla="*/ 156695 w 2499477"/>
                  <a:gd name="connsiteY53" fmla="*/ 422264 h 1763498"/>
                  <a:gd name="connsiteX54" fmla="*/ 161358 w 2499477"/>
                  <a:gd name="connsiteY54" fmla="*/ 422264 h 1763498"/>
                  <a:gd name="connsiteX55" fmla="*/ 161358 w 2499477"/>
                  <a:gd name="connsiteY55" fmla="*/ 427469 h 1763498"/>
                  <a:gd name="connsiteX56" fmla="*/ 161358 w 2499477"/>
                  <a:gd name="connsiteY56" fmla="*/ 432674 h 1763498"/>
                  <a:gd name="connsiteX57" fmla="*/ 165696 w 2499477"/>
                  <a:gd name="connsiteY57" fmla="*/ 432674 h 1763498"/>
                  <a:gd name="connsiteX58" fmla="*/ 165696 w 2499477"/>
                  <a:gd name="connsiteY58" fmla="*/ 436849 h 1763498"/>
                  <a:gd name="connsiteX59" fmla="*/ 170196 w 2499477"/>
                  <a:gd name="connsiteY59" fmla="*/ 436849 h 1763498"/>
                  <a:gd name="connsiteX60" fmla="*/ 170196 w 2499477"/>
                  <a:gd name="connsiteY60" fmla="*/ 447151 h 1763498"/>
                  <a:gd name="connsiteX61" fmla="*/ 174859 w 2499477"/>
                  <a:gd name="connsiteY61" fmla="*/ 447151 h 1763498"/>
                  <a:gd name="connsiteX62" fmla="*/ 176811 w 2499477"/>
                  <a:gd name="connsiteY62" fmla="*/ 447151 h 1763498"/>
                  <a:gd name="connsiteX63" fmla="*/ 176811 w 2499477"/>
                  <a:gd name="connsiteY63" fmla="*/ 454579 h 1763498"/>
                  <a:gd name="connsiteX64" fmla="*/ 182016 w 2499477"/>
                  <a:gd name="connsiteY64" fmla="*/ 454579 h 1763498"/>
                  <a:gd name="connsiteX65" fmla="*/ 182016 w 2499477"/>
                  <a:gd name="connsiteY65" fmla="*/ 457669 h 1763498"/>
                  <a:gd name="connsiteX66" fmla="*/ 187384 w 2499477"/>
                  <a:gd name="connsiteY66" fmla="*/ 457669 h 1763498"/>
                  <a:gd name="connsiteX67" fmla="*/ 187384 w 2499477"/>
                  <a:gd name="connsiteY67" fmla="*/ 464989 h 1763498"/>
                  <a:gd name="connsiteX68" fmla="*/ 190745 w 2499477"/>
                  <a:gd name="connsiteY68" fmla="*/ 464989 h 1763498"/>
                  <a:gd name="connsiteX69" fmla="*/ 190745 w 2499477"/>
                  <a:gd name="connsiteY69" fmla="*/ 469218 h 1763498"/>
                  <a:gd name="connsiteX70" fmla="*/ 197035 w 2499477"/>
                  <a:gd name="connsiteY70" fmla="*/ 469218 h 1763498"/>
                  <a:gd name="connsiteX71" fmla="*/ 197035 w 2499477"/>
                  <a:gd name="connsiteY71" fmla="*/ 482990 h 1763498"/>
                  <a:gd name="connsiteX72" fmla="*/ 212921 w 2499477"/>
                  <a:gd name="connsiteY72" fmla="*/ 482990 h 1763498"/>
                  <a:gd name="connsiteX73" fmla="*/ 212921 w 2499477"/>
                  <a:gd name="connsiteY73" fmla="*/ 489713 h 1763498"/>
                  <a:gd name="connsiteX74" fmla="*/ 216716 w 2499477"/>
                  <a:gd name="connsiteY74" fmla="*/ 489713 h 1763498"/>
                  <a:gd name="connsiteX75" fmla="*/ 216716 w 2499477"/>
                  <a:gd name="connsiteY75" fmla="*/ 494484 h 1763498"/>
                  <a:gd name="connsiteX76" fmla="*/ 222084 w 2499477"/>
                  <a:gd name="connsiteY76" fmla="*/ 494484 h 1763498"/>
                  <a:gd name="connsiteX77" fmla="*/ 222084 w 2499477"/>
                  <a:gd name="connsiteY77" fmla="*/ 500123 h 1763498"/>
                  <a:gd name="connsiteX78" fmla="*/ 227127 w 2499477"/>
                  <a:gd name="connsiteY78" fmla="*/ 500123 h 1763498"/>
                  <a:gd name="connsiteX79" fmla="*/ 227127 w 2499477"/>
                  <a:gd name="connsiteY79" fmla="*/ 505491 h 1763498"/>
                  <a:gd name="connsiteX80" fmla="*/ 231898 w 2499477"/>
                  <a:gd name="connsiteY80" fmla="*/ 505491 h 1763498"/>
                  <a:gd name="connsiteX81" fmla="*/ 231898 w 2499477"/>
                  <a:gd name="connsiteY81" fmla="*/ 509829 h 1763498"/>
                  <a:gd name="connsiteX82" fmla="*/ 237700 w 2499477"/>
                  <a:gd name="connsiteY82" fmla="*/ 509829 h 1763498"/>
                  <a:gd name="connsiteX83" fmla="*/ 237700 w 2499477"/>
                  <a:gd name="connsiteY83" fmla="*/ 514058 h 1763498"/>
                  <a:gd name="connsiteX84" fmla="*/ 243176 w 2499477"/>
                  <a:gd name="connsiteY84" fmla="*/ 514058 h 1763498"/>
                  <a:gd name="connsiteX85" fmla="*/ 243176 w 2499477"/>
                  <a:gd name="connsiteY85" fmla="*/ 519371 h 1763498"/>
                  <a:gd name="connsiteX86" fmla="*/ 252610 w 2499477"/>
                  <a:gd name="connsiteY86" fmla="*/ 519371 h 1763498"/>
                  <a:gd name="connsiteX87" fmla="*/ 252610 w 2499477"/>
                  <a:gd name="connsiteY87" fmla="*/ 523167 h 1763498"/>
                  <a:gd name="connsiteX88" fmla="*/ 257815 w 2499477"/>
                  <a:gd name="connsiteY88" fmla="*/ 523167 h 1763498"/>
                  <a:gd name="connsiteX89" fmla="*/ 257815 w 2499477"/>
                  <a:gd name="connsiteY89" fmla="*/ 529239 h 1763498"/>
                  <a:gd name="connsiteX90" fmla="*/ 266816 w 2499477"/>
                  <a:gd name="connsiteY90" fmla="*/ 529239 h 1763498"/>
                  <a:gd name="connsiteX91" fmla="*/ 266816 w 2499477"/>
                  <a:gd name="connsiteY91" fmla="*/ 534444 h 1763498"/>
                  <a:gd name="connsiteX92" fmla="*/ 272671 w 2499477"/>
                  <a:gd name="connsiteY92" fmla="*/ 534444 h 1763498"/>
                  <a:gd name="connsiteX93" fmla="*/ 272671 w 2499477"/>
                  <a:gd name="connsiteY93" fmla="*/ 539487 h 1763498"/>
                  <a:gd name="connsiteX94" fmla="*/ 287148 w 2499477"/>
                  <a:gd name="connsiteY94" fmla="*/ 539487 h 1763498"/>
                  <a:gd name="connsiteX95" fmla="*/ 287148 w 2499477"/>
                  <a:gd name="connsiteY95" fmla="*/ 548921 h 1763498"/>
                  <a:gd name="connsiteX96" fmla="*/ 299402 w 2499477"/>
                  <a:gd name="connsiteY96" fmla="*/ 548921 h 1763498"/>
                  <a:gd name="connsiteX97" fmla="*/ 299402 w 2499477"/>
                  <a:gd name="connsiteY97" fmla="*/ 554397 h 1763498"/>
                  <a:gd name="connsiteX98" fmla="*/ 304173 w 2499477"/>
                  <a:gd name="connsiteY98" fmla="*/ 554397 h 1763498"/>
                  <a:gd name="connsiteX99" fmla="*/ 304173 w 2499477"/>
                  <a:gd name="connsiteY99" fmla="*/ 560145 h 1763498"/>
                  <a:gd name="connsiteX100" fmla="*/ 310625 w 2499477"/>
                  <a:gd name="connsiteY100" fmla="*/ 560145 h 1763498"/>
                  <a:gd name="connsiteX101" fmla="*/ 313770 w 2499477"/>
                  <a:gd name="connsiteY101" fmla="*/ 560145 h 1763498"/>
                  <a:gd name="connsiteX102" fmla="*/ 313770 w 2499477"/>
                  <a:gd name="connsiteY102" fmla="*/ 564916 h 1763498"/>
                  <a:gd name="connsiteX103" fmla="*/ 313770 w 2499477"/>
                  <a:gd name="connsiteY103" fmla="*/ 584218 h 1763498"/>
                  <a:gd name="connsiteX104" fmla="*/ 318541 w 2499477"/>
                  <a:gd name="connsiteY104" fmla="*/ 584218 h 1763498"/>
                  <a:gd name="connsiteX105" fmla="*/ 318541 w 2499477"/>
                  <a:gd name="connsiteY105" fmla="*/ 595279 h 1763498"/>
                  <a:gd name="connsiteX106" fmla="*/ 329222 w 2499477"/>
                  <a:gd name="connsiteY106" fmla="*/ 595279 h 1763498"/>
                  <a:gd name="connsiteX107" fmla="*/ 329222 w 2499477"/>
                  <a:gd name="connsiteY107" fmla="*/ 610081 h 1763498"/>
                  <a:gd name="connsiteX108" fmla="*/ 340175 w 2499477"/>
                  <a:gd name="connsiteY108" fmla="*/ 610081 h 1763498"/>
                  <a:gd name="connsiteX109" fmla="*/ 340175 w 2499477"/>
                  <a:gd name="connsiteY109" fmla="*/ 616370 h 1763498"/>
                  <a:gd name="connsiteX110" fmla="*/ 343970 w 2499477"/>
                  <a:gd name="connsiteY110" fmla="*/ 616370 h 1763498"/>
                  <a:gd name="connsiteX111" fmla="*/ 343970 w 2499477"/>
                  <a:gd name="connsiteY111" fmla="*/ 620762 h 1763498"/>
                  <a:gd name="connsiteX112" fmla="*/ 349989 w 2499477"/>
                  <a:gd name="connsiteY112" fmla="*/ 620762 h 1763498"/>
                  <a:gd name="connsiteX113" fmla="*/ 354218 w 2499477"/>
                  <a:gd name="connsiteY113" fmla="*/ 620762 h 1763498"/>
                  <a:gd name="connsiteX114" fmla="*/ 354218 w 2499477"/>
                  <a:gd name="connsiteY114" fmla="*/ 626076 h 1763498"/>
                  <a:gd name="connsiteX115" fmla="*/ 365224 w 2499477"/>
                  <a:gd name="connsiteY115" fmla="*/ 626076 h 1763498"/>
                  <a:gd name="connsiteX116" fmla="*/ 365224 w 2499477"/>
                  <a:gd name="connsiteY116" fmla="*/ 631986 h 1763498"/>
                  <a:gd name="connsiteX117" fmla="*/ 371948 w 2499477"/>
                  <a:gd name="connsiteY117" fmla="*/ 631986 h 1763498"/>
                  <a:gd name="connsiteX118" fmla="*/ 371948 w 2499477"/>
                  <a:gd name="connsiteY118" fmla="*/ 636486 h 1763498"/>
                  <a:gd name="connsiteX119" fmla="*/ 385720 w 2499477"/>
                  <a:gd name="connsiteY119" fmla="*/ 636486 h 1763498"/>
                  <a:gd name="connsiteX120" fmla="*/ 385720 w 2499477"/>
                  <a:gd name="connsiteY120" fmla="*/ 642125 h 1763498"/>
                  <a:gd name="connsiteX121" fmla="*/ 390762 w 2499477"/>
                  <a:gd name="connsiteY121" fmla="*/ 642125 h 1763498"/>
                  <a:gd name="connsiteX122" fmla="*/ 390762 w 2499477"/>
                  <a:gd name="connsiteY122" fmla="*/ 647601 h 1763498"/>
                  <a:gd name="connsiteX123" fmla="*/ 395425 w 2499477"/>
                  <a:gd name="connsiteY123" fmla="*/ 647601 h 1763498"/>
                  <a:gd name="connsiteX124" fmla="*/ 395425 w 2499477"/>
                  <a:gd name="connsiteY124" fmla="*/ 652264 h 1763498"/>
                  <a:gd name="connsiteX125" fmla="*/ 405672 w 2499477"/>
                  <a:gd name="connsiteY125" fmla="*/ 652264 h 1763498"/>
                  <a:gd name="connsiteX126" fmla="*/ 405672 w 2499477"/>
                  <a:gd name="connsiteY126" fmla="*/ 672054 h 1763498"/>
                  <a:gd name="connsiteX127" fmla="*/ 412179 w 2499477"/>
                  <a:gd name="connsiteY127" fmla="*/ 672054 h 1763498"/>
                  <a:gd name="connsiteX128" fmla="*/ 412179 w 2499477"/>
                  <a:gd name="connsiteY128" fmla="*/ 676988 h 1763498"/>
                  <a:gd name="connsiteX129" fmla="*/ 416516 w 2499477"/>
                  <a:gd name="connsiteY129" fmla="*/ 676988 h 1763498"/>
                  <a:gd name="connsiteX130" fmla="*/ 416516 w 2499477"/>
                  <a:gd name="connsiteY130" fmla="*/ 683007 h 1763498"/>
                  <a:gd name="connsiteX131" fmla="*/ 420583 w 2499477"/>
                  <a:gd name="connsiteY131" fmla="*/ 683007 h 1763498"/>
                  <a:gd name="connsiteX132" fmla="*/ 420583 w 2499477"/>
                  <a:gd name="connsiteY132" fmla="*/ 696670 h 1763498"/>
                  <a:gd name="connsiteX133" fmla="*/ 426764 w 2499477"/>
                  <a:gd name="connsiteY133" fmla="*/ 696670 h 1763498"/>
                  <a:gd name="connsiteX134" fmla="*/ 426764 w 2499477"/>
                  <a:gd name="connsiteY134" fmla="*/ 703664 h 1763498"/>
                  <a:gd name="connsiteX135" fmla="*/ 431427 w 2499477"/>
                  <a:gd name="connsiteY135" fmla="*/ 703664 h 1763498"/>
                  <a:gd name="connsiteX136" fmla="*/ 431427 w 2499477"/>
                  <a:gd name="connsiteY136" fmla="*/ 707893 h 1763498"/>
                  <a:gd name="connsiteX137" fmla="*/ 436307 w 2499477"/>
                  <a:gd name="connsiteY137" fmla="*/ 707893 h 1763498"/>
                  <a:gd name="connsiteX138" fmla="*/ 436307 w 2499477"/>
                  <a:gd name="connsiteY138" fmla="*/ 713099 h 1763498"/>
                  <a:gd name="connsiteX139" fmla="*/ 445741 w 2499477"/>
                  <a:gd name="connsiteY139" fmla="*/ 713099 h 1763498"/>
                  <a:gd name="connsiteX140" fmla="*/ 445741 w 2499477"/>
                  <a:gd name="connsiteY140" fmla="*/ 722262 h 1763498"/>
                  <a:gd name="connsiteX141" fmla="*/ 455717 w 2499477"/>
                  <a:gd name="connsiteY141" fmla="*/ 722262 h 1763498"/>
                  <a:gd name="connsiteX142" fmla="*/ 455717 w 2499477"/>
                  <a:gd name="connsiteY142" fmla="*/ 733377 h 1763498"/>
                  <a:gd name="connsiteX143" fmla="*/ 465694 w 2499477"/>
                  <a:gd name="connsiteY143" fmla="*/ 733377 h 1763498"/>
                  <a:gd name="connsiteX144" fmla="*/ 465694 w 2499477"/>
                  <a:gd name="connsiteY144" fmla="*/ 738853 h 1763498"/>
                  <a:gd name="connsiteX145" fmla="*/ 477676 w 2499477"/>
                  <a:gd name="connsiteY145" fmla="*/ 738853 h 1763498"/>
                  <a:gd name="connsiteX146" fmla="*/ 477676 w 2499477"/>
                  <a:gd name="connsiteY146" fmla="*/ 744329 h 1763498"/>
                  <a:gd name="connsiteX147" fmla="*/ 483261 w 2499477"/>
                  <a:gd name="connsiteY147" fmla="*/ 744329 h 1763498"/>
                  <a:gd name="connsiteX148" fmla="*/ 483261 w 2499477"/>
                  <a:gd name="connsiteY148" fmla="*/ 750076 h 1763498"/>
                  <a:gd name="connsiteX149" fmla="*/ 487219 w 2499477"/>
                  <a:gd name="connsiteY149" fmla="*/ 750076 h 1763498"/>
                  <a:gd name="connsiteX150" fmla="*/ 487219 w 2499477"/>
                  <a:gd name="connsiteY150" fmla="*/ 755010 h 1763498"/>
                  <a:gd name="connsiteX151" fmla="*/ 492858 w 2499477"/>
                  <a:gd name="connsiteY151" fmla="*/ 755010 h 1763498"/>
                  <a:gd name="connsiteX152" fmla="*/ 492858 w 2499477"/>
                  <a:gd name="connsiteY152" fmla="*/ 770734 h 1763498"/>
                  <a:gd name="connsiteX153" fmla="*/ 497466 w 2499477"/>
                  <a:gd name="connsiteY153" fmla="*/ 770734 h 1763498"/>
                  <a:gd name="connsiteX154" fmla="*/ 497466 w 2499477"/>
                  <a:gd name="connsiteY154" fmla="*/ 774801 h 1763498"/>
                  <a:gd name="connsiteX155" fmla="*/ 501967 w 2499477"/>
                  <a:gd name="connsiteY155" fmla="*/ 774801 h 1763498"/>
                  <a:gd name="connsiteX156" fmla="*/ 501967 w 2499477"/>
                  <a:gd name="connsiteY156" fmla="*/ 780114 h 1763498"/>
                  <a:gd name="connsiteX157" fmla="*/ 514817 w 2499477"/>
                  <a:gd name="connsiteY157" fmla="*/ 780114 h 1763498"/>
                  <a:gd name="connsiteX158" fmla="*/ 514817 w 2499477"/>
                  <a:gd name="connsiteY158" fmla="*/ 790687 h 1763498"/>
                  <a:gd name="connsiteX159" fmla="*/ 518124 w 2499477"/>
                  <a:gd name="connsiteY159" fmla="*/ 790687 h 1763498"/>
                  <a:gd name="connsiteX160" fmla="*/ 518124 w 2499477"/>
                  <a:gd name="connsiteY160" fmla="*/ 807224 h 1763498"/>
                  <a:gd name="connsiteX161" fmla="*/ 518124 w 2499477"/>
                  <a:gd name="connsiteY161" fmla="*/ 829725 h 1763498"/>
                  <a:gd name="connsiteX162" fmla="*/ 537969 w 2499477"/>
                  <a:gd name="connsiteY162" fmla="*/ 829725 h 1763498"/>
                  <a:gd name="connsiteX163" fmla="*/ 537969 w 2499477"/>
                  <a:gd name="connsiteY163" fmla="*/ 847943 h 1763498"/>
                  <a:gd name="connsiteX164" fmla="*/ 559169 w 2499477"/>
                  <a:gd name="connsiteY164" fmla="*/ 847943 h 1763498"/>
                  <a:gd name="connsiteX165" fmla="*/ 559169 w 2499477"/>
                  <a:gd name="connsiteY165" fmla="*/ 858516 h 1763498"/>
                  <a:gd name="connsiteX166" fmla="*/ 578362 w 2499477"/>
                  <a:gd name="connsiteY166" fmla="*/ 858516 h 1763498"/>
                  <a:gd name="connsiteX167" fmla="*/ 578362 w 2499477"/>
                  <a:gd name="connsiteY167" fmla="*/ 872450 h 1763498"/>
                  <a:gd name="connsiteX168" fmla="*/ 594899 w 2499477"/>
                  <a:gd name="connsiteY168" fmla="*/ 872450 h 1763498"/>
                  <a:gd name="connsiteX169" fmla="*/ 594899 w 2499477"/>
                  <a:gd name="connsiteY169" fmla="*/ 889313 h 1763498"/>
                  <a:gd name="connsiteX170" fmla="*/ 611111 w 2499477"/>
                  <a:gd name="connsiteY170" fmla="*/ 889313 h 1763498"/>
                  <a:gd name="connsiteX171" fmla="*/ 611111 w 2499477"/>
                  <a:gd name="connsiteY171" fmla="*/ 897229 h 1763498"/>
                  <a:gd name="connsiteX172" fmla="*/ 620708 w 2499477"/>
                  <a:gd name="connsiteY172" fmla="*/ 897229 h 1763498"/>
                  <a:gd name="connsiteX173" fmla="*/ 620708 w 2499477"/>
                  <a:gd name="connsiteY173" fmla="*/ 909157 h 1763498"/>
                  <a:gd name="connsiteX174" fmla="*/ 639577 w 2499477"/>
                  <a:gd name="connsiteY174" fmla="*/ 909157 h 1763498"/>
                  <a:gd name="connsiteX175" fmla="*/ 639577 w 2499477"/>
                  <a:gd name="connsiteY175" fmla="*/ 918754 h 1763498"/>
                  <a:gd name="connsiteX176" fmla="*/ 651830 w 2499477"/>
                  <a:gd name="connsiteY176" fmla="*/ 918754 h 1763498"/>
                  <a:gd name="connsiteX177" fmla="*/ 651830 w 2499477"/>
                  <a:gd name="connsiteY177" fmla="*/ 930032 h 1763498"/>
                  <a:gd name="connsiteX178" fmla="*/ 664030 w 2499477"/>
                  <a:gd name="connsiteY178" fmla="*/ 930032 h 1763498"/>
                  <a:gd name="connsiteX179" fmla="*/ 664030 w 2499477"/>
                  <a:gd name="connsiteY179" fmla="*/ 943261 h 1763498"/>
                  <a:gd name="connsiteX180" fmla="*/ 673301 w 2499477"/>
                  <a:gd name="connsiteY180" fmla="*/ 943261 h 1763498"/>
                  <a:gd name="connsiteX181" fmla="*/ 673301 w 2499477"/>
                  <a:gd name="connsiteY181" fmla="*/ 953184 h 1763498"/>
                  <a:gd name="connsiteX182" fmla="*/ 687236 w 2499477"/>
                  <a:gd name="connsiteY182" fmla="*/ 953184 h 1763498"/>
                  <a:gd name="connsiteX183" fmla="*/ 687236 w 2499477"/>
                  <a:gd name="connsiteY183" fmla="*/ 958823 h 1763498"/>
                  <a:gd name="connsiteX184" fmla="*/ 693525 w 2499477"/>
                  <a:gd name="connsiteY184" fmla="*/ 958823 h 1763498"/>
                  <a:gd name="connsiteX185" fmla="*/ 693525 w 2499477"/>
                  <a:gd name="connsiteY185" fmla="*/ 972703 h 1763498"/>
                  <a:gd name="connsiteX186" fmla="*/ 708382 w 2499477"/>
                  <a:gd name="connsiteY186" fmla="*/ 972703 h 1763498"/>
                  <a:gd name="connsiteX187" fmla="*/ 708382 w 2499477"/>
                  <a:gd name="connsiteY187" fmla="*/ 986583 h 1763498"/>
                  <a:gd name="connsiteX188" fmla="*/ 720635 w 2499477"/>
                  <a:gd name="connsiteY188" fmla="*/ 986583 h 1763498"/>
                  <a:gd name="connsiteX189" fmla="*/ 720635 w 2499477"/>
                  <a:gd name="connsiteY189" fmla="*/ 999813 h 1763498"/>
                  <a:gd name="connsiteX190" fmla="*/ 736522 w 2499477"/>
                  <a:gd name="connsiteY190" fmla="*/ 999813 h 1763498"/>
                  <a:gd name="connsiteX191" fmla="*/ 736522 w 2499477"/>
                  <a:gd name="connsiteY191" fmla="*/ 1004801 h 1763498"/>
                  <a:gd name="connsiteX192" fmla="*/ 751432 w 2499477"/>
                  <a:gd name="connsiteY192" fmla="*/ 1004801 h 1763498"/>
                  <a:gd name="connsiteX193" fmla="*/ 751432 w 2499477"/>
                  <a:gd name="connsiteY193" fmla="*/ 1027627 h 1763498"/>
                  <a:gd name="connsiteX194" fmla="*/ 764662 w 2499477"/>
                  <a:gd name="connsiteY194" fmla="*/ 1027627 h 1763498"/>
                  <a:gd name="connsiteX195" fmla="*/ 764662 w 2499477"/>
                  <a:gd name="connsiteY195" fmla="*/ 1035218 h 1763498"/>
                  <a:gd name="connsiteX196" fmla="*/ 777891 w 2499477"/>
                  <a:gd name="connsiteY196" fmla="*/ 1035218 h 1763498"/>
                  <a:gd name="connsiteX197" fmla="*/ 777891 w 2499477"/>
                  <a:gd name="connsiteY197" fmla="*/ 1041833 h 1763498"/>
                  <a:gd name="connsiteX198" fmla="*/ 785482 w 2499477"/>
                  <a:gd name="connsiteY198" fmla="*/ 1041833 h 1763498"/>
                  <a:gd name="connsiteX199" fmla="*/ 785482 w 2499477"/>
                  <a:gd name="connsiteY199" fmla="*/ 1051430 h 1763498"/>
                  <a:gd name="connsiteX200" fmla="*/ 790145 w 2499477"/>
                  <a:gd name="connsiteY200" fmla="*/ 1051430 h 1763498"/>
                  <a:gd name="connsiteX201" fmla="*/ 790145 w 2499477"/>
                  <a:gd name="connsiteY201" fmla="*/ 1059075 h 1763498"/>
                  <a:gd name="connsiteX202" fmla="*/ 798061 w 2499477"/>
                  <a:gd name="connsiteY202" fmla="*/ 1059075 h 1763498"/>
                  <a:gd name="connsiteX203" fmla="*/ 798061 w 2499477"/>
                  <a:gd name="connsiteY203" fmla="*/ 1065365 h 1763498"/>
                  <a:gd name="connsiteX204" fmla="*/ 817580 w 2499477"/>
                  <a:gd name="connsiteY204" fmla="*/ 1065365 h 1763498"/>
                  <a:gd name="connsiteX205" fmla="*/ 817580 w 2499477"/>
                  <a:gd name="connsiteY205" fmla="*/ 1082552 h 1763498"/>
                  <a:gd name="connsiteX206" fmla="*/ 840407 w 2499477"/>
                  <a:gd name="connsiteY206" fmla="*/ 1082552 h 1763498"/>
                  <a:gd name="connsiteX207" fmla="*/ 840407 w 2499477"/>
                  <a:gd name="connsiteY207" fmla="*/ 1094481 h 1763498"/>
                  <a:gd name="connsiteX208" fmla="*/ 863559 w 2499477"/>
                  <a:gd name="connsiteY208" fmla="*/ 1094481 h 1763498"/>
                  <a:gd name="connsiteX209" fmla="*/ 863559 w 2499477"/>
                  <a:gd name="connsiteY209" fmla="*/ 1099089 h 1763498"/>
                  <a:gd name="connsiteX210" fmla="*/ 887415 w 2499477"/>
                  <a:gd name="connsiteY210" fmla="*/ 1099089 h 1763498"/>
                  <a:gd name="connsiteX211" fmla="*/ 887415 w 2499477"/>
                  <a:gd name="connsiteY211" fmla="*/ 1108035 h 1763498"/>
                  <a:gd name="connsiteX212" fmla="*/ 908236 w 2499477"/>
                  <a:gd name="connsiteY212" fmla="*/ 1108035 h 1763498"/>
                  <a:gd name="connsiteX213" fmla="*/ 908236 w 2499477"/>
                  <a:gd name="connsiteY213" fmla="*/ 1119259 h 1763498"/>
                  <a:gd name="connsiteX214" fmla="*/ 920489 w 2499477"/>
                  <a:gd name="connsiteY214" fmla="*/ 1119259 h 1763498"/>
                  <a:gd name="connsiteX215" fmla="*/ 920489 w 2499477"/>
                  <a:gd name="connsiteY215" fmla="*/ 1125223 h 1763498"/>
                  <a:gd name="connsiteX216" fmla="*/ 939683 w 2499477"/>
                  <a:gd name="connsiteY216" fmla="*/ 1125223 h 1763498"/>
                  <a:gd name="connsiteX217" fmla="*/ 939683 w 2499477"/>
                  <a:gd name="connsiteY217" fmla="*/ 1144092 h 1763498"/>
                  <a:gd name="connsiteX218" fmla="*/ 961534 w 2499477"/>
                  <a:gd name="connsiteY218" fmla="*/ 1144092 h 1763498"/>
                  <a:gd name="connsiteX219" fmla="*/ 961534 w 2499477"/>
                  <a:gd name="connsiteY219" fmla="*/ 1158297 h 1763498"/>
                  <a:gd name="connsiteX220" fmla="*/ 972106 w 2499477"/>
                  <a:gd name="connsiteY220" fmla="*/ 1158297 h 1763498"/>
                  <a:gd name="connsiteX221" fmla="*/ 972106 w 2499477"/>
                  <a:gd name="connsiteY221" fmla="*/ 1167894 h 1763498"/>
                  <a:gd name="connsiteX222" fmla="*/ 978396 w 2499477"/>
                  <a:gd name="connsiteY222" fmla="*/ 1167894 h 1763498"/>
                  <a:gd name="connsiteX223" fmla="*/ 978396 w 2499477"/>
                  <a:gd name="connsiteY223" fmla="*/ 1181828 h 1763498"/>
                  <a:gd name="connsiteX224" fmla="*/ 978396 w 2499477"/>
                  <a:gd name="connsiteY224" fmla="*/ 1189094 h 1763498"/>
                  <a:gd name="connsiteX225" fmla="*/ 991300 w 2499477"/>
                  <a:gd name="connsiteY225" fmla="*/ 1189094 h 1763498"/>
                  <a:gd name="connsiteX226" fmla="*/ 991300 w 2499477"/>
                  <a:gd name="connsiteY226" fmla="*/ 1199667 h 1763498"/>
                  <a:gd name="connsiteX227" fmla="*/ 1017434 w 2499477"/>
                  <a:gd name="connsiteY227" fmla="*/ 1199667 h 1763498"/>
                  <a:gd name="connsiteX228" fmla="*/ 1017434 w 2499477"/>
                  <a:gd name="connsiteY228" fmla="*/ 1208938 h 1763498"/>
                  <a:gd name="connsiteX229" fmla="*/ 1038634 w 2499477"/>
                  <a:gd name="connsiteY229" fmla="*/ 1208938 h 1763498"/>
                  <a:gd name="connsiteX230" fmla="*/ 1038634 w 2499477"/>
                  <a:gd name="connsiteY230" fmla="*/ 1225150 h 1763498"/>
                  <a:gd name="connsiteX231" fmla="*/ 1049207 w 2499477"/>
                  <a:gd name="connsiteY231" fmla="*/ 1225150 h 1763498"/>
                  <a:gd name="connsiteX232" fmla="*/ 1049207 w 2499477"/>
                  <a:gd name="connsiteY232" fmla="*/ 1249007 h 1763498"/>
                  <a:gd name="connsiteX233" fmla="*/ 1098818 w 2499477"/>
                  <a:gd name="connsiteY233" fmla="*/ 1249007 h 1763498"/>
                  <a:gd name="connsiteX234" fmla="*/ 1098818 w 2499477"/>
                  <a:gd name="connsiteY234" fmla="*/ 1261911 h 1763498"/>
                  <a:gd name="connsiteX235" fmla="*/ 1106463 w 2499477"/>
                  <a:gd name="connsiteY235" fmla="*/ 1261911 h 1763498"/>
                  <a:gd name="connsiteX236" fmla="*/ 1106463 w 2499477"/>
                  <a:gd name="connsiteY236" fmla="*/ 1270803 h 1763498"/>
                  <a:gd name="connsiteX237" fmla="*/ 1134928 w 2499477"/>
                  <a:gd name="connsiteY237" fmla="*/ 1270803 h 1763498"/>
                  <a:gd name="connsiteX238" fmla="*/ 1134928 w 2499477"/>
                  <a:gd name="connsiteY238" fmla="*/ 1285388 h 1763498"/>
                  <a:gd name="connsiteX239" fmla="*/ 1152442 w 2499477"/>
                  <a:gd name="connsiteY239" fmla="*/ 1285388 h 1763498"/>
                  <a:gd name="connsiteX240" fmla="*/ 1152442 w 2499477"/>
                  <a:gd name="connsiteY240" fmla="*/ 1297642 h 1763498"/>
                  <a:gd name="connsiteX241" fmla="*/ 1158080 w 2499477"/>
                  <a:gd name="connsiteY241" fmla="*/ 1297642 h 1763498"/>
                  <a:gd name="connsiteX242" fmla="*/ 1158080 w 2499477"/>
                  <a:gd name="connsiteY242" fmla="*/ 1308215 h 1763498"/>
                  <a:gd name="connsiteX243" fmla="*/ 1164695 w 2499477"/>
                  <a:gd name="connsiteY243" fmla="*/ 1308215 h 1763498"/>
                  <a:gd name="connsiteX244" fmla="*/ 1164695 w 2499477"/>
                  <a:gd name="connsiteY244" fmla="*/ 1315480 h 1763498"/>
                  <a:gd name="connsiteX245" fmla="*/ 1173316 w 2499477"/>
                  <a:gd name="connsiteY245" fmla="*/ 1315480 h 1763498"/>
                  <a:gd name="connsiteX246" fmla="*/ 1173316 w 2499477"/>
                  <a:gd name="connsiteY246" fmla="*/ 1327409 h 1763498"/>
                  <a:gd name="connsiteX247" fmla="*/ 1187196 w 2499477"/>
                  <a:gd name="connsiteY247" fmla="*/ 1327409 h 1763498"/>
                  <a:gd name="connsiteX248" fmla="*/ 1187196 w 2499477"/>
                  <a:gd name="connsiteY248" fmla="*/ 1333698 h 1763498"/>
                  <a:gd name="connsiteX249" fmla="*/ 1193811 w 2499477"/>
                  <a:gd name="connsiteY249" fmla="*/ 1333698 h 1763498"/>
                  <a:gd name="connsiteX250" fmla="*/ 1193811 w 2499477"/>
                  <a:gd name="connsiteY250" fmla="*/ 1342644 h 1763498"/>
                  <a:gd name="connsiteX251" fmla="*/ 1229542 w 2499477"/>
                  <a:gd name="connsiteY251" fmla="*/ 1342644 h 1763498"/>
                  <a:gd name="connsiteX252" fmla="*/ 1229542 w 2499477"/>
                  <a:gd name="connsiteY252" fmla="*/ 1361838 h 1763498"/>
                  <a:gd name="connsiteX253" fmla="*/ 1242772 w 2499477"/>
                  <a:gd name="connsiteY253" fmla="*/ 1361838 h 1763498"/>
                  <a:gd name="connsiteX254" fmla="*/ 1242772 w 2499477"/>
                  <a:gd name="connsiteY254" fmla="*/ 1382008 h 1763498"/>
                  <a:gd name="connsiteX255" fmla="*/ 1288099 w 2499477"/>
                  <a:gd name="connsiteY255" fmla="*/ 1382008 h 1763498"/>
                  <a:gd name="connsiteX256" fmla="*/ 1288099 w 2499477"/>
                  <a:gd name="connsiteY256" fmla="*/ 1413781 h 1763498"/>
                  <a:gd name="connsiteX257" fmla="*/ 1298347 w 2499477"/>
                  <a:gd name="connsiteY257" fmla="*/ 1413781 h 1763498"/>
                  <a:gd name="connsiteX258" fmla="*/ 1298347 w 2499477"/>
                  <a:gd name="connsiteY258" fmla="*/ 1419040 h 1763498"/>
                  <a:gd name="connsiteX259" fmla="*/ 1303986 w 2499477"/>
                  <a:gd name="connsiteY259" fmla="*/ 1419040 h 1763498"/>
                  <a:gd name="connsiteX260" fmla="*/ 1303986 w 2499477"/>
                  <a:gd name="connsiteY260" fmla="*/ 1429016 h 1763498"/>
                  <a:gd name="connsiteX261" fmla="*/ 1330120 w 2499477"/>
                  <a:gd name="connsiteY261" fmla="*/ 1429016 h 1763498"/>
                  <a:gd name="connsiteX262" fmla="*/ 1330120 w 2499477"/>
                  <a:gd name="connsiteY262" fmla="*/ 1437909 h 1763498"/>
                  <a:gd name="connsiteX263" fmla="*/ 1343675 w 2499477"/>
                  <a:gd name="connsiteY263" fmla="*/ 1437909 h 1763498"/>
                  <a:gd name="connsiteX264" fmla="*/ 1343675 w 2499477"/>
                  <a:gd name="connsiteY264" fmla="*/ 1448536 h 1763498"/>
                  <a:gd name="connsiteX265" fmla="*/ 1390033 w 2499477"/>
                  <a:gd name="connsiteY265" fmla="*/ 1448536 h 1763498"/>
                  <a:gd name="connsiteX266" fmla="*/ 1390033 w 2499477"/>
                  <a:gd name="connsiteY266" fmla="*/ 1464747 h 1763498"/>
                  <a:gd name="connsiteX267" fmla="*/ 1406570 w 2499477"/>
                  <a:gd name="connsiteY267" fmla="*/ 1464747 h 1763498"/>
                  <a:gd name="connsiteX268" fmla="*/ 1406570 w 2499477"/>
                  <a:gd name="connsiteY268" fmla="*/ 1474344 h 1763498"/>
                  <a:gd name="connsiteX269" fmla="*/ 1424083 w 2499477"/>
                  <a:gd name="connsiteY269" fmla="*/ 1474344 h 1763498"/>
                  <a:gd name="connsiteX270" fmla="*/ 1424083 w 2499477"/>
                  <a:gd name="connsiteY270" fmla="*/ 1493538 h 1763498"/>
                  <a:gd name="connsiteX271" fmla="*/ 1431728 w 2499477"/>
                  <a:gd name="connsiteY271" fmla="*/ 1493538 h 1763498"/>
                  <a:gd name="connsiteX272" fmla="*/ 1431728 w 2499477"/>
                  <a:gd name="connsiteY272" fmla="*/ 1501129 h 1763498"/>
                  <a:gd name="connsiteX273" fmla="*/ 1437692 w 2499477"/>
                  <a:gd name="connsiteY273" fmla="*/ 1501129 h 1763498"/>
                  <a:gd name="connsiteX274" fmla="*/ 1437692 w 2499477"/>
                  <a:gd name="connsiteY274" fmla="*/ 1514033 h 1763498"/>
                  <a:gd name="connsiteX275" fmla="*/ 1457536 w 2499477"/>
                  <a:gd name="connsiteY275" fmla="*/ 1514033 h 1763498"/>
                  <a:gd name="connsiteX276" fmla="*/ 1457536 w 2499477"/>
                  <a:gd name="connsiteY276" fmla="*/ 1530570 h 1763498"/>
                  <a:gd name="connsiteX277" fmla="*/ 1512136 w 2499477"/>
                  <a:gd name="connsiteY277" fmla="*/ 1530570 h 1763498"/>
                  <a:gd name="connsiteX278" fmla="*/ 1512136 w 2499477"/>
                  <a:gd name="connsiteY278" fmla="*/ 1537510 h 1763498"/>
                  <a:gd name="connsiteX279" fmla="*/ 1518100 w 2499477"/>
                  <a:gd name="connsiteY279" fmla="*/ 1537510 h 1763498"/>
                  <a:gd name="connsiteX280" fmla="*/ 1518100 w 2499477"/>
                  <a:gd name="connsiteY280" fmla="*/ 1546131 h 1763498"/>
                  <a:gd name="connsiteX281" fmla="*/ 1525365 w 2499477"/>
                  <a:gd name="connsiteY281" fmla="*/ 1546131 h 1763498"/>
                  <a:gd name="connsiteX282" fmla="*/ 1525365 w 2499477"/>
                  <a:gd name="connsiteY282" fmla="*/ 1561042 h 1763498"/>
                  <a:gd name="connsiteX283" fmla="*/ 1594495 w 2499477"/>
                  <a:gd name="connsiteY283" fmla="*/ 1561042 h 1763498"/>
                  <a:gd name="connsiteX284" fmla="*/ 1594495 w 2499477"/>
                  <a:gd name="connsiteY284" fmla="*/ 1570259 h 1763498"/>
                  <a:gd name="connsiteX285" fmla="*/ 1619328 w 2499477"/>
                  <a:gd name="connsiteY285" fmla="*/ 1570259 h 1763498"/>
                  <a:gd name="connsiteX286" fmla="*/ 1619328 w 2499477"/>
                  <a:gd name="connsiteY286" fmla="*/ 1578555 h 1763498"/>
                  <a:gd name="connsiteX287" fmla="*/ 1634889 w 2499477"/>
                  <a:gd name="connsiteY287" fmla="*/ 1578555 h 1763498"/>
                  <a:gd name="connsiteX288" fmla="*/ 1634889 w 2499477"/>
                  <a:gd name="connsiteY288" fmla="*/ 1586850 h 1763498"/>
                  <a:gd name="connsiteX289" fmla="*/ 1731184 w 2499477"/>
                  <a:gd name="connsiteY289" fmla="*/ 1586850 h 1763498"/>
                  <a:gd name="connsiteX290" fmla="*/ 1731184 w 2499477"/>
                  <a:gd name="connsiteY290" fmla="*/ 1593140 h 1763498"/>
                  <a:gd name="connsiteX291" fmla="*/ 1737148 w 2499477"/>
                  <a:gd name="connsiteY291" fmla="*/ 1593140 h 1763498"/>
                  <a:gd name="connsiteX292" fmla="*/ 1737148 w 2499477"/>
                  <a:gd name="connsiteY292" fmla="*/ 1598074 h 1763498"/>
                  <a:gd name="connsiteX293" fmla="*/ 1759649 w 2499477"/>
                  <a:gd name="connsiteY293" fmla="*/ 1598074 h 1763498"/>
                  <a:gd name="connsiteX294" fmla="*/ 1759649 w 2499477"/>
                  <a:gd name="connsiteY294" fmla="*/ 1607020 h 1763498"/>
                  <a:gd name="connsiteX295" fmla="*/ 1778463 w 2499477"/>
                  <a:gd name="connsiteY295" fmla="*/ 1607020 h 1763498"/>
                  <a:gd name="connsiteX296" fmla="*/ 1778463 w 2499477"/>
                  <a:gd name="connsiteY296" fmla="*/ 1632178 h 1763498"/>
                  <a:gd name="connsiteX297" fmla="*/ 1829430 w 2499477"/>
                  <a:gd name="connsiteY297" fmla="*/ 1632178 h 1763498"/>
                  <a:gd name="connsiteX298" fmla="*/ 1829430 w 2499477"/>
                  <a:gd name="connsiteY298" fmla="*/ 1642426 h 1763498"/>
                  <a:gd name="connsiteX299" fmla="*/ 1836044 w 2499477"/>
                  <a:gd name="connsiteY299" fmla="*/ 1642426 h 1763498"/>
                  <a:gd name="connsiteX300" fmla="*/ 1836044 w 2499477"/>
                  <a:gd name="connsiteY300" fmla="*/ 1653324 h 1763498"/>
                  <a:gd name="connsiteX301" fmla="*/ 1900566 w 2499477"/>
                  <a:gd name="connsiteY301" fmla="*/ 1653324 h 1763498"/>
                  <a:gd name="connsiteX302" fmla="*/ 1900566 w 2499477"/>
                  <a:gd name="connsiteY302" fmla="*/ 1668234 h 1763498"/>
                  <a:gd name="connsiteX303" fmla="*/ 1951858 w 2499477"/>
                  <a:gd name="connsiteY303" fmla="*/ 1668234 h 1763498"/>
                  <a:gd name="connsiteX304" fmla="*/ 1951858 w 2499477"/>
                  <a:gd name="connsiteY304" fmla="*/ 1683470 h 1763498"/>
                  <a:gd name="connsiteX305" fmla="*/ 1991276 w 2499477"/>
                  <a:gd name="connsiteY305" fmla="*/ 1683470 h 1763498"/>
                  <a:gd name="connsiteX306" fmla="*/ 1991276 w 2499477"/>
                  <a:gd name="connsiteY306" fmla="*/ 1714863 h 1763498"/>
                  <a:gd name="connsiteX307" fmla="*/ 2140489 w 2499477"/>
                  <a:gd name="connsiteY307" fmla="*/ 1714863 h 1763498"/>
                  <a:gd name="connsiteX308" fmla="*/ 2140489 w 2499477"/>
                  <a:gd name="connsiteY308" fmla="*/ 1739696 h 1763498"/>
                  <a:gd name="connsiteX309" fmla="*/ 2175243 w 2499477"/>
                  <a:gd name="connsiteY309" fmla="*/ 1739696 h 1763498"/>
                  <a:gd name="connsiteX310" fmla="*/ 2175243 w 2499477"/>
                  <a:gd name="connsiteY310" fmla="*/ 1763498 h 1763498"/>
                  <a:gd name="connsiteX311" fmla="*/ 2499478 w 2499477"/>
                  <a:gd name="connsiteY311" fmla="*/ 1763498 h 176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2499477" h="1763498">
                    <a:moveTo>
                      <a:pt x="0" y="0"/>
                    </a:moveTo>
                    <a:lnTo>
                      <a:pt x="0" y="88595"/>
                    </a:lnTo>
                    <a:lnTo>
                      <a:pt x="4283" y="88595"/>
                    </a:lnTo>
                    <a:lnTo>
                      <a:pt x="4283" y="127091"/>
                    </a:lnTo>
                    <a:lnTo>
                      <a:pt x="11603" y="127091"/>
                    </a:lnTo>
                    <a:lnTo>
                      <a:pt x="11603" y="153388"/>
                    </a:lnTo>
                    <a:lnTo>
                      <a:pt x="17079" y="153388"/>
                    </a:lnTo>
                    <a:lnTo>
                      <a:pt x="17079" y="182721"/>
                    </a:lnTo>
                    <a:lnTo>
                      <a:pt x="21959" y="182721"/>
                    </a:lnTo>
                    <a:lnTo>
                      <a:pt x="21959" y="208367"/>
                    </a:lnTo>
                    <a:lnTo>
                      <a:pt x="27489" y="208367"/>
                    </a:lnTo>
                    <a:lnTo>
                      <a:pt x="27489" y="227940"/>
                    </a:lnTo>
                    <a:lnTo>
                      <a:pt x="32369" y="227940"/>
                    </a:lnTo>
                    <a:lnTo>
                      <a:pt x="32369" y="243826"/>
                    </a:lnTo>
                    <a:lnTo>
                      <a:pt x="39093" y="243826"/>
                    </a:lnTo>
                    <a:lnTo>
                      <a:pt x="39093" y="275599"/>
                    </a:lnTo>
                    <a:lnTo>
                      <a:pt x="45219" y="275599"/>
                    </a:lnTo>
                    <a:lnTo>
                      <a:pt x="45219" y="289046"/>
                    </a:lnTo>
                    <a:lnTo>
                      <a:pt x="50696" y="289046"/>
                    </a:lnTo>
                    <a:lnTo>
                      <a:pt x="50696" y="303089"/>
                    </a:lnTo>
                    <a:lnTo>
                      <a:pt x="58015" y="303089"/>
                    </a:lnTo>
                    <a:lnTo>
                      <a:pt x="58015" y="311059"/>
                    </a:lnTo>
                    <a:lnTo>
                      <a:pt x="69022" y="311059"/>
                    </a:lnTo>
                    <a:lnTo>
                      <a:pt x="69022" y="317782"/>
                    </a:lnTo>
                    <a:lnTo>
                      <a:pt x="75149" y="317782"/>
                    </a:lnTo>
                    <a:lnTo>
                      <a:pt x="75149" y="323855"/>
                    </a:lnTo>
                    <a:lnTo>
                      <a:pt x="80028" y="323855"/>
                    </a:lnTo>
                    <a:lnTo>
                      <a:pt x="80028" y="331445"/>
                    </a:lnTo>
                    <a:lnTo>
                      <a:pt x="84746" y="331445"/>
                    </a:lnTo>
                    <a:lnTo>
                      <a:pt x="84746" y="340717"/>
                    </a:lnTo>
                    <a:lnTo>
                      <a:pt x="89951" y="340717"/>
                    </a:lnTo>
                    <a:lnTo>
                      <a:pt x="89951" y="346627"/>
                    </a:lnTo>
                    <a:lnTo>
                      <a:pt x="95156" y="346627"/>
                    </a:lnTo>
                    <a:lnTo>
                      <a:pt x="95156" y="356007"/>
                    </a:lnTo>
                    <a:lnTo>
                      <a:pt x="99764" y="356007"/>
                    </a:lnTo>
                    <a:lnTo>
                      <a:pt x="99764" y="361537"/>
                    </a:lnTo>
                    <a:lnTo>
                      <a:pt x="103994" y="361537"/>
                    </a:lnTo>
                    <a:lnTo>
                      <a:pt x="103994" y="370104"/>
                    </a:lnTo>
                    <a:lnTo>
                      <a:pt x="110066" y="370104"/>
                    </a:lnTo>
                    <a:lnTo>
                      <a:pt x="110066" y="376014"/>
                    </a:lnTo>
                    <a:lnTo>
                      <a:pt x="114838" y="376014"/>
                    </a:lnTo>
                    <a:lnTo>
                      <a:pt x="114838" y="386804"/>
                    </a:lnTo>
                    <a:lnTo>
                      <a:pt x="120314" y="386804"/>
                    </a:lnTo>
                    <a:lnTo>
                      <a:pt x="120314" y="391738"/>
                    </a:lnTo>
                    <a:lnTo>
                      <a:pt x="120314" y="396509"/>
                    </a:lnTo>
                    <a:lnTo>
                      <a:pt x="125085" y="396509"/>
                    </a:lnTo>
                    <a:lnTo>
                      <a:pt x="125085" y="402419"/>
                    </a:lnTo>
                    <a:lnTo>
                      <a:pt x="134899" y="402419"/>
                    </a:lnTo>
                    <a:lnTo>
                      <a:pt x="134899" y="407462"/>
                    </a:lnTo>
                    <a:lnTo>
                      <a:pt x="140971" y="407462"/>
                    </a:lnTo>
                    <a:lnTo>
                      <a:pt x="140971" y="412829"/>
                    </a:lnTo>
                    <a:lnTo>
                      <a:pt x="149809" y="412829"/>
                    </a:lnTo>
                    <a:lnTo>
                      <a:pt x="149809" y="422264"/>
                    </a:lnTo>
                    <a:lnTo>
                      <a:pt x="156695" y="422264"/>
                    </a:lnTo>
                    <a:lnTo>
                      <a:pt x="161358" y="422264"/>
                    </a:lnTo>
                    <a:lnTo>
                      <a:pt x="161358" y="427469"/>
                    </a:lnTo>
                    <a:lnTo>
                      <a:pt x="161358" y="432674"/>
                    </a:lnTo>
                    <a:lnTo>
                      <a:pt x="165696" y="432674"/>
                    </a:lnTo>
                    <a:lnTo>
                      <a:pt x="165696" y="436849"/>
                    </a:lnTo>
                    <a:lnTo>
                      <a:pt x="170196" y="436849"/>
                    </a:lnTo>
                    <a:lnTo>
                      <a:pt x="170196" y="447151"/>
                    </a:lnTo>
                    <a:lnTo>
                      <a:pt x="174859" y="447151"/>
                    </a:lnTo>
                    <a:lnTo>
                      <a:pt x="176811" y="447151"/>
                    </a:lnTo>
                    <a:lnTo>
                      <a:pt x="176811" y="454579"/>
                    </a:lnTo>
                    <a:lnTo>
                      <a:pt x="182016" y="454579"/>
                    </a:lnTo>
                    <a:lnTo>
                      <a:pt x="182016" y="457669"/>
                    </a:lnTo>
                    <a:lnTo>
                      <a:pt x="187384" y="457669"/>
                    </a:lnTo>
                    <a:lnTo>
                      <a:pt x="187384" y="464989"/>
                    </a:lnTo>
                    <a:lnTo>
                      <a:pt x="190745" y="464989"/>
                    </a:lnTo>
                    <a:lnTo>
                      <a:pt x="190745" y="469218"/>
                    </a:lnTo>
                    <a:lnTo>
                      <a:pt x="197035" y="469218"/>
                    </a:lnTo>
                    <a:lnTo>
                      <a:pt x="197035" y="482990"/>
                    </a:lnTo>
                    <a:lnTo>
                      <a:pt x="212921" y="482990"/>
                    </a:lnTo>
                    <a:lnTo>
                      <a:pt x="212921" y="489713"/>
                    </a:lnTo>
                    <a:lnTo>
                      <a:pt x="216716" y="489713"/>
                    </a:lnTo>
                    <a:lnTo>
                      <a:pt x="216716" y="494484"/>
                    </a:lnTo>
                    <a:lnTo>
                      <a:pt x="222084" y="494484"/>
                    </a:lnTo>
                    <a:lnTo>
                      <a:pt x="222084" y="500123"/>
                    </a:lnTo>
                    <a:lnTo>
                      <a:pt x="227127" y="500123"/>
                    </a:lnTo>
                    <a:lnTo>
                      <a:pt x="227127" y="505491"/>
                    </a:lnTo>
                    <a:lnTo>
                      <a:pt x="231898" y="505491"/>
                    </a:lnTo>
                    <a:lnTo>
                      <a:pt x="231898" y="509829"/>
                    </a:lnTo>
                    <a:lnTo>
                      <a:pt x="237700" y="509829"/>
                    </a:lnTo>
                    <a:lnTo>
                      <a:pt x="237700" y="514058"/>
                    </a:lnTo>
                    <a:lnTo>
                      <a:pt x="243176" y="514058"/>
                    </a:lnTo>
                    <a:lnTo>
                      <a:pt x="243176" y="519371"/>
                    </a:lnTo>
                    <a:lnTo>
                      <a:pt x="252610" y="519371"/>
                    </a:lnTo>
                    <a:lnTo>
                      <a:pt x="252610" y="523167"/>
                    </a:lnTo>
                    <a:lnTo>
                      <a:pt x="257815" y="523167"/>
                    </a:lnTo>
                    <a:lnTo>
                      <a:pt x="257815" y="529239"/>
                    </a:lnTo>
                    <a:lnTo>
                      <a:pt x="266816" y="529239"/>
                    </a:lnTo>
                    <a:lnTo>
                      <a:pt x="266816" y="534444"/>
                    </a:lnTo>
                    <a:lnTo>
                      <a:pt x="272671" y="534444"/>
                    </a:lnTo>
                    <a:lnTo>
                      <a:pt x="272671" y="539487"/>
                    </a:lnTo>
                    <a:lnTo>
                      <a:pt x="287148" y="539487"/>
                    </a:lnTo>
                    <a:lnTo>
                      <a:pt x="287148" y="548921"/>
                    </a:lnTo>
                    <a:lnTo>
                      <a:pt x="299402" y="548921"/>
                    </a:lnTo>
                    <a:lnTo>
                      <a:pt x="299402" y="554397"/>
                    </a:lnTo>
                    <a:lnTo>
                      <a:pt x="304173" y="554397"/>
                    </a:lnTo>
                    <a:lnTo>
                      <a:pt x="304173" y="560145"/>
                    </a:lnTo>
                    <a:lnTo>
                      <a:pt x="310625" y="560145"/>
                    </a:lnTo>
                    <a:lnTo>
                      <a:pt x="313770" y="560145"/>
                    </a:lnTo>
                    <a:lnTo>
                      <a:pt x="313770" y="564916"/>
                    </a:lnTo>
                    <a:lnTo>
                      <a:pt x="313770" y="584218"/>
                    </a:lnTo>
                    <a:lnTo>
                      <a:pt x="318541" y="584218"/>
                    </a:lnTo>
                    <a:lnTo>
                      <a:pt x="318541" y="595279"/>
                    </a:lnTo>
                    <a:lnTo>
                      <a:pt x="329222" y="595279"/>
                    </a:lnTo>
                    <a:lnTo>
                      <a:pt x="329222" y="610081"/>
                    </a:lnTo>
                    <a:lnTo>
                      <a:pt x="340175" y="610081"/>
                    </a:lnTo>
                    <a:lnTo>
                      <a:pt x="340175" y="616370"/>
                    </a:lnTo>
                    <a:lnTo>
                      <a:pt x="343970" y="616370"/>
                    </a:lnTo>
                    <a:lnTo>
                      <a:pt x="343970" y="620762"/>
                    </a:lnTo>
                    <a:lnTo>
                      <a:pt x="349989" y="620762"/>
                    </a:lnTo>
                    <a:lnTo>
                      <a:pt x="354218" y="620762"/>
                    </a:lnTo>
                    <a:lnTo>
                      <a:pt x="354218" y="626076"/>
                    </a:lnTo>
                    <a:lnTo>
                      <a:pt x="365224" y="626076"/>
                    </a:lnTo>
                    <a:lnTo>
                      <a:pt x="365224" y="631986"/>
                    </a:lnTo>
                    <a:lnTo>
                      <a:pt x="371948" y="631986"/>
                    </a:lnTo>
                    <a:lnTo>
                      <a:pt x="371948" y="636486"/>
                    </a:lnTo>
                    <a:lnTo>
                      <a:pt x="385720" y="636486"/>
                    </a:lnTo>
                    <a:lnTo>
                      <a:pt x="385720" y="642125"/>
                    </a:lnTo>
                    <a:lnTo>
                      <a:pt x="390762" y="642125"/>
                    </a:lnTo>
                    <a:lnTo>
                      <a:pt x="390762" y="647601"/>
                    </a:lnTo>
                    <a:lnTo>
                      <a:pt x="395425" y="647601"/>
                    </a:lnTo>
                    <a:lnTo>
                      <a:pt x="395425" y="652264"/>
                    </a:lnTo>
                    <a:lnTo>
                      <a:pt x="405672" y="652264"/>
                    </a:lnTo>
                    <a:lnTo>
                      <a:pt x="405672" y="672054"/>
                    </a:lnTo>
                    <a:lnTo>
                      <a:pt x="412179" y="672054"/>
                    </a:lnTo>
                    <a:lnTo>
                      <a:pt x="412179" y="676988"/>
                    </a:lnTo>
                    <a:lnTo>
                      <a:pt x="416516" y="676988"/>
                    </a:lnTo>
                    <a:lnTo>
                      <a:pt x="416516" y="683007"/>
                    </a:lnTo>
                    <a:lnTo>
                      <a:pt x="420583" y="683007"/>
                    </a:lnTo>
                    <a:lnTo>
                      <a:pt x="420583" y="696670"/>
                    </a:lnTo>
                    <a:lnTo>
                      <a:pt x="426764" y="696670"/>
                    </a:lnTo>
                    <a:lnTo>
                      <a:pt x="426764" y="703664"/>
                    </a:lnTo>
                    <a:lnTo>
                      <a:pt x="431427" y="703664"/>
                    </a:lnTo>
                    <a:lnTo>
                      <a:pt x="431427" y="707893"/>
                    </a:lnTo>
                    <a:lnTo>
                      <a:pt x="436307" y="707893"/>
                    </a:lnTo>
                    <a:lnTo>
                      <a:pt x="436307" y="713099"/>
                    </a:lnTo>
                    <a:lnTo>
                      <a:pt x="445741" y="713099"/>
                    </a:lnTo>
                    <a:lnTo>
                      <a:pt x="445741" y="722262"/>
                    </a:lnTo>
                    <a:lnTo>
                      <a:pt x="455717" y="722262"/>
                    </a:lnTo>
                    <a:lnTo>
                      <a:pt x="455717" y="733377"/>
                    </a:lnTo>
                    <a:lnTo>
                      <a:pt x="465694" y="733377"/>
                    </a:lnTo>
                    <a:lnTo>
                      <a:pt x="465694" y="738853"/>
                    </a:lnTo>
                    <a:lnTo>
                      <a:pt x="477676" y="738853"/>
                    </a:lnTo>
                    <a:lnTo>
                      <a:pt x="477676" y="744329"/>
                    </a:lnTo>
                    <a:lnTo>
                      <a:pt x="483261" y="744329"/>
                    </a:lnTo>
                    <a:lnTo>
                      <a:pt x="483261" y="750076"/>
                    </a:lnTo>
                    <a:lnTo>
                      <a:pt x="487219" y="750076"/>
                    </a:lnTo>
                    <a:lnTo>
                      <a:pt x="487219" y="755010"/>
                    </a:lnTo>
                    <a:lnTo>
                      <a:pt x="492858" y="755010"/>
                    </a:lnTo>
                    <a:lnTo>
                      <a:pt x="492858" y="770734"/>
                    </a:lnTo>
                    <a:lnTo>
                      <a:pt x="497466" y="770734"/>
                    </a:lnTo>
                    <a:lnTo>
                      <a:pt x="497466" y="774801"/>
                    </a:lnTo>
                    <a:lnTo>
                      <a:pt x="501967" y="774801"/>
                    </a:lnTo>
                    <a:lnTo>
                      <a:pt x="501967" y="780114"/>
                    </a:lnTo>
                    <a:lnTo>
                      <a:pt x="514817" y="780114"/>
                    </a:lnTo>
                    <a:lnTo>
                      <a:pt x="514817" y="790687"/>
                    </a:lnTo>
                    <a:lnTo>
                      <a:pt x="518124" y="790687"/>
                    </a:lnTo>
                    <a:lnTo>
                      <a:pt x="518124" y="807224"/>
                    </a:lnTo>
                    <a:lnTo>
                      <a:pt x="518124" y="829725"/>
                    </a:lnTo>
                    <a:lnTo>
                      <a:pt x="537969" y="829725"/>
                    </a:lnTo>
                    <a:lnTo>
                      <a:pt x="537969" y="847943"/>
                    </a:lnTo>
                    <a:lnTo>
                      <a:pt x="559169" y="847943"/>
                    </a:lnTo>
                    <a:lnTo>
                      <a:pt x="559169" y="858516"/>
                    </a:lnTo>
                    <a:lnTo>
                      <a:pt x="578362" y="858516"/>
                    </a:lnTo>
                    <a:lnTo>
                      <a:pt x="578362" y="872450"/>
                    </a:lnTo>
                    <a:lnTo>
                      <a:pt x="594899" y="872450"/>
                    </a:lnTo>
                    <a:lnTo>
                      <a:pt x="594899" y="889313"/>
                    </a:lnTo>
                    <a:lnTo>
                      <a:pt x="611111" y="889313"/>
                    </a:lnTo>
                    <a:lnTo>
                      <a:pt x="611111" y="897229"/>
                    </a:lnTo>
                    <a:lnTo>
                      <a:pt x="620708" y="897229"/>
                    </a:lnTo>
                    <a:lnTo>
                      <a:pt x="620708" y="909157"/>
                    </a:lnTo>
                    <a:lnTo>
                      <a:pt x="639577" y="909157"/>
                    </a:lnTo>
                    <a:lnTo>
                      <a:pt x="639577" y="918754"/>
                    </a:lnTo>
                    <a:lnTo>
                      <a:pt x="651830" y="918754"/>
                    </a:lnTo>
                    <a:lnTo>
                      <a:pt x="651830" y="930032"/>
                    </a:lnTo>
                    <a:lnTo>
                      <a:pt x="664030" y="930032"/>
                    </a:lnTo>
                    <a:lnTo>
                      <a:pt x="664030" y="943261"/>
                    </a:lnTo>
                    <a:lnTo>
                      <a:pt x="673301" y="943261"/>
                    </a:lnTo>
                    <a:lnTo>
                      <a:pt x="673301" y="953184"/>
                    </a:lnTo>
                    <a:lnTo>
                      <a:pt x="687236" y="953184"/>
                    </a:lnTo>
                    <a:lnTo>
                      <a:pt x="687236" y="958823"/>
                    </a:lnTo>
                    <a:lnTo>
                      <a:pt x="693525" y="958823"/>
                    </a:lnTo>
                    <a:lnTo>
                      <a:pt x="693525" y="972703"/>
                    </a:lnTo>
                    <a:lnTo>
                      <a:pt x="708382" y="972703"/>
                    </a:lnTo>
                    <a:lnTo>
                      <a:pt x="708382" y="986583"/>
                    </a:lnTo>
                    <a:lnTo>
                      <a:pt x="720635" y="986583"/>
                    </a:lnTo>
                    <a:lnTo>
                      <a:pt x="720635" y="999813"/>
                    </a:lnTo>
                    <a:lnTo>
                      <a:pt x="736522" y="999813"/>
                    </a:lnTo>
                    <a:lnTo>
                      <a:pt x="736522" y="1004801"/>
                    </a:lnTo>
                    <a:lnTo>
                      <a:pt x="751432" y="1004801"/>
                    </a:lnTo>
                    <a:lnTo>
                      <a:pt x="751432" y="1027627"/>
                    </a:lnTo>
                    <a:lnTo>
                      <a:pt x="764662" y="1027627"/>
                    </a:lnTo>
                    <a:lnTo>
                      <a:pt x="764662" y="1035218"/>
                    </a:lnTo>
                    <a:lnTo>
                      <a:pt x="777891" y="1035218"/>
                    </a:lnTo>
                    <a:lnTo>
                      <a:pt x="777891" y="1041833"/>
                    </a:lnTo>
                    <a:lnTo>
                      <a:pt x="785482" y="1041833"/>
                    </a:lnTo>
                    <a:lnTo>
                      <a:pt x="785482" y="1051430"/>
                    </a:lnTo>
                    <a:lnTo>
                      <a:pt x="790145" y="1051430"/>
                    </a:lnTo>
                    <a:lnTo>
                      <a:pt x="790145" y="1059075"/>
                    </a:lnTo>
                    <a:lnTo>
                      <a:pt x="798061" y="1059075"/>
                    </a:lnTo>
                    <a:lnTo>
                      <a:pt x="798061" y="1065365"/>
                    </a:lnTo>
                    <a:lnTo>
                      <a:pt x="817580" y="1065365"/>
                    </a:lnTo>
                    <a:lnTo>
                      <a:pt x="817580" y="1082552"/>
                    </a:lnTo>
                    <a:lnTo>
                      <a:pt x="840407" y="1082552"/>
                    </a:lnTo>
                    <a:lnTo>
                      <a:pt x="840407" y="1094481"/>
                    </a:lnTo>
                    <a:lnTo>
                      <a:pt x="863559" y="1094481"/>
                    </a:lnTo>
                    <a:lnTo>
                      <a:pt x="863559" y="1099089"/>
                    </a:lnTo>
                    <a:lnTo>
                      <a:pt x="887415" y="1099089"/>
                    </a:lnTo>
                    <a:lnTo>
                      <a:pt x="887415" y="1108035"/>
                    </a:lnTo>
                    <a:lnTo>
                      <a:pt x="908236" y="1108035"/>
                    </a:lnTo>
                    <a:lnTo>
                      <a:pt x="908236" y="1119259"/>
                    </a:lnTo>
                    <a:lnTo>
                      <a:pt x="920489" y="1119259"/>
                    </a:lnTo>
                    <a:lnTo>
                      <a:pt x="920489" y="1125223"/>
                    </a:lnTo>
                    <a:lnTo>
                      <a:pt x="939683" y="1125223"/>
                    </a:lnTo>
                    <a:lnTo>
                      <a:pt x="939683" y="1144092"/>
                    </a:lnTo>
                    <a:lnTo>
                      <a:pt x="961534" y="1144092"/>
                    </a:lnTo>
                    <a:lnTo>
                      <a:pt x="961534" y="1158297"/>
                    </a:lnTo>
                    <a:lnTo>
                      <a:pt x="972106" y="1158297"/>
                    </a:lnTo>
                    <a:lnTo>
                      <a:pt x="972106" y="1167894"/>
                    </a:lnTo>
                    <a:lnTo>
                      <a:pt x="978396" y="1167894"/>
                    </a:lnTo>
                    <a:lnTo>
                      <a:pt x="978396" y="1181828"/>
                    </a:lnTo>
                    <a:lnTo>
                      <a:pt x="978396" y="1189094"/>
                    </a:lnTo>
                    <a:lnTo>
                      <a:pt x="991300" y="1189094"/>
                    </a:lnTo>
                    <a:lnTo>
                      <a:pt x="991300" y="1199667"/>
                    </a:lnTo>
                    <a:lnTo>
                      <a:pt x="1017434" y="1199667"/>
                    </a:lnTo>
                    <a:lnTo>
                      <a:pt x="1017434" y="1208938"/>
                    </a:lnTo>
                    <a:lnTo>
                      <a:pt x="1038634" y="1208938"/>
                    </a:lnTo>
                    <a:lnTo>
                      <a:pt x="1038634" y="1225150"/>
                    </a:lnTo>
                    <a:lnTo>
                      <a:pt x="1049207" y="1225150"/>
                    </a:lnTo>
                    <a:lnTo>
                      <a:pt x="1049207" y="1249007"/>
                    </a:lnTo>
                    <a:lnTo>
                      <a:pt x="1098818" y="1249007"/>
                    </a:lnTo>
                    <a:lnTo>
                      <a:pt x="1098818" y="1261911"/>
                    </a:lnTo>
                    <a:lnTo>
                      <a:pt x="1106463" y="1261911"/>
                    </a:lnTo>
                    <a:lnTo>
                      <a:pt x="1106463" y="1270803"/>
                    </a:lnTo>
                    <a:lnTo>
                      <a:pt x="1134928" y="1270803"/>
                    </a:lnTo>
                    <a:lnTo>
                      <a:pt x="1134928" y="1285388"/>
                    </a:lnTo>
                    <a:lnTo>
                      <a:pt x="1152442" y="1285388"/>
                    </a:lnTo>
                    <a:lnTo>
                      <a:pt x="1152442" y="1297642"/>
                    </a:lnTo>
                    <a:lnTo>
                      <a:pt x="1158080" y="1297642"/>
                    </a:lnTo>
                    <a:lnTo>
                      <a:pt x="1158080" y="1308215"/>
                    </a:lnTo>
                    <a:lnTo>
                      <a:pt x="1164695" y="1308215"/>
                    </a:lnTo>
                    <a:lnTo>
                      <a:pt x="1164695" y="1315480"/>
                    </a:lnTo>
                    <a:lnTo>
                      <a:pt x="1173316" y="1315480"/>
                    </a:lnTo>
                    <a:lnTo>
                      <a:pt x="1173316" y="1327409"/>
                    </a:lnTo>
                    <a:lnTo>
                      <a:pt x="1187196" y="1327409"/>
                    </a:lnTo>
                    <a:lnTo>
                      <a:pt x="1187196" y="1333698"/>
                    </a:lnTo>
                    <a:lnTo>
                      <a:pt x="1193811" y="1333698"/>
                    </a:lnTo>
                    <a:lnTo>
                      <a:pt x="1193811" y="1342644"/>
                    </a:lnTo>
                    <a:lnTo>
                      <a:pt x="1229542" y="1342644"/>
                    </a:lnTo>
                    <a:lnTo>
                      <a:pt x="1229542" y="1361838"/>
                    </a:lnTo>
                    <a:lnTo>
                      <a:pt x="1242772" y="1361838"/>
                    </a:lnTo>
                    <a:lnTo>
                      <a:pt x="1242772" y="1382008"/>
                    </a:lnTo>
                    <a:lnTo>
                      <a:pt x="1288099" y="1382008"/>
                    </a:lnTo>
                    <a:lnTo>
                      <a:pt x="1288099" y="1413781"/>
                    </a:lnTo>
                    <a:lnTo>
                      <a:pt x="1298347" y="1413781"/>
                    </a:lnTo>
                    <a:lnTo>
                      <a:pt x="1298347" y="1419040"/>
                    </a:lnTo>
                    <a:lnTo>
                      <a:pt x="1303986" y="1419040"/>
                    </a:lnTo>
                    <a:lnTo>
                      <a:pt x="1303986" y="1429016"/>
                    </a:lnTo>
                    <a:lnTo>
                      <a:pt x="1330120" y="1429016"/>
                    </a:lnTo>
                    <a:lnTo>
                      <a:pt x="1330120" y="1437909"/>
                    </a:lnTo>
                    <a:lnTo>
                      <a:pt x="1343675" y="1437909"/>
                    </a:lnTo>
                    <a:lnTo>
                      <a:pt x="1343675" y="1448536"/>
                    </a:lnTo>
                    <a:lnTo>
                      <a:pt x="1390033" y="1448536"/>
                    </a:lnTo>
                    <a:lnTo>
                      <a:pt x="1390033" y="1464747"/>
                    </a:lnTo>
                    <a:lnTo>
                      <a:pt x="1406570" y="1464747"/>
                    </a:lnTo>
                    <a:lnTo>
                      <a:pt x="1406570" y="1474344"/>
                    </a:lnTo>
                    <a:lnTo>
                      <a:pt x="1424083" y="1474344"/>
                    </a:lnTo>
                    <a:lnTo>
                      <a:pt x="1424083" y="1493538"/>
                    </a:lnTo>
                    <a:lnTo>
                      <a:pt x="1431728" y="1493538"/>
                    </a:lnTo>
                    <a:lnTo>
                      <a:pt x="1431728" y="1501129"/>
                    </a:lnTo>
                    <a:lnTo>
                      <a:pt x="1437692" y="1501129"/>
                    </a:lnTo>
                    <a:lnTo>
                      <a:pt x="1437692" y="1514033"/>
                    </a:lnTo>
                    <a:lnTo>
                      <a:pt x="1457536" y="1514033"/>
                    </a:lnTo>
                    <a:lnTo>
                      <a:pt x="1457536" y="1530570"/>
                    </a:lnTo>
                    <a:lnTo>
                      <a:pt x="1512136" y="1530570"/>
                    </a:lnTo>
                    <a:lnTo>
                      <a:pt x="1512136" y="1537510"/>
                    </a:lnTo>
                    <a:lnTo>
                      <a:pt x="1518100" y="1537510"/>
                    </a:lnTo>
                    <a:lnTo>
                      <a:pt x="1518100" y="1546131"/>
                    </a:lnTo>
                    <a:lnTo>
                      <a:pt x="1525365" y="1546131"/>
                    </a:lnTo>
                    <a:lnTo>
                      <a:pt x="1525365" y="1561042"/>
                    </a:lnTo>
                    <a:lnTo>
                      <a:pt x="1594495" y="1561042"/>
                    </a:lnTo>
                    <a:lnTo>
                      <a:pt x="1594495" y="1570259"/>
                    </a:lnTo>
                    <a:lnTo>
                      <a:pt x="1619328" y="1570259"/>
                    </a:lnTo>
                    <a:lnTo>
                      <a:pt x="1619328" y="1578555"/>
                    </a:lnTo>
                    <a:lnTo>
                      <a:pt x="1634889" y="1578555"/>
                    </a:lnTo>
                    <a:lnTo>
                      <a:pt x="1634889" y="1586850"/>
                    </a:lnTo>
                    <a:lnTo>
                      <a:pt x="1731184" y="1586850"/>
                    </a:lnTo>
                    <a:lnTo>
                      <a:pt x="1731184" y="1593140"/>
                    </a:lnTo>
                    <a:lnTo>
                      <a:pt x="1737148" y="1593140"/>
                    </a:lnTo>
                    <a:lnTo>
                      <a:pt x="1737148" y="1598074"/>
                    </a:lnTo>
                    <a:lnTo>
                      <a:pt x="1759649" y="1598074"/>
                    </a:lnTo>
                    <a:lnTo>
                      <a:pt x="1759649" y="1607020"/>
                    </a:lnTo>
                    <a:lnTo>
                      <a:pt x="1778463" y="1607020"/>
                    </a:lnTo>
                    <a:lnTo>
                      <a:pt x="1778463" y="1632178"/>
                    </a:lnTo>
                    <a:lnTo>
                      <a:pt x="1829430" y="1632178"/>
                    </a:lnTo>
                    <a:lnTo>
                      <a:pt x="1829430" y="1642426"/>
                    </a:lnTo>
                    <a:lnTo>
                      <a:pt x="1836044" y="1642426"/>
                    </a:lnTo>
                    <a:lnTo>
                      <a:pt x="1836044" y="1653324"/>
                    </a:lnTo>
                    <a:lnTo>
                      <a:pt x="1900566" y="1653324"/>
                    </a:lnTo>
                    <a:lnTo>
                      <a:pt x="1900566" y="1668234"/>
                    </a:lnTo>
                    <a:lnTo>
                      <a:pt x="1951858" y="1668234"/>
                    </a:lnTo>
                    <a:lnTo>
                      <a:pt x="1951858" y="1683470"/>
                    </a:lnTo>
                    <a:lnTo>
                      <a:pt x="1991276" y="1683470"/>
                    </a:lnTo>
                    <a:lnTo>
                      <a:pt x="1991276" y="1714863"/>
                    </a:lnTo>
                    <a:lnTo>
                      <a:pt x="2140489" y="1714863"/>
                    </a:lnTo>
                    <a:lnTo>
                      <a:pt x="2140489" y="1739696"/>
                    </a:lnTo>
                    <a:lnTo>
                      <a:pt x="2175243" y="1739696"/>
                    </a:lnTo>
                    <a:lnTo>
                      <a:pt x="2175243" y="1763498"/>
                    </a:lnTo>
                    <a:lnTo>
                      <a:pt x="2499478" y="1763498"/>
                    </a:lnTo>
                  </a:path>
                </a:pathLst>
              </a:custGeom>
              <a:noFill/>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3" name="Freeform 1022">
                <a:extLst>
                  <a:ext uri="{FF2B5EF4-FFF2-40B4-BE49-F238E27FC236}">
                    <a16:creationId xmlns:a16="http://schemas.microsoft.com/office/drawing/2014/main" id="{DF3F0767-CAE2-5B08-E64C-EAF127CCD1BC}"/>
                  </a:ext>
                </a:extLst>
              </p:cNvPr>
              <p:cNvSpPr/>
              <p:nvPr/>
            </p:nvSpPr>
            <p:spPr>
              <a:xfrm>
                <a:off x="9208226" y="4073514"/>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024" name="Graphic 1006">
                <a:extLst>
                  <a:ext uri="{FF2B5EF4-FFF2-40B4-BE49-F238E27FC236}">
                    <a16:creationId xmlns:a16="http://schemas.microsoft.com/office/drawing/2014/main" id="{D548738E-C0C8-7FAF-0B74-C6FA4E63E5F0}"/>
                  </a:ext>
                </a:extLst>
              </p:cNvPr>
              <p:cNvGrpSpPr/>
              <p:nvPr/>
            </p:nvGrpSpPr>
            <p:grpSpPr>
              <a:xfrm>
                <a:off x="9207738" y="4037133"/>
                <a:ext cx="44026" cy="44026"/>
                <a:chOff x="9207738" y="4037133"/>
                <a:chExt cx="44026" cy="44026"/>
              </a:xfrm>
            </p:grpSpPr>
            <p:sp>
              <p:nvSpPr>
                <p:cNvPr id="1025" name="Freeform 1024">
                  <a:extLst>
                    <a:ext uri="{FF2B5EF4-FFF2-40B4-BE49-F238E27FC236}">
                      <a16:creationId xmlns:a16="http://schemas.microsoft.com/office/drawing/2014/main" id="{932A1E93-9967-D5DE-663C-082CE729C76D}"/>
                    </a:ext>
                  </a:extLst>
                </p:cNvPr>
                <p:cNvSpPr/>
                <p:nvPr/>
              </p:nvSpPr>
              <p:spPr>
                <a:xfrm>
                  <a:off x="9207738" y="4059146"/>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6" name="Freeform 1025">
                  <a:extLst>
                    <a:ext uri="{FF2B5EF4-FFF2-40B4-BE49-F238E27FC236}">
                      <a16:creationId xmlns:a16="http://schemas.microsoft.com/office/drawing/2014/main" id="{D861F85E-A59C-5452-FB29-758449E8A43D}"/>
                    </a:ext>
                  </a:extLst>
                </p:cNvPr>
                <p:cNvSpPr/>
                <p:nvPr/>
              </p:nvSpPr>
              <p:spPr>
                <a:xfrm>
                  <a:off x="9229751" y="4037133"/>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27" name="Graphic 1006">
                <a:extLst>
                  <a:ext uri="{FF2B5EF4-FFF2-40B4-BE49-F238E27FC236}">
                    <a16:creationId xmlns:a16="http://schemas.microsoft.com/office/drawing/2014/main" id="{85925FDF-FD46-8BAD-D547-08275675F835}"/>
                  </a:ext>
                </a:extLst>
              </p:cNvPr>
              <p:cNvGrpSpPr/>
              <p:nvPr/>
            </p:nvGrpSpPr>
            <p:grpSpPr>
              <a:xfrm>
                <a:off x="9226065" y="4075249"/>
                <a:ext cx="44026" cy="44026"/>
                <a:chOff x="9226065" y="4075249"/>
                <a:chExt cx="44026" cy="44026"/>
              </a:xfrm>
            </p:grpSpPr>
            <p:sp>
              <p:nvSpPr>
                <p:cNvPr id="1028" name="Freeform 1027">
                  <a:extLst>
                    <a:ext uri="{FF2B5EF4-FFF2-40B4-BE49-F238E27FC236}">
                      <a16:creationId xmlns:a16="http://schemas.microsoft.com/office/drawing/2014/main" id="{817EB9B2-4B64-C2C2-A057-8D8BBAC85401}"/>
                    </a:ext>
                  </a:extLst>
                </p:cNvPr>
                <p:cNvSpPr/>
                <p:nvPr/>
              </p:nvSpPr>
              <p:spPr>
                <a:xfrm>
                  <a:off x="9226065" y="4097263"/>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9" name="Freeform 1028">
                  <a:extLst>
                    <a:ext uri="{FF2B5EF4-FFF2-40B4-BE49-F238E27FC236}">
                      <a16:creationId xmlns:a16="http://schemas.microsoft.com/office/drawing/2014/main" id="{DAC25FDB-B2BA-EA4B-F350-EEC3C907C084}"/>
                    </a:ext>
                  </a:extLst>
                </p:cNvPr>
                <p:cNvSpPr/>
                <p:nvPr/>
              </p:nvSpPr>
              <p:spPr>
                <a:xfrm>
                  <a:off x="9248078" y="4075249"/>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0" name="Graphic 1006">
                <a:extLst>
                  <a:ext uri="{FF2B5EF4-FFF2-40B4-BE49-F238E27FC236}">
                    <a16:creationId xmlns:a16="http://schemas.microsoft.com/office/drawing/2014/main" id="{EC145AC9-4611-196F-DD92-6B720476FCB3}"/>
                  </a:ext>
                </a:extLst>
              </p:cNvPr>
              <p:cNvGrpSpPr/>
              <p:nvPr/>
            </p:nvGrpSpPr>
            <p:grpSpPr>
              <a:xfrm>
                <a:off x="9231974" y="4091569"/>
                <a:ext cx="44026" cy="44026"/>
                <a:chOff x="9231974" y="4091569"/>
                <a:chExt cx="44026" cy="44026"/>
              </a:xfrm>
            </p:grpSpPr>
            <p:sp>
              <p:nvSpPr>
                <p:cNvPr id="1031" name="Freeform 1030">
                  <a:extLst>
                    <a:ext uri="{FF2B5EF4-FFF2-40B4-BE49-F238E27FC236}">
                      <a16:creationId xmlns:a16="http://schemas.microsoft.com/office/drawing/2014/main" id="{FC36863A-7FCA-244C-D4D8-69C1B4D1C446}"/>
                    </a:ext>
                  </a:extLst>
                </p:cNvPr>
                <p:cNvSpPr/>
                <p:nvPr/>
              </p:nvSpPr>
              <p:spPr>
                <a:xfrm>
                  <a:off x="9231974" y="4113583"/>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2" name="Freeform 1031">
                  <a:extLst>
                    <a:ext uri="{FF2B5EF4-FFF2-40B4-BE49-F238E27FC236}">
                      <a16:creationId xmlns:a16="http://schemas.microsoft.com/office/drawing/2014/main" id="{7476AA01-2CCD-5A79-C35E-155A5FC820D7}"/>
                    </a:ext>
                  </a:extLst>
                </p:cNvPr>
                <p:cNvSpPr/>
                <p:nvPr/>
              </p:nvSpPr>
              <p:spPr>
                <a:xfrm>
                  <a:off x="9253988" y="4091569"/>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3" name="Graphic 1006">
                <a:extLst>
                  <a:ext uri="{FF2B5EF4-FFF2-40B4-BE49-F238E27FC236}">
                    <a16:creationId xmlns:a16="http://schemas.microsoft.com/office/drawing/2014/main" id="{6BAF506F-CFEC-21C3-56FF-6A5E67B8CBD8}"/>
                  </a:ext>
                </a:extLst>
              </p:cNvPr>
              <p:cNvGrpSpPr/>
              <p:nvPr/>
            </p:nvGrpSpPr>
            <p:grpSpPr>
              <a:xfrm>
                <a:off x="9245855" y="4095528"/>
                <a:ext cx="44026" cy="44026"/>
                <a:chOff x="9245855" y="4095528"/>
                <a:chExt cx="44026" cy="44026"/>
              </a:xfrm>
            </p:grpSpPr>
            <p:sp>
              <p:nvSpPr>
                <p:cNvPr id="1034" name="Freeform 1033">
                  <a:extLst>
                    <a:ext uri="{FF2B5EF4-FFF2-40B4-BE49-F238E27FC236}">
                      <a16:creationId xmlns:a16="http://schemas.microsoft.com/office/drawing/2014/main" id="{0E6F63BB-0E0D-293B-AF20-4A1192BC8B2F}"/>
                    </a:ext>
                  </a:extLst>
                </p:cNvPr>
                <p:cNvSpPr/>
                <p:nvPr/>
              </p:nvSpPr>
              <p:spPr>
                <a:xfrm>
                  <a:off x="9245855" y="4117541"/>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5" name="Freeform 1034">
                  <a:extLst>
                    <a:ext uri="{FF2B5EF4-FFF2-40B4-BE49-F238E27FC236}">
                      <a16:creationId xmlns:a16="http://schemas.microsoft.com/office/drawing/2014/main" id="{C3D8125F-96DD-8D3B-778D-BC59B510C416}"/>
                    </a:ext>
                  </a:extLst>
                </p:cNvPr>
                <p:cNvSpPr/>
                <p:nvPr/>
              </p:nvSpPr>
              <p:spPr>
                <a:xfrm>
                  <a:off x="9267868" y="4095528"/>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6" name="Graphic 1006">
                <a:extLst>
                  <a:ext uri="{FF2B5EF4-FFF2-40B4-BE49-F238E27FC236}">
                    <a16:creationId xmlns:a16="http://schemas.microsoft.com/office/drawing/2014/main" id="{D799F5F8-587D-41B0-AC33-FDAFD4AADFE7}"/>
                  </a:ext>
                </a:extLst>
              </p:cNvPr>
              <p:cNvGrpSpPr/>
              <p:nvPr/>
            </p:nvGrpSpPr>
            <p:grpSpPr>
              <a:xfrm>
                <a:off x="9270091" y="4108378"/>
                <a:ext cx="44026" cy="44026"/>
                <a:chOff x="9270091" y="4108378"/>
                <a:chExt cx="44026" cy="44026"/>
              </a:xfrm>
            </p:grpSpPr>
            <p:sp>
              <p:nvSpPr>
                <p:cNvPr id="1037" name="Freeform 1036">
                  <a:extLst>
                    <a:ext uri="{FF2B5EF4-FFF2-40B4-BE49-F238E27FC236}">
                      <a16:creationId xmlns:a16="http://schemas.microsoft.com/office/drawing/2014/main" id="{31B8DFC8-BDF6-F10E-58D7-D5D24011D2D3}"/>
                    </a:ext>
                  </a:extLst>
                </p:cNvPr>
                <p:cNvSpPr/>
                <p:nvPr/>
              </p:nvSpPr>
              <p:spPr>
                <a:xfrm>
                  <a:off x="9270091" y="4130391"/>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8" name="Freeform 1037">
                  <a:extLst>
                    <a:ext uri="{FF2B5EF4-FFF2-40B4-BE49-F238E27FC236}">
                      <a16:creationId xmlns:a16="http://schemas.microsoft.com/office/drawing/2014/main" id="{6FB0A2E2-BCDB-6365-657D-7658757ED7F3}"/>
                    </a:ext>
                  </a:extLst>
                </p:cNvPr>
                <p:cNvSpPr/>
                <p:nvPr/>
              </p:nvSpPr>
              <p:spPr>
                <a:xfrm>
                  <a:off x="9292104" y="4108378"/>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9" name="Graphic 1006">
                <a:extLst>
                  <a:ext uri="{FF2B5EF4-FFF2-40B4-BE49-F238E27FC236}">
                    <a16:creationId xmlns:a16="http://schemas.microsoft.com/office/drawing/2014/main" id="{747BB7B1-DA81-82D4-4A65-71DF226A58C8}"/>
                  </a:ext>
                </a:extLst>
              </p:cNvPr>
              <p:cNvGrpSpPr/>
              <p:nvPr/>
            </p:nvGrpSpPr>
            <p:grpSpPr>
              <a:xfrm>
                <a:off x="9279959" y="4113800"/>
                <a:ext cx="44026" cy="44026"/>
                <a:chOff x="9279959" y="4113800"/>
                <a:chExt cx="44026" cy="44026"/>
              </a:xfrm>
            </p:grpSpPr>
            <p:sp>
              <p:nvSpPr>
                <p:cNvPr id="1040" name="Freeform 1039">
                  <a:extLst>
                    <a:ext uri="{FF2B5EF4-FFF2-40B4-BE49-F238E27FC236}">
                      <a16:creationId xmlns:a16="http://schemas.microsoft.com/office/drawing/2014/main" id="{86356886-BB30-077C-8C3C-096B1F0C9D6A}"/>
                    </a:ext>
                  </a:extLst>
                </p:cNvPr>
                <p:cNvSpPr/>
                <p:nvPr/>
              </p:nvSpPr>
              <p:spPr>
                <a:xfrm>
                  <a:off x="9279959" y="4135813"/>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1" name="Freeform 1040">
                  <a:extLst>
                    <a:ext uri="{FF2B5EF4-FFF2-40B4-BE49-F238E27FC236}">
                      <a16:creationId xmlns:a16="http://schemas.microsoft.com/office/drawing/2014/main" id="{2465608F-61E3-1365-EBD9-2D9E60E74B97}"/>
                    </a:ext>
                  </a:extLst>
                </p:cNvPr>
                <p:cNvSpPr/>
                <p:nvPr/>
              </p:nvSpPr>
              <p:spPr>
                <a:xfrm>
                  <a:off x="9301972" y="4113800"/>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2" name="Graphic 1006">
                <a:extLst>
                  <a:ext uri="{FF2B5EF4-FFF2-40B4-BE49-F238E27FC236}">
                    <a16:creationId xmlns:a16="http://schemas.microsoft.com/office/drawing/2014/main" id="{8DE993FD-3858-92A3-77BB-BB2D2CF90878}"/>
                  </a:ext>
                </a:extLst>
              </p:cNvPr>
              <p:cNvGrpSpPr/>
              <p:nvPr/>
            </p:nvGrpSpPr>
            <p:grpSpPr>
              <a:xfrm>
                <a:off x="9288363" y="4124210"/>
                <a:ext cx="44026" cy="44026"/>
                <a:chOff x="9288363" y="4124210"/>
                <a:chExt cx="44026" cy="44026"/>
              </a:xfrm>
            </p:grpSpPr>
            <p:sp>
              <p:nvSpPr>
                <p:cNvPr id="1043" name="Freeform 1042">
                  <a:extLst>
                    <a:ext uri="{FF2B5EF4-FFF2-40B4-BE49-F238E27FC236}">
                      <a16:creationId xmlns:a16="http://schemas.microsoft.com/office/drawing/2014/main" id="{EAAA425E-2317-388B-BD5C-D0A85ACEF5E5}"/>
                    </a:ext>
                  </a:extLst>
                </p:cNvPr>
                <p:cNvSpPr/>
                <p:nvPr/>
              </p:nvSpPr>
              <p:spPr>
                <a:xfrm>
                  <a:off x="9288363" y="4146223"/>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4" name="Freeform 1043">
                  <a:extLst>
                    <a:ext uri="{FF2B5EF4-FFF2-40B4-BE49-F238E27FC236}">
                      <a16:creationId xmlns:a16="http://schemas.microsoft.com/office/drawing/2014/main" id="{8F172129-1B70-E1C3-05DA-879E8DB24E42}"/>
                    </a:ext>
                  </a:extLst>
                </p:cNvPr>
                <p:cNvSpPr/>
                <p:nvPr/>
              </p:nvSpPr>
              <p:spPr>
                <a:xfrm>
                  <a:off x="9310376" y="4124210"/>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5" name="Graphic 1006">
                <a:extLst>
                  <a:ext uri="{FF2B5EF4-FFF2-40B4-BE49-F238E27FC236}">
                    <a16:creationId xmlns:a16="http://schemas.microsoft.com/office/drawing/2014/main" id="{5E10E494-03F8-87B7-0BC1-FF7F13ADE2E4}"/>
                  </a:ext>
                </a:extLst>
              </p:cNvPr>
              <p:cNvGrpSpPr/>
              <p:nvPr/>
            </p:nvGrpSpPr>
            <p:grpSpPr>
              <a:xfrm>
                <a:off x="9293297" y="4129632"/>
                <a:ext cx="44080" cy="44026"/>
                <a:chOff x="9293297" y="4129632"/>
                <a:chExt cx="44080" cy="44026"/>
              </a:xfrm>
            </p:grpSpPr>
            <p:sp>
              <p:nvSpPr>
                <p:cNvPr id="1046" name="Freeform 1045">
                  <a:extLst>
                    <a:ext uri="{FF2B5EF4-FFF2-40B4-BE49-F238E27FC236}">
                      <a16:creationId xmlns:a16="http://schemas.microsoft.com/office/drawing/2014/main" id="{531A1297-87DD-F3B0-E0C3-75601962EBF1}"/>
                    </a:ext>
                  </a:extLst>
                </p:cNvPr>
                <p:cNvSpPr/>
                <p:nvPr/>
              </p:nvSpPr>
              <p:spPr>
                <a:xfrm>
                  <a:off x="9293297" y="4151645"/>
                  <a:ext cx="44080" cy="5421"/>
                </a:xfrm>
                <a:custGeom>
                  <a:avLst/>
                  <a:gdLst>
                    <a:gd name="connsiteX0" fmla="*/ 0 w 44080"/>
                    <a:gd name="connsiteY0" fmla="*/ 0 h 5421"/>
                    <a:gd name="connsiteX1" fmla="*/ 44081 w 44080"/>
                    <a:gd name="connsiteY1" fmla="*/ 0 h 5421"/>
                  </a:gdLst>
                  <a:ahLst/>
                  <a:cxnLst>
                    <a:cxn ang="0">
                      <a:pos x="connsiteX0" y="connsiteY0"/>
                    </a:cxn>
                    <a:cxn ang="0">
                      <a:pos x="connsiteX1" y="connsiteY1"/>
                    </a:cxn>
                  </a:cxnLst>
                  <a:rect l="l" t="t" r="r" b="b"/>
                  <a:pathLst>
                    <a:path w="44080" h="5421">
                      <a:moveTo>
                        <a:pt x="0" y="0"/>
                      </a:moveTo>
                      <a:lnTo>
                        <a:pt x="4408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7" name="Freeform 1046">
                  <a:extLst>
                    <a:ext uri="{FF2B5EF4-FFF2-40B4-BE49-F238E27FC236}">
                      <a16:creationId xmlns:a16="http://schemas.microsoft.com/office/drawing/2014/main" id="{60C72781-9A14-74E9-97D8-78306FFB4940}"/>
                    </a:ext>
                  </a:extLst>
                </p:cNvPr>
                <p:cNvSpPr/>
                <p:nvPr/>
              </p:nvSpPr>
              <p:spPr>
                <a:xfrm>
                  <a:off x="9315310" y="4129632"/>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8" name="Graphic 1006">
                <a:extLst>
                  <a:ext uri="{FF2B5EF4-FFF2-40B4-BE49-F238E27FC236}">
                    <a16:creationId xmlns:a16="http://schemas.microsoft.com/office/drawing/2014/main" id="{D9CA435D-32A2-5A97-35CC-5FFB8432B7C2}"/>
                  </a:ext>
                </a:extLst>
              </p:cNvPr>
              <p:cNvGrpSpPr/>
              <p:nvPr/>
            </p:nvGrpSpPr>
            <p:grpSpPr>
              <a:xfrm>
                <a:off x="9447173" y="4268163"/>
                <a:ext cx="44026" cy="44026"/>
                <a:chOff x="9447173" y="4268163"/>
                <a:chExt cx="44026" cy="44026"/>
              </a:xfrm>
            </p:grpSpPr>
            <p:sp>
              <p:nvSpPr>
                <p:cNvPr id="1049" name="Freeform 1048">
                  <a:extLst>
                    <a:ext uri="{FF2B5EF4-FFF2-40B4-BE49-F238E27FC236}">
                      <a16:creationId xmlns:a16="http://schemas.microsoft.com/office/drawing/2014/main" id="{CAAD91B5-0B82-7D5C-203A-94D293FB7CAD}"/>
                    </a:ext>
                  </a:extLst>
                </p:cNvPr>
                <p:cNvSpPr/>
                <p:nvPr/>
              </p:nvSpPr>
              <p:spPr>
                <a:xfrm>
                  <a:off x="9447173" y="4290177"/>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0" name="Freeform 1049">
                  <a:extLst>
                    <a:ext uri="{FF2B5EF4-FFF2-40B4-BE49-F238E27FC236}">
                      <a16:creationId xmlns:a16="http://schemas.microsoft.com/office/drawing/2014/main" id="{F49C8668-C25B-0BEC-EDD5-0C567A55F337}"/>
                    </a:ext>
                  </a:extLst>
                </p:cNvPr>
                <p:cNvSpPr/>
                <p:nvPr/>
              </p:nvSpPr>
              <p:spPr>
                <a:xfrm>
                  <a:off x="9469186" y="4268163"/>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51" name="Graphic 1006">
                <a:extLst>
                  <a:ext uri="{FF2B5EF4-FFF2-40B4-BE49-F238E27FC236}">
                    <a16:creationId xmlns:a16="http://schemas.microsoft.com/office/drawing/2014/main" id="{6D9FDDE7-E9B7-B8C6-005E-8842C5E2FFDB}"/>
                  </a:ext>
                </a:extLst>
              </p:cNvPr>
              <p:cNvGrpSpPr/>
              <p:nvPr/>
            </p:nvGrpSpPr>
            <p:grpSpPr>
              <a:xfrm>
                <a:off x="9500091" y="4314684"/>
                <a:ext cx="44026" cy="44026"/>
                <a:chOff x="9500091" y="4314684"/>
                <a:chExt cx="44026" cy="44026"/>
              </a:xfrm>
            </p:grpSpPr>
            <p:sp>
              <p:nvSpPr>
                <p:cNvPr id="1052" name="Freeform 1051">
                  <a:extLst>
                    <a:ext uri="{FF2B5EF4-FFF2-40B4-BE49-F238E27FC236}">
                      <a16:creationId xmlns:a16="http://schemas.microsoft.com/office/drawing/2014/main" id="{E3B0D3B1-A690-3676-4A40-5AA836736C37}"/>
                    </a:ext>
                  </a:extLst>
                </p:cNvPr>
                <p:cNvSpPr/>
                <p:nvPr/>
              </p:nvSpPr>
              <p:spPr>
                <a:xfrm>
                  <a:off x="9500091" y="4336697"/>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3" name="Freeform 1052">
                  <a:extLst>
                    <a:ext uri="{FF2B5EF4-FFF2-40B4-BE49-F238E27FC236}">
                      <a16:creationId xmlns:a16="http://schemas.microsoft.com/office/drawing/2014/main" id="{54A8A0F2-8236-A8D3-C056-87CC07E793DE}"/>
                    </a:ext>
                  </a:extLst>
                </p:cNvPr>
                <p:cNvSpPr/>
                <p:nvPr/>
              </p:nvSpPr>
              <p:spPr>
                <a:xfrm>
                  <a:off x="9522105" y="4314684"/>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54" name="Graphic 1006">
                <a:extLst>
                  <a:ext uri="{FF2B5EF4-FFF2-40B4-BE49-F238E27FC236}">
                    <a16:creationId xmlns:a16="http://schemas.microsoft.com/office/drawing/2014/main" id="{00551DD3-530D-45B0-4FF0-FC6725352CA2}"/>
                  </a:ext>
                </a:extLst>
              </p:cNvPr>
              <p:cNvGrpSpPr/>
              <p:nvPr/>
            </p:nvGrpSpPr>
            <p:grpSpPr>
              <a:xfrm>
                <a:off x="9505080" y="4314684"/>
                <a:ext cx="44026" cy="44026"/>
                <a:chOff x="9505080" y="4314684"/>
                <a:chExt cx="44026" cy="44026"/>
              </a:xfrm>
            </p:grpSpPr>
            <p:sp>
              <p:nvSpPr>
                <p:cNvPr id="1055" name="Freeform 1054">
                  <a:extLst>
                    <a:ext uri="{FF2B5EF4-FFF2-40B4-BE49-F238E27FC236}">
                      <a16:creationId xmlns:a16="http://schemas.microsoft.com/office/drawing/2014/main" id="{8D25A8F9-570B-400D-9511-CCF7EA5DD1C2}"/>
                    </a:ext>
                  </a:extLst>
                </p:cNvPr>
                <p:cNvSpPr/>
                <p:nvPr/>
              </p:nvSpPr>
              <p:spPr>
                <a:xfrm>
                  <a:off x="9505080" y="4336697"/>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6" name="Freeform 1055">
                  <a:extLst>
                    <a:ext uri="{FF2B5EF4-FFF2-40B4-BE49-F238E27FC236}">
                      <a16:creationId xmlns:a16="http://schemas.microsoft.com/office/drawing/2014/main" id="{D5B9D25A-3C59-4283-A285-80E63A681626}"/>
                    </a:ext>
                  </a:extLst>
                </p:cNvPr>
                <p:cNvSpPr/>
                <p:nvPr/>
              </p:nvSpPr>
              <p:spPr>
                <a:xfrm>
                  <a:off x="9527093" y="4314684"/>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57" name="Graphic 1006">
                <a:extLst>
                  <a:ext uri="{FF2B5EF4-FFF2-40B4-BE49-F238E27FC236}">
                    <a16:creationId xmlns:a16="http://schemas.microsoft.com/office/drawing/2014/main" id="{CED9EDAF-6A4B-F8B8-84B3-A277C25ADDFD}"/>
                  </a:ext>
                </a:extLst>
              </p:cNvPr>
              <p:cNvGrpSpPr/>
              <p:nvPr/>
            </p:nvGrpSpPr>
            <p:grpSpPr>
              <a:xfrm>
                <a:off x="9511965" y="4327046"/>
                <a:ext cx="44026" cy="44026"/>
                <a:chOff x="9511965" y="4327046"/>
                <a:chExt cx="44026" cy="44026"/>
              </a:xfrm>
            </p:grpSpPr>
            <p:sp>
              <p:nvSpPr>
                <p:cNvPr id="1058" name="Freeform 1057">
                  <a:extLst>
                    <a:ext uri="{FF2B5EF4-FFF2-40B4-BE49-F238E27FC236}">
                      <a16:creationId xmlns:a16="http://schemas.microsoft.com/office/drawing/2014/main" id="{2CD1DB1A-1822-6AEA-FE21-6EF7FDDDE1C2}"/>
                    </a:ext>
                  </a:extLst>
                </p:cNvPr>
                <p:cNvSpPr/>
                <p:nvPr/>
              </p:nvSpPr>
              <p:spPr>
                <a:xfrm>
                  <a:off x="9511965" y="4349059"/>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9" name="Freeform 1058">
                  <a:extLst>
                    <a:ext uri="{FF2B5EF4-FFF2-40B4-BE49-F238E27FC236}">
                      <a16:creationId xmlns:a16="http://schemas.microsoft.com/office/drawing/2014/main" id="{3EB45240-D922-E3C3-C74C-754461FA0085}"/>
                    </a:ext>
                  </a:extLst>
                </p:cNvPr>
                <p:cNvSpPr/>
                <p:nvPr/>
              </p:nvSpPr>
              <p:spPr>
                <a:xfrm>
                  <a:off x="9533979" y="4327046"/>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60" name="Graphic 1006">
                <a:extLst>
                  <a:ext uri="{FF2B5EF4-FFF2-40B4-BE49-F238E27FC236}">
                    <a16:creationId xmlns:a16="http://schemas.microsoft.com/office/drawing/2014/main" id="{8F00131B-B7E6-E598-35A3-4036F90AADA5}"/>
                  </a:ext>
                </a:extLst>
              </p:cNvPr>
              <p:cNvGrpSpPr/>
              <p:nvPr/>
            </p:nvGrpSpPr>
            <p:grpSpPr>
              <a:xfrm>
                <a:off x="9548618" y="4343854"/>
                <a:ext cx="44026" cy="44026"/>
                <a:chOff x="9548618" y="4343854"/>
                <a:chExt cx="44026" cy="44026"/>
              </a:xfrm>
            </p:grpSpPr>
            <p:sp>
              <p:nvSpPr>
                <p:cNvPr id="1061" name="Freeform 1060">
                  <a:extLst>
                    <a:ext uri="{FF2B5EF4-FFF2-40B4-BE49-F238E27FC236}">
                      <a16:creationId xmlns:a16="http://schemas.microsoft.com/office/drawing/2014/main" id="{FBDEC119-EA94-D624-32FB-5D872A5A1F1F}"/>
                    </a:ext>
                  </a:extLst>
                </p:cNvPr>
                <p:cNvSpPr/>
                <p:nvPr/>
              </p:nvSpPr>
              <p:spPr>
                <a:xfrm>
                  <a:off x="9548618" y="4365867"/>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2" name="Freeform 1061">
                  <a:extLst>
                    <a:ext uri="{FF2B5EF4-FFF2-40B4-BE49-F238E27FC236}">
                      <a16:creationId xmlns:a16="http://schemas.microsoft.com/office/drawing/2014/main" id="{6EE0C56B-5B82-22FF-0753-A3D822EEEA97}"/>
                    </a:ext>
                  </a:extLst>
                </p:cNvPr>
                <p:cNvSpPr/>
                <p:nvPr/>
              </p:nvSpPr>
              <p:spPr>
                <a:xfrm>
                  <a:off x="9570631" y="4343854"/>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63" name="Graphic 1006">
                <a:extLst>
                  <a:ext uri="{FF2B5EF4-FFF2-40B4-BE49-F238E27FC236}">
                    <a16:creationId xmlns:a16="http://schemas.microsoft.com/office/drawing/2014/main" id="{B7E3387D-2A08-6FDA-20B5-2FF5FE9C38A0}"/>
                  </a:ext>
                </a:extLst>
              </p:cNvPr>
              <p:cNvGrpSpPr/>
              <p:nvPr/>
            </p:nvGrpSpPr>
            <p:grpSpPr>
              <a:xfrm>
                <a:off x="9532786" y="4337944"/>
                <a:ext cx="44026" cy="44026"/>
                <a:chOff x="9532786" y="4337944"/>
                <a:chExt cx="44026" cy="44026"/>
              </a:xfrm>
            </p:grpSpPr>
            <p:sp>
              <p:nvSpPr>
                <p:cNvPr id="1064" name="Freeform 1063">
                  <a:extLst>
                    <a:ext uri="{FF2B5EF4-FFF2-40B4-BE49-F238E27FC236}">
                      <a16:creationId xmlns:a16="http://schemas.microsoft.com/office/drawing/2014/main" id="{0C00CAAA-68A7-E21F-7685-88872AAAD07F}"/>
                    </a:ext>
                  </a:extLst>
                </p:cNvPr>
                <p:cNvSpPr/>
                <p:nvPr/>
              </p:nvSpPr>
              <p:spPr>
                <a:xfrm>
                  <a:off x="9532786" y="4359957"/>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5" name="Freeform 1064">
                  <a:extLst>
                    <a:ext uri="{FF2B5EF4-FFF2-40B4-BE49-F238E27FC236}">
                      <a16:creationId xmlns:a16="http://schemas.microsoft.com/office/drawing/2014/main" id="{79F04E68-8526-9D37-ADC6-E9173B0AEEA4}"/>
                    </a:ext>
                  </a:extLst>
                </p:cNvPr>
                <p:cNvSpPr/>
                <p:nvPr/>
              </p:nvSpPr>
              <p:spPr>
                <a:xfrm>
                  <a:off x="9554799" y="4337944"/>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66" name="Graphic 1006">
                <a:extLst>
                  <a:ext uri="{FF2B5EF4-FFF2-40B4-BE49-F238E27FC236}">
                    <a16:creationId xmlns:a16="http://schemas.microsoft.com/office/drawing/2014/main" id="{D08F707F-F25E-541B-5B71-BF1F40138626}"/>
                  </a:ext>
                </a:extLst>
              </p:cNvPr>
              <p:cNvGrpSpPr/>
              <p:nvPr/>
            </p:nvGrpSpPr>
            <p:grpSpPr>
              <a:xfrm>
                <a:off x="9564396" y="4344830"/>
                <a:ext cx="44080" cy="44026"/>
                <a:chOff x="9564396" y="4344830"/>
                <a:chExt cx="44080" cy="44026"/>
              </a:xfrm>
            </p:grpSpPr>
            <p:sp>
              <p:nvSpPr>
                <p:cNvPr id="1067" name="Freeform 1066">
                  <a:extLst>
                    <a:ext uri="{FF2B5EF4-FFF2-40B4-BE49-F238E27FC236}">
                      <a16:creationId xmlns:a16="http://schemas.microsoft.com/office/drawing/2014/main" id="{2303B671-2AE4-CFA7-BEE5-7FB4809A3444}"/>
                    </a:ext>
                  </a:extLst>
                </p:cNvPr>
                <p:cNvSpPr/>
                <p:nvPr/>
              </p:nvSpPr>
              <p:spPr>
                <a:xfrm>
                  <a:off x="9564396" y="4366843"/>
                  <a:ext cx="44080" cy="5421"/>
                </a:xfrm>
                <a:custGeom>
                  <a:avLst/>
                  <a:gdLst>
                    <a:gd name="connsiteX0" fmla="*/ 0 w 44080"/>
                    <a:gd name="connsiteY0" fmla="*/ 0 h 5421"/>
                    <a:gd name="connsiteX1" fmla="*/ 44081 w 44080"/>
                    <a:gd name="connsiteY1" fmla="*/ 0 h 5421"/>
                  </a:gdLst>
                  <a:ahLst/>
                  <a:cxnLst>
                    <a:cxn ang="0">
                      <a:pos x="connsiteX0" y="connsiteY0"/>
                    </a:cxn>
                    <a:cxn ang="0">
                      <a:pos x="connsiteX1" y="connsiteY1"/>
                    </a:cxn>
                  </a:cxnLst>
                  <a:rect l="l" t="t" r="r" b="b"/>
                  <a:pathLst>
                    <a:path w="44080" h="5421">
                      <a:moveTo>
                        <a:pt x="0" y="0"/>
                      </a:moveTo>
                      <a:lnTo>
                        <a:pt x="4408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8" name="Freeform 1067">
                  <a:extLst>
                    <a:ext uri="{FF2B5EF4-FFF2-40B4-BE49-F238E27FC236}">
                      <a16:creationId xmlns:a16="http://schemas.microsoft.com/office/drawing/2014/main" id="{106C4202-3DFB-C860-3FFB-243DEABDE2D1}"/>
                    </a:ext>
                  </a:extLst>
                </p:cNvPr>
                <p:cNvSpPr/>
                <p:nvPr/>
              </p:nvSpPr>
              <p:spPr>
                <a:xfrm>
                  <a:off x="9586409" y="4344830"/>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69" name="Graphic 1006">
                <a:extLst>
                  <a:ext uri="{FF2B5EF4-FFF2-40B4-BE49-F238E27FC236}">
                    <a16:creationId xmlns:a16="http://schemas.microsoft.com/office/drawing/2014/main" id="{353613E0-C6AD-97C1-C5AD-D54B24174E76}"/>
                  </a:ext>
                </a:extLst>
              </p:cNvPr>
              <p:cNvGrpSpPr/>
              <p:nvPr/>
            </p:nvGrpSpPr>
            <p:grpSpPr>
              <a:xfrm>
                <a:off x="9598066" y="4351770"/>
                <a:ext cx="44026" cy="44026"/>
                <a:chOff x="9598066" y="4351770"/>
                <a:chExt cx="44026" cy="44026"/>
              </a:xfrm>
            </p:grpSpPr>
            <p:sp>
              <p:nvSpPr>
                <p:cNvPr id="1070" name="Freeform 1069">
                  <a:extLst>
                    <a:ext uri="{FF2B5EF4-FFF2-40B4-BE49-F238E27FC236}">
                      <a16:creationId xmlns:a16="http://schemas.microsoft.com/office/drawing/2014/main" id="{2EB4F01B-B945-5EBC-92D2-A58EAFAE8D32}"/>
                    </a:ext>
                  </a:extLst>
                </p:cNvPr>
                <p:cNvSpPr/>
                <p:nvPr/>
              </p:nvSpPr>
              <p:spPr>
                <a:xfrm>
                  <a:off x="9598066" y="4373783"/>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1" name="Freeform 1070">
                  <a:extLst>
                    <a:ext uri="{FF2B5EF4-FFF2-40B4-BE49-F238E27FC236}">
                      <a16:creationId xmlns:a16="http://schemas.microsoft.com/office/drawing/2014/main" id="{37FC2A4B-4462-DD01-A5DE-75FF85A8C2C0}"/>
                    </a:ext>
                  </a:extLst>
                </p:cNvPr>
                <p:cNvSpPr/>
                <p:nvPr/>
              </p:nvSpPr>
              <p:spPr>
                <a:xfrm>
                  <a:off x="9620080" y="4351770"/>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72" name="Graphic 1006">
                <a:extLst>
                  <a:ext uri="{FF2B5EF4-FFF2-40B4-BE49-F238E27FC236}">
                    <a16:creationId xmlns:a16="http://schemas.microsoft.com/office/drawing/2014/main" id="{121700AD-10DC-A027-2C76-D90EBCD94075}"/>
                  </a:ext>
                </a:extLst>
              </p:cNvPr>
              <p:cNvGrpSpPr/>
              <p:nvPr/>
            </p:nvGrpSpPr>
            <p:grpSpPr>
              <a:xfrm>
                <a:off x="9610917" y="4356216"/>
                <a:ext cx="44026" cy="44026"/>
                <a:chOff x="9610917" y="4356216"/>
                <a:chExt cx="44026" cy="44026"/>
              </a:xfrm>
            </p:grpSpPr>
            <p:sp>
              <p:nvSpPr>
                <p:cNvPr id="1073" name="Freeform 1072">
                  <a:extLst>
                    <a:ext uri="{FF2B5EF4-FFF2-40B4-BE49-F238E27FC236}">
                      <a16:creationId xmlns:a16="http://schemas.microsoft.com/office/drawing/2014/main" id="{302E731A-C416-58F9-E158-996C6ED7EDE1}"/>
                    </a:ext>
                  </a:extLst>
                </p:cNvPr>
                <p:cNvSpPr/>
                <p:nvPr/>
              </p:nvSpPr>
              <p:spPr>
                <a:xfrm>
                  <a:off x="9610917" y="4378229"/>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4" name="Freeform 1073">
                  <a:extLst>
                    <a:ext uri="{FF2B5EF4-FFF2-40B4-BE49-F238E27FC236}">
                      <a16:creationId xmlns:a16="http://schemas.microsoft.com/office/drawing/2014/main" id="{CE6BEC03-0733-FFF4-3718-9A62C03BD489}"/>
                    </a:ext>
                  </a:extLst>
                </p:cNvPr>
                <p:cNvSpPr/>
                <p:nvPr/>
              </p:nvSpPr>
              <p:spPr>
                <a:xfrm>
                  <a:off x="9632930" y="4356216"/>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75" name="Graphic 1006">
                <a:extLst>
                  <a:ext uri="{FF2B5EF4-FFF2-40B4-BE49-F238E27FC236}">
                    <a16:creationId xmlns:a16="http://schemas.microsoft.com/office/drawing/2014/main" id="{73FDFCF5-FE64-3F9B-B5F3-B0EF088F97EF}"/>
                  </a:ext>
                </a:extLst>
              </p:cNvPr>
              <p:cNvGrpSpPr/>
              <p:nvPr/>
            </p:nvGrpSpPr>
            <p:grpSpPr>
              <a:xfrm>
                <a:off x="9624797" y="4371072"/>
                <a:ext cx="44026" cy="44026"/>
                <a:chOff x="9624797" y="4371072"/>
                <a:chExt cx="44026" cy="44026"/>
              </a:xfrm>
            </p:grpSpPr>
            <p:sp>
              <p:nvSpPr>
                <p:cNvPr id="1076" name="Freeform 1075">
                  <a:extLst>
                    <a:ext uri="{FF2B5EF4-FFF2-40B4-BE49-F238E27FC236}">
                      <a16:creationId xmlns:a16="http://schemas.microsoft.com/office/drawing/2014/main" id="{287260CA-0ECC-912D-8A46-3E83E825C8F4}"/>
                    </a:ext>
                  </a:extLst>
                </p:cNvPr>
                <p:cNvSpPr/>
                <p:nvPr/>
              </p:nvSpPr>
              <p:spPr>
                <a:xfrm>
                  <a:off x="9624797" y="4393086"/>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7" name="Freeform 1076">
                  <a:extLst>
                    <a:ext uri="{FF2B5EF4-FFF2-40B4-BE49-F238E27FC236}">
                      <a16:creationId xmlns:a16="http://schemas.microsoft.com/office/drawing/2014/main" id="{922E9A3D-B96B-4214-4987-499C377BD732}"/>
                    </a:ext>
                  </a:extLst>
                </p:cNvPr>
                <p:cNvSpPr/>
                <p:nvPr/>
              </p:nvSpPr>
              <p:spPr>
                <a:xfrm>
                  <a:off x="9646810" y="4371072"/>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78" name="Graphic 1006">
                <a:extLst>
                  <a:ext uri="{FF2B5EF4-FFF2-40B4-BE49-F238E27FC236}">
                    <a16:creationId xmlns:a16="http://schemas.microsoft.com/office/drawing/2014/main" id="{8C54890C-EF7B-3240-60D5-E312E58E9F6C}"/>
                  </a:ext>
                </a:extLst>
              </p:cNvPr>
              <p:cNvGrpSpPr/>
              <p:nvPr/>
            </p:nvGrpSpPr>
            <p:grpSpPr>
              <a:xfrm>
                <a:off x="9640087" y="4388857"/>
                <a:ext cx="44080" cy="44026"/>
                <a:chOff x="9640087" y="4388857"/>
                <a:chExt cx="44080" cy="44026"/>
              </a:xfrm>
            </p:grpSpPr>
            <p:sp>
              <p:nvSpPr>
                <p:cNvPr id="1079" name="Freeform 1078">
                  <a:extLst>
                    <a:ext uri="{FF2B5EF4-FFF2-40B4-BE49-F238E27FC236}">
                      <a16:creationId xmlns:a16="http://schemas.microsoft.com/office/drawing/2014/main" id="{741FC141-798D-3479-D8BC-AD9C56B34105}"/>
                    </a:ext>
                  </a:extLst>
                </p:cNvPr>
                <p:cNvSpPr/>
                <p:nvPr/>
              </p:nvSpPr>
              <p:spPr>
                <a:xfrm>
                  <a:off x="9640087" y="4410870"/>
                  <a:ext cx="44080" cy="5421"/>
                </a:xfrm>
                <a:custGeom>
                  <a:avLst/>
                  <a:gdLst>
                    <a:gd name="connsiteX0" fmla="*/ 0 w 44080"/>
                    <a:gd name="connsiteY0" fmla="*/ 0 h 5421"/>
                    <a:gd name="connsiteX1" fmla="*/ 44081 w 44080"/>
                    <a:gd name="connsiteY1" fmla="*/ 0 h 5421"/>
                  </a:gdLst>
                  <a:ahLst/>
                  <a:cxnLst>
                    <a:cxn ang="0">
                      <a:pos x="connsiteX0" y="connsiteY0"/>
                    </a:cxn>
                    <a:cxn ang="0">
                      <a:pos x="connsiteX1" y="connsiteY1"/>
                    </a:cxn>
                  </a:cxnLst>
                  <a:rect l="l" t="t" r="r" b="b"/>
                  <a:pathLst>
                    <a:path w="44080" h="5421">
                      <a:moveTo>
                        <a:pt x="0" y="0"/>
                      </a:moveTo>
                      <a:lnTo>
                        <a:pt x="4408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0" name="Freeform 1079">
                  <a:extLst>
                    <a:ext uri="{FF2B5EF4-FFF2-40B4-BE49-F238E27FC236}">
                      <a16:creationId xmlns:a16="http://schemas.microsoft.com/office/drawing/2014/main" id="{5496D395-DFFD-2155-E2B5-43972FC77520}"/>
                    </a:ext>
                  </a:extLst>
                </p:cNvPr>
                <p:cNvSpPr/>
                <p:nvPr/>
              </p:nvSpPr>
              <p:spPr>
                <a:xfrm>
                  <a:off x="9662100" y="4388857"/>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81" name="Graphic 1006">
                <a:extLst>
                  <a:ext uri="{FF2B5EF4-FFF2-40B4-BE49-F238E27FC236}">
                    <a16:creationId xmlns:a16="http://schemas.microsoft.com/office/drawing/2014/main" id="{AB5A903B-6573-57BB-429D-B608A6DC8331}"/>
                  </a:ext>
                </a:extLst>
              </p:cNvPr>
              <p:cNvGrpSpPr/>
              <p:nvPr/>
            </p:nvGrpSpPr>
            <p:grpSpPr>
              <a:xfrm>
                <a:off x="9651961" y="4398779"/>
                <a:ext cx="44026" cy="44026"/>
                <a:chOff x="9651961" y="4398779"/>
                <a:chExt cx="44026" cy="44026"/>
              </a:xfrm>
            </p:grpSpPr>
            <p:sp>
              <p:nvSpPr>
                <p:cNvPr id="1082" name="Freeform 1081">
                  <a:extLst>
                    <a:ext uri="{FF2B5EF4-FFF2-40B4-BE49-F238E27FC236}">
                      <a16:creationId xmlns:a16="http://schemas.microsoft.com/office/drawing/2014/main" id="{769E72AD-A3F4-61A1-8397-D42D4A165E74}"/>
                    </a:ext>
                  </a:extLst>
                </p:cNvPr>
                <p:cNvSpPr/>
                <p:nvPr/>
              </p:nvSpPr>
              <p:spPr>
                <a:xfrm>
                  <a:off x="9651961" y="4420792"/>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3" name="Freeform 1082">
                  <a:extLst>
                    <a:ext uri="{FF2B5EF4-FFF2-40B4-BE49-F238E27FC236}">
                      <a16:creationId xmlns:a16="http://schemas.microsoft.com/office/drawing/2014/main" id="{E2924827-F7E2-483B-950F-1F1BD7A943B6}"/>
                    </a:ext>
                  </a:extLst>
                </p:cNvPr>
                <p:cNvSpPr/>
                <p:nvPr/>
              </p:nvSpPr>
              <p:spPr>
                <a:xfrm>
                  <a:off x="9673974" y="4398779"/>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84" name="Graphic 1006">
                <a:extLst>
                  <a:ext uri="{FF2B5EF4-FFF2-40B4-BE49-F238E27FC236}">
                    <a16:creationId xmlns:a16="http://schemas.microsoft.com/office/drawing/2014/main" id="{C3197C41-F687-63ED-52BA-CFE8D96E4438}"/>
                  </a:ext>
                </a:extLst>
              </p:cNvPr>
              <p:cNvGrpSpPr/>
              <p:nvPr/>
            </p:nvGrpSpPr>
            <p:grpSpPr>
              <a:xfrm>
                <a:off x="9664865" y="4420521"/>
                <a:ext cx="44026" cy="44026"/>
                <a:chOff x="9664865" y="4420521"/>
                <a:chExt cx="44026" cy="44026"/>
              </a:xfrm>
            </p:grpSpPr>
            <p:sp>
              <p:nvSpPr>
                <p:cNvPr id="1085" name="Freeform 1084">
                  <a:extLst>
                    <a:ext uri="{FF2B5EF4-FFF2-40B4-BE49-F238E27FC236}">
                      <a16:creationId xmlns:a16="http://schemas.microsoft.com/office/drawing/2014/main" id="{58E31944-6814-E5B3-809E-9E9AA3A6F784}"/>
                    </a:ext>
                  </a:extLst>
                </p:cNvPr>
                <p:cNvSpPr/>
                <p:nvPr/>
              </p:nvSpPr>
              <p:spPr>
                <a:xfrm>
                  <a:off x="9664865" y="4442534"/>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6" name="Freeform 1085">
                  <a:extLst>
                    <a:ext uri="{FF2B5EF4-FFF2-40B4-BE49-F238E27FC236}">
                      <a16:creationId xmlns:a16="http://schemas.microsoft.com/office/drawing/2014/main" id="{C0200B03-1338-5D27-9265-90D2A6701472}"/>
                    </a:ext>
                  </a:extLst>
                </p:cNvPr>
                <p:cNvSpPr/>
                <p:nvPr/>
              </p:nvSpPr>
              <p:spPr>
                <a:xfrm>
                  <a:off x="9686878" y="4420521"/>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87" name="Graphic 1006">
                <a:extLst>
                  <a:ext uri="{FF2B5EF4-FFF2-40B4-BE49-F238E27FC236}">
                    <a16:creationId xmlns:a16="http://schemas.microsoft.com/office/drawing/2014/main" id="{40EE5A29-BBC5-618C-BD84-3FF9AE962154}"/>
                  </a:ext>
                </a:extLst>
              </p:cNvPr>
              <p:cNvGrpSpPr/>
              <p:nvPr/>
            </p:nvGrpSpPr>
            <p:grpSpPr>
              <a:xfrm>
                <a:off x="9682649" y="4445787"/>
                <a:ext cx="44026" cy="44026"/>
                <a:chOff x="9682649" y="4445787"/>
                <a:chExt cx="44026" cy="44026"/>
              </a:xfrm>
            </p:grpSpPr>
            <p:sp>
              <p:nvSpPr>
                <p:cNvPr id="1088" name="Freeform 1087">
                  <a:extLst>
                    <a:ext uri="{FF2B5EF4-FFF2-40B4-BE49-F238E27FC236}">
                      <a16:creationId xmlns:a16="http://schemas.microsoft.com/office/drawing/2014/main" id="{2721E883-2E89-2A7A-CBA2-271BF4FE7558}"/>
                    </a:ext>
                  </a:extLst>
                </p:cNvPr>
                <p:cNvSpPr/>
                <p:nvPr/>
              </p:nvSpPr>
              <p:spPr>
                <a:xfrm>
                  <a:off x="9682649" y="4467801"/>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9" name="Freeform 1088">
                  <a:extLst>
                    <a:ext uri="{FF2B5EF4-FFF2-40B4-BE49-F238E27FC236}">
                      <a16:creationId xmlns:a16="http://schemas.microsoft.com/office/drawing/2014/main" id="{1CBD3F94-D593-BEC6-544F-65DD76A0293B}"/>
                    </a:ext>
                  </a:extLst>
                </p:cNvPr>
                <p:cNvSpPr/>
                <p:nvPr/>
              </p:nvSpPr>
              <p:spPr>
                <a:xfrm>
                  <a:off x="9704663" y="4445787"/>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90" name="Graphic 1006">
                <a:extLst>
                  <a:ext uri="{FF2B5EF4-FFF2-40B4-BE49-F238E27FC236}">
                    <a16:creationId xmlns:a16="http://schemas.microsoft.com/office/drawing/2014/main" id="{5E07216D-DA33-D51F-3C31-ECB95EF2EC8A}"/>
                  </a:ext>
                </a:extLst>
              </p:cNvPr>
              <p:cNvGrpSpPr/>
              <p:nvPr/>
            </p:nvGrpSpPr>
            <p:grpSpPr>
              <a:xfrm>
                <a:off x="9688613" y="4445299"/>
                <a:ext cx="44026" cy="44026"/>
                <a:chOff x="9688613" y="4445299"/>
                <a:chExt cx="44026" cy="44026"/>
              </a:xfrm>
            </p:grpSpPr>
            <p:sp>
              <p:nvSpPr>
                <p:cNvPr id="1091" name="Freeform 1090">
                  <a:extLst>
                    <a:ext uri="{FF2B5EF4-FFF2-40B4-BE49-F238E27FC236}">
                      <a16:creationId xmlns:a16="http://schemas.microsoft.com/office/drawing/2014/main" id="{2A571F50-BB4D-70C6-12AC-8D244B206D31}"/>
                    </a:ext>
                  </a:extLst>
                </p:cNvPr>
                <p:cNvSpPr/>
                <p:nvPr/>
              </p:nvSpPr>
              <p:spPr>
                <a:xfrm>
                  <a:off x="9688613" y="4467313"/>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2" name="Freeform 1091">
                  <a:extLst>
                    <a:ext uri="{FF2B5EF4-FFF2-40B4-BE49-F238E27FC236}">
                      <a16:creationId xmlns:a16="http://schemas.microsoft.com/office/drawing/2014/main" id="{CD413DF7-03BA-8B67-1CC4-CFCC04ACDD3C}"/>
                    </a:ext>
                  </a:extLst>
                </p:cNvPr>
                <p:cNvSpPr/>
                <p:nvPr/>
              </p:nvSpPr>
              <p:spPr>
                <a:xfrm>
                  <a:off x="9710627" y="4445299"/>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93" name="Graphic 1006">
                <a:extLst>
                  <a:ext uri="{FF2B5EF4-FFF2-40B4-BE49-F238E27FC236}">
                    <a16:creationId xmlns:a16="http://schemas.microsoft.com/office/drawing/2014/main" id="{9024980F-DE02-DC47-04E9-1B4619A33724}"/>
                  </a:ext>
                </a:extLst>
              </p:cNvPr>
              <p:cNvGrpSpPr/>
              <p:nvPr/>
            </p:nvGrpSpPr>
            <p:grpSpPr>
              <a:xfrm>
                <a:off x="9695987" y="4445299"/>
                <a:ext cx="44080" cy="44026"/>
                <a:chOff x="9695987" y="4445299"/>
                <a:chExt cx="44080" cy="44026"/>
              </a:xfrm>
            </p:grpSpPr>
            <p:sp>
              <p:nvSpPr>
                <p:cNvPr id="1094" name="Freeform 1093">
                  <a:extLst>
                    <a:ext uri="{FF2B5EF4-FFF2-40B4-BE49-F238E27FC236}">
                      <a16:creationId xmlns:a16="http://schemas.microsoft.com/office/drawing/2014/main" id="{0DD6FB38-42AE-36C4-8C5F-87CB291E04D3}"/>
                    </a:ext>
                  </a:extLst>
                </p:cNvPr>
                <p:cNvSpPr/>
                <p:nvPr/>
              </p:nvSpPr>
              <p:spPr>
                <a:xfrm>
                  <a:off x="9695987" y="4467313"/>
                  <a:ext cx="44080" cy="5421"/>
                </a:xfrm>
                <a:custGeom>
                  <a:avLst/>
                  <a:gdLst>
                    <a:gd name="connsiteX0" fmla="*/ 0 w 44080"/>
                    <a:gd name="connsiteY0" fmla="*/ 0 h 5421"/>
                    <a:gd name="connsiteX1" fmla="*/ 44081 w 44080"/>
                    <a:gd name="connsiteY1" fmla="*/ 0 h 5421"/>
                  </a:gdLst>
                  <a:ahLst/>
                  <a:cxnLst>
                    <a:cxn ang="0">
                      <a:pos x="connsiteX0" y="connsiteY0"/>
                    </a:cxn>
                    <a:cxn ang="0">
                      <a:pos x="connsiteX1" y="connsiteY1"/>
                    </a:cxn>
                  </a:cxnLst>
                  <a:rect l="l" t="t" r="r" b="b"/>
                  <a:pathLst>
                    <a:path w="44080" h="5421">
                      <a:moveTo>
                        <a:pt x="0" y="0"/>
                      </a:moveTo>
                      <a:lnTo>
                        <a:pt x="4408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5" name="Freeform 1094">
                  <a:extLst>
                    <a:ext uri="{FF2B5EF4-FFF2-40B4-BE49-F238E27FC236}">
                      <a16:creationId xmlns:a16="http://schemas.microsoft.com/office/drawing/2014/main" id="{65CCF00B-11BE-8AFD-AC57-CB9F488E2D93}"/>
                    </a:ext>
                  </a:extLst>
                </p:cNvPr>
                <p:cNvSpPr/>
                <p:nvPr/>
              </p:nvSpPr>
              <p:spPr>
                <a:xfrm>
                  <a:off x="9718055" y="4445299"/>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96" name="Graphic 1006">
                <a:extLst>
                  <a:ext uri="{FF2B5EF4-FFF2-40B4-BE49-F238E27FC236}">
                    <a16:creationId xmlns:a16="http://schemas.microsoft.com/office/drawing/2014/main" id="{51DCAA51-9B2F-4E54-2EAA-2C131696495F}"/>
                  </a:ext>
                </a:extLst>
              </p:cNvPr>
              <p:cNvGrpSpPr/>
              <p:nvPr/>
            </p:nvGrpSpPr>
            <p:grpSpPr>
              <a:xfrm>
                <a:off x="9738170" y="4487645"/>
                <a:ext cx="44026" cy="44026"/>
                <a:chOff x="9738170" y="4487645"/>
                <a:chExt cx="44026" cy="44026"/>
              </a:xfrm>
            </p:grpSpPr>
            <p:sp>
              <p:nvSpPr>
                <p:cNvPr id="1097" name="Freeform 1096">
                  <a:extLst>
                    <a:ext uri="{FF2B5EF4-FFF2-40B4-BE49-F238E27FC236}">
                      <a16:creationId xmlns:a16="http://schemas.microsoft.com/office/drawing/2014/main" id="{F5EB15BB-61B0-6AD4-8E55-4B5ED6207A86}"/>
                    </a:ext>
                  </a:extLst>
                </p:cNvPr>
                <p:cNvSpPr/>
                <p:nvPr/>
              </p:nvSpPr>
              <p:spPr>
                <a:xfrm>
                  <a:off x="9738170" y="4509658"/>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8" name="Freeform 1097">
                  <a:extLst>
                    <a:ext uri="{FF2B5EF4-FFF2-40B4-BE49-F238E27FC236}">
                      <a16:creationId xmlns:a16="http://schemas.microsoft.com/office/drawing/2014/main" id="{7A50DEE2-E34F-4E39-3073-35BB22C240B4}"/>
                    </a:ext>
                  </a:extLst>
                </p:cNvPr>
                <p:cNvSpPr/>
                <p:nvPr/>
              </p:nvSpPr>
              <p:spPr>
                <a:xfrm>
                  <a:off x="9760184" y="4487645"/>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99" name="Graphic 1006">
                <a:extLst>
                  <a:ext uri="{FF2B5EF4-FFF2-40B4-BE49-F238E27FC236}">
                    <a16:creationId xmlns:a16="http://schemas.microsoft.com/office/drawing/2014/main" id="{D181625A-FEA1-58A5-BE20-024A6CD2DD24}"/>
                  </a:ext>
                </a:extLst>
              </p:cNvPr>
              <p:cNvGrpSpPr/>
              <p:nvPr/>
            </p:nvGrpSpPr>
            <p:grpSpPr>
              <a:xfrm>
                <a:off x="9743592" y="4498001"/>
                <a:ext cx="44026" cy="44026"/>
                <a:chOff x="9743592" y="4498001"/>
                <a:chExt cx="44026" cy="44026"/>
              </a:xfrm>
            </p:grpSpPr>
            <p:sp>
              <p:nvSpPr>
                <p:cNvPr id="1100" name="Freeform 1099">
                  <a:extLst>
                    <a:ext uri="{FF2B5EF4-FFF2-40B4-BE49-F238E27FC236}">
                      <a16:creationId xmlns:a16="http://schemas.microsoft.com/office/drawing/2014/main" id="{ADFF8ABE-57EC-7EC1-69B1-107A7A902858}"/>
                    </a:ext>
                  </a:extLst>
                </p:cNvPr>
                <p:cNvSpPr/>
                <p:nvPr/>
              </p:nvSpPr>
              <p:spPr>
                <a:xfrm>
                  <a:off x="9743592" y="4520014"/>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1" name="Freeform 1100">
                  <a:extLst>
                    <a:ext uri="{FF2B5EF4-FFF2-40B4-BE49-F238E27FC236}">
                      <a16:creationId xmlns:a16="http://schemas.microsoft.com/office/drawing/2014/main" id="{98DB201B-BD43-2145-4361-7EDC7DCD84EE}"/>
                    </a:ext>
                  </a:extLst>
                </p:cNvPr>
                <p:cNvSpPr/>
                <p:nvPr/>
              </p:nvSpPr>
              <p:spPr>
                <a:xfrm>
                  <a:off x="9765606" y="4498001"/>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02" name="Graphic 1006">
                <a:extLst>
                  <a:ext uri="{FF2B5EF4-FFF2-40B4-BE49-F238E27FC236}">
                    <a16:creationId xmlns:a16="http://schemas.microsoft.com/office/drawing/2014/main" id="{AF2445A5-0E61-1F1B-ED1A-F666CFB45A1D}"/>
                  </a:ext>
                </a:extLst>
              </p:cNvPr>
              <p:cNvGrpSpPr/>
              <p:nvPr/>
            </p:nvGrpSpPr>
            <p:grpSpPr>
              <a:xfrm>
                <a:off x="9786155" y="4495073"/>
                <a:ext cx="44026" cy="44026"/>
                <a:chOff x="9786155" y="4495073"/>
                <a:chExt cx="44026" cy="44026"/>
              </a:xfrm>
            </p:grpSpPr>
            <p:sp>
              <p:nvSpPr>
                <p:cNvPr id="1103" name="Freeform 1102">
                  <a:extLst>
                    <a:ext uri="{FF2B5EF4-FFF2-40B4-BE49-F238E27FC236}">
                      <a16:creationId xmlns:a16="http://schemas.microsoft.com/office/drawing/2014/main" id="{6C389ED2-0A67-6F31-DB8C-94ED73C4D5BB}"/>
                    </a:ext>
                  </a:extLst>
                </p:cNvPr>
                <p:cNvSpPr/>
                <p:nvPr/>
              </p:nvSpPr>
              <p:spPr>
                <a:xfrm>
                  <a:off x="9786155" y="4517086"/>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4" name="Freeform 1103">
                  <a:extLst>
                    <a:ext uri="{FF2B5EF4-FFF2-40B4-BE49-F238E27FC236}">
                      <a16:creationId xmlns:a16="http://schemas.microsoft.com/office/drawing/2014/main" id="{391DA00D-5A72-4A36-2681-0C0479105154}"/>
                    </a:ext>
                  </a:extLst>
                </p:cNvPr>
                <p:cNvSpPr/>
                <p:nvPr/>
              </p:nvSpPr>
              <p:spPr>
                <a:xfrm>
                  <a:off x="9808168" y="4495073"/>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05" name="Graphic 1006">
                <a:extLst>
                  <a:ext uri="{FF2B5EF4-FFF2-40B4-BE49-F238E27FC236}">
                    <a16:creationId xmlns:a16="http://schemas.microsoft.com/office/drawing/2014/main" id="{5C74C285-155D-DC48-DB04-F7A2F88167E9}"/>
                  </a:ext>
                </a:extLst>
              </p:cNvPr>
              <p:cNvGrpSpPr/>
              <p:nvPr/>
            </p:nvGrpSpPr>
            <p:grpSpPr>
              <a:xfrm>
                <a:off x="9826711" y="4521261"/>
                <a:ext cx="44026" cy="44026"/>
                <a:chOff x="9826711" y="4521261"/>
                <a:chExt cx="44026" cy="44026"/>
              </a:xfrm>
            </p:grpSpPr>
            <p:sp>
              <p:nvSpPr>
                <p:cNvPr id="1106" name="Freeform 1105">
                  <a:extLst>
                    <a:ext uri="{FF2B5EF4-FFF2-40B4-BE49-F238E27FC236}">
                      <a16:creationId xmlns:a16="http://schemas.microsoft.com/office/drawing/2014/main" id="{AD0AFBD1-702B-0564-F987-CC1E24477DD1}"/>
                    </a:ext>
                  </a:extLst>
                </p:cNvPr>
                <p:cNvSpPr/>
                <p:nvPr/>
              </p:nvSpPr>
              <p:spPr>
                <a:xfrm>
                  <a:off x="9826711" y="4543274"/>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7" name="Freeform 1106">
                  <a:extLst>
                    <a:ext uri="{FF2B5EF4-FFF2-40B4-BE49-F238E27FC236}">
                      <a16:creationId xmlns:a16="http://schemas.microsoft.com/office/drawing/2014/main" id="{3593EC7A-A65A-7E87-A2E7-9EA9675ABDBA}"/>
                    </a:ext>
                  </a:extLst>
                </p:cNvPr>
                <p:cNvSpPr/>
                <p:nvPr/>
              </p:nvSpPr>
              <p:spPr>
                <a:xfrm>
                  <a:off x="9848724" y="4521261"/>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08" name="Graphic 1006">
                <a:extLst>
                  <a:ext uri="{FF2B5EF4-FFF2-40B4-BE49-F238E27FC236}">
                    <a16:creationId xmlns:a16="http://schemas.microsoft.com/office/drawing/2014/main" id="{A1CBE9ED-B9A9-2539-A61F-3D2545DEC633}"/>
                  </a:ext>
                </a:extLst>
              </p:cNvPr>
              <p:cNvGrpSpPr/>
              <p:nvPr/>
            </p:nvGrpSpPr>
            <p:grpSpPr>
              <a:xfrm>
                <a:off x="9897956" y="4590500"/>
                <a:ext cx="44026" cy="44080"/>
                <a:chOff x="9897956" y="4590500"/>
                <a:chExt cx="44026" cy="44080"/>
              </a:xfrm>
            </p:grpSpPr>
            <p:sp>
              <p:nvSpPr>
                <p:cNvPr id="1109" name="Freeform 1108">
                  <a:extLst>
                    <a:ext uri="{FF2B5EF4-FFF2-40B4-BE49-F238E27FC236}">
                      <a16:creationId xmlns:a16="http://schemas.microsoft.com/office/drawing/2014/main" id="{49E8BFA7-6BF3-5F7C-1377-26301C40DEA6}"/>
                    </a:ext>
                  </a:extLst>
                </p:cNvPr>
                <p:cNvSpPr/>
                <p:nvPr/>
              </p:nvSpPr>
              <p:spPr>
                <a:xfrm>
                  <a:off x="9897956" y="4612567"/>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0" name="Freeform 1109">
                  <a:extLst>
                    <a:ext uri="{FF2B5EF4-FFF2-40B4-BE49-F238E27FC236}">
                      <a16:creationId xmlns:a16="http://schemas.microsoft.com/office/drawing/2014/main" id="{5C6B863F-A214-CE55-F803-2063B215E507}"/>
                    </a:ext>
                  </a:extLst>
                </p:cNvPr>
                <p:cNvSpPr/>
                <p:nvPr/>
              </p:nvSpPr>
              <p:spPr>
                <a:xfrm>
                  <a:off x="9919969" y="4590500"/>
                  <a:ext cx="5421" cy="44080"/>
                </a:xfrm>
                <a:custGeom>
                  <a:avLst/>
                  <a:gdLst>
                    <a:gd name="connsiteX0" fmla="*/ 0 w 5421"/>
                    <a:gd name="connsiteY0" fmla="*/ 0 h 44080"/>
                    <a:gd name="connsiteX1" fmla="*/ 0 w 5421"/>
                    <a:gd name="connsiteY1" fmla="*/ 44081 h 44080"/>
                  </a:gdLst>
                  <a:ahLst/>
                  <a:cxnLst>
                    <a:cxn ang="0">
                      <a:pos x="connsiteX0" y="connsiteY0"/>
                    </a:cxn>
                    <a:cxn ang="0">
                      <a:pos x="connsiteX1" y="connsiteY1"/>
                    </a:cxn>
                  </a:cxnLst>
                  <a:rect l="l" t="t" r="r" b="b"/>
                  <a:pathLst>
                    <a:path w="5421" h="44080">
                      <a:moveTo>
                        <a:pt x="0" y="0"/>
                      </a:moveTo>
                      <a:lnTo>
                        <a:pt x="0" y="4408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11" name="Graphic 1006">
                <a:extLst>
                  <a:ext uri="{FF2B5EF4-FFF2-40B4-BE49-F238E27FC236}">
                    <a16:creationId xmlns:a16="http://schemas.microsoft.com/office/drawing/2014/main" id="{0470F07A-F9BB-ACFE-31CF-221AED61DFEF}"/>
                  </a:ext>
                </a:extLst>
              </p:cNvPr>
              <p:cNvGrpSpPr/>
              <p:nvPr/>
            </p:nvGrpSpPr>
            <p:grpSpPr>
              <a:xfrm>
                <a:off x="9903866" y="4590500"/>
                <a:ext cx="44026" cy="44080"/>
                <a:chOff x="9903866" y="4590500"/>
                <a:chExt cx="44026" cy="44080"/>
              </a:xfrm>
            </p:grpSpPr>
            <p:sp>
              <p:nvSpPr>
                <p:cNvPr id="1112" name="Freeform 1111">
                  <a:extLst>
                    <a:ext uri="{FF2B5EF4-FFF2-40B4-BE49-F238E27FC236}">
                      <a16:creationId xmlns:a16="http://schemas.microsoft.com/office/drawing/2014/main" id="{D8102894-A8A6-DAD6-3692-752D68FEC74B}"/>
                    </a:ext>
                  </a:extLst>
                </p:cNvPr>
                <p:cNvSpPr/>
                <p:nvPr/>
              </p:nvSpPr>
              <p:spPr>
                <a:xfrm>
                  <a:off x="9903866" y="4612567"/>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3" name="Freeform 1112">
                  <a:extLst>
                    <a:ext uri="{FF2B5EF4-FFF2-40B4-BE49-F238E27FC236}">
                      <a16:creationId xmlns:a16="http://schemas.microsoft.com/office/drawing/2014/main" id="{B6E568BA-CA41-48BE-2E67-6E740C5CACB2}"/>
                    </a:ext>
                  </a:extLst>
                </p:cNvPr>
                <p:cNvSpPr/>
                <p:nvPr/>
              </p:nvSpPr>
              <p:spPr>
                <a:xfrm>
                  <a:off x="9925879" y="4590500"/>
                  <a:ext cx="5421" cy="44080"/>
                </a:xfrm>
                <a:custGeom>
                  <a:avLst/>
                  <a:gdLst>
                    <a:gd name="connsiteX0" fmla="*/ 0 w 5421"/>
                    <a:gd name="connsiteY0" fmla="*/ 0 h 44080"/>
                    <a:gd name="connsiteX1" fmla="*/ 0 w 5421"/>
                    <a:gd name="connsiteY1" fmla="*/ 44081 h 44080"/>
                  </a:gdLst>
                  <a:ahLst/>
                  <a:cxnLst>
                    <a:cxn ang="0">
                      <a:pos x="connsiteX0" y="connsiteY0"/>
                    </a:cxn>
                    <a:cxn ang="0">
                      <a:pos x="connsiteX1" y="connsiteY1"/>
                    </a:cxn>
                  </a:cxnLst>
                  <a:rect l="l" t="t" r="r" b="b"/>
                  <a:pathLst>
                    <a:path w="5421" h="44080">
                      <a:moveTo>
                        <a:pt x="0" y="0"/>
                      </a:moveTo>
                      <a:lnTo>
                        <a:pt x="0" y="4408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14" name="Graphic 1006">
                <a:extLst>
                  <a:ext uri="{FF2B5EF4-FFF2-40B4-BE49-F238E27FC236}">
                    <a16:creationId xmlns:a16="http://schemas.microsoft.com/office/drawing/2014/main" id="{91968ABB-1EB6-BCE9-2FB2-B3F178255502}"/>
                  </a:ext>
                </a:extLst>
              </p:cNvPr>
              <p:cNvGrpSpPr/>
              <p:nvPr/>
            </p:nvGrpSpPr>
            <p:grpSpPr>
              <a:xfrm>
                <a:off x="9910806" y="4590500"/>
                <a:ext cx="44026" cy="44080"/>
                <a:chOff x="9910806" y="4590500"/>
                <a:chExt cx="44026" cy="44080"/>
              </a:xfrm>
            </p:grpSpPr>
            <p:sp>
              <p:nvSpPr>
                <p:cNvPr id="1115" name="Freeform 1114">
                  <a:extLst>
                    <a:ext uri="{FF2B5EF4-FFF2-40B4-BE49-F238E27FC236}">
                      <a16:creationId xmlns:a16="http://schemas.microsoft.com/office/drawing/2014/main" id="{BA2B7E7C-31A2-8ABA-D157-E54F487D88B9}"/>
                    </a:ext>
                  </a:extLst>
                </p:cNvPr>
                <p:cNvSpPr/>
                <p:nvPr/>
              </p:nvSpPr>
              <p:spPr>
                <a:xfrm>
                  <a:off x="9910806" y="4612567"/>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6" name="Freeform 1115">
                  <a:extLst>
                    <a:ext uri="{FF2B5EF4-FFF2-40B4-BE49-F238E27FC236}">
                      <a16:creationId xmlns:a16="http://schemas.microsoft.com/office/drawing/2014/main" id="{AC60E651-D51D-8D27-4216-157F0339E7FC}"/>
                    </a:ext>
                  </a:extLst>
                </p:cNvPr>
                <p:cNvSpPr/>
                <p:nvPr/>
              </p:nvSpPr>
              <p:spPr>
                <a:xfrm>
                  <a:off x="9932819" y="4590500"/>
                  <a:ext cx="5421" cy="44080"/>
                </a:xfrm>
                <a:custGeom>
                  <a:avLst/>
                  <a:gdLst>
                    <a:gd name="connsiteX0" fmla="*/ 0 w 5421"/>
                    <a:gd name="connsiteY0" fmla="*/ 0 h 44080"/>
                    <a:gd name="connsiteX1" fmla="*/ 0 w 5421"/>
                    <a:gd name="connsiteY1" fmla="*/ 44081 h 44080"/>
                  </a:gdLst>
                  <a:ahLst/>
                  <a:cxnLst>
                    <a:cxn ang="0">
                      <a:pos x="connsiteX0" y="connsiteY0"/>
                    </a:cxn>
                    <a:cxn ang="0">
                      <a:pos x="connsiteX1" y="connsiteY1"/>
                    </a:cxn>
                  </a:cxnLst>
                  <a:rect l="l" t="t" r="r" b="b"/>
                  <a:pathLst>
                    <a:path w="5421" h="44080">
                      <a:moveTo>
                        <a:pt x="0" y="0"/>
                      </a:moveTo>
                      <a:lnTo>
                        <a:pt x="0" y="4408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17" name="Graphic 1006">
                <a:extLst>
                  <a:ext uri="{FF2B5EF4-FFF2-40B4-BE49-F238E27FC236}">
                    <a16:creationId xmlns:a16="http://schemas.microsoft.com/office/drawing/2014/main" id="{F1A9CB3F-B7BE-B3CB-3809-35D1FE5B5CB8}"/>
                  </a:ext>
                </a:extLst>
              </p:cNvPr>
              <p:cNvGrpSpPr/>
              <p:nvPr/>
            </p:nvGrpSpPr>
            <p:grpSpPr>
              <a:xfrm>
                <a:off x="9942958" y="4624658"/>
                <a:ext cx="44026" cy="44026"/>
                <a:chOff x="9942958" y="4624658"/>
                <a:chExt cx="44026" cy="44026"/>
              </a:xfrm>
            </p:grpSpPr>
            <p:sp>
              <p:nvSpPr>
                <p:cNvPr id="1118" name="Freeform 1117">
                  <a:extLst>
                    <a:ext uri="{FF2B5EF4-FFF2-40B4-BE49-F238E27FC236}">
                      <a16:creationId xmlns:a16="http://schemas.microsoft.com/office/drawing/2014/main" id="{A221AC9F-6DEC-F404-5CD5-2F622A89EFB8}"/>
                    </a:ext>
                  </a:extLst>
                </p:cNvPr>
                <p:cNvSpPr/>
                <p:nvPr/>
              </p:nvSpPr>
              <p:spPr>
                <a:xfrm>
                  <a:off x="9942958" y="4646672"/>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9" name="Freeform 1118">
                  <a:extLst>
                    <a:ext uri="{FF2B5EF4-FFF2-40B4-BE49-F238E27FC236}">
                      <a16:creationId xmlns:a16="http://schemas.microsoft.com/office/drawing/2014/main" id="{75C03A48-60F5-EAC0-651C-D571A52EC3B1}"/>
                    </a:ext>
                  </a:extLst>
                </p:cNvPr>
                <p:cNvSpPr/>
                <p:nvPr/>
              </p:nvSpPr>
              <p:spPr>
                <a:xfrm>
                  <a:off x="9964972" y="4624658"/>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20" name="Graphic 1006">
                <a:extLst>
                  <a:ext uri="{FF2B5EF4-FFF2-40B4-BE49-F238E27FC236}">
                    <a16:creationId xmlns:a16="http://schemas.microsoft.com/office/drawing/2014/main" id="{1F5D9849-CF33-CD14-4764-04C4AC716F53}"/>
                  </a:ext>
                </a:extLst>
              </p:cNvPr>
              <p:cNvGrpSpPr/>
              <p:nvPr/>
            </p:nvGrpSpPr>
            <p:grpSpPr>
              <a:xfrm>
                <a:off x="9950387" y="4629592"/>
                <a:ext cx="44026" cy="44026"/>
                <a:chOff x="9950387" y="4629592"/>
                <a:chExt cx="44026" cy="44026"/>
              </a:xfrm>
            </p:grpSpPr>
            <p:sp>
              <p:nvSpPr>
                <p:cNvPr id="1121" name="Freeform 1120">
                  <a:extLst>
                    <a:ext uri="{FF2B5EF4-FFF2-40B4-BE49-F238E27FC236}">
                      <a16:creationId xmlns:a16="http://schemas.microsoft.com/office/drawing/2014/main" id="{7F051DE1-6CC1-FBE7-FE02-6899BD549775}"/>
                    </a:ext>
                  </a:extLst>
                </p:cNvPr>
                <p:cNvSpPr/>
                <p:nvPr/>
              </p:nvSpPr>
              <p:spPr>
                <a:xfrm>
                  <a:off x="9950387" y="4651606"/>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2" name="Freeform 1121">
                  <a:extLst>
                    <a:ext uri="{FF2B5EF4-FFF2-40B4-BE49-F238E27FC236}">
                      <a16:creationId xmlns:a16="http://schemas.microsoft.com/office/drawing/2014/main" id="{8AB85C74-8CC4-4A94-E70A-BEB0C8941CFE}"/>
                    </a:ext>
                  </a:extLst>
                </p:cNvPr>
                <p:cNvSpPr/>
                <p:nvPr/>
              </p:nvSpPr>
              <p:spPr>
                <a:xfrm>
                  <a:off x="9972400" y="4629592"/>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23" name="Graphic 1006">
                <a:extLst>
                  <a:ext uri="{FF2B5EF4-FFF2-40B4-BE49-F238E27FC236}">
                    <a16:creationId xmlns:a16="http://schemas.microsoft.com/office/drawing/2014/main" id="{9C86359B-939F-EDD0-C77A-FA58C854692C}"/>
                  </a:ext>
                </a:extLst>
              </p:cNvPr>
              <p:cNvGrpSpPr/>
              <p:nvPr/>
            </p:nvGrpSpPr>
            <p:grpSpPr>
              <a:xfrm>
                <a:off x="9970177" y="4631110"/>
                <a:ext cx="44026" cy="44026"/>
                <a:chOff x="9970177" y="4631110"/>
                <a:chExt cx="44026" cy="44026"/>
              </a:xfrm>
            </p:grpSpPr>
            <p:sp>
              <p:nvSpPr>
                <p:cNvPr id="1124" name="Freeform 1123">
                  <a:extLst>
                    <a:ext uri="{FF2B5EF4-FFF2-40B4-BE49-F238E27FC236}">
                      <a16:creationId xmlns:a16="http://schemas.microsoft.com/office/drawing/2014/main" id="{151ADF9E-C0E8-F60B-68D1-9705D3DA55F6}"/>
                    </a:ext>
                  </a:extLst>
                </p:cNvPr>
                <p:cNvSpPr/>
                <p:nvPr/>
              </p:nvSpPr>
              <p:spPr>
                <a:xfrm>
                  <a:off x="9970177" y="4653124"/>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5" name="Freeform 1124">
                  <a:extLst>
                    <a:ext uri="{FF2B5EF4-FFF2-40B4-BE49-F238E27FC236}">
                      <a16:creationId xmlns:a16="http://schemas.microsoft.com/office/drawing/2014/main" id="{27CA5BC2-D31B-2EE8-74BA-D1402A9B32F4}"/>
                    </a:ext>
                  </a:extLst>
                </p:cNvPr>
                <p:cNvSpPr/>
                <p:nvPr/>
              </p:nvSpPr>
              <p:spPr>
                <a:xfrm>
                  <a:off x="9992190" y="4631110"/>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26" name="Graphic 1006">
                <a:extLst>
                  <a:ext uri="{FF2B5EF4-FFF2-40B4-BE49-F238E27FC236}">
                    <a16:creationId xmlns:a16="http://schemas.microsoft.com/office/drawing/2014/main" id="{5CD47508-A92D-1CD3-3CD1-D38FFE0E9AF7}"/>
                  </a:ext>
                </a:extLst>
              </p:cNvPr>
              <p:cNvGrpSpPr/>
              <p:nvPr/>
            </p:nvGrpSpPr>
            <p:grpSpPr>
              <a:xfrm>
                <a:off x="10001353" y="4675137"/>
                <a:ext cx="44026" cy="44026"/>
                <a:chOff x="10001353" y="4675137"/>
                <a:chExt cx="44026" cy="44026"/>
              </a:xfrm>
            </p:grpSpPr>
            <p:sp>
              <p:nvSpPr>
                <p:cNvPr id="1127" name="Freeform 1126">
                  <a:extLst>
                    <a:ext uri="{FF2B5EF4-FFF2-40B4-BE49-F238E27FC236}">
                      <a16:creationId xmlns:a16="http://schemas.microsoft.com/office/drawing/2014/main" id="{C83C4074-8ADD-980E-3F41-CBE375C9314B}"/>
                    </a:ext>
                  </a:extLst>
                </p:cNvPr>
                <p:cNvSpPr/>
                <p:nvPr/>
              </p:nvSpPr>
              <p:spPr>
                <a:xfrm>
                  <a:off x="10001353" y="4697150"/>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8" name="Freeform 1127">
                  <a:extLst>
                    <a:ext uri="{FF2B5EF4-FFF2-40B4-BE49-F238E27FC236}">
                      <a16:creationId xmlns:a16="http://schemas.microsoft.com/office/drawing/2014/main" id="{1C2ABB82-9B72-28B2-961E-A7D8B367F481}"/>
                    </a:ext>
                  </a:extLst>
                </p:cNvPr>
                <p:cNvSpPr/>
                <p:nvPr/>
              </p:nvSpPr>
              <p:spPr>
                <a:xfrm>
                  <a:off x="10023366" y="4675137"/>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29" name="Graphic 1006">
                <a:extLst>
                  <a:ext uri="{FF2B5EF4-FFF2-40B4-BE49-F238E27FC236}">
                    <a16:creationId xmlns:a16="http://schemas.microsoft.com/office/drawing/2014/main" id="{71973732-A37F-3C8D-C01B-259A5746D1A8}"/>
                  </a:ext>
                </a:extLst>
              </p:cNvPr>
              <p:cNvGrpSpPr/>
              <p:nvPr/>
            </p:nvGrpSpPr>
            <p:grpSpPr>
              <a:xfrm>
                <a:off x="10051290" y="4696879"/>
                <a:ext cx="44026" cy="44026"/>
                <a:chOff x="10051290" y="4696879"/>
                <a:chExt cx="44026" cy="44026"/>
              </a:xfrm>
            </p:grpSpPr>
            <p:sp>
              <p:nvSpPr>
                <p:cNvPr id="1130" name="Freeform 1129">
                  <a:extLst>
                    <a:ext uri="{FF2B5EF4-FFF2-40B4-BE49-F238E27FC236}">
                      <a16:creationId xmlns:a16="http://schemas.microsoft.com/office/drawing/2014/main" id="{0733813F-D459-BB3E-97A6-AEE5C2A603B6}"/>
                    </a:ext>
                  </a:extLst>
                </p:cNvPr>
                <p:cNvSpPr/>
                <p:nvPr/>
              </p:nvSpPr>
              <p:spPr>
                <a:xfrm>
                  <a:off x="10051290" y="4718892"/>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1" name="Freeform 1130">
                  <a:extLst>
                    <a:ext uri="{FF2B5EF4-FFF2-40B4-BE49-F238E27FC236}">
                      <a16:creationId xmlns:a16="http://schemas.microsoft.com/office/drawing/2014/main" id="{258E27C7-7087-61FC-4AD6-6612BF393DCC}"/>
                    </a:ext>
                  </a:extLst>
                </p:cNvPr>
                <p:cNvSpPr/>
                <p:nvPr/>
              </p:nvSpPr>
              <p:spPr>
                <a:xfrm>
                  <a:off x="10073303" y="4696879"/>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32" name="Graphic 1006">
                <a:extLst>
                  <a:ext uri="{FF2B5EF4-FFF2-40B4-BE49-F238E27FC236}">
                    <a16:creationId xmlns:a16="http://schemas.microsoft.com/office/drawing/2014/main" id="{7E0B0FBA-8FE6-6810-9B05-5700E80CBA69}"/>
                  </a:ext>
                </a:extLst>
              </p:cNvPr>
              <p:cNvGrpSpPr/>
              <p:nvPr/>
            </p:nvGrpSpPr>
            <p:grpSpPr>
              <a:xfrm>
                <a:off x="10058230" y="4697367"/>
                <a:ext cx="44026" cy="44026"/>
                <a:chOff x="10058230" y="4697367"/>
                <a:chExt cx="44026" cy="44026"/>
              </a:xfrm>
            </p:grpSpPr>
            <p:sp>
              <p:nvSpPr>
                <p:cNvPr id="1133" name="Freeform 1132">
                  <a:extLst>
                    <a:ext uri="{FF2B5EF4-FFF2-40B4-BE49-F238E27FC236}">
                      <a16:creationId xmlns:a16="http://schemas.microsoft.com/office/drawing/2014/main" id="{3BD2C6E0-AF99-64CB-1159-074E0846E180}"/>
                    </a:ext>
                  </a:extLst>
                </p:cNvPr>
                <p:cNvSpPr/>
                <p:nvPr/>
              </p:nvSpPr>
              <p:spPr>
                <a:xfrm>
                  <a:off x="10058230" y="4719380"/>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4" name="Freeform 1133">
                  <a:extLst>
                    <a:ext uri="{FF2B5EF4-FFF2-40B4-BE49-F238E27FC236}">
                      <a16:creationId xmlns:a16="http://schemas.microsoft.com/office/drawing/2014/main" id="{3D0EDEB5-90BB-B154-EDB3-6238344E977F}"/>
                    </a:ext>
                  </a:extLst>
                </p:cNvPr>
                <p:cNvSpPr/>
                <p:nvPr/>
              </p:nvSpPr>
              <p:spPr>
                <a:xfrm>
                  <a:off x="10080243" y="4697367"/>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35" name="Graphic 1006">
                <a:extLst>
                  <a:ext uri="{FF2B5EF4-FFF2-40B4-BE49-F238E27FC236}">
                    <a16:creationId xmlns:a16="http://schemas.microsoft.com/office/drawing/2014/main" id="{22459A3C-88A0-519A-8ACE-6F66C08FB25A}"/>
                  </a:ext>
                </a:extLst>
              </p:cNvPr>
              <p:cNvGrpSpPr/>
              <p:nvPr/>
            </p:nvGrpSpPr>
            <p:grpSpPr>
              <a:xfrm>
                <a:off x="10066146" y="4697367"/>
                <a:ext cx="44026" cy="44026"/>
                <a:chOff x="10066146" y="4697367"/>
                <a:chExt cx="44026" cy="44026"/>
              </a:xfrm>
            </p:grpSpPr>
            <p:sp>
              <p:nvSpPr>
                <p:cNvPr id="1136" name="Freeform 1135">
                  <a:extLst>
                    <a:ext uri="{FF2B5EF4-FFF2-40B4-BE49-F238E27FC236}">
                      <a16:creationId xmlns:a16="http://schemas.microsoft.com/office/drawing/2014/main" id="{A3DA9869-C06B-B9AF-F213-ADB1D438AFAC}"/>
                    </a:ext>
                  </a:extLst>
                </p:cNvPr>
                <p:cNvSpPr/>
                <p:nvPr/>
              </p:nvSpPr>
              <p:spPr>
                <a:xfrm>
                  <a:off x="10066146" y="4719380"/>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7" name="Freeform 1136">
                  <a:extLst>
                    <a:ext uri="{FF2B5EF4-FFF2-40B4-BE49-F238E27FC236}">
                      <a16:creationId xmlns:a16="http://schemas.microsoft.com/office/drawing/2014/main" id="{CE589DAD-B768-761A-EA30-0404A203EEBD}"/>
                    </a:ext>
                  </a:extLst>
                </p:cNvPr>
                <p:cNvSpPr/>
                <p:nvPr/>
              </p:nvSpPr>
              <p:spPr>
                <a:xfrm>
                  <a:off x="10088159" y="4697367"/>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38" name="Graphic 1006">
                <a:extLst>
                  <a:ext uri="{FF2B5EF4-FFF2-40B4-BE49-F238E27FC236}">
                    <a16:creationId xmlns:a16="http://schemas.microsoft.com/office/drawing/2014/main" id="{47FB7F35-D23E-21D0-121A-8E0F21C616C5}"/>
                  </a:ext>
                </a:extLst>
              </p:cNvPr>
              <p:cNvGrpSpPr/>
              <p:nvPr/>
            </p:nvGrpSpPr>
            <p:grpSpPr>
              <a:xfrm>
                <a:off x="10096346" y="4718675"/>
                <a:ext cx="44026" cy="44026"/>
                <a:chOff x="10096346" y="4718675"/>
                <a:chExt cx="44026" cy="44026"/>
              </a:xfrm>
            </p:grpSpPr>
            <p:sp>
              <p:nvSpPr>
                <p:cNvPr id="1139" name="Freeform 1138">
                  <a:extLst>
                    <a:ext uri="{FF2B5EF4-FFF2-40B4-BE49-F238E27FC236}">
                      <a16:creationId xmlns:a16="http://schemas.microsoft.com/office/drawing/2014/main" id="{344C7428-EA94-A87E-7EEE-D8F0BC1AAAFC}"/>
                    </a:ext>
                  </a:extLst>
                </p:cNvPr>
                <p:cNvSpPr/>
                <p:nvPr/>
              </p:nvSpPr>
              <p:spPr>
                <a:xfrm>
                  <a:off x="10096346" y="4740689"/>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0" name="Freeform 1139">
                  <a:extLst>
                    <a:ext uri="{FF2B5EF4-FFF2-40B4-BE49-F238E27FC236}">
                      <a16:creationId xmlns:a16="http://schemas.microsoft.com/office/drawing/2014/main" id="{E9205F6F-516A-D000-48D0-B10EA16DA055}"/>
                    </a:ext>
                  </a:extLst>
                </p:cNvPr>
                <p:cNvSpPr/>
                <p:nvPr/>
              </p:nvSpPr>
              <p:spPr>
                <a:xfrm>
                  <a:off x="10118359" y="4718675"/>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41" name="Graphic 1006">
                <a:extLst>
                  <a:ext uri="{FF2B5EF4-FFF2-40B4-BE49-F238E27FC236}">
                    <a16:creationId xmlns:a16="http://schemas.microsoft.com/office/drawing/2014/main" id="{ED9E01E1-004E-3091-BA9C-3E5D7A0B6EB6}"/>
                  </a:ext>
                </a:extLst>
              </p:cNvPr>
              <p:cNvGrpSpPr/>
              <p:nvPr/>
            </p:nvGrpSpPr>
            <p:grpSpPr>
              <a:xfrm>
                <a:off x="10118576" y="4738954"/>
                <a:ext cx="44026" cy="44026"/>
                <a:chOff x="10118576" y="4738954"/>
                <a:chExt cx="44026" cy="44026"/>
              </a:xfrm>
            </p:grpSpPr>
            <p:sp>
              <p:nvSpPr>
                <p:cNvPr id="1142" name="Freeform 1141">
                  <a:extLst>
                    <a:ext uri="{FF2B5EF4-FFF2-40B4-BE49-F238E27FC236}">
                      <a16:creationId xmlns:a16="http://schemas.microsoft.com/office/drawing/2014/main" id="{BE6A6157-0ADC-5755-1DFD-25D9DA0810F5}"/>
                    </a:ext>
                  </a:extLst>
                </p:cNvPr>
                <p:cNvSpPr/>
                <p:nvPr/>
              </p:nvSpPr>
              <p:spPr>
                <a:xfrm>
                  <a:off x="10118576" y="4760967"/>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3" name="Freeform 1142">
                  <a:extLst>
                    <a:ext uri="{FF2B5EF4-FFF2-40B4-BE49-F238E27FC236}">
                      <a16:creationId xmlns:a16="http://schemas.microsoft.com/office/drawing/2014/main" id="{5D80DD8F-BF9A-B67C-F9F2-179A25B70D9D}"/>
                    </a:ext>
                  </a:extLst>
                </p:cNvPr>
                <p:cNvSpPr/>
                <p:nvPr/>
              </p:nvSpPr>
              <p:spPr>
                <a:xfrm>
                  <a:off x="10140590" y="4738954"/>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44" name="Graphic 1006">
                <a:extLst>
                  <a:ext uri="{FF2B5EF4-FFF2-40B4-BE49-F238E27FC236}">
                    <a16:creationId xmlns:a16="http://schemas.microsoft.com/office/drawing/2014/main" id="{C06151C6-7E60-448D-AE50-3A0FAEAE16AB}"/>
                  </a:ext>
                </a:extLst>
              </p:cNvPr>
              <p:cNvGrpSpPr/>
              <p:nvPr/>
            </p:nvGrpSpPr>
            <p:grpSpPr>
              <a:xfrm>
                <a:off x="10123510" y="4745352"/>
                <a:ext cx="44080" cy="44026"/>
                <a:chOff x="10123510" y="4745352"/>
                <a:chExt cx="44080" cy="44026"/>
              </a:xfrm>
            </p:grpSpPr>
            <p:sp>
              <p:nvSpPr>
                <p:cNvPr id="1145" name="Freeform 1144">
                  <a:extLst>
                    <a:ext uri="{FF2B5EF4-FFF2-40B4-BE49-F238E27FC236}">
                      <a16:creationId xmlns:a16="http://schemas.microsoft.com/office/drawing/2014/main" id="{62D75F5C-948D-F166-1E0C-C715EE1EADC5}"/>
                    </a:ext>
                  </a:extLst>
                </p:cNvPr>
                <p:cNvSpPr/>
                <p:nvPr/>
              </p:nvSpPr>
              <p:spPr>
                <a:xfrm>
                  <a:off x="10123510" y="4767365"/>
                  <a:ext cx="44080" cy="5421"/>
                </a:xfrm>
                <a:custGeom>
                  <a:avLst/>
                  <a:gdLst>
                    <a:gd name="connsiteX0" fmla="*/ 0 w 44080"/>
                    <a:gd name="connsiteY0" fmla="*/ 0 h 5421"/>
                    <a:gd name="connsiteX1" fmla="*/ 44081 w 44080"/>
                    <a:gd name="connsiteY1" fmla="*/ 0 h 5421"/>
                  </a:gdLst>
                  <a:ahLst/>
                  <a:cxnLst>
                    <a:cxn ang="0">
                      <a:pos x="connsiteX0" y="connsiteY0"/>
                    </a:cxn>
                    <a:cxn ang="0">
                      <a:pos x="connsiteX1" y="connsiteY1"/>
                    </a:cxn>
                  </a:cxnLst>
                  <a:rect l="l" t="t" r="r" b="b"/>
                  <a:pathLst>
                    <a:path w="44080" h="5421">
                      <a:moveTo>
                        <a:pt x="0" y="0"/>
                      </a:moveTo>
                      <a:lnTo>
                        <a:pt x="44081"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6" name="Freeform 1145">
                  <a:extLst>
                    <a:ext uri="{FF2B5EF4-FFF2-40B4-BE49-F238E27FC236}">
                      <a16:creationId xmlns:a16="http://schemas.microsoft.com/office/drawing/2014/main" id="{B0F9B779-EC8A-05B6-8050-C0B09C689C61}"/>
                    </a:ext>
                  </a:extLst>
                </p:cNvPr>
                <p:cNvSpPr/>
                <p:nvPr/>
              </p:nvSpPr>
              <p:spPr>
                <a:xfrm>
                  <a:off x="10145524" y="4745352"/>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47" name="Graphic 1006">
                <a:extLst>
                  <a:ext uri="{FF2B5EF4-FFF2-40B4-BE49-F238E27FC236}">
                    <a16:creationId xmlns:a16="http://schemas.microsoft.com/office/drawing/2014/main" id="{B4021887-4A5A-9110-6102-CA2FA0323354}"/>
                  </a:ext>
                </a:extLst>
              </p:cNvPr>
              <p:cNvGrpSpPr/>
              <p:nvPr/>
            </p:nvGrpSpPr>
            <p:grpSpPr>
              <a:xfrm>
                <a:off x="10147801" y="4761184"/>
                <a:ext cx="44026" cy="44026"/>
                <a:chOff x="10147801" y="4761184"/>
                <a:chExt cx="44026" cy="44026"/>
              </a:xfrm>
            </p:grpSpPr>
            <p:sp>
              <p:nvSpPr>
                <p:cNvPr id="1148" name="Freeform 1147">
                  <a:extLst>
                    <a:ext uri="{FF2B5EF4-FFF2-40B4-BE49-F238E27FC236}">
                      <a16:creationId xmlns:a16="http://schemas.microsoft.com/office/drawing/2014/main" id="{D631EBE4-0558-9C7C-750E-4B2963405EC5}"/>
                    </a:ext>
                  </a:extLst>
                </p:cNvPr>
                <p:cNvSpPr/>
                <p:nvPr/>
              </p:nvSpPr>
              <p:spPr>
                <a:xfrm>
                  <a:off x="10147801" y="4783197"/>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9" name="Freeform 1148">
                  <a:extLst>
                    <a:ext uri="{FF2B5EF4-FFF2-40B4-BE49-F238E27FC236}">
                      <a16:creationId xmlns:a16="http://schemas.microsoft.com/office/drawing/2014/main" id="{C7E98178-DEC0-681C-DD50-7BF7E4DCBDC0}"/>
                    </a:ext>
                  </a:extLst>
                </p:cNvPr>
                <p:cNvSpPr/>
                <p:nvPr/>
              </p:nvSpPr>
              <p:spPr>
                <a:xfrm>
                  <a:off x="10169814" y="4761184"/>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50" name="Graphic 1006">
                <a:extLst>
                  <a:ext uri="{FF2B5EF4-FFF2-40B4-BE49-F238E27FC236}">
                    <a16:creationId xmlns:a16="http://schemas.microsoft.com/office/drawing/2014/main" id="{F27F02A4-9006-7AA4-A6DF-0A5C44C27C71}"/>
                  </a:ext>
                </a:extLst>
              </p:cNvPr>
              <p:cNvGrpSpPr/>
              <p:nvPr/>
            </p:nvGrpSpPr>
            <p:grpSpPr>
              <a:xfrm>
                <a:off x="10164609" y="4777016"/>
                <a:ext cx="44026" cy="44026"/>
                <a:chOff x="10164609" y="4777016"/>
                <a:chExt cx="44026" cy="44026"/>
              </a:xfrm>
            </p:grpSpPr>
            <p:sp>
              <p:nvSpPr>
                <p:cNvPr id="1151" name="Freeform 1150">
                  <a:extLst>
                    <a:ext uri="{FF2B5EF4-FFF2-40B4-BE49-F238E27FC236}">
                      <a16:creationId xmlns:a16="http://schemas.microsoft.com/office/drawing/2014/main" id="{1F59D622-C79C-8BCC-BDE5-20742B4C3179}"/>
                    </a:ext>
                  </a:extLst>
                </p:cNvPr>
                <p:cNvSpPr/>
                <p:nvPr/>
              </p:nvSpPr>
              <p:spPr>
                <a:xfrm>
                  <a:off x="10164609" y="4799029"/>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2" name="Freeform 1151">
                  <a:extLst>
                    <a:ext uri="{FF2B5EF4-FFF2-40B4-BE49-F238E27FC236}">
                      <a16:creationId xmlns:a16="http://schemas.microsoft.com/office/drawing/2014/main" id="{2ABB389F-77F2-0F78-09E6-45788C3AE6C2}"/>
                    </a:ext>
                  </a:extLst>
                </p:cNvPr>
                <p:cNvSpPr/>
                <p:nvPr/>
              </p:nvSpPr>
              <p:spPr>
                <a:xfrm>
                  <a:off x="10186622" y="4777016"/>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53" name="Graphic 1006">
                <a:extLst>
                  <a:ext uri="{FF2B5EF4-FFF2-40B4-BE49-F238E27FC236}">
                    <a16:creationId xmlns:a16="http://schemas.microsoft.com/office/drawing/2014/main" id="{4F61CB7F-6239-02E6-9278-21EEA0243D39}"/>
                  </a:ext>
                </a:extLst>
              </p:cNvPr>
              <p:cNvGrpSpPr/>
              <p:nvPr/>
            </p:nvGrpSpPr>
            <p:grpSpPr>
              <a:xfrm>
                <a:off x="10182393" y="4777016"/>
                <a:ext cx="44026" cy="44026"/>
                <a:chOff x="10182393" y="4777016"/>
                <a:chExt cx="44026" cy="44026"/>
              </a:xfrm>
            </p:grpSpPr>
            <p:sp>
              <p:nvSpPr>
                <p:cNvPr id="1154" name="Freeform 1153">
                  <a:extLst>
                    <a:ext uri="{FF2B5EF4-FFF2-40B4-BE49-F238E27FC236}">
                      <a16:creationId xmlns:a16="http://schemas.microsoft.com/office/drawing/2014/main" id="{AF3326DA-EC1C-4312-E1DA-ED4BD12D35D7}"/>
                    </a:ext>
                  </a:extLst>
                </p:cNvPr>
                <p:cNvSpPr/>
                <p:nvPr/>
              </p:nvSpPr>
              <p:spPr>
                <a:xfrm>
                  <a:off x="10182393" y="4799029"/>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5" name="Freeform 1154">
                  <a:extLst>
                    <a:ext uri="{FF2B5EF4-FFF2-40B4-BE49-F238E27FC236}">
                      <a16:creationId xmlns:a16="http://schemas.microsoft.com/office/drawing/2014/main" id="{088A05AC-7031-85AE-B446-CA1B2DCB53C9}"/>
                    </a:ext>
                  </a:extLst>
                </p:cNvPr>
                <p:cNvSpPr/>
                <p:nvPr/>
              </p:nvSpPr>
              <p:spPr>
                <a:xfrm>
                  <a:off x="10204406" y="4777016"/>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56" name="Graphic 1006">
                <a:extLst>
                  <a:ext uri="{FF2B5EF4-FFF2-40B4-BE49-F238E27FC236}">
                    <a16:creationId xmlns:a16="http://schemas.microsoft.com/office/drawing/2014/main" id="{C88469ED-6506-E417-34C5-0EEBFB25C463}"/>
                  </a:ext>
                </a:extLst>
              </p:cNvPr>
              <p:cNvGrpSpPr/>
              <p:nvPr/>
            </p:nvGrpSpPr>
            <p:grpSpPr>
              <a:xfrm>
                <a:off x="10230866" y="4808680"/>
                <a:ext cx="44026" cy="44026"/>
                <a:chOff x="10230866" y="4808680"/>
                <a:chExt cx="44026" cy="44026"/>
              </a:xfrm>
            </p:grpSpPr>
            <p:sp>
              <p:nvSpPr>
                <p:cNvPr id="1157" name="Freeform 1156">
                  <a:extLst>
                    <a:ext uri="{FF2B5EF4-FFF2-40B4-BE49-F238E27FC236}">
                      <a16:creationId xmlns:a16="http://schemas.microsoft.com/office/drawing/2014/main" id="{9AAD9D1D-0FF1-CD6D-CBA6-F8EF69A7D3C6}"/>
                    </a:ext>
                  </a:extLst>
                </p:cNvPr>
                <p:cNvSpPr/>
                <p:nvPr/>
              </p:nvSpPr>
              <p:spPr>
                <a:xfrm>
                  <a:off x="10230866" y="4830693"/>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8" name="Freeform 1157">
                  <a:extLst>
                    <a:ext uri="{FF2B5EF4-FFF2-40B4-BE49-F238E27FC236}">
                      <a16:creationId xmlns:a16="http://schemas.microsoft.com/office/drawing/2014/main" id="{6DD2A83D-6708-74DE-9806-96C527F337A4}"/>
                    </a:ext>
                  </a:extLst>
                </p:cNvPr>
                <p:cNvSpPr/>
                <p:nvPr/>
              </p:nvSpPr>
              <p:spPr>
                <a:xfrm>
                  <a:off x="10252879" y="4808680"/>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59" name="Graphic 1006">
                <a:extLst>
                  <a:ext uri="{FF2B5EF4-FFF2-40B4-BE49-F238E27FC236}">
                    <a16:creationId xmlns:a16="http://schemas.microsoft.com/office/drawing/2014/main" id="{F2D9B97D-949C-879C-1D0B-2ABACD9052D9}"/>
                  </a:ext>
                </a:extLst>
              </p:cNvPr>
              <p:cNvGrpSpPr/>
              <p:nvPr/>
            </p:nvGrpSpPr>
            <p:grpSpPr>
              <a:xfrm>
                <a:off x="10260090" y="4811174"/>
                <a:ext cx="44026" cy="44026"/>
                <a:chOff x="10260090" y="4811174"/>
                <a:chExt cx="44026" cy="44026"/>
              </a:xfrm>
            </p:grpSpPr>
            <p:sp>
              <p:nvSpPr>
                <p:cNvPr id="1160" name="Freeform 1159">
                  <a:extLst>
                    <a:ext uri="{FF2B5EF4-FFF2-40B4-BE49-F238E27FC236}">
                      <a16:creationId xmlns:a16="http://schemas.microsoft.com/office/drawing/2014/main" id="{7C49C8FF-ECA9-4302-3E63-160A19574F45}"/>
                    </a:ext>
                  </a:extLst>
                </p:cNvPr>
                <p:cNvSpPr/>
                <p:nvPr/>
              </p:nvSpPr>
              <p:spPr>
                <a:xfrm>
                  <a:off x="10260090" y="4833188"/>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1" name="Freeform 1160">
                  <a:extLst>
                    <a:ext uri="{FF2B5EF4-FFF2-40B4-BE49-F238E27FC236}">
                      <a16:creationId xmlns:a16="http://schemas.microsoft.com/office/drawing/2014/main" id="{23A530C2-DFD5-A74C-AAD6-FBA27739ACB3}"/>
                    </a:ext>
                  </a:extLst>
                </p:cNvPr>
                <p:cNvSpPr/>
                <p:nvPr/>
              </p:nvSpPr>
              <p:spPr>
                <a:xfrm>
                  <a:off x="10282103" y="4811174"/>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62" name="Graphic 1006">
                <a:extLst>
                  <a:ext uri="{FF2B5EF4-FFF2-40B4-BE49-F238E27FC236}">
                    <a16:creationId xmlns:a16="http://schemas.microsoft.com/office/drawing/2014/main" id="{B7ED8549-2E6A-1B36-9111-B62F91867359}"/>
                  </a:ext>
                </a:extLst>
              </p:cNvPr>
              <p:cNvGrpSpPr/>
              <p:nvPr/>
            </p:nvGrpSpPr>
            <p:grpSpPr>
              <a:xfrm>
                <a:off x="10341203" y="4833947"/>
                <a:ext cx="44026" cy="44026"/>
                <a:chOff x="10341203" y="4833947"/>
                <a:chExt cx="44026" cy="44026"/>
              </a:xfrm>
            </p:grpSpPr>
            <p:sp>
              <p:nvSpPr>
                <p:cNvPr id="1163" name="Freeform 1162">
                  <a:extLst>
                    <a:ext uri="{FF2B5EF4-FFF2-40B4-BE49-F238E27FC236}">
                      <a16:creationId xmlns:a16="http://schemas.microsoft.com/office/drawing/2014/main" id="{FED78650-3DD4-C9BA-C06B-2E718ECFB336}"/>
                    </a:ext>
                  </a:extLst>
                </p:cNvPr>
                <p:cNvSpPr/>
                <p:nvPr/>
              </p:nvSpPr>
              <p:spPr>
                <a:xfrm>
                  <a:off x="10341203" y="4855960"/>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4" name="Freeform 1163">
                  <a:extLst>
                    <a:ext uri="{FF2B5EF4-FFF2-40B4-BE49-F238E27FC236}">
                      <a16:creationId xmlns:a16="http://schemas.microsoft.com/office/drawing/2014/main" id="{3572BA17-E59C-4CFD-3BF9-03A3EA2FA5D1}"/>
                    </a:ext>
                  </a:extLst>
                </p:cNvPr>
                <p:cNvSpPr/>
                <p:nvPr/>
              </p:nvSpPr>
              <p:spPr>
                <a:xfrm>
                  <a:off x="10363216" y="4833947"/>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65" name="Graphic 1006">
                <a:extLst>
                  <a:ext uri="{FF2B5EF4-FFF2-40B4-BE49-F238E27FC236}">
                    <a16:creationId xmlns:a16="http://schemas.microsoft.com/office/drawing/2014/main" id="{35FE3A14-0CD3-C6BF-7A57-2AC53DA16519}"/>
                  </a:ext>
                </a:extLst>
              </p:cNvPr>
              <p:cNvGrpSpPr/>
              <p:nvPr/>
            </p:nvGrpSpPr>
            <p:grpSpPr>
              <a:xfrm>
                <a:off x="10351125" y="4833947"/>
                <a:ext cx="44026" cy="44026"/>
                <a:chOff x="10351125" y="4833947"/>
                <a:chExt cx="44026" cy="44026"/>
              </a:xfrm>
            </p:grpSpPr>
            <p:sp>
              <p:nvSpPr>
                <p:cNvPr id="1166" name="Freeform 1165">
                  <a:extLst>
                    <a:ext uri="{FF2B5EF4-FFF2-40B4-BE49-F238E27FC236}">
                      <a16:creationId xmlns:a16="http://schemas.microsoft.com/office/drawing/2014/main" id="{D0BCE254-EBAB-C4A2-D843-1104C22068CE}"/>
                    </a:ext>
                  </a:extLst>
                </p:cNvPr>
                <p:cNvSpPr/>
                <p:nvPr/>
              </p:nvSpPr>
              <p:spPr>
                <a:xfrm>
                  <a:off x="10351125" y="4855960"/>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7" name="Freeform 1166">
                  <a:extLst>
                    <a:ext uri="{FF2B5EF4-FFF2-40B4-BE49-F238E27FC236}">
                      <a16:creationId xmlns:a16="http://schemas.microsoft.com/office/drawing/2014/main" id="{579DE02C-3FF4-7E3F-4925-7AA2F29AF7B4}"/>
                    </a:ext>
                  </a:extLst>
                </p:cNvPr>
                <p:cNvSpPr/>
                <p:nvPr/>
              </p:nvSpPr>
              <p:spPr>
                <a:xfrm>
                  <a:off x="10373138" y="4833947"/>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68" name="Graphic 1006">
                <a:extLst>
                  <a:ext uri="{FF2B5EF4-FFF2-40B4-BE49-F238E27FC236}">
                    <a16:creationId xmlns:a16="http://schemas.microsoft.com/office/drawing/2014/main" id="{3B1C86F2-45B0-9EB4-9D85-3B7AE6FA4060}"/>
                  </a:ext>
                </a:extLst>
              </p:cNvPr>
              <p:cNvGrpSpPr/>
              <p:nvPr/>
            </p:nvGrpSpPr>
            <p:grpSpPr>
              <a:xfrm>
                <a:off x="10365439" y="4833947"/>
                <a:ext cx="44026" cy="44026"/>
                <a:chOff x="10365439" y="4833947"/>
                <a:chExt cx="44026" cy="44026"/>
              </a:xfrm>
            </p:grpSpPr>
            <p:sp>
              <p:nvSpPr>
                <p:cNvPr id="1169" name="Freeform 1168">
                  <a:extLst>
                    <a:ext uri="{FF2B5EF4-FFF2-40B4-BE49-F238E27FC236}">
                      <a16:creationId xmlns:a16="http://schemas.microsoft.com/office/drawing/2014/main" id="{85D785D2-9DCC-7945-5BF4-7A324763D416}"/>
                    </a:ext>
                  </a:extLst>
                </p:cNvPr>
                <p:cNvSpPr/>
                <p:nvPr/>
              </p:nvSpPr>
              <p:spPr>
                <a:xfrm>
                  <a:off x="10365439" y="4855960"/>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0" name="Freeform 1169">
                  <a:extLst>
                    <a:ext uri="{FF2B5EF4-FFF2-40B4-BE49-F238E27FC236}">
                      <a16:creationId xmlns:a16="http://schemas.microsoft.com/office/drawing/2014/main" id="{379CAAFA-125F-CDC8-FA50-4260FDD450A5}"/>
                    </a:ext>
                  </a:extLst>
                </p:cNvPr>
                <p:cNvSpPr/>
                <p:nvPr/>
              </p:nvSpPr>
              <p:spPr>
                <a:xfrm>
                  <a:off x="10387452" y="4833947"/>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71" name="Graphic 1006">
                <a:extLst>
                  <a:ext uri="{FF2B5EF4-FFF2-40B4-BE49-F238E27FC236}">
                    <a16:creationId xmlns:a16="http://schemas.microsoft.com/office/drawing/2014/main" id="{53A7F3D8-7B89-4FF0-F492-ECF164D1E713}"/>
                  </a:ext>
                </a:extLst>
              </p:cNvPr>
              <p:cNvGrpSpPr/>
              <p:nvPr/>
            </p:nvGrpSpPr>
            <p:grpSpPr>
              <a:xfrm>
                <a:off x="10468836" y="4854713"/>
                <a:ext cx="44026" cy="44026"/>
                <a:chOff x="10468836" y="4854713"/>
                <a:chExt cx="44026" cy="44026"/>
              </a:xfrm>
            </p:grpSpPr>
            <p:sp>
              <p:nvSpPr>
                <p:cNvPr id="1172" name="Freeform 1171">
                  <a:extLst>
                    <a:ext uri="{FF2B5EF4-FFF2-40B4-BE49-F238E27FC236}">
                      <a16:creationId xmlns:a16="http://schemas.microsoft.com/office/drawing/2014/main" id="{9B6F3ED8-947E-EFB7-FB80-88B253B6FB75}"/>
                    </a:ext>
                  </a:extLst>
                </p:cNvPr>
                <p:cNvSpPr/>
                <p:nvPr/>
              </p:nvSpPr>
              <p:spPr>
                <a:xfrm>
                  <a:off x="10468836" y="4876726"/>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3" name="Freeform 1172">
                  <a:extLst>
                    <a:ext uri="{FF2B5EF4-FFF2-40B4-BE49-F238E27FC236}">
                      <a16:creationId xmlns:a16="http://schemas.microsoft.com/office/drawing/2014/main" id="{1D4965BE-712E-92AA-247E-0386E547659F}"/>
                    </a:ext>
                  </a:extLst>
                </p:cNvPr>
                <p:cNvSpPr/>
                <p:nvPr/>
              </p:nvSpPr>
              <p:spPr>
                <a:xfrm>
                  <a:off x="10490849" y="4854713"/>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74" name="Graphic 1006">
                <a:extLst>
                  <a:ext uri="{FF2B5EF4-FFF2-40B4-BE49-F238E27FC236}">
                    <a16:creationId xmlns:a16="http://schemas.microsoft.com/office/drawing/2014/main" id="{AFF522CB-B07D-D796-0819-33D9B057F052}"/>
                  </a:ext>
                </a:extLst>
              </p:cNvPr>
              <p:cNvGrpSpPr/>
              <p:nvPr/>
            </p:nvGrpSpPr>
            <p:grpSpPr>
              <a:xfrm>
                <a:off x="10486132" y="4878461"/>
                <a:ext cx="44026" cy="44026"/>
                <a:chOff x="10486132" y="4878461"/>
                <a:chExt cx="44026" cy="44026"/>
              </a:xfrm>
            </p:grpSpPr>
            <p:sp>
              <p:nvSpPr>
                <p:cNvPr id="1175" name="Freeform 1174">
                  <a:extLst>
                    <a:ext uri="{FF2B5EF4-FFF2-40B4-BE49-F238E27FC236}">
                      <a16:creationId xmlns:a16="http://schemas.microsoft.com/office/drawing/2014/main" id="{86112A39-07E8-6C42-C7BF-9B5F765D0AD0}"/>
                    </a:ext>
                  </a:extLst>
                </p:cNvPr>
                <p:cNvSpPr/>
                <p:nvPr/>
              </p:nvSpPr>
              <p:spPr>
                <a:xfrm>
                  <a:off x="10486132" y="4900474"/>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6" name="Freeform 1175">
                  <a:extLst>
                    <a:ext uri="{FF2B5EF4-FFF2-40B4-BE49-F238E27FC236}">
                      <a16:creationId xmlns:a16="http://schemas.microsoft.com/office/drawing/2014/main" id="{9E6B6974-D674-7921-18FA-70905A67C33C}"/>
                    </a:ext>
                  </a:extLst>
                </p:cNvPr>
                <p:cNvSpPr/>
                <p:nvPr/>
              </p:nvSpPr>
              <p:spPr>
                <a:xfrm>
                  <a:off x="10508145" y="4878461"/>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77" name="Graphic 1006">
                <a:extLst>
                  <a:ext uri="{FF2B5EF4-FFF2-40B4-BE49-F238E27FC236}">
                    <a16:creationId xmlns:a16="http://schemas.microsoft.com/office/drawing/2014/main" id="{B6D33923-1475-97BB-B425-550654DDE268}"/>
                  </a:ext>
                </a:extLst>
              </p:cNvPr>
              <p:cNvGrpSpPr/>
              <p:nvPr/>
            </p:nvGrpSpPr>
            <p:grpSpPr>
              <a:xfrm>
                <a:off x="10538617" y="4899227"/>
                <a:ext cx="44026" cy="44026"/>
                <a:chOff x="10538617" y="4899227"/>
                <a:chExt cx="44026" cy="44026"/>
              </a:xfrm>
            </p:grpSpPr>
            <p:sp>
              <p:nvSpPr>
                <p:cNvPr id="1178" name="Freeform 1177">
                  <a:extLst>
                    <a:ext uri="{FF2B5EF4-FFF2-40B4-BE49-F238E27FC236}">
                      <a16:creationId xmlns:a16="http://schemas.microsoft.com/office/drawing/2014/main" id="{4BAE0603-2D6B-B910-BCC0-0D9C1DADD73D}"/>
                    </a:ext>
                  </a:extLst>
                </p:cNvPr>
                <p:cNvSpPr/>
                <p:nvPr/>
              </p:nvSpPr>
              <p:spPr>
                <a:xfrm>
                  <a:off x="10538617" y="4921241"/>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9" name="Freeform 1178">
                  <a:extLst>
                    <a:ext uri="{FF2B5EF4-FFF2-40B4-BE49-F238E27FC236}">
                      <a16:creationId xmlns:a16="http://schemas.microsoft.com/office/drawing/2014/main" id="{0223F2F7-D9B8-A6DD-849B-54EE30B94014}"/>
                    </a:ext>
                  </a:extLst>
                </p:cNvPr>
                <p:cNvSpPr/>
                <p:nvPr/>
              </p:nvSpPr>
              <p:spPr>
                <a:xfrm>
                  <a:off x="10560630" y="4899227"/>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80" name="Graphic 1006">
                <a:extLst>
                  <a:ext uri="{FF2B5EF4-FFF2-40B4-BE49-F238E27FC236}">
                    <a16:creationId xmlns:a16="http://schemas.microsoft.com/office/drawing/2014/main" id="{D70D2655-A5A3-2AD6-CC3B-DEFBA695D2DB}"/>
                  </a:ext>
                </a:extLst>
              </p:cNvPr>
              <p:cNvGrpSpPr/>
              <p:nvPr/>
            </p:nvGrpSpPr>
            <p:grpSpPr>
              <a:xfrm>
                <a:off x="10681052" y="4942278"/>
                <a:ext cx="44026" cy="44026"/>
                <a:chOff x="10681052" y="4942278"/>
                <a:chExt cx="44026" cy="44026"/>
              </a:xfrm>
            </p:grpSpPr>
            <p:sp>
              <p:nvSpPr>
                <p:cNvPr id="1181" name="Freeform 1180">
                  <a:extLst>
                    <a:ext uri="{FF2B5EF4-FFF2-40B4-BE49-F238E27FC236}">
                      <a16:creationId xmlns:a16="http://schemas.microsoft.com/office/drawing/2014/main" id="{2C6E2595-C7B9-A32C-8F38-D35CB18673A6}"/>
                    </a:ext>
                  </a:extLst>
                </p:cNvPr>
                <p:cNvSpPr/>
                <p:nvPr/>
              </p:nvSpPr>
              <p:spPr>
                <a:xfrm>
                  <a:off x="10681052" y="4964291"/>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2" name="Freeform 1181">
                  <a:extLst>
                    <a:ext uri="{FF2B5EF4-FFF2-40B4-BE49-F238E27FC236}">
                      <a16:creationId xmlns:a16="http://schemas.microsoft.com/office/drawing/2014/main" id="{B6FC920E-7447-3789-B7EF-A476816274DD}"/>
                    </a:ext>
                  </a:extLst>
                </p:cNvPr>
                <p:cNvSpPr/>
                <p:nvPr/>
              </p:nvSpPr>
              <p:spPr>
                <a:xfrm>
                  <a:off x="10703066" y="4942278"/>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83" name="Graphic 1006">
                <a:extLst>
                  <a:ext uri="{FF2B5EF4-FFF2-40B4-BE49-F238E27FC236}">
                    <a16:creationId xmlns:a16="http://schemas.microsoft.com/office/drawing/2014/main" id="{82EFC681-2EC9-6E06-2096-9073B408627B}"/>
                  </a:ext>
                </a:extLst>
              </p:cNvPr>
              <p:cNvGrpSpPr/>
              <p:nvPr/>
            </p:nvGrpSpPr>
            <p:grpSpPr>
              <a:xfrm>
                <a:off x="10681052" y="4960550"/>
                <a:ext cx="44026" cy="44026"/>
                <a:chOff x="10681052" y="4960550"/>
                <a:chExt cx="44026" cy="44026"/>
              </a:xfrm>
            </p:grpSpPr>
            <p:sp>
              <p:nvSpPr>
                <p:cNvPr id="1184" name="Freeform 1183">
                  <a:extLst>
                    <a:ext uri="{FF2B5EF4-FFF2-40B4-BE49-F238E27FC236}">
                      <a16:creationId xmlns:a16="http://schemas.microsoft.com/office/drawing/2014/main" id="{E3EA07BC-D5E7-EBE2-9F84-F3C702EDBDEE}"/>
                    </a:ext>
                  </a:extLst>
                </p:cNvPr>
                <p:cNvSpPr/>
                <p:nvPr/>
              </p:nvSpPr>
              <p:spPr>
                <a:xfrm>
                  <a:off x="10681052" y="4982563"/>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5" name="Freeform 1184">
                  <a:extLst>
                    <a:ext uri="{FF2B5EF4-FFF2-40B4-BE49-F238E27FC236}">
                      <a16:creationId xmlns:a16="http://schemas.microsoft.com/office/drawing/2014/main" id="{D2618513-D9FB-72CF-7F85-D1FE7FD6423F}"/>
                    </a:ext>
                  </a:extLst>
                </p:cNvPr>
                <p:cNvSpPr/>
                <p:nvPr/>
              </p:nvSpPr>
              <p:spPr>
                <a:xfrm>
                  <a:off x="10703066" y="4960550"/>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86" name="Graphic 1006">
                <a:extLst>
                  <a:ext uri="{FF2B5EF4-FFF2-40B4-BE49-F238E27FC236}">
                    <a16:creationId xmlns:a16="http://schemas.microsoft.com/office/drawing/2014/main" id="{DA44B6BE-E6E2-2AD8-440F-885740A1F45D}"/>
                  </a:ext>
                </a:extLst>
              </p:cNvPr>
              <p:cNvGrpSpPr/>
              <p:nvPr/>
            </p:nvGrpSpPr>
            <p:grpSpPr>
              <a:xfrm>
                <a:off x="10725079" y="4960550"/>
                <a:ext cx="44026" cy="44026"/>
                <a:chOff x="10725079" y="4960550"/>
                <a:chExt cx="44026" cy="44026"/>
              </a:xfrm>
            </p:grpSpPr>
            <p:sp>
              <p:nvSpPr>
                <p:cNvPr id="1187" name="Freeform 1186">
                  <a:extLst>
                    <a:ext uri="{FF2B5EF4-FFF2-40B4-BE49-F238E27FC236}">
                      <a16:creationId xmlns:a16="http://schemas.microsoft.com/office/drawing/2014/main" id="{A88B3CB8-46FC-A683-AEE1-9DBA8D29CE18}"/>
                    </a:ext>
                  </a:extLst>
                </p:cNvPr>
                <p:cNvSpPr/>
                <p:nvPr/>
              </p:nvSpPr>
              <p:spPr>
                <a:xfrm>
                  <a:off x="10725079" y="4982563"/>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8" name="Freeform 1187">
                  <a:extLst>
                    <a:ext uri="{FF2B5EF4-FFF2-40B4-BE49-F238E27FC236}">
                      <a16:creationId xmlns:a16="http://schemas.microsoft.com/office/drawing/2014/main" id="{6503291F-A012-D0F1-FC40-470D8A68AF1D}"/>
                    </a:ext>
                  </a:extLst>
                </p:cNvPr>
                <p:cNvSpPr/>
                <p:nvPr/>
              </p:nvSpPr>
              <p:spPr>
                <a:xfrm>
                  <a:off x="10747092" y="4960550"/>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89" name="Graphic 1006">
                <a:extLst>
                  <a:ext uri="{FF2B5EF4-FFF2-40B4-BE49-F238E27FC236}">
                    <a16:creationId xmlns:a16="http://schemas.microsoft.com/office/drawing/2014/main" id="{7AE706B9-E75A-EA1A-282A-31FA6CE12323}"/>
                  </a:ext>
                </a:extLst>
              </p:cNvPr>
              <p:cNvGrpSpPr/>
              <p:nvPr/>
            </p:nvGrpSpPr>
            <p:grpSpPr>
              <a:xfrm>
                <a:off x="10782010" y="4960550"/>
                <a:ext cx="44026" cy="44026"/>
                <a:chOff x="10782010" y="4960550"/>
                <a:chExt cx="44026" cy="44026"/>
              </a:xfrm>
            </p:grpSpPr>
            <p:sp>
              <p:nvSpPr>
                <p:cNvPr id="1190" name="Freeform 1189">
                  <a:extLst>
                    <a:ext uri="{FF2B5EF4-FFF2-40B4-BE49-F238E27FC236}">
                      <a16:creationId xmlns:a16="http://schemas.microsoft.com/office/drawing/2014/main" id="{EE17E7BF-747B-D3F9-D4A2-9539DD5BFCBE}"/>
                    </a:ext>
                  </a:extLst>
                </p:cNvPr>
                <p:cNvSpPr/>
                <p:nvPr/>
              </p:nvSpPr>
              <p:spPr>
                <a:xfrm>
                  <a:off x="10782010" y="4982563"/>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1" name="Freeform 1190">
                  <a:extLst>
                    <a:ext uri="{FF2B5EF4-FFF2-40B4-BE49-F238E27FC236}">
                      <a16:creationId xmlns:a16="http://schemas.microsoft.com/office/drawing/2014/main" id="{100430CE-B076-2E0A-73C5-38E520FAD879}"/>
                    </a:ext>
                  </a:extLst>
                </p:cNvPr>
                <p:cNvSpPr/>
                <p:nvPr/>
              </p:nvSpPr>
              <p:spPr>
                <a:xfrm>
                  <a:off x="10804023" y="4960550"/>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92" name="Graphic 1006">
                <a:extLst>
                  <a:ext uri="{FF2B5EF4-FFF2-40B4-BE49-F238E27FC236}">
                    <a16:creationId xmlns:a16="http://schemas.microsoft.com/office/drawing/2014/main" id="{68A96A12-5AEC-496E-C0B1-E45B258E05B1}"/>
                  </a:ext>
                </a:extLst>
              </p:cNvPr>
              <p:cNvGrpSpPr/>
              <p:nvPr/>
            </p:nvGrpSpPr>
            <p:grpSpPr>
              <a:xfrm>
                <a:off x="11023396" y="5009565"/>
                <a:ext cx="44026" cy="44026"/>
                <a:chOff x="11023396" y="5009565"/>
                <a:chExt cx="44026" cy="44026"/>
              </a:xfrm>
            </p:grpSpPr>
            <p:sp>
              <p:nvSpPr>
                <p:cNvPr id="1193" name="Freeform 1192">
                  <a:extLst>
                    <a:ext uri="{FF2B5EF4-FFF2-40B4-BE49-F238E27FC236}">
                      <a16:creationId xmlns:a16="http://schemas.microsoft.com/office/drawing/2014/main" id="{A9307567-71CC-E1F8-DCA4-090B66B2EB12}"/>
                    </a:ext>
                  </a:extLst>
                </p:cNvPr>
                <p:cNvSpPr/>
                <p:nvPr/>
              </p:nvSpPr>
              <p:spPr>
                <a:xfrm>
                  <a:off x="11023396" y="5031578"/>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4" name="Freeform 1193">
                  <a:extLst>
                    <a:ext uri="{FF2B5EF4-FFF2-40B4-BE49-F238E27FC236}">
                      <a16:creationId xmlns:a16="http://schemas.microsoft.com/office/drawing/2014/main" id="{C1D1DC40-F2FA-D6A3-7E11-E1319C538345}"/>
                    </a:ext>
                  </a:extLst>
                </p:cNvPr>
                <p:cNvSpPr/>
                <p:nvPr/>
              </p:nvSpPr>
              <p:spPr>
                <a:xfrm>
                  <a:off x="11045409" y="5009565"/>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95" name="Graphic 1006">
                <a:extLst>
                  <a:ext uri="{FF2B5EF4-FFF2-40B4-BE49-F238E27FC236}">
                    <a16:creationId xmlns:a16="http://schemas.microsoft.com/office/drawing/2014/main" id="{BAF44D43-8699-C0F0-7FAD-3B66D0429137}"/>
                  </a:ext>
                </a:extLst>
              </p:cNvPr>
              <p:cNvGrpSpPr/>
              <p:nvPr/>
            </p:nvGrpSpPr>
            <p:grpSpPr>
              <a:xfrm>
                <a:off x="11118389" y="5009565"/>
                <a:ext cx="44026" cy="44026"/>
                <a:chOff x="11118389" y="5009565"/>
                <a:chExt cx="44026" cy="44026"/>
              </a:xfrm>
            </p:grpSpPr>
            <p:sp>
              <p:nvSpPr>
                <p:cNvPr id="1196" name="Freeform 1195">
                  <a:extLst>
                    <a:ext uri="{FF2B5EF4-FFF2-40B4-BE49-F238E27FC236}">
                      <a16:creationId xmlns:a16="http://schemas.microsoft.com/office/drawing/2014/main" id="{E9EFB67C-10EB-BFB7-2317-28EBD261E8FB}"/>
                    </a:ext>
                  </a:extLst>
                </p:cNvPr>
                <p:cNvSpPr/>
                <p:nvPr/>
              </p:nvSpPr>
              <p:spPr>
                <a:xfrm>
                  <a:off x="11118389" y="5031578"/>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7" name="Freeform 1196">
                  <a:extLst>
                    <a:ext uri="{FF2B5EF4-FFF2-40B4-BE49-F238E27FC236}">
                      <a16:creationId xmlns:a16="http://schemas.microsoft.com/office/drawing/2014/main" id="{6ADC33A1-B1B3-B28A-E99A-64122D1FE02C}"/>
                    </a:ext>
                  </a:extLst>
                </p:cNvPr>
                <p:cNvSpPr/>
                <p:nvPr/>
              </p:nvSpPr>
              <p:spPr>
                <a:xfrm>
                  <a:off x="11140402" y="5009565"/>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98" name="Graphic 1006">
                <a:extLst>
                  <a:ext uri="{FF2B5EF4-FFF2-40B4-BE49-F238E27FC236}">
                    <a16:creationId xmlns:a16="http://schemas.microsoft.com/office/drawing/2014/main" id="{FB065172-8217-67D0-B10B-E074166A0A43}"/>
                  </a:ext>
                </a:extLst>
              </p:cNvPr>
              <p:cNvGrpSpPr/>
              <p:nvPr/>
            </p:nvGrpSpPr>
            <p:grpSpPr>
              <a:xfrm>
                <a:off x="11169356" y="5009565"/>
                <a:ext cx="44026" cy="44026"/>
                <a:chOff x="11169356" y="5009565"/>
                <a:chExt cx="44026" cy="44026"/>
              </a:xfrm>
            </p:grpSpPr>
            <p:sp>
              <p:nvSpPr>
                <p:cNvPr id="1199" name="Freeform 1198">
                  <a:extLst>
                    <a:ext uri="{FF2B5EF4-FFF2-40B4-BE49-F238E27FC236}">
                      <a16:creationId xmlns:a16="http://schemas.microsoft.com/office/drawing/2014/main" id="{5DE279DA-BA2E-3D75-DDEF-17F989E4AEA6}"/>
                    </a:ext>
                  </a:extLst>
                </p:cNvPr>
                <p:cNvSpPr/>
                <p:nvPr/>
              </p:nvSpPr>
              <p:spPr>
                <a:xfrm>
                  <a:off x="11169356" y="5031578"/>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0" name="Freeform 1199">
                  <a:extLst>
                    <a:ext uri="{FF2B5EF4-FFF2-40B4-BE49-F238E27FC236}">
                      <a16:creationId xmlns:a16="http://schemas.microsoft.com/office/drawing/2014/main" id="{51F16F84-F4BE-6CD8-CB0C-B386BF1D9C61}"/>
                    </a:ext>
                  </a:extLst>
                </p:cNvPr>
                <p:cNvSpPr/>
                <p:nvPr/>
              </p:nvSpPr>
              <p:spPr>
                <a:xfrm>
                  <a:off x="11191369" y="5009565"/>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01" name="Graphic 1006">
                <a:extLst>
                  <a:ext uri="{FF2B5EF4-FFF2-40B4-BE49-F238E27FC236}">
                    <a16:creationId xmlns:a16="http://schemas.microsoft.com/office/drawing/2014/main" id="{767F712A-3B8B-AE10-93A1-5DBE48BC6A18}"/>
                  </a:ext>
                </a:extLst>
              </p:cNvPr>
              <p:cNvGrpSpPr/>
              <p:nvPr/>
            </p:nvGrpSpPr>
            <p:grpSpPr>
              <a:xfrm>
                <a:off x="9811367" y="4518767"/>
                <a:ext cx="44026" cy="44080"/>
                <a:chOff x="9811367" y="4518767"/>
                <a:chExt cx="44026" cy="44080"/>
              </a:xfrm>
            </p:grpSpPr>
            <p:sp>
              <p:nvSpPr>
                <p:cNvPr id="1202" name="Freeform 1201">
                  <a:extLst>
                    <a:ext uri="{FF2B5EF4-FFF2-40B4-BE49-F238E27FC236}">
                      <a16:creationId xmlns:a16="http://schemas.microsoft.com/office/drawing/2014/main" id="{84808855-8A52-B40F-7785-A46A5E4B06B2}"/>
                    </a:ext>
                  </a:extLst>
                </p:cNvPr>
                <p:cNvSpPr/>
                <p:nvPr/>
              </p:nvSpPr>
              <p:spPr>
                <a:xfrm>
                  <a:off x="9811367" y="4540835"/>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3" name="Freeform 1202">
                  <a:extLst>
                    <a:ext uri="{FF2B5EF4-FFF2-40B4-BE49-F238E27FC236}">
                      <a16:creationId xmlns:a16="http://schemas.microsoft.com/office/drawing/2014/main" id="{E99B10FF-D15E-F220-CEA6-47BE4BAC68F4}"/>
                    </a:ext>
                  </a:extLst>
                </p:cNvPr>
                <p:cNvSpPr/>
                <p:nvPr/>
              </p:nvSpPr>
              <p:spPr>
                <a:xfrm>
                  <a:off x="9833380" y="4518767"/>
                  <a:ext cx="5421" cy="44080"/>
                </a:xfrm>
                <a:custGeom>
                  <a:avLst/>
                  <a:gdLst>
                    <a:gd name="connsiteX0" fmla="*/ 0 w 5421"/>
                    <a:gd name="connsiteY0" fmla="*/ 0 h 44080"/>
                    <a:gd name="connsiteX1" fmla="*/ 0 w 5421"/>
                    <a:gd name="connsiteY1" fmla="*/ 44081 h 44080"/>
                  </a:gdLst>
                  <a:ahLst/>
                  <a:cxnLst>
                    <a:cxn ang="0">
                      <a:pos x="connsiteX0" y="connsiteY0"/>
                    </a:cxn>
                    <a:cxn ang="0">
                      <a:pos x="connsiteX1" y="connsiteY1"/>
                    </a:cxn>
                  </a:cxnLst>
                  <a:rect l="l" t="t" r="r" b="b"/>
                  <a:pathLst>
                    <a:path w="5421" h="44080">
                      <a:moveTo>
                        <a:pt x="0" y="0"/>
                      </a:moveTo>
                      <a:lnTo>
                        <a:pt x="0" y="4408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04" name="Graphic 1006">
                <a:extLst>
                  <a:ext uri="{FF2B5EF4-FFF2-40B4-BE49-F238E27FC236}">
                    <a16:creationId xmlns:a16="http://schemas.microsoft.com/office/drawing/2014/main" id="{F81B88CD-C766-A1C8-556B-495809A93E64}"/>
                  </a:ext>
                </a:extLst>
              </p:cNvPr>
              <p:cNvGrpSpPr/>
              <p:nvPr/>
            </p:nvGrpSpPr>
            <p:grpSpPr>
              <a:xfrm>
                <a:off x="9806921" y="4518767"/>
                <a:ext cx="44026" cy="44080"/>
                <a:chOff x="9806921" y="4518767"/>
                <a:chExt cx="44026" cy="44080"/>
              </a:xfrm>
            </p:grpSpPr>
            <p:sp>
              <p:nvSpPr>
                <p:cNvPr id="1205" name="Freeform 1204">
                  <a:extLst>
                    <a:ext uri="{FF2B5EF4-FFF2-40B4-BE49-F238E27FC236}">
                      <a16:creationId xmlns:a16="http://schemas.microsoft.com/office/drawing/2014/main" id="{6DD1BA86-B918-8D1B-4BD9-D7B9001F13DC}"/>
                    </a:ext>
                  </a:extLst>
                </p:cNvPr>
                <p:cNvSpPr/>
                <p:nvPr/>
              </p:nvSpPr>
              <p:spPr>
                <a:xfrm>
                  <a:off x="9806921" y="4540835"/>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6" name="Freeform 1205">
                  <a:extLst>
                    <a:ext uri="{FF2B5EF4-FFF2-40B4-BE49-F238E27FC236}">
                      <a16:creationId xmlns:a16="http://schemas.microsoft.com/office/drawing/2014/main" id="{D47A04AF-2E0F-9A33-01B2-8C5644752F18}"/>
                    </a:ext>
                  </a:extLst>
                </p:cNvPr>
                <p:cNvSpPr/>
                <p:nvPr/>
              </p:nvSpPr>
              <p:spPr>
                <a:xfrm>
                  <a:off x="9828934" y="4518767"/>
                  <a:ext cx="5421" cy="44080"/>
                </a:xfrm>
                <a:custGeom>
                  <a:avLst/>
                  <a:gdLst>
                    <a:gd name="connsiteX0" fmla="*/ 0 w 5421"/>
                    <a:gd name="connsiteY0" fmla="*/ 0 h 44080"/>
                    <a:gd name="connsiteX1" fmla="*/ 0 w 5421"/>
                    <a:gd name="connsiteY1" fmla="*/ 44081 h 44080"/>
                  </a:gdLst>
                  <a:ahLst/>
                  <a:cxnLst>
                    <a:cxn ang="0">
                      <a:pos x="connsiteX0" y="connsiteY0"/>
                    </a:cxn>
                    <a:cxn ang="0">
                      <a:pos x="connsiteX1" y="connsiteY1"/>
                    </a:cxn>
                  </a:cxnLst>
                  <a:rect l="l" t="t" r="r" b="b"/>
                  <a:pathLst>
                    <a:path w="5421" h="44080">
                      <a:moveTo>
                        <a:pt x="0" y="0"/>
                      </a:moveTo>
                      <a:lnTo>
                        <a:pt x="0" y="4408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07" name="Graphic 1006">
                <a:extLst>
                  <a:ext uri="{FF2B5EF4-FFF2-40B4-BE49-F238E27FC236}">
                    <a16:creationId xmlns:a16="http://schemas.microsoft.com/office/drawing/2014/main" id="{BE26D942-5D3F-7B1B-1CB6-04180318A667}"/>
                  </a:ext>
                </a:extLst>
              </p:cNvPr>
              <p:cNvGrpSpPr/>
              <p:nvPr/>
            </p:nvGrpSpPr>
            <p:grpSpPr>
              <a:xfrm>
                <a:off x="9413990" y="4245608"/>
                <a:ext cx="44026" cy="44026"/>
                <a:chOff x="9413990" y="4245608"/>
                <a:chExt cx="44026" cy="44026"/>
              </a:xfrm>
            </p:grpSpPr>
            <p:sp>
              <p:nvSpPr>
                <p:cNvPr id="1208" name="Freeform 1207">
                  <a:extLst>
                    <a:ext uri="{FF2B5EF4-FFF2-40B4-BE49-F238E27FC236}">
                      <a16:creationId xmlns:a16="http://schemas.microsoft.com/office/drawing/2014/main" id="{FC9B5EAA-A00B-4C3C-5D16-3A91A56D3B7A}"/>
                    </a:ext>
                  </a:extLst>
                </p:cNvPr>
                <p:cNvSpPr/>
                <p:nvPr/>
              </p:nvSpPr>
              <p:spPr>
                <a:xfrm>
                  <a:off x="9413990" y="4267621"/>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9" name="Freeform 1208">
                  <a:extLst>
                    <a:ext uri="{FF2B5EF4-FFF2-40B4-BE49-F238E27FC236}">
                      <a16:creationId xmlns:a16="http://schemas.microsoft.com/office/drawing/2014/main" id="{1BA6E609-14FF-1D6E-9B4A-E609ABF1B44D}"/>
                    </a:ext>
                  </a:extLst>
                </p:cNvPr>
                <p:cNvSpPr/>
                <p:nvPr/>
              </p:nvSpPr>
              <p:spPr>
                <a:xfrm>
                  <a:off x="9436004" y="4245608"/>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10" name="Graphic 1006">
                <a:extLst>
                  <a:ext uri="{FF2B5EF4-FFF2-40B4-BE49-F238E27FC236}">
                    <a16:creationId xmlns:a16="http://schemas.microsoft.com/office/drawing/2014/main" id="{B3E4A426-5B2D-0F1C-BD23-A07D97833301}"/>
                  </a:ext>
                </a:extLst>
              </p:cNvPr>
              <p:cNvGrpSpPr/>
              <p:nvPr/>
            </p:nvGrpSpPr>
            <p:grpSpPr>
              <a:xfrm>
                <a:off x="9398158" y="4222348"/>
                <a:ext cx="44026" cy="44026"/>
                <a:chOff x="9398158" y="4222348"/>
                <a:chExt cx="44026" cy="44026"/>
              </a:xfrm>
            </p:grpSpPr>
            <p:sp>
              <p:nvSpPr>
                <p:cNvPr id="1211" name="Freeform 1210">
                  <a:extLst>
                    <a:ext uri="{FF2B5EF4-FFF2-40B4-BE49-F238E27FC236}">
                      <a16:creationId xmlns:a16="http://schemas.microsoft.com/office/drawing/2014/main" id="{92EE0FAB-72D5-D422-2F98-D99F4F0044B1}"/>
                    </a:ext>
                  </a:extLst>
                </p:cNvPr>
                <p:cNvSpPr/>
                <p:nvPr/>
              </p:nvSpPr>
              <p:spPr>
                <a:xfrm>
                  <a:off x="9398158" y="4244361"/>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2" name="Freeform 1211">
                  <a:extLst>
                    <a:ext uri="{FF2B5EF4-FFF2-40B4-BE49-F238E27FC236}">
                      <a16:creationId xmlns:a16="http://schemas.microsoft.com/office/drawing/2014/main" id="{2078BF90-9B8D-64E9-BD85-724DAB695B9A}"/>
                    </a:ext>
                  </a:extLst>
                </p:cNvPr>
                <p:cNvSpPr/>
                <p:nvPr/>
              </p:nvSpPr>
              <p:spPr>
                <a:xfrm>
                  <a:off x="9420171" y="4222348"/>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13" name="Graphic 1006">
                <a:extLst>
                  <a:ext uri="{FF2B5EF4-FFF2-40B4-BE49-F238E27FC236}">
                    <a16:creationId xmlns:a16="http://schemas.microsoft.com/office/drawing/2014/main" id="{DDA13376-3584-EAD9-22F1-0205C524006E}"/>
                  </a:ext>
                </a:extLst>
              </p:cNvPr>
              <p:cNvGrpSpPr/>
              <p:nvPr/>
            </p:nvGrpSpPr>
            <p:grpSpPr>
              <a:xfrm>
                <a:off x="9379398" y="4208034"/>
                <a:ext cx="44026" cy="44026"/>
                <a:chOff x="9379398" y="4208034"/>
                <a:chExt cx="44026" cy="44026"/>
              </a:xfrm>
            </p:grpSpPr>
            <p:sp>
              <p:nvSpPr>
                <p:cNvPr id="1214" name="Freeform 1213">
                  <a:extLst>
                    <a:ext uri="{FF2B5EF4-FFF2-40B4-BE49-F238E27FC236}">
                      <a16:creationId xmlns:a16="http://schemas.microsoft.com/office/drawing/2014/main" id="{3C21D4AA-F4AA-33B9-C2F6-A6042A53C28C}"/>
                    </a:ext>
                  </a:extLst>
                </p:cNvPr>
                <p:cNvSpPr/>
                <p:nvPr/>
              </p:nvSpPr>
              <p:spPr>
                <a:xfrm>
                  <a:off x="9379398" y="4230047"/>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5" name="Freeform 1214">
                  <a:extLst>
                    <a:ext uri="{FF2B5EF4-FFF2-40B4-BE49-F238E27FC236}">
                      <a16:creationId xmlns:a16="http://schemas.microsoft.com/office/drawing/2014/main" id="{538D2FB8-DBFC-D42C-DC73-C04A1CABB9AC}"/>
                    </a:ext>
                  </a:extLst>
                </p:cNvPr>
                <p:cNvSpPr/>
                <p:nvPr/>
              </p:nvSpPr>
              <p:spPr>
                <a:xfrm>
                  <a:off x="9401411" y="4208034"/>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16" name="Graphic 1006">
                <a:extLst>
                  <a:ext uri="{FF2B5EF4-FFF2-40B4-BE49-F238E27FC236}">
                    <a16:creationId xmlns:a16="http://schemas.microsoft.com/office/drawing/2014/main" id="{DB5C4DA1-EC66-0997-0607-CE8347DC6351}"/>
                  </a:ext>
                </a:extLst>
              </p:cNvPr>
              <p:cNvGrpSpPr/>
              <p:nvPr/>
            </p:nvGrpSpPr>
            <p:grpSpPr>
              <a:xfrm>
                <a:off x="9359066" y="4189219"/>
                <a:ext cx="44026" cy="44026"/>
                <a:chOff x="9359066" y="4189219"/>
                <a:chExt cx="44026" cy="44026"/>
              </a:xfrm>
            </p:grpSpPr>
            <p:sp>
              <p:nvSpPr>
                <p:cNvPr id="1217" name="Freeform 1216">
                  <a:extLst>
                    <a:ext uri="{FF2B5EF4-FFF2-40B4-BE49-F238E27FC236}">
                      <a16:creationId xmlns:a16="http://schemas.microsoft.com/office/drawing/2014/main" id="{C083DF9B-14B6-1DEB-E0C6-662FFBC2DF3F}"/>
                    </a:ext>
                  </a:extLst>
                </p:cNvPr>
                <p:cNvSpPr/>
                <p:nvPr/>
              </p:nvSpPr>
              <p:spPr>
                <a:xfrm>
                  <a:off x="9359066" y="4211233"/>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8" name="Freeform 1217">
                  <a:extLst>
                    <a:ext uri="{FF2B5EF4-FFF2-40B4-BE49-F238E27FC236}">
                      <a16:creationId xmlns:a16="http://schemas.microsoft.com/office/drawing/2014/main" id="{254EB99F-3F7D-C0C0-9E36-6BDB26950B4C}"/>
                    </a:ext>
                  </a:extLst>
                </p:cNvPr>
                <p:cNvSpPr/>
                <p:nvPr/>
              </p:nvSpPr>
              <p:spPr>
                <a:xfrm>
                  <a:off x="9381079" y="4189219"/>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19" name="Graphic 1006">
                <a:extLst>
                  <a:ext uri="{FF2B5EF4-FFF2-40B4-BE49-F238E27FC236}">
                    <a16:creationId xmlns:a16="http://schemas.microsoft.com/office/drawing/2014/main" id="{A8E89FFD-A5A3-204D-9FA6-247CA57E5516}"/>
                  </a:ext>
                </a:extLst>
              </p:cNvPr>
              <p:cNvGrpSpPr/>
              <p:nvPr/>
            </p:nvGrpSpPr>
            <p:grpSpPr>
              <a:xfrm>
                <a:off x="9354132" y="4179297"/>
                <a:ext cx="44026" cy="44080"/>
                <a:chOff x="9354132" y="4179297"/>
                <a:chExt cx="44026" cy="44080"/>
              </a:xfrm>
            </p:grpSpPr>
            <p:sp>
              <p:nvSpPr>
                <p:cNvPr id="1220" name="Freeform 1219">
                  <a:extLst>
                    <a:ext uri="{FF2B5EF4-FFF2-40B4-BE49-F238E27FC236}">
                      <a16:creationId xmlns:a16="http://schemas.microsoft.com/office/drawing/2014/main" id="{5AAA007B-18BE-4889-FE9E-F1361ED0D9F2}"/>
                    </a:ext>
                  </a:extLst>
                </p:cNvPr>
                <p:cNvSpPr/>
                <p:nvPr/>
              </p:nvSpPr>
              <p:spPr>
                <a:xfrm>
                  <a:off x="9354132" y="4201365"/>
                  <a:ext cx="44026" cy="5421"/>
                </a:xfrm>
                <a:custGeom>
                  <a:avLst/>
                  <a:gdLst>
                    <a:gd name="connsiteX0" fmla="*/ 0 w 44026"/>
                    <a:gd name="connsiteY0" fmla="*/ 0 h 5421"/>
                    <a:gd name="connsiteX1" fmla="*/ 44027 w 44026"/>
                    <a:gd name="connsiteY1" fmla="*/ 0 h 5421"/>
                  </a:gdLst>
                  <a:ahLst/>
                  <a:cxnLst>
                    <a:cxn ang="0">
                      <a:pos x="connsiteX0" y="connsiteY0"/>
                    </a:cxn>
                    <a:cxn ang="0">
                      <a:pos x="connsiteX1" y="connsiteY1"/>
                    </a:cxn>
                  </a:cxnLst>
                  <a:rect l="l" t="t" r="r" b="b"/>
                  <a:pathLst>
                    <a:path w="44026" h="5421">
                      <a:moveTo>
                        <a:pt x="0" y="0"/>
                      </a:moveTo>
                      <a:lnTo>
                        <a:pt x="44027"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1" name="Freeform 1220">
                  <a:extLst>
                    <a:ext uri="{FF2B5EF4-FFF2-40B4-BE49-F238E27FC236}">
                      <a16:creationId xmlns:a16="http://schemas.microsoft.com/office/drawing/2014/main" id="{A2C0FC9E-10DB-0097-7F93-4B8165787D6B}"/>
                    </a:ext>
                  </a:extLst>
                </p:cNvPr>
                <p:cNvSpPr/>
                <p:nvPr/>
              </p:nvSpPr>
              <p:spPr>
                <a:xfrm>
                  <a:off x="9376145" y="4179297"/>
                  <a:ext cx="5421" cy="44080"/>
                </a:xfrm>
                <a:custGeom>
                  <a:avLst/>
                  <a:gdLst>
                    <a:gd name="connsiteX0" fmla="*/ 0 w 5421"/>
                    <a:gd name="connsiteY0" fmla="*/ 0 h 44080"/>
                    <a:gd name="connsiteX1" fmla="*/ 0 w 5421"/>
                    <a:gd name="connsiteY1" fmla="*/ 44081 h 44080"/>
                  </a:gdLst>
                  <a:ahLst/>
                  <a:cxnLst>
                    <a:cxn ang="0">
                      <a:pos x="connsiteX0" y="connsiteY0"/>
                    </a:cxn>
                    <a:cxn ang="0">
                      <a:pos x="connsiteX1" y="connsiteY1"/>
                    </a:cxn>
                  </a:cxnLst>
                  <a:rect l="l" t="t" r="r" b="b"/>
                  <a:pathLst>
                    <a:path w="5421" h="44080">
                      <a:moveTo>
                        <a:pt x="0" y="0"/>
                      </a:moveTo>
                      <a:lnTo>
                        <a:pt x="0" y="44081"/>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22" name="Graphic 1006">
                <a:extLst>
                  <a:ext uri="{FF2B5EF4-FFF2-40B4-BE49-F238E27FC236}">
                    <a16:creationId xmlns:a16="http://schemas.microsoft.com/office/drawing/2014/main" id="{7B865C69-E501-78C3-6A89-9F8BED31E14D}"/>
                  </a:ext>
                </a:extLst>
              </p:cNvPr>
              <p:cNvGrpSpPr/>
              <p:nvPr/>
            </p:nvGrpSpPr>
            <p:grpSpPr>
              <a:xfrm>
                <a:off x="9325449" y="4157067"/>
                <a:ext cx="44026" cy="44026"/>
                <a:chOff x="9325449" y="4157067"/>
                <a:chExt cx="44026" cy="44026"/>
              </a:xfrm>
            </p:grpSpPr>
            <p:sp>
              <p:nvSpPr>
                <p:cNvPr id="1223" name="Freeform 1222">
                  <a:extLst>
                    <a:ext uri="{FF2B5EF4-FFF2-40B4-BE49-F238E27FC236}">
                      <a16:creationId xmlns:a16="http://schemas.microsoft.com/office/drawing/2014/main" id="{536B5808-D7F7-2A4D-8E3E-44BF863B68FD}"/>
                    </a:ext>
                  </a:extLst>
                </p:cNvPr>
                <p:cNvSpPr/>
                <p:nvPr/>
              </p:nvSpPr>
              <p:spPr>
                <a:xfrm>
                  <a:off x="9325449" y="4179080"/>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4" name="Freeform 1223">
                  <a:extLst>
                    <a:ext uri="{FF2B5EF4-FFF2-40B4-BE49-F238E27FC236}">
                      <a16:creationId xmlns:a16="http://schemas.microsoft.com/office/drawing/2014/main" id="{96AE6551-6416-5793-69CC-333FCEB49F49}"/>
                    </a:ext>
                  </a:extLst>
                </p:cNvPr>
                <p:cNvSpPr/>
                <p:nvPr/>
              </p:nvSpPr>
              <p:spPr>
                <a:xfrm>
                  <a:off x="9347463" y="4157067"/>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25" name="Graphic 1006">
                <a:extLst>
                  <a:ext uri="{FF2B5EF4-FFF2-40B4-BE49-F238E27FC236}">
                    <a16:creationId xmlns:a16="http://schemas.microsoft.com/office/drawing/2014/main" id="{B51CFB76-1A08-3C2C-3146-F4214CBE9024}"/>
                  </a:ext>
                </a:extLst>
              </p:cNvPr>
              <p:cNvGrpSpPr/>
              <p:nvPr/>
            </p:nvGrpSpPr>
            <p:grpSpPr>
              <a:xfrm>
                <a:off x="9336348" y="4161513"/>
                <a:ext cx="44026" cy="44026"/>
                <a:chOff x="9336348" y="4161513"/>
                <a:chExt cx="44026" cy="44026"/>
              </a:xfrm>
            </p:grpSpPr>
            <p:sp>
              <p:nvSpPr>
                <p:cNvPr id="1226" name="Freeform 1225">
                  <a:extLst>
                    <a:ext uri="{FF2B5EF4-FFF2-40B4-BE49-F238E27FC236}">
                      <a16:creationId xmlns:a16="http://schemas.microsoft.com/office/drawing/2014/main" id="{EEEFE155-E86A-C50B-0610-CEDC2A353D50}"/>
                    </a:ext>
                  </a:extLst>
                </p:cNvPr>
                <p:cNvSpPr/>
                <p:nvPr/>
              </p:nvSpPr>
              <p:spPr>
                <a:xfrm>
                  <a:off x="9336348" y="4183526"/>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7" name="Freeform 1226">
                  <a:extLst>
                    <a:ext uri="{FF2B5EF4-FFF2-40B4-BE49-F238E27FC236}">
                      <a16:creationId xmlns:a16="http://schemas.microsoft.com/office/drawing/2014/main" id="{2FAE812C-2FB2-56E7-EAA2-8C7F273CBA84}"/>
                    </a:ext>
                  </a:extLst>
                </p:cNvPr>
                <p:cNvSpPr/>
                <p:nvPr/>
              </p:nvSpPr>
              <p:spPr>
                <a:xfrm>
                  <a:off x="9358361" y="4161513"/>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28" name="Graphic 1006">
                <a:extLst>
                  <a:ext uri="{FF2B5EF4-FFF2-40B4-BE49-F238E27FC236}">
                    <a16:creationId xmlns:a16="http://schemas.microsoft.com/office/drawing/2014/main" id="{A63B09D7-0D72-2DD6-0399-3345765C5EF1}"/>
                  </a:ext>
                </a:extLst>
              </p:cNvPr>
              <p:cNvGrpSpPr/>
              <p:nvPr/>
            </p:nvGrpSpPr>
            <p:grpSpPr>
              <a:xfrm>
                <a:off x="9345240" y="4169917"/>
                <a:ext cx="44026" cy="44026"/>
                <a:chOff x="9345240" y="4169917"/>
                <a:chExt cx="44026" cy="44026"/>
              </a:xfrm>
            </p:grpSpPr>
            <p:sp>
              <p:nvSpPr>
                <p:cNvPr id="1229" name="Freeform 1228">
                  <a:extLst>
                    <a:ext uri="{FF2B5EF4-FFF2-40B4-BE49-F238E27FC236}">
                      <a16:creationId xmlns:a16="http://schemas.microsoft.com/office/drawing/2014/main" id="{FF83D0C0-3E8A-80C1-7FB5-F6B5FD95D00C}"/>
                    </a:ext>
                  </a:extLst>
                </p:cNvPr>
                <p:cNvSpPr/>
                <p:nvPr/>
              </p:nvSpPr>
              <p:spPr>
                <a:xfrm>
                  <a:off x="9345240" y="4191930"/>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0" name="Freeform 1229">
                  <a:extLst>
                    <a:ext uri="{FF2B5EF4-FFF2-40B4-BE49-F238E27FC236}">
                      <a16:creationId xmlns:a16="http://schemas.microsoft.com/office/drawing/2014/main" id="{957430CB-A001-54BE-1C72-D6EDB66AE92D}"/>
                    </a:ext>
                  </a:extLst>
                </p:cNvPr>
                <p:cNvSpPr/>
                <p:nvPr/>
              </p:nvSpPr>
              <p:spPr>
                <a:xfrm>
                  <a:off x="9367253" y="4169917"/>
                  <a:ext cx="5421" cy="44026"/>
                </a:xfrm>
                <a:custGeom>
                  <a:avLst/>
                  <a:gdLst>
                    <a:gd name="connsiteX0" fmla="*/ 0 w 5421"/>
                    <a:gd name="connsiteY0" fmla="*/ 0 h 44026"/>
                    <a:gd name="connsiteX1" fmla="*/ 0 w 5421"/>
                    <a:gd name="connsiteY1" fmla="*/ 44026 h 44026"/>
                  </a:gdLst>
                  <a:ahLst/>
                  <a:cxnLst>
                    <a:cxn ang="0">
                      <a:pos x="connsiteX0" y="connsiteY0"/>
                    </a:cxn>
                    <a:cxn ang="0">
                      <a:pos x="connsiteX1" y="connsiteY1"/>
                    </a:cxn>
                  </a:cxnLst>
                  <a:rect l="l" t="t" r="r" b="b"/>
                  <a:pathLst>
                    <a:path w="5421" h="44026">
                      <a:moveTo>
                        <a:pt x="0" y="0"/>
                      </a:moveTo>
                      <a:lnTo>
                        <a:pt x="0" y="44026"/>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31" name="Graphic 1006">
                <a:extLst>
                  <a:ext uri="{FF2B5EF4-FFF2-40B4-BE49-F238E27FC236}">
                    <a16:creationId xmlns:a16="http://schemas.microsoft.com/office/drawing/2014/main" id="{D1CA8AAF-DC0B-E5F2-6B39-5135CA316B2A}"/>
                  </a:ext>
                </a:extLst>
              </p:cNvPr>
              <p:cNvGrpSpPr/>
              <p:nvPr/>
            </p:nvGrpSpPr>
            <p:grpSpPr>
              <a:xfrm>
                <a:off x="9310593" y="4153597"/>
                <a:ext cx="44026" cy="44026"/>
                <a:chOff x="9310593" y="4153597"/>
                <a:chExt cx="44026" cy="44026"/>
              </a:xfrm>
            </p:grpSpPr>
            <p:sp>
              <p:nvSpPr>
                <p:cNvPr id="1232" name="Freeform 1231">
                  <a:extLst>
                    <a:ext uri="{FF2B5EF4-FFF2-40B4-BE49-F238E27FC236}">
                      <a16:creationId xmlns:a16="http://schemas.microsoft.com/office/drawing/2014/main" id="{1498FE51-8319-BD88-513E-C11C1E6C57BA}"/>
                    </a:ext>
                  </a:extLst>
                </p:cNvPr>
                <p:cNvSpPr/>
                <p:nvPr/>
              </p:nvSpPr>
              <p:spPr>
                <a:xfrm>
                  <a:off x="9310593" y="4175610"/>
                  <a:ext cx="44026" cy="5421"/>
                </a:xfrm>
                <a:custGeom>
                  <a:avLst/>
                  <a:gdLst>
                    <a:gd name="connsiteX0" fmla="*/ 0 w 44026"/>
                    <a:gd name="connsiteY0" fmla="*/ 0 h 5421"/>
                    <a:gd name="connsiteX1" fmla="*/ 44026 w 44026"/>
                    <a:gd name="connsiteY1" fmla="*/ 0 h 5421"/>
                  </a:gdLst>
                  <a:ahLst/>
                  <a:cxnLst>
                    <a:cxn ang="0">
                      <a:pos x="connsiteX0" y="connsiteY0"/>
                    </a:cxn>
                    <a:cxn ang="0">
                      <a:pos x="connsiteX1" y="connsiteY1"/>
                    </a:cxn>
                  </a:cxnLst>
                  <a:rect l="l" t="t" r="r" b="b"/>
                  <a:pathLst>
                    <a:path w="44026" h="5421">
                      <a:moveTo>
                        <a:pt x="0" y="0"/>
                      </a:moveTo>
                      <a:lnTo>
                        <a:pt x="44026" y="0"/>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3" name="Freeform 1232">
                  <a:extLst>
                    <a:ext uri="{FF2B5EF4-FFF2-40B4-BE49-F238E27FC236}">
                      <a16:creationId xmlns:a16="http://schemas.microsoft.com/office/drawing/2014/main" id="{FA6A85F9-FCE6-EB07-9B9A-8AFAB69DEB8B}"/>
                    </a:ext>
                  </a:extLst>
                </p:cNvPr>
                <p:cNvSpPr/>
                <p:nvPr/>
              </p:nvSpPr>
              <p:spPr>
                <a:xfrm>
                  <a:off x="9332606" y="4153597"/>
                  <a:ext cx="5421" cy="44026"/>
                </a:xfrm>
                <a:custGeom>
                  <a:avLst/>
                  <a:gdLst>
                    <a:gd name="connsiteX0" fmla="*/ 0 w 5421"/>
                    <a:gd name="connsiteY0" fmla="*/ 0 h 44026"/>
                    <a:gd name="connsiteX1" fmla="*/ 0 w 5421"/>
                    <a:gd name="connsiteY1" fmla="*/ 44027 h 44026"/>
                  </a:gdLst>
                  <a:ahLst/>
                  <a:cxnLst>
                    <a:cxn ang="0">
                      <a:pos x="connsiteX0" y="connsiteY0"/>
                    </a:cxn>
                    <a:cxn ang="0">
                      <a:pos x="connsiteX1" y="connsiteY1"/>
                    </a:cxn>
                  </a:cxnLst>
                  <a:rect l="l" t="t" r="r" b="b"/>
                  <a:pathLst>
                    <a:path w="5421" h="44026">
                      <a:moveTo>
                        <a:pt x="0" y="0"/>
                      </a:moveTo>
                      <a:lnTo>
                        <a:pt x="0" y="44027"/>
                      </a:lnTo>
                    </a:path>
                  </a:pathLst>
                </a:custGeom>
                <a:ln w="9525" cap="flat">
                  <a:solidFill>
                    <a:srgbClr val="5419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sp>
          <p:nvSpPr>
            <p:cNvPr id="1234" name="Freeform 1233">
              <a:extLst>
                <a:ext uri="{FF2B5EF4-FFF2-40B4-BE49-F238E27FC236}">
                  <a16:creationId xmlns:a16="http://schemas.microsoft.com/office/drawing/2014/main" id="{3111A281-0533-351F-8048-8E68DE6878D5}"/>
                </a:ext>
              </a:extLst>
            </p:cNvPr>
            <p:cNvSpPr/>
            <p:nvPr/>
          </p:nvSpPr>
          <p:spPr>
            <a:xfrm>
              <a:off x="10239070" y="4769877"/>
              <a:ext cx="345813" cy="345813"/>
            </a:xfrm>
            <a:custGeom>
              <a:avLst/>
              <a:gdLst>
                <a:gd name="connsiteX0" fmla="*/ 345814 w 345813"/>
                <a:gd name="connsiteY0" fmla="*/ 172907 h 345813"/>
                <a:gd name="connsiteX1" fmla="*/ 172907 w 345813"/>
                <a:gd name="connsiteY1" fmla="*/ 345814 h 345813"/>
                <a:gd name="connsiteX2" fmla="*/ 0 w 345813"/>
                <a:gd name="connsiteY2" fmla="*/ 172907 h 345813"/>
                <a:gd name="connsiteX3" fmla="*/ 172907 w 345813"/>
                <a:gd name="connsiteY3" fmla="*/ 0 h 345813"/>
                <a:gd name="connsiteX4" fmla="*/ 345814 w 345813"/>
                <a:gd name="connsiteY4" fmla="*/ 172907 h 345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813" h="345813">
                  <a:moveTo>
                    <a:pt x="345814" y="172907"/>
                  </a:moveTo>
                  <a:cubicBezTo>
                    <a:pt x="345814" y="268401"/>
                    <a:pt x="268401" y="345814"/>
                    <a:pt x="172907" y="345814"/>
                  </a:cubicBezTo>
                  <a:cubicBezTo>
                    <a:pt x="77413" y="345814"/>
                    <a:pt x="0" y="268401"/>
                    <a:pt x="0" y="172907"/>
                  </a:cubicBezTo>
                  <a:cubicBezTo>
                    <a:pt x="0" y="77413"/>
                    <a:pt x="77413" y="0"/>
                    <a:pt x="172907" y="0"/>
                  </a:cubicBezTo>
                  <a:cubicBezTo>
                    <a:pt x="268401" y="0"/>
                    <a:pt x="345814" y="77413"/>
                    <a:pt x="345814" y="172907"/>
                  </a:cubicBezTo>
                  <a:close/>
                </a:path>
              </a:pathLst>
            </a:custGeom>
            <a:noFill/>
            <a:ln w="26382" cap="flat">
              <a:solidFill>
                <a:srgbClr val="EB17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235" name="Graphic 1006">
              <a:extLst>
                <a:ext uri="{FF2B5EF4-FFF2-40B4-BE49-F238E27FC236}">
                  <a16:creationId xmlns:a16="http://schemas.microsoft.com/office/drawing/2014/main" id="{E44D56D8-96BD-B3D9-0772-ECC7033F2230}"/>
                </a:ext>
              </a:extLst>
            </p:cNvPr>
            <p:cNvGrpSpPr/>
            <p:nvPr/>
          </p:nvGrpSpPr>
          <p:grpSpPr>
            <a:xfrm>
              <a:off x="8522634" y="4956502"/>
              <a:ext cx="1903005" cy="238024"/>
              <a:chOff x="8546257" y="4861599"/>
              <a:chExt cx="1903005" cy="238024"/>
            </a:xfrm>
            <a:noFill/>
          </p:grpSpPr>
          <p:sp>
            <p:nvSpPr>
              <p:cNvPr id="1236" name="Freeform 1235">
                <a:extLst>
                  <a:ext uri="{FF2B5EF4-FFF2-40B4-BE49-F238E27FC236}">
                    <a16:creationId xmlns:a16="http://schemas.microsoft.com/office/drawing/2014/main" id="{6B6F63DA-5A5F-8842-06B3-363684B6F3CE}"/>
                  </a:ext>
                </a:extLst>
              </p:cNvPr>
              <p:cNvSpPr/>
              <p:nvPr/>
            </p:nvSpPr>
            <p:spPr>
              <a:xfrm>
                <a:off x="8546257" y="4861599"/>
                <a:ext cx="16265" cy="5421"/>
              </a:xfrm>
              <a:custGeom>
                <a:avLst/>
                <a:gdLst>
                  <a:gd name="connsiteX0" fmla="*/ 0 w 16265"/>
                  <a:gd name="connsiteY0" fmla="*/ 0 h 5421"/>
                  <a:gd name="connsiteX1" fmla="*/ 16266 w 16265"/>
                  <a:gd name="connsiteY1" fmla="*/ 0 h 5421"/>
                </a:gdLst>
                <a:ahLst/>
                <a:cxnLst>
                  <a:cxn ang="0">
                    <a:pos x="connsiteX0" y="connsiteY0"/>
                  </a:cxn>
                  <a:cxn ang="0">
                    <a:pos x="connsiteX1" y="connsiteY1"/>
                  </a:cxn>
                </a:cxnLst>
                <a:rect l="l" t="t" r="r" b="b"/>
                <a:pathLst>
                  <a:path w="16265" h="5421">
                    <a:moveTo>
                      <a:pt x="0" y="0"/>
                    </a:moveTo>
                    <a:lnTo>
                      <a:pt x="16266"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7" name="Freeform 1236">
                <a:extLst>
                  <a:ext uri="{FF2B5EF4-FFF2-40B4-BE49-F238E27FC236}">
                    <a16:creationId xmlns:a16="http://schemas.microsoft.com/office/drawing/2014/main" id="{EBFD07D1-AF5F-B71D-BB1A-331D71168EA3}"/>
                  </a:ext>
                </a:extLst>
              </p:cNvPr>
              <p:cNvSpPr/>
              <p:nvPr/>
            </p:nvSpPr>
            <p:spPr>
              <a:xfrm>
                <a:off x="8594187" y="4861599"/>
                <a:ext cx="110987" cy="5421"/>
              </a:xfrm>
              <a:custGeom>
                <a:avLst/>
                <a:gdLst>
                  <a:gd name="connsiteX0" fmla="*/ 0 w 110987"/>
                  <a:gd name="connsiteY0" fmla="*/ 0 h 5421"/>
                  <a:gd name="connsiteX1" fmla="*/ 110988 w 110987"/>
                  <a:gd name="connsiteY1" fmla="*/ 0 h 5421"/>
                </a:gdLst>
                <a:ahLst/>
                <a:cxnLst>
                  <a:cxn ang="0">
                    <a:pos x="connsiteX0" y="connsiteY0"/>
                  </a:cxn>
                  <a:cxn ang="0">
                    <a:pos x="connsiteX1" y="connsiteY1"/>
                  </a:cxn>
                </a:cxnLst>
                <a:rect l="l" t="t" r="r" b="b"/>
                <a:pathLst>
                  <a:path w="110987" h="5421">
                    <a:moveTo>
                      <a:pt x="0" y="0"/>
                    </a:moveTo>
                    <a:lnTo>
                      <a:pt x="110988" y="0"/>
                    </a:lnTo>
                  </a:path>
                </a:pathLst>
              </a:custGeom>
              <a:ln w="12700" cap="flat">
                <a:solidFill>
                  <a:srgbClr val="000000"/>
                </a:solidFill>
                <a:custDash>
                  <a:ds d="438750" sp="438750"/>
                  <a:ds d="438750" sp="438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8" name="Freeform 1237">
                <a:extLst>
                  <a:ext uri="{FF2B5EF4-FFF2-40B4-BE49-F238E27FC236}">
                    <a16:creationId xmlns:a16="http://schemas.microsoft.com/office/drawing/2014/main" id="{F87809B5-3B49-9658-872F-6E50B78B62ED}"/>
                  </a:ext>
                </a:extLst>
              </p:cNvPr>
              <p:cNvSpPr/>
              <p:nvPr/>
            </p:nvSpPr>
            <p:spPr>
              <a:xfrm>
                <a:off x="8721007" y="4861599"/>
                <a:ext cx="1696103" cy="5421"/>
              </a:xfrm>
              <a:custGeom>
                <a:avLst/>
                <a:gdLst>
                  <a:gd name="connsiteX0" fmla="*/ 0 w 1696103"/>
                  <a:gd name="connsiteY0" fmla="*/ 0 h 5421"/>
                  <a:gd name="connsiteX1" fmla="*/ 1696103 w 1696103"/>
                  <a:gd name="connsiteY1" fmla="*/ 0 h 5421"/>
                </a:gdLst>
                <a:ahLst/>
                <a:cxnLst>
                  <a:cxn ang="0">
                    <a:pos x="connsiteX0" y="connsiteY0"/>
                  </a:cxn>
                  <a:cxn ang="0">
                    <a:pos x="connsiteX1" y="connsiteY1"/>
                  </a:cxn>
                </a:cxnLst>
                <a:rect l="l" t="t" r="r" b="b"/>
                <a:pathLst>
                  <a:path w="1696103" h="5421">
                    <a:moveTo>
                      <a:pt x="0" y="0"/>
                    </a:moveTo>
                    <a:lnTo>
                      <a:pt x="1696103" y="0"/>
                    </a:lnTo>
                  </a:path>
                </a:pathLst>
              </a:custGeom>
              <a:ln w="12700" cap="flat">
                <a:solidFill>
                  <a:srgbClr val="000000"/>
                </a:solidFill>
                <a:custDash>
                  <a:ds d="438750" sp="438750"/>
                  <a:ds d="438750" sp="438750"/>
                  <a:ds d="438750" sp="438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9" name="Freeform 1238">
                <a:extLst>
                  <a:ext uri="{FF2B5EF4-FFF2-40B4-BE49-F238E27FC236}">
                    <a16:creationId xmlns:a16="http://schemas.microsoft.com/office/drawing/2014/main" id="{A2286EF6-42AA-D1D5-9C5E-6BA0AC5CD91C}"/>
                  </a:ext>
                </a:extLst>
              </p:cNvPr>
              <p:cNvSpPr/>
              <p:nvPr/>
            </p:nvSpPr>
            <p:spPr>
              <a:xfrm>
                <a:off x="10432997" y="4861599"/>
                <a:ext cx="16265" cy="16265"/>
              </a:xfrm>
              <a:custGeom>
                <a:avLst/>
                <a:gdLst>
                  <a:gd name="connsiteX0" fmla="*/ 0 w 16265"/>
                  <a:gd name="connsiteY0" fmla="*/ 0 h 16265"/>
                  <a:gd name="connsiteX1" fmla="*/ 16266 w 16265"/>
                  <a:gd name="connsiteY1" fmla="*/ 0 h 16265"/>
                  <a:gd name="connsiteX2" fmla="*/ 16266 w 16265"/>
                  <a:gd name="connsiteY2" fmla="*/ 16266 h 16265"/>
                </a:gdLst>
                <a:ahLst/>
                <a:cxnLst>
                  <a:cxn ang="0">
                    <a:pos x="connsiteX0" y="connsiteY0"/>
                  </a:cxn>
                  <a:cxn ang="0">
                    <a:pos x="connsiteX1" y="connsiteY1"/>
                  </a:cxn>
                  <a:cxn ang="0">
                    <a:pos x="connsiteX2" y="connsiteY2"/>
                  </a:cxn>
                </a:cxnLst>
                <a:rect l="l" t="t" r="r" b="b"/>
                <a:pathLst>
                  <a:path w="16265" h="16265">
                    <a:moveTo>
                      <a:pt x="0" y="0"/>
                    </a:moveTo>
                    <a:lnTo>
                      <a:pt x="16266" y="0"/>
                    </a:lnTo>
                    <a:lnTo>
                      <a:pt x="16266" y="16266"/>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0" name="Freeform 1239">
                <a:extLst>
                  <a:ext uri="{FF2B5EF4-FFF2-40B4-BE49-F238E27FC236}">
                    <a16:creationId xmlns:a16="http://schemas.microsoft.com/office/drawing/2014/main" id="{8C28232B-1B60-7E2C-AF15-856FC80A5980}"/>
                  </a:ext>
                </a:extLst>
              </p:cNvPr>
              <p:cNvSpPr/>
              <p:nvPr/>
            </p:nvSpPr>
            <p:spPr>
              <a:xfrm>
                <a:off x="10449263" y="4896571"/>
                <a:ext cx="5421" cy="65389"/>
              </a:xfrm>
              <a:custGeom>
                <a:avLst/>
                <a:gdLst>
                  <a:gd name="connsiteX0" fmla="*/ 0 w 5421"/>
                  <a:gd name="connsiteY0" fmla="*/ 0 h 65389"/>
                  <a:gd name="connsiteX1" fmla="*/ 0 w 5421"/>
                  <a:gd name="connsiteY1" fmla="*/ 65389 h 65389"/>
                </a:gdLst>
                <a:ahLst/>
                <a:cxnLst>
                  <a:cxn ang="0">
                    <a:pos x="connsiteX0" y="connsiteY0"/>
                  </a:cxn>
                  <a:cxn ang="0">
                    <a:pos x="connsiteX1" y="connsiteY1"/>
                  </a:cxn>
                </a:cxnLst>
                <a:rect l="l" t="t" r="r" b="b"/>
                <a:pathLst>
                  <a:path w="5421" h="65389">
                    <a:moveTo>
                      <a:pt x="0" y="0"/>
                    </a:moveTo>
                    <a:lnTo>
                      <a:pt x="0" y="65389"/>
                    </a:lnTo>
                  </a:path>
                </a:pathLst>
              </a:custGeom>
              <a:ln w="12700" cap="flat">
                <a:solidFill>
                  <a:srgbClr val="000000"/>
                </a:solidFill>
                <a:custDash>
                  <a:ds d="258750" sp="258750"/>
                  <a:ds d="258750" sp="258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1" name="Freeform 1240">
                <a:extLst>
                  <a:ext uri="{FF2B5EF4-FFF2-40B4-BE49-F238E27FC236}">
                    <a16:creationId xmlns:a16="http://schemas.microsoft.com/office/drawing/2014/main" id="{CCBFA693-10EC-6C95-E420-96114BEF20D9}"/>
                  </a:ext>
                </a:extLst>
              </p:cNvPr>
              <p:cNvSpPr/>
              <p:nvPr/>
            </p:nvSpPr>
            <p:spPr>
              <a:xfrm>
                <a:off x="10449263" y="4971285"/>
                <a:ext cx="5421" cy="102746"/>
              </a:xfrm>
              <a:custGeom>
                <a:avLst/>
                <a:gdLst>
                  <a:gd name="connsiteX0" fmla="*/ 0 w 5421"/>
                  <a:gd name="connsiteY0" fmla="*/ 0 h 102746"/>
                  <a:gd name="connsiteX1" fmla="*/ 0 w 5421"/>
                  <a:gd name="connsiteY1" fmla="*/ 102746 h 102746"/>
                </a:gdLst>
                <a:ahLst/>
                <a:cxnLst>
                  <a:cxn ang="0">
                    <a:pos x="connsiteX0" y="connsiteY0"/>
                  </a:cxn>
                  <a:cxn ang="0">
                    <a:pos x="connsiteX1" y="connsiteY1"/>
                  </a:cxn>
                </a:cxnLst>
                <a:rect l="l" t="t" r="r" b="b"/>
                <a:pathLst>
                  <a:path w="5421" h="102746">
                    <a:moveTo>
                      <a:pt x="0" y="0"/>
                    </a:moveTo>
                    <a:lnTo>
                      <a:pt x="0" y="102746"/>
                    </a:lnTo>
                  </a:path>
                </a:pathLst>
              </a:custGeom>
              <a:ln w="12700" cap="flat">
                <a:solidFill>
                  <a:srgbClr val="000000"/>
                </a:solidFill>
                <a:custDash>
                  <a:ds d="258750" sp="258750"/>
                  <a:ds d="258750" sp="258750"/>
                  <a:ds d="258750" sp="258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2" name="Freeform 1241">
                <a:extLst>
                  <a:ext uri="{FF2B5EF4-FFF2-40B4-BE49-F238E27FC236}">
                    <a16:creationId xmlns:a16="http://schemas.microsoft.com/office/drawing/2014/main" id="{7DE92A00-ECFD-CA8D-3E68-70799F66BC48}"/>
                  </a:ext>
                </a:extLst>
              </p:cNvPr>
              <p:cNvSpPr/>
              <p:nvPr/>
            </p:nvSpPr>
            <p:spPr>
              <a:xfrm>
                <a:off x="10449263" y="5083358"/>
                <a:ext cx="5421" cy="16265"/>
              </a:xfrm>
              <a:custGeom>
                <a:avLst/>
                <a:gdLst>
                  <a:gd name="connsiteX0" fmla="*/ 0 w 5421"/>
                  <a:gd name="connsiteY0" fmla="*/ 0 h 16265"/>
                  <a:gd name="connsiteX1" fmla="*/ 0 w 5421"/>
                  <a:gd name="connsiteY1" fmla="*/ 16266 h 16265"/>
                </a:gdLst>
                <a:ahLst/>
                <a:cxnLst>
                  <a:cxn ang="0">
                    <a:pos x="connsiteX0" y="connsiteY0"/>
                  </a:cxn>
                  <a:cxn ang="0">
                    <a:pos x="connsiteX1" y="connsiteY1"/>
                  </a:cxn>
                </a:cxnLst>
                <a:rect l="l" t="t" r="r" b="b"/>
                <a:pathLst>
                  <a:path w="5421" h="16265">
                    <a:moveTo>
                      <a:pt x="0" y="0"/>
                    </a:moveTo>
                    <a:lnTo>
                      <a:pt x="0" y="16266"/>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243" name="TextBox 1242">
              <a:extLst>
                <a:ext uri="{FF2B5EF4-FFF2-40B4-BE49-F238E27FC236}">
                  <a16:creationId xmlns:a16="http://schemas.microsoft.com/office/drawing/2014/main" id="{91173BE6-C0DF-3B11-4316-4C1FB6763DAF}"/>
                </a:ext>
              </a:extLst>
            </p:cNvPr>
            <p:cNvSpPr txBox="1"/>
            <p:nvPr/>
          </p:nvSpPr>
          <p:spPr>
            <a:xfrm rot="16200000">
              <a:off x="7258530" y="4232695"/>
              <a:ext cx="1824713" cy="153888"/>
            </a:xfrm>
            <a:prstGeom prst="rect">
              <a:avLst/>
            </a:prstGeom>
            <a:noFill/>
          </p:spPr>
          <p:txBody>
            <a:bodyPr wrap="square" lIns="0" tIns="0" rIns="3600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umulative survival</a:t>
              </a:r>
            </a:p>
          </p:txBody>
        </p:sp>
        <p:sp>
          <p:nvSpPr>
            <p:cNvPr id="1244" name="TextBox 1243">
              <a:extLst>
                <a:ext uri="{FF2B5EF4-FFF2-40B4-BE49-F238E27FC236}">
                  <a16:creationId xmlns:a16="http://schemas.microsoft.com/office/drawing/2014/main" id="{E4068774-D0C4-E498-7482-D1C548B2B254}"/>
                </a:ext>
              </a:extLst>
            </p:cNvPr>
            <p:cNvSpPr txBox="1"/>
            <p:nvPr/>
          </p:nvSpPr>
          <p:spPr>
            <a:xfrm>
              <a:off x="9824694" y="5409288"/>
              <a:ext cx="679315" cy="123511"/>
            </a:xfrm>
            <a:prstGeom prst="rect">
              <a:avLst/>
            </a:prstGeom>
            <a:noFill/>
          </p:spPr>
          <p:txBody>
            <a:bodyPr wrap="square" lIns="0" tIns="0" rIns="3600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 years</a:t>
              </a:r>
            </a:p>
          </p:txBody>
        </p:sp>
        <p:sp>
          <p:nvSpPr>
            <p:cNvPr id="1245" name="TextBox 1244">
              <a:extLst>
                <a:ext uri="{FF2B5EF4-FFF2-40B4-BE49-F238E27FC236}">
                  <a16:creationId xmlns:a16="http://schemas.microsoft.com/office/drawing/2014/main" id="{288DD531-4A00-18B5-F99F-64DE610A8B1D}"/>
                </a:ext>
              </a:extLst>
            </p:cNvPr>
            <p:cNvSpPr txBox="1"/>
            <p:nvPr/>
          </p:nvSpPr>
          <p:spPr>
            <a:xfrm>
              <a:off x="8190485" y="4792725"/>
              <a:ext cx="312780" cy="86458"/>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2</a:t>
              </a:r>
            </a:p>
          </p:txBody>
        </p:sp>
        <p:sp>
          <p:nvSpPr>
            <p:cNvPr id="1246" name="TextBox 1245">
              <a:extLst>
                <a:ext uri="{FF2B5EF4-FFF2-40B4-BE49-F238E27FC236}">
                  <a16:creationId xmlns:a16="http://schemas.microsoft.com/office/drawing/2014/main" id="{23BCE2C4-2484-5647-FA9E-99CAF5EF3778}"/>
                </a:ext>
              </a:extLst>
            </p:cNvPr>
            <p:cNvSpPr txBox="1"/>
            <p:nvPr/>
          </p:nvSpPr>
          <p:spPr>
            <a:xfrm>
              <a:off x="8190485" y="4425837"/>
              <a:ext cx="312780" cy="86458"/>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4</a:t>
              </a:r>
            </a:p>
          </p:txBody>
        </p:sp>
        <p:sp>
          <p:nvSpPr>
            <p:cNvPr id="1247" name="TextBox 1246">
              <a:extLst>
                <a:ext uri="{FF2B5EF4-FFF2-40B4-BE49-F238E27FC236}">
                  <a16:creationId xmlns:a16="http://schemas.microsoft.com/office/drawing/2014/main" id="{56D6BA67-D6F0-8F8C-C27B-2364E34D58BA}"/>
                </a:ext>
              </a:extLst>
            </p:cNvPr>
            <p:cNvSpPr txBox="1"/>
            <p:nvPr/>
          </p:nvSpPr>
          <p:spPr>
            <a:xfrm>
              <a:off x="8190485" y="4051187"/>
              <a:ext cx="312780" cy="86458"/>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a:t>
              </a:r>
            </a:p>
          </p:txBody>
        </p:sp>
        <p:sp>
          <p:nvSpPr>
            <p:cNvPr id="1248" name="TextBox 1247">
              <a:extLst>
                <a:ext uri="{FF2B5EF4-FFF2-40B4-BE49-F238E27FC236}">
                  <a16:creationId xmlns:a16="http://schemas.microsoft.com/office/drawing/2014/main" id="{5EE3217A-0355-C5E7-2FAA-BA9F1C2B5F97}"/>
                </a:ext>
              </a:extLst>
            </p:cNvPr>
            <p:cNvSpPr txBox="1"/>
            <p:nvPr/>
          </p:nvSpPr>
          <p:spPr>
            <a:xfrm>
              <a:off x="8190485" y="3702642"/>
              <a:ext cx="312780" cy="86458"/>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8</a:t>
              </a:r>
            </a:p>
          </p:txBody>
        </p:sp>
        <p:sp>
          <p:nvSpPr>
            <p:cNvPr id="1249" name="TextBox 1248">
              <a:extLst>
                <a:ext uri="{FF2B5EF4-FFF2-40B4-BE49-F238E27FC236}">
                  <a16:creationId xmlns:a16="http://schemas.microsoft.com/office/drawing/2014/main" id="{047D11BE-7C79-E73C-FDED-9619C6303D7C}"/>
                </a:ext>
              </a:extLst>
            </p:cNvPr>
            <p:cNvSpPr txBox="1"/>
            <p:nvPr/>
          </p:nvSpPr>
          <p:spPr>
            <a:xfrm>
              <a:off x="8190485" y="3327992"/>
              <a:ext cx="312780" cy="86458"/>
            </a:xfrm>
            <a:prstGeom prst="rect">
              <a:avLst/>
            </a:prstGeom>
            <a:noFill/>
          </p:spPr>
          <p:txBody>
            <a:bodyPr wrap="square" lIns="0" tIns="0" rIns="3600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1250" name="TextBox 1249">
              <a:extLst>
                <a:ext uri="{FF2B5EF4-FFF2-40B4-BE49-F238E27FC236}">
                  <a16:creationId xmlns:a16="http://schemas.microsoft.com/office/drawing/2014/main" id="{C0040086-41CC-85AE-75F1-90154867E6C7}"/>
                </a:ext>
              </a:extLst>
            </p:cNvPr>
            <p:cNvSpPr txBox="1"/>
            <p:nvPr/>
          </p:nvSpPr>
          <p:spPr>
            <a:xfrm>
              <a:off x="8533385" y="5241719"/>
              <a:ext cx="312780" cy="8645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1251" name="TextBox 1250">
              <a:extLst>
                <a:ext uri="{FF2B5EF4-FFF2-40B4-BE49-F238E27FC236}">
                  <a16:creationId xmlns:a16="http://schemas.microsoft.com/office/drawing/2014/main" id="{A00325EE-153F-DEFB-C6AC-84C059979289}"/>
                </a:ext>
              </a:extLst>
            </p:cNvPr>
            <p:cNvSpPr txBox="1"/>
            <p:nvPr/>
          </p:nvSpPr>
          <p:spPr>
            <a:xfrm>
              <a:off x="9114410" y="5241719"/>
              <a:ext cx="312780" cy="8645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00</a:t>
              </a:r>
            </a:p>
          </p:txBody>
        </p:sp>
        <p:sp>
          <p:nvSpPr>
            <p:cNvPr id="1252" name="TextBox 1251">
              <a:extLst>
                <a:ext uri="{FF2B5EF4-FFF2-40B4-BE49-F238E27FC236}">
                  <a16:creationId xmlns:a16="http://schemas.microsoft.com/office/drawing/2014/main" id="{A965908A-CA4C-BCC8-B6DB-E2564176D76D}"/>
                </a:ext>
              </a:extLst>
            </p:cNvPr>
            <p:cNvSpPr txBox="1"/>
            <p:nvPr/>
          </p:nvSpPr>
          <p:spPr>
            <a:xfrm>
              <a:off x="9692260" y="5241719"/>
              <a:ext cx="312780" cy="8645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00</a:t>
              </a:r>
            </a:p>
          </p:txBody>
        </p:sp>
        <p:sp>
          <p:nvSpPr>
            <p:cNvPr id="1253" name="TextBox 1252">
              <a:extLst>
                <a:ext uri="{FF2B5EF4-FFF2-40B4-BE49-F238E27FC236}">
                  <a16:creationId xmlns:a16="http://schemas.microsoft.com/office/drawing/2014/main" id="{69880E7A-F7FE-6609-45D2-4C4B0FB623AA}"/>
                </a:ext>
              </a:extLst>
            </p:cNvPr>
            <p:cNvSpPr txBox="1"/>
            <p:nvPr/>
          </p:nvSpPr>
          <p:spPr>
            <a:xfrm>
              <a:off x="10270110" y="5241719"/>
              <a:ext cx="312780" cy="8645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00</a:t>
              </a:r>
            </a:p>
          </p:txBody>
        </p:sp>
        <p:sp>
          <p:nvSpPr>
            <p:cNvPr id="1254" name="TextBox 1253">
              <a:extLst>
                <a:ext uri="{FF2B5EF4-FFF2-40B4-BE49-F238E27FC236}">
                  <a16:creationId xmlns:a16="http://schemas.microsoft.com/office/drawing/2014/main" id="{7C607A88-C7F7-B5DC-B58C-21ED35CD0FF8}"/>
                </a:ext>
              </a:extLst>
            </p:cNvPr>
            <p:cNvSpPr txBox="1"/>
            <p:nvPr/>
          </p:nvSpPr>
          <p:spPr>
            <a:xfrm>
              <a:off x="10844785" y="5241719"/>
              <a:ext cx="312780" cy="8645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00</a:t>
              </a:r>
            </a:p>
          </p:txBody>
        </p:sp>
        <p:sp>
          <p:nvSpPr>
            <p:cNvPr id="1255" name="TextBox 1254">
              <a:extLst>
                <a:ext uri="{FF2B5EF4-FFF2-40B4-BE49-F238E27FC236}">
                  <a16:creationId xmlns:a16="http://schemas.microsoft.com/office/drawing/2014/main" id="{95A05621-93CA-B526-22ED-AAE075779755}"/>
                </a:ext>
              </a:extLst>
            </p:cNvPr>
            <p:cNvSpPr txBox="1"/>
            <p:nvPr/>
          </p:nvSpPr>
          <p:spPr>
            <a:xfrm>
              <a:off x="11432160" y="5241719"/>
              <a:ext cx="312780" cy="8645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00</a:t>
              </a:r>
            </a:p>
          </p:txBody>
        </p:sp>
        <p:sp>
          <p:nvSpPr>
            <p:cNvPr id="1256" name="TextBox 1255">
              <a:extLst>
                <a:ext uri="{FF2B5EF4-FFF2-40B4-BE49-F238E27FC236}">
                  <a16:creationId xmlns:a16="http://schemas.microsoft.com/office/drawing/2014/main" id="{29A6DB36-F833-0E49-4358-7522088DB8AF}"/>
                </a:ext>
              </a:extLst>
            </p:cNvPr>
            <p:cNvSpPr txBox="1"/>
            <p:nvPr/>
          </p:nvSpPr>
          <p:spPr>
            <a:xfrm>
              <a:off x="9795998" y="4565735"/>
              <a:ext cx="2147887" cy="14821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10% on </a:t>
              </a:r>
              <a:r>
                <a:rPr kumimoji="0" lang="en-US" sz="1200" b="1" i="0" u="none" strike="noStrike" kern="1200" cap="none" spc="0" normalizeH="0" baseline="0" noProof="0" dirty="0" err="1">
                  <a:ln>
                    <a:noFill/>
                  </a:ln>
                  <a:solidFill>
                    <a:srgbClr val="EB1700"/>
                  </a:solidFill>
                  <a:effectLst/>
                  <a:uLnTx/>
                  <a:uFillTx/>
                  <a:latin typeface="Arial" panose="020B0604020202020204" pitchFamily="34" charset="0"/>
                  <a:ea typeface="+mn-ea"/>
                  <a:cs typeface="Arial" panose="020B0604020202020204" pitchFamily="34" charset="0"/>
                </a:rPr>
                <a:t>osimertinib</a:t>
              </a:r>
              <a:endParaRPr kumimoji="0" lang="en-US" sz="12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endParaRPr>
            </a:p>
          </p:txBody>
        </p:sp>
      </p:grpSp>
      <p:sp>
        <p:nvSpPr>
          <p:cNvPr id="13" name="Rectangle 12">
            <a:extLst>
              <a:ext uri="{FF2B5EF4-FFF2-40B4-BE49-F238E27FC236}">
                <a16:creationId xmlns:a16="http://schemas.microsoft.com/office/drawing/2014/main" id="{ED094567-3B05-172E-C09A-DE545F7A8FC5}"/>
              </a:ext>
            </a:extLst>
          </p:cNvPr>
          <p:cNvSpPr/>
          <p:nvPr/>
        </p:nvSpPr>
        <p:spPr>
          <a:xfrm>
            <a:off x="596894" y="5781145"/>
            <a:ext cx="108000" cy="116859"/>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44C0314D-2C6B-A3E3-6DAE-AC02499A543E}"/>
              </a:ext>
            </a:extLst>
          </p:cNvPr>
          <p:cNvSpPr/>
          <p:nvPr/>
        </p:nvSpPr>
        <p:spPr>
          <a:xfrm>
            <a:off x="596359" y="5960198"/>
            <a:ext cx="108000" cy="11685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B80B758-DBF2-BA27-E1E1-7D6132FE8D0A}"/>
              </a:ext>
            </a:extLst>
          </p:cNvPr>
          <p:cNvSpPr txBox="1"/>
          <p:nvPr/>
        </p:nvSpPr>
        <p:spPr>
          <a:xfrm>
            <a:off x="4267574" y="3709905"/>
            <a:ext cx="754810" cy="123111"/>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at risk:</a:t>
            </a:r>
          </a:p>
        </p:txBody>
      </p:sp>
      <p:sp>
        <p:nvSpPr>
          <p:cNvPr id="20" name="Rectangle 19">
            <a:extLst>
              <a:ext uri="{FF2B5EF4-FFF2-40B4-BE49-F238E27FC236}">
                <a16:creationId xmlns:a16="http://schemas.microsoft.com/office/drawing/2014/main" id="{3FFEC5C1-8A4B-EEE6-2F1C-0A0215660407}"/>
              </a:ext>
            </a:extLst>
          </p:cNvPr>
          <p:cNvSpPr/>
          <p:nvPr/>
        </p:nvSpPr>
        <p:spPr>
          <a:xfrm>
            <a:off x="4498862" y="3863045"/>
            <a:ext cx="72000" cy="72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9" name="Rectangle 388">
            <a:extLst>
              <a:ext uri="{FF2B5EF4-FFF2-40B4-BE49-F238E27FC236}">
                <a16:creationId xmlns:a16="http://schemas.microsoft.com/office/drawing/2014/main" id="{A7108741-6CFA-0A6B-8E0A-758D8221800F}"/>
              </a:ext>
            </a:extLst>
          </p:cNvPr>
          <p:cNvSpPr/>
          <p:nvPr/>
        </p:nvSpPr>
        <p:spPr>
          <a:xfrm>
            <a:off x="4498862" y="4003999"/>
            <a:ext cx="72000" cy="72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C7428972-1991-CB7B-3F79-2F530A163B28}"/>
              </a:ext>
            </a:extLst>
          </p:cNvPr>
          <p:cNvSpPr txBox="1"/>
          <p:nvPr/>
        </p:nvSpPr>
        <p:spPr>
          <a:xfrm>
            <a:off x="159871" y="6270940"/>
            <a:ext cx="3657976"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dirty="0">
                <a:ln>
                  <a:noFill/>
                </a:ln>
                <a:solidFill>
                  <a:srgbClr val="564C47"/>
                </a:solidFill>
                <a:effectLst/>
                <a:uLnTx/>
                <a:uFillTx/>
                <a:latin typeface="Arial" panose="020B0604020202020204" pitchFamily="34" charset="0"/>
                <a:ea typeface="+mn-ea"/>
                <a:cs typeface="Arial" panose="020B0604020202020204" pitchFamily="34" charset="0"/>
              </a:rPr>
              <a:t>Adapted from Tan DSW. WCLC 2025.</a:t>
            </a:r>
            <a:r>
              <a:rPr kumimoji="0" lang="en-GB" sz="700" b="0" i="1" u="none" strike="noStrike" kern="1200" cap="none" spc="0" normalizeH="0" baseline="30000" noProof="0" dirty="0">
                <a:ln>
                  <a:noFill/>
                </a:ln>
                <a:solidFill>
                  <a:srgbClr val="564C47"/>
                </a:solidFill>
                <a:effectLst/>
                <a:uLnTx/>
                <a:uFillTx/>
                <a:latin typeface="Arial" panose="020B0604020202020204" pitchFamily="34" charset="0"/>
                <a:ea typeface="+mn-ea"/>
                <a:cs typeface="Arial" panose="020B0604020202020204" pitchFamily="34" charset="0"/>
              </a:rPr>
              <a:t>1</a:t>
            </a:r>
          </a:p>
        </p:txBody>
      </p:sp>
    </p:spTree>
    <p:extLst>
      <p:ext uri="{BB962C8B-B14F-4D97-AF65-F5344CB8AC3E}">
        <p14:creationId xmlns:p14="http://schemas.microsoft.com/office/powerpoint/2010/main" val="36800071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BE7D8-8C06-B0A7-AD4C-F5F15B4E9E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D32F1E-2BD0-271C-077F-45B3981310EA}"/>
              </a:ext>
            </a:extLst>
          </p:cNvPr>
          <p:cNvSpPr>
            <a:spLocks noGrp="1"/>
          </p:cNvSpPr>
          <p:nvPr>
            <p:ph type="title"/>
          </p:nvPr>
        </p:nvSpPr>
        <p:spPr>
          <a:xfrm>
            <a:off x="442800" y="262800"/>
            <a:ext cx="11306174" cy="861774"/>
          </a:xfrm>
        </p:spPr>
        <p:txBody>
          <a:bodyPr/>
          <a:lstStyle/>
          <a:p>
            <a:r>
              <a:rPr lang="en-GB" dirty="0"/>
              <a:t>Studies are evaluating EGFR TKIs in various combination </a:t>
            </a:r>
            <a:br>
              <a:rPr lang="en-GB" dirty="0"/>
            </a:br>
            <a:r>
              <a:rPr lang="en-GB" dirty="0"/>
              <a:t>regimens to improve 1L treatment outcomes</a:t>
            </a:r>
            <a:r>
              <a:rPr lang="en-GB" baseline="30000" dirty="0"/>
              <a:t>1</a:t>
            </a:r>
          </a:p>
        </p:txBody>
      </p:sp>
      <p:sp>
        <p:nvSpPr>
          <p:cNvPr id="4" name="Text Placeholder 3">
            <a:extLst>
              <a:ext uri="{FF2B5EF4-FFF2-40B4-BE49-F238E27FC236}">
                <a16:creationId xmlns:a16="http://schemas.microsoft.com/office/drawing/2014/main" id="{8BDA9C41-D4BF-FF1C-B173-AE4E1BCDEB32}"/>
              </a:ext>
            </a:extLst>
          </p:cNvPr>
          <p:cNvSpPr>
            <a:spLocks noGrp="1"/>
          </p:cNvSpPr>
          <p:nvPr>
            <p:ph type="body" sz="quarter" idx="13"/>
          </p:nvPr>
        </p:nvSpPr>
        <p:spPr>
          <a:xfrm>
            <a:off x="8960195" y="6337300"/>
            <a:ext cx="2798714" cy="418157"/>
          </a:xfrm>
        </p:spPr>
        <p:txBody>
          <a:bodyPr/>
          <a:lstStyle/>
          <a:p>
            <a:r>
              <a:rPr lang="en-GB" dirty="0">
                <a:solidFill>
                  <a:schemeClr val="accent1"/>
                </a:solidFill>
              </a:rPr>
              <a:t>Disclaimer: This schematic provides </a:t>
            </a:r>
            <a:br>
              <a:rPr lang="en-GB" dirty="0">
                <a:solidFill>
                  <a:schemeClr val="accent1"/>
                </a:solidFill>
              </a:rPr>
            </a:br>
            <a:r>
              <a:rPr lang="en-GB" dirty="0">
                <a:solidFill>
                  <a:schemeClr val="accent1"/>
                </a:solidFill>
              </a:rPr>
              <a:t>an overview and is not comprehensive. </a:t>
            </a:r>
          </a:p>
          <a:p>
            <a:r>
              <a:rPr lang="en-GB" dirty="0"/>
              <a:t>1L, first-line; 3G, third-generation; ADC, antibody</a:t>
            </a:r>
            <a:r>
              <a:rPr lang="en-GB" dirty="0">
                <a:ea typeface="Calibri" panose="020F0502020204030204" pitchFamily="34" charset="0"/>
              </a:rPr>
              <a:t>–</a:t>
            </a:r>
            <a:r>
              <a:rPr lang="en-GB" dirty="0"/>
              <a:t>drug conjugate; </a:t>
            </a:r>
            <a:br>
              <a:rPr lang="en-GB" dirty="0"/>
            </a:br>
            <a:r>
              <a:rPr lang="en-GB" dirty="0"/>
              <a:t>ChT, chemotherapy; EMA, European Medicines Agency; FDA, Food and Drug Administration; HER3, human epidermal growth factor </a:t>
            </a:r>
            <a:br>
              <a:rPr lang="en-GB" dirty="0"/>
            </a:br>
            <a:r>
              <a:rPr lang="en-GB" dirty="0"/>
              <a:t>receptor 3; mAb, monoclonal antibody; TROP2, trophoblast 2. </a:t>
            </a:r>
          </a:p>
        </p:txBody>
      </p:sp>
      <p:sp>
        <p:nvSpPr>
          <p:cNvPr id="5" name="Text Placeholder 4">
            <a:extLst>
              <a:ext uri="{FF2B5EF4-FFF2-40B4-BE49-F238E27FC236}">
                <a16:creationId xmlns:a16="http://schemas.microsoft.com/office/drawing/2014/main" id="{687DCB7D-19BF-68BA-5A42-AC08E371E518}"/>
              </a:ext>
            </a:extLst>
          </p:cNvPr>
          <p:cNvSpPr>
            <a:spLocks noGrp="1"/>
          </p:cNvSpPr>
          <p:nvPr>
            <p:ph type="body" sz="quarter" idx="15"/>
          </p:nvPr>
        </p:nvSpPr>
        <p:spPr>
          <a:xfrm>
            <a:off x="442912" y="6386017"/>
            <a:ext cx="8243888" cy="369440"/>
          </a:xfrm>
        </p:spPr>
        <p:txBody>
          <a:bodyPr/>
          <a:lstStyle/>
          <a:p>
            <a:r>
              <a:rPr lang="en-GB" dirty="0"/>
              <a:t>1. Bertoli E, et al. </a:t>
            </a:r>
            <a:r>
              <a:rPr lang="en-GB" i="1" dirty="0"/>
              <a:t>Int J Mol Sci</a:t>
            </a:r>
            <a:r>
              <a:rPr lang="en-GB" dirty="0"/>
              <a:t>. 2022;23:6936; 2. </a:t>
            </a:r>
            <a:r>
              <a:rPr lang="da-DK" dirty="0">
                <a:ea typeface="Verdana" panose="020B0604030504040204" pitchFamily="34" charset="0"/>
              </a:rPr>
              <a:t>Soria JC, et al. </a:t>
            </a:r>
            <a:r>
              <a:rPr lang="da-DK" i="1" dirty="0">
                <a:ea typeface="Verdana" panose="020B0604030504040204" pitchFamily="34" charset="0"/>
              </a:rPr>
              <a:t>N Engl J Med. </a:t>
            </a:r>
            <a:r>
              <a:rPr lang="da-DK" dirty="0">
                <a:ea typeface="Verdana" panose="020B0604030504040204" pitchFamily="34" charset="0"/>
              </a:rPr>
              <a:t>2018;378:113</a:t>
            </a:r>
            <a:r>
              <a:rPr lang="en-GB" dirty="0">
                <a:ea typeface="Verdana" panose="020B0604030504040204" pitchFamily="34" charset="0"/>
              </a:rPr>
              <a:t>–</a:t>
            </a:r>
            <a:r>
              <a:rPr lang="da-DK" dirty="0">
                <a:ea typeface="Verdana" panose="020B0604030504040204" pitchFamily="34" charset="0"/>
              </a:rPr>
              <a:t>25; 3. </a:t>
            </a:r>
            <a:r>
              <a:rPr lang="en-GB" dirty="0"/>
              <a:t>EMA. TAGRISSO (osimertinib) Summary of Product Characteristics. January 2025. Available at: </a:t>
            </a:r>
            <a:r>
              <a:rPr lang="en-GB" dirty="0">
                <a:hlinkClick r:id="rId2">
                  <a:extLst>
                    <a:ext uri="{A12FA001-AC4F-418D-AE19-62706E023703}">
                      <ahyp:hlinkClr xmlns:ahyp="http://schemas.microsoft.com/office/drawing/2018/hyperlinkcolor" val="tx"/>
                    </a:ext>
                  </a:extLst>
                </a:hlinkClick>
              </a:rPr>
              <a:t>https://www.ema.europa.eu/en/documents/product-information/tagrisso-epar-product-information_en.pdf</a:t>
            </a:r>
            <a:r>
              <a:rPr lang="en-GB" dirty="0"/>
              <a:t>. Accessed October 2025; 4. FDA. TAGRISSO (osimertinib) Prescribing Information. September 2024. Available at: </a:t>
            </a:r>
            <a:r>
              <a:rPr lang="en-GB" dirty="0">
                <a:hlinkClick r:id="rId3">
                  <a:extLst>
                    <a:ext uri="{A12FA001-AC4F-418D-AE19-62706E023703}">
                      <ahyp:hlinkClr xmlns:ahyp="http://schemas.microsoft.com/office/drawing/2018/hyperlinkcolor" val="tx"/>
                    </a:ext>
                  </a:extLst>
                </a:hlinkClick>
              </a:rPr>
              <a:t>https://www.accessdata.fda.gov/drugsatfda_docs/label/2024/208065s033lbl.pdf</a:t>
            </a:r>
            <a:r>
              <a:rPr lang="en-GB" dirty="0"/>
              <a:t>. Accessed October 2025; 5. </a:t>
            </a:r>
            <a:r>
              <a:rPr lang="da-DK" dirty="0"/>
              <a:t>Planchard D, et al. </a:t>
            </a:r>
            <a:r>
              <a:rPr lang="da-DK" i="1" dirty="0"/>
              <a:t>N Engl J Med</a:t>
            </a:r>
            <a:r>
              <a:rPr lang="da-DK" dirty="0"/>
              <a:t>. 2023;389:1935–48; 6. </a:t>
            </a:r>
            <a:r>
              <a:rPr lang="da-DK" dirty="0">
                <a:cs typeface="Arial" panose="020B0604020202020204" pitchFamily="34" charset="0"/>
              </a:rPr>
              <a:t>Cho BC, et al. </a:t>
            </a:r>
            <a:r>
              <a:rPr lang="da-DK" i="1" dirty="0">
                <a:cs typeface="Arial" panose="020B0604020202020204" pitchFamily="34" charset="0"/>
              </a:rPr>
              <a:t>N Engl J Med</a:t>
            </a:r>
            <a:r>
              <a:rPr lang="da-DK" dirty="0">
                <a:cs typeface="Arial" panose="020B0604020202020204" pitchFamily="34" charset="0"/>
              </a:rPr>
              <a:t>. 2024;391:1486</a:t>
            </a:r>
            <a:r>
              <a:rPr lang="da-DK" dirty="0">
                <a:ea typeface="Calibri" panose="020F0502020204030204" pitchFamily="34" charset="0"/>
                <a:cs typeface="Calibri" panose="020F0502020204030204" pitchFamily="34" charset="0"/>
              </a:rPr>
              <a:t>–</a:t>
            </a:r>
            <a:r>
              <a:rPr lang="da-DK" dirty="0">
                <a:cs typeface="Arial" panose="020B0604020202020204" pitchFamily="34" charset="0"/>
              </a:rPr>
              <a:t>98;</a:t>
            </a:r>
            <a:r>
              <a:rPr lang="en-GB" dirty="0"/>
              <a:t> 7. </a:t>
            </a:r>
            <a:r>
              <a:rPr lang="en-GB" dirty="0">
                <a:ea typeface="Times New Roman" panose="02020603050405020304" pitchFamily="18" charset="0"/>
              </a:rPr>
              <a:t>EMA. RYBREVANT (amivantamab) Summary of Product Characteristics. July 2025. Available at: </a:t>
            </a:r>
            <a:r>
              <a:rPr lang="da-DK" u="sng" dirty="0">
                <a:ea typeface="Times New Roman" panose="02020603050405020304" pitchFamily="18" charset="0"/>
                <a:hlinkClick r:id="rId4">
                  <a:extLst>
                    <a:ext uri="{A12FA001-AC4F-418D-AE19-62706E023703}">
                      <ahyp:hlinkClr xmlns:ahyp="http://schemas.microsoft.com/office/drawing/2018/hyperlinkcolor" val="tx"/>
                    </a:ext>
                  </a:extLst>
                </a:hlinkClick>
              </a:rPr>
              <a:t>https://www.ema.europa.eu/en/documents/product-information/rybrevant-epar-product-information_en.pdf</a:t>
            </a:r>
            <a:r>
              <a:rPr lang="en-GB" dirty="0">
                <a:ea typeface="Times New Roman" panose="02020603050405020304" pitchFamily="18" charset="0"/>
              </a:rPr>
              <a:t>. Accessed October 2025</a:t>
            </a:r>
            <a:r>
              <a:rPr lang="en-GB" dirty="0"/>
              <a:t>; 8. FDA. RYBREVANT (amivantamab) Prescribing Information. September 2024. Available at: </a:t>
            </a:r>
            <a:r>
              <a:rPr lang="en-GB" dirty="0">
                <a:hlinkClick r:id="rId5">
                  <a:extLst>
                    <a:ext uri="{A12FA001-AC4F-418D-AE19-62706E023703}">
                      <ahyp:hlinkClr xmlns:ahyp="http://schemas.microsoft.com/office/drawing/2018/hyperlinkcolor" val="tx"/>
                    </a:ext>
                  </a:extLst>
                </a:hlinkClick>
              </a:rPr>
              <a:t>https://www.accessdata.fda.gov/drugsatfda_docs/label/2024/</a:t>
            </a:r>
            <a:br>
              <a:rPr lang="en-GB" dirty="0">
                <a:hlinkClick r:id="rId5">
                  <a:extLst>
                    <a:ext uri="{A12FA001-AC4F-418D-AE19-62706E023703}">
                      <ahyp:hlinkClr xmlns:ahyp="http://schemas.microsoft.com/office/drawing/2018/hyperlinkcolor" val="tx"/>
                    </a:ext>
                  </a:extLst>
                </a:hlinkClick>
              </a:rPr>
            </a:br>
            <a:r>
              <a:rPr lang="en-GB" dirty="0">
                <a:hlinkClick r:id="rId5">
                  <a:extLst>
                    <a:ext uri="{A12FA001-AC4F-418D-AE19-62706E023703}">
                      <ahyp:hlinkClr xmlns:ahyp="http://schemas.microsoft.com/office/drawing/2018/hyperlinkcolor" val="tx"/>
                    </a:ext>
                  </a:extLst>
                </a:hlinkClick>
              </a:rPr>
              <a:t>761210s004lbl.pdf</a:t>
            </a:r>
            <a:r>
              <a:rPr lang="en-GB" dirty="0"/>
              <a:t>. Accessed October 2025; 9. Zhou F, et al. Presented at WCLC 2025: OA10.04; 10. Lu S, et al. Presented at ASCO 2025: TPS8647; 11. NCT07005102. Available at: </a:t>
            </a:r>
            <a:r>
              <a:rPr lang="en-GB" dirty="0">
                <a:hlinkClick r:id="rId6">
                  <a:extLst>
                    <a:ext uri="{A12FA001-AC4F-418D-AE19-62706E023703}">
                      <ahyp:hlinkClr xmlns:ahyp="http://schemas.microsoft.com/office/drawing/2018/hyperlinkcolor" val="tx"/>
                    </a:ext>
                  </a:extLst>
                </a:hlinkClick>
              </a:rPr>
              <a:t>https://www.clinicaltrials.gov/study/NCT07005102</a:t>
            </a:r>
            <a:r>
              <a:rPr lang="en-GB" dirty="0"/>
              <a:t>. Accessed October 2025.</a:t>
            </a:r>
          </a:p>
        </p:txBody>
      </p:sp>
      <p:sp>
        <p:nvSpPr>
          <p:cNvPr id="8" name="Rectangle 7">
            <a:extLst>
              <a:ext uri="{FF2B5EF4-FFF2-40B4-BE49-F238E27FC236}">
                <a16:creationId xmlns:a16="http://schemas.microsoft.com/office/drawing/2014/main" id="{A14E2238-38E2-7389-41A0-98E5707DED2C}"/>
              </a:ext>
            </a:extLst>
          </p:cNvPr>
          <p:cNvSpPr/>
          <p:nvPr/>
        </p:nvSpPr>
        <p:spPr>
          <a:xfrm>
            <a:off x="139232" y="3895795"/>
            <a:ext cx="11744659" cy="976724"/>
          </a:xfrm>
          <a:prstGeom prst="rect">
            <a:avLst/>
          </a:prstGeom>
          <a:gradFill>
            <a:gsLst>
              <a:gs pos="100000">
                <a:srgbClr val="F4E6DD">
                  <a:alpha val="60000"/>
                </a:srgbClr>
              </a:gs>
              <a:gs pos="0">
                <a:srgbClr val="FDF9F7">
                  <a:alpha val="0"/>
                </a:srgbClr>
              </a:gs>
            </a:gsLst>
            <a:lin ang="5400000" scaled="1"/>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marL="0" marR="0" lvl="0" indent="0" algn="ctr" defTabSz="1121232" rtl="0" eaLnBrk="1" fontAlgn="auto" latinLnBrk="0" hangingPunct="1">
              <a:lnSpc>
                <a:spcPct val="100000"/>
              </a:lnSpc>
              <a:spcBef>
                <a:spcPts val="0"/>
              </a:spcBef>
              <a:spcAft>
                <a:spcPts val="0"/>
              </a:spcAft>
              <a:buClrTx/>
              <a:buSzTx/>
              <a:buFontTx/>
              <a:buNone/>
              <a:tabLst/>
              <a:defRPr/>
            </a:pPr>
            <a:endParaRPr kumimoji="0" lang="en-GB" sz="219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3A40C878-59C7-F1F2-CE82-F64A6D3D8057}"/>
              </a:ext>
            </a:extLst>
          </p:cNvPr>
          <p:cNvSpPr/>
          <p:nvPr/>
        </p:nvSpPr>
        <p:spPr>
          <a:xfrm>
            <a:off x="139232" y="5053115"/>
            <a:ext cx="11808000" cy="865929"/>
          </a:xfrm>
          <a:prstGeom prst="rect">
            <a:avLst/>
          </a:prstGeom>
          <a:gradFill>
            <a:gsLst>
              <a:gs pos="100000">
                <a:srgbClr val="FAF3F0">
                  <a:alpha val="0"/>
                </a:srgbClr>
              </a:gs>
              <a:gs pos="0">
                <a:srgbClr val="E8C3BB">
                  <a:alpha val="60000"/>
                </a:srgbClr>
              </a:gs>
            </a:gsLst>
            <a:lin ang="5400000" scaled="1"/>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21232" rtl="0" eaLnBrk="1" fontAlgn="auto" latinLnBrk="0" hangingPunct="1">
              <a:lnSpc>
                <a:spcPct val="100000"/>
              </a:lnSpc>
              <a:spcBef>
                <a:spcPts val="0"/>
              </a:spcBef>
              <a:spcAft>
                <a:spcPts val="0"/>
              </a:spcAft>
              <a:buClrTx/>
              <a:buSzTx/>
              <a:buFontTx/>
              <a:buNone/>
              <a:tabLst/>
              <a:defRPr/>
            </a:pPr>
            <a:endParaRPr kumimoji="0" lang="en-GB" sz="219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0" name="Picture 9">
            <a:extLst>
              <a:ext uri="{FF2B5EF4-FFF2-40B4-BE49-F238E27FC236}">
                <a16:creationId xmlns:a16="http://schemas.microsoft.com/office/drawing/2014/main" id="{D6A9E03A-D9A1-510B-8D16-29A1DE156585}"/>
              </a:ext>
            </a:extLst>
          </p:cNvPr>
          <p:cNvPicPr>
            <a:picLocks noChangeAspect="1"/>
          </p:cNvPicPr>
          <p:nvPr/>
        </p:nvPicPr>
        <p:blipFill>
          <a:blip r:embed="rId7"/>
          <a:stretch>
            <a:fillRect/>
          </a:stretch>
        </p:blipFill>
        <p:spPr>
          <a:xfrm>
            <a:off x="193932" y="4828891"/>
            <a:ext cx="10839902" cy="277094"/>
          </a:xfrm>
          <a:prstGeom prst="rect">
            <a:avLst/>
          </a:prstGeom>
        </p:spPr>
      </p:pic>
      <p:sp>
        <p:nvSpPr>
          <p:cNvPr id="11" name="Rectangle 10">
            <a:extLst>
              <a:ext uri="{FF2B5EF4-FFF2-40B4-BE49-F238E27FC236}">
                <a16:creationId xmlns:a16="http://schemas.microsoft.com/office/drawing/2014/main" id="{5459BE48-A887-1BA2-D83C-DA18A76DF7DF}"/>
              </a:ext>
            </a:extLst>
          </p:cNvPr>
          <p:cNvSpPr/>
          <p:nvPr/>
        </p:nvSpPr>
        <p:spPr>
          <a:xfrm>
            <a:off x="258121" y="1429566"/>
            <a:ext cx="2660817" cy="460800"/>
          </a:xfrm>
          <a:prstGeom prst="rect">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333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tracellular inhibition</a:t>
            </a:r>
          </a:p>
        </p:txBody>
      </p:sp>
      <p:sp>
        <p:nvSpPr>
          <p:cNvPr id="13" name="TextBox 12">
            <a:extLst>
              <a:ext uri="{FF2B5EF4-FFF2-40B4-BE49-F238E27FC236}">
                <a16:creationId xmlns:a16="http://schemas.microsoft.com/office/drawing/2014/main" id="{FF98A7F8-BB93-424A-969D-9FB282AE21E4}"/>
              </a:ext>
            </a:extLst>
          </p:cNvPr>
          <p:cNvSpPr txBox="1"/>
          <p:nvPr/>
        </p:nvSpPr>
        <p:spPr>
          <a:xfrm>
            <a:off x="1358501" y="1994654"/>
            <a:ext cx="1610210"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G EGFR TKI </a:t>
            </a:r>
            <a:b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hT</a:t>
            </a:r>
          </a:p>
        </p:txBody>
      </p:sp>
      <p:cxnSp>
        <p:nvCxnSpPr>
          <p:cNvPr id="17" name="Straight Connector 16">
            <a:extLst>
              <a:ext uri="{FF2B5EF4-FFF2-40B4-BE49-F238E27FC236}">
                <a16:creationId xmlns:a16="http://schemas.microsoft.com/office/drawing/2014/main" id="{CC4ADF68-4367-8C39-EDB7-665ECB13720F}"/>
              </a:ext>
            </a:extLst>
          </p:cNvPr>
          <p:cNvCxnSpPr>
            <a:cxnSpLocks/>
          </p:cNvCxnSpPr>
          <p:nvPr/>
        </p:nvCxnSpPr>
        <p:spPr>
          <a:xfrm>
            <a:off x="1442940" y="2449275"/>
            <a:ext cx="1476000" cy="0"/>
          </a:xfrm>
          <a:prstGeom prst="line">
            <a:avLst/>
          </a:prstGeom>
          <a:ln w="22225" cap="rnd">
            <a:solidFill>
              <a:schemeClr val="accent2"/>
            </a:solidFill>
            <a:tailEnd type="none" w="lg"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67E7338-4B28-DDC8-6E2A-45D0FBA399EE}"/>
              </a:ext>
            </a:extLst>
          </p:cNvPr>
          <p:cNvSpPr/>
          <p:nvPr/>
        </p:nvSpPr>
        <p:spPr>
          <a:xfrm>
            <a:off x="3123825" y="1424253"/>
            <a:ext cx="8803310" cy="460800"/>
          </a:xfrm>
          <a:prstGeom prst="rect">
            <a:avLst/>
          </a:prstGeom>
          <a:solidFill>
            <a:schemeClr val="accent4"/>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333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bined intracellular and extracellular inhibition</a:t>
            </a:r>
          </a:p>
        </p:txBody>
      </p:sp>
      <p:sp>
        <p:nvSpPr>
          <p:cNvPr id="19" name="TextBox 18">
            <a:extLst>
              <a:ext uri="{FF2B5EF4-FFF2-40B4-BE49-F238E27FC236}">
                <a16:creationId xmlns:a16="http://schemas.microsoft.com/office/drawing/2014/main" id="{C32887E7-456D-2AA9-3E61-63F067B2CAC1}"/>
              </a:ext>
            </a:extLst>
          </p:cNvPr>
          <p:cNvSpPr txBox="1"/>
          <p:nvPr/>
        </p:nvSpPr>
        <p:spPr>
          <a:xfrm>
            <a:off x="2905269" y="1994654"/>
            <a:ext cx="2612823"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MET mAb </a:t>
            </a:r>
            <a:b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3G EGFR TKI </a:t>
            </a:r>
          </a:p>
        </p:txBody>
      </p:sp>
      <p:cxnSp>
        <p:nvCxnSpPr>
          <p:cNvPr id="21" name="Straight Connector 20">
            <a:extLst>
              <a:ext uri="{FF2B5EF4-FFF2-40B4-BE49-F238E27FC236}">
                <a16:creationId xmlns:a16="http://schemas.microsoft.com/office/drawing/2014/main" id="{6D10CB60-C75C-79EC-1A1A-1476230F74D3}"/>
              </a:ext>
            </a:extLst>
          </p:cNvPr>
          <p:cNvCxnSpPr>
            <a:cxnSpLocks/>
          </p:cNvCxnSpPr>
          <p:nvPr/>
        </p:nvCxnSpPr>
        <p:spPr>
          <a:xfrm>
            <a:off x="3123825" y="2449275"/>
            <a:ext cx="2232000" cy="0"/>
          </a:xfrm>
          <a:prstGeom prst="line">
            <a:avLst/>
          </a:prstGeom>
          <a:ln w="22225" cap="rnd">
            <a:solidFill>
              <a:schemeClr val="accent4"/>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188737F-2485-1E6F-A45E-287BCEA06F6D}"/>
              </a:ext>
            </a:extLst>
          </p:cNvPr>
          <p:cNvCxnSpPr>
            <a:cxnSpLocks/>
          </p:cNvCxnSpPr>
          <p:nvPr/>
        </p:nvCxnSpPr>
        <p:spPr>
          <a:xfrm>
            <a:off x="5462296" y="2436370"/>
            <a:ext cx="0" cy="3384000"/>
          </a:xfrm>
          <a:prstGeom prst="line">
            <a:avLst/>
          </a:prstGeom>
          <a:ln w="15875" cap="rnd">
            <a:solidFill>
              <a:schemeClr val="bg1">
                <a:lumMod val="65000"/>
              </a:schemeClr>
            </a:solidFill>
            <a:prstDash val="sysDash"/>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A68337E-53F6-89D8-6A57-E3965BF5A4B7}"/>
              </a:ext>
            </a:extLst>
          </p:cNvPr>
          <p:cNvCxnSpPr>
            <a:cxnSpLocks/>
          </p:cNvCxnSpPr>
          <p:nvPr/>
        </p:nvCxnSpPr>
        <p:spPr>
          <a:xfrm>
            <a:off x="3023381" y="1442634"/>
            <a:ext cx="0" cy="4356000"/>
          </a:xfrm>
          <a:prstGeom prst="line">
            <a:avLst/>
          </a:prstGeom>
          <a:ln w="15875" cap="rnd">
            <a:solidFill>
              <a:schemeClr val="bg1">
                <a:lumMod val="65000"/>
              </a:schemeClr>
            </a:solidFill>
            <a:prstDash val="sysDash"/>
            <a:tailEnd type="none" w="lg"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0F7ED09-D43A-74A5-CEAF-1C53E0BFA71A}"/>
              </a:ext>
            </a:extLst>
          </p:cNvPr>
          <p:cNvSpPr txBox="1"/>
          <p:nvPr/>
        </p:nvSpPr>
        <p:spPr>
          <a:xfrm>
            <a:off x="212046" y="1994654"/>
            <a:ext cx="1106486"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G EGFR </a:t>
            </a:r>
            <a:b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KI</a:t>
            </a:r>
          </a:p>
        </p:txBody>
      </p:sp>
      <p:cxnSp>
        <p:nvCxnSpPr>
          <p:cNvPr id="29" name="Straight Connector 28">
            <a:extLst>
              <a:ext uri="{FF2B5EF4-FFF2-40B4-BE49-F238E27FC236}">
                <a16:creationId xmlns:a16="http://schemas.microsoft.com/office/drawing/2014/main" id="{8773462B-715B-C482-2030-75E581711E1E}"/>
              </a:ext>
            </a:extLst>
          </p:cNvPr>
          <p:cNvCxnSpPr>
            <a:cxnSpLocks/>
          </p:cNvCxnSpPr>
          <p:nvPr/>
        </p:nvCxnSpPr>
        <p:spPr>
          <a:xfrm>
            <a:off x="259182" y="2451615"/>
            <a:ext cx="1008000" cy="0"/>
          </a:xfrm>
          <a:prstGeom prst="line">
            <a:avLst/>
          </a:prstGeom>
          <a:ln w="22225" cap="rnd">
            <a:solidFill>
              <a:schemeClr val="accent2"/>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87C4BCF-C213-92F8-B2AF-9C0620B280D1}"/>
              </a:ext>
            </a:extLst>
          </p:cNvPr>
          <p:cNvCxnSpPr>
            <a:cxnSpLocks/>
          </p:cNvCxnSpPr>
          <p:nvPr/>
        </p:nvCxnSpPr>
        <p:spPr>
          <a:xfrm>
            <a:off x="1348806" y="2436370"/>
            <a:ext cx="0" cy="3384000"/>
          </a:xfrm>
          <a:prstGeom prst="line">
            <a:avLst/>
          </a:prstGeom>
          <a:ln w="15875" cap="rnd">
            <a:solidFill>
              <a:schemeClr val="bg1">
                <a:lumMod val="65000"/>
              </a:schemeClr>
            </a:solidFill>
            <a:prstDash val="sysDash"/>
            <a:tailEnd type="none" w="lg" len="me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8453E5E1-C5EE-CF37-C082-6AA22A0CD5C4}"/>
              </a:ext>
            </a:extLst>
          </p:cNvPr>
          <p:cNvGrpSpPr/>
          <p:nvPr/>
        </p:nvGrpSpPr>
        <p:grpSpPr>
          <a:xfrm>
            <a:off x="3670817" y="4402827"/>
            <a:ext cx="826758" cy="1484112"/>
            <a:chOff x="9647136" y="-1221312"/>
            <a:chExt cx="826758" cy="1484112"/>
          </a:xfrm>
        </p:grpSpPr>
        <p:grpSp>
          <p:nvGrpSpPr>
            <p:cNvPr id="53" name="Group 52">
              <a:extLst>
                <a:ext uri="{FF2B5EF4-FFF2-40B4-BE49-F238E27FC236}">
                  <a16:creationId xmlns:a16="http://schemas.microsoft.com/office/drawing/2014/main" id="{4FFF8901-AEA4-788E-D24C-217BDE0DA425}"/>
                </a:ext>
              </a:extLst>
            </p:cNvPr>
            <p:cNvGrpSpPr/>
            <p:nvPr/>
          </p:nvGrpSpPr>
          <p:grpSpPr>
            <a:xfrm>
              <a:off x="9695886" y="-1221312"/>
              <a:ext cx="269978" cy="1484112"/>
              <a:chOff x="9695886" y="-1221312"/>
              <a:chExt cx="269978" cy="1484112"/>
            </a:xfrm>
          </p:grpSpPr>
          <p:sp>
            <p:nvSpPr>
              <p:cNvPr id="56" name="Arc 55">
                <a:extLst>
                  <a:ext uri="{FF2B5EF4-FFF2-40B4-BE49-F238E27FC236}">
                    <a16:creationId xmlns:a16="http://schemas.microsoft.com/office/drawing/2014/main" id="{6094187D-F01B-A51A-DB74-C214F2E659CA}"/>
                  </a:ext>
                </a:extLst>
              </p:cNvPr>
              <p:cNvSpPr/>
              <p:nvPr/>
            </p:nvSpPr>
            <p:spPr>
              <a:xfrm rot="5400000">
                <a:off x="9679384" y="-1204810"/>
                <a:ext cx="302981" cy="269978"/>
              </a:xfrm>
              <a:prstGeom prst="arc">
                <a:avLst>
                  <a:gd name="adj1" fmla="val 15743460"/>
                  <a:gd name="adj2" fmla="val 5878209"/>
                </a:avLst>
              </a:prstGeom>
              <a:ln w="44450" cap="rnd">
                <a:solidFill>
                  <a:schemeClr val="accent1"/>
                </a:solidFill>
                <a:roun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57" name="Straight Connector 56">
                <a:extLst>
                  <a:ext uri="{FF2B5EF4-FFF2-40B4-BE49-F238E27FC236}">
                    <a16:creationId xmlns:a16="http://schemas.microsoft.com/office/drawing/2014/main" id="{FCA38D0A-CED5-1DDF-7AFB-178EAEFD161D}"/>
                  </a:ext>
                </a:extLst>
              </p:cNvPr>
              <p:cNvCxnSpPr>
                <a:cxnSpLocks/>
              </p:cNvCxnSpPr>
              <p:nvPr/>
            </p:nvCxnSpPr>
            <p:spPr>
              <a:xfrm>
                <a:off x="9830874" y="-914400"/>
                <a:ext cx="0" cy="1177200"/>
              </a:xfrm>
              <a:prstGeom prst="line">
                <a:avLst/>
              </a:prstGeom>
              <a:ln w="44450">
                <a:gradFill>
                  <a:gsLst>
                    <a:gs pos="66000">
                      <a:schemeClr val="accent1"/>
                    </a:gs>
                    <a:gs pos="100000">
                      <a:schemeClr val="bg1"/>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cxnSp>
          <p:sp>
            <p:nvSpPr>
              <p:cNvPr id="58" name="Free-form: Shape 2723">
                <a:extLst>
                  <a:ext uri="{FF2B5EF4-FFF2-40B4-BE49-F238E27FC236}">
                    <a16:creationId xmlns:a16="http://schemas.microsoft.com/office/drawing/2014/main" id="{BC9222C2-AD7F-DCC6-9310-CAD1224D9702}"/>
                  </a:ext>
                </a:extLst>
              </p:cNvPr>
              <p:cNvSpPr/>
              <p:nvPr/>
            </p:nvSpPr>
            <p:spPr>
              <a:xfrm>
                <a:off x="9741843" y="-431289"/>
                <a:ext cx="178062" cy="325781"/>
              </a:xfrm>
              <a:custGeom>
                <a:avLst/>
                <a:gdLst>
                  <a:gd name="connsiteX0" fmla="*/ 78211 w 178062"/>
                  <a:gd name="connsiteY0" fmla="*/ 0 h 325781"/>
                  <a:gd name="connsiteX1" fmla="*/ 99851 w 178062"/>
                  <a:gd name="connsiteY1" fmla="*/ 0 h 325781"/>
                  <a:gd name="connsiteX2" fmla="*/ 145842 w 178062"/>
                  <a:gd name="connsiteY2" fmla="*/ 45991 h 325781"/>
                  <a:gd name="connsiteX3" fmla="*/ 145842 w 178062"/>
                  <a:gd name="connsiteY3" fmla="*/ 60328 h 325781"/>
                  <a:gd name="connsiteX4" fmla="*/ 156952 w 178062"/>
                  <a:gd name="connsiteY4" fmla="*/ 64930 h 325781"/>
                  <a:gd name="connsiteX5" fmla="*/ 178062 w 178062"/>
                  <a:gd name="connsiteY5" fmla="*/ 115894 h 325781"/>
                  <a:gd name="connsiteX6" fmla="*/ 178062 w 178062"/>
                  <a:gd name="connsiteY6" fmla="*/ 209887 h 325781"/>
                  <a:gd name="connsiteX7" fmla="*/ 156952 w 178062"/>
                  <a:gd name="connsiteY7" fmla="*/ 260851 h 325781"/>
                  <a:gd name="connsiteX8" fmla="*/ 145842 w 178062"/>
                  <a:gd name="connsiteY8" fmla="*/ 265453 h 325781"/>
                  <a:gd name="connsiteX9" fmla="*/ 145842 w 178062"/>
                  <a:gd name="connsiteY9" fmla="*/ 279790 h 325781"/>
                  <a:gd name="connsiteX10" fmla="*/ 99851 w 178062"/>
                  <a:gd name="connsiteY10" fmla="*/ 325781 h 325781"/>
                  <a:gd name="connsiteX11" fmla="*/ 78211 w 178062"/>
                  <a:gd name="connsiteY11" fmla="*/ 325781 h 325781"/>
                  <a:gd name="connsiteX12" fmla="*/ 32220 w 178062"/>
                  <a:gd name="connsiteY12" fmla="*/ 279790 h 325781"/>
                  <a:gd name="connsiteX13" fmla="*/ 32220 w 178062"/>
                  <a:gd name="connsiteY13" fmla="*/ 265453 h 325781"/>
                  <a:gd name="connsiteX14" fmla="*/ 21110 w 178062"/>
                  <a:gd name="connsiteY14" fmla="*/ 260851 h 325781"/>
                  <a:gd name="connsiteX15" fmla="*/ 0 w 178062"/>
                  <a:gd name="connsiteY15" fmla="*/ 209887 h 325781"/>
                  <a:gd name="connsiteX16" fmla="*/ 0 w 178062"/>
                  <a:gd name="connsiteY16" fmla="*/ 115894 h 325781"/>
                  <a:gd name="connsiteX17" fmla="*/ 21110 w 178062"/>
                  <a:gd name="connsiteY17" fmla="*/ 64930 h 325781"/>
                  <a:gd name="connsiteX18" fmla="*/ 32220 w 178062"/>
                  <a:gd name="connsiteY18" fmla="*/ 60328 h 325781"/>
                  <a:gd name="connsiteX19" fmla="*/ 32220 w 178062"/>
                  <a:gd name="connsiteY19" fmla="*/ 45991 h 325781"/>
                  <a:gd name="connsiteX20" fmla="*/ 78211 w 178062"/>
                  <a:gd name="connsiteY20" fmla="*/ 0 h 32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062" h="325781">
                    <a:moveTo>
                      <a:pt x="78211" y="0"/>
                    </a:moveTo>
                    <a:lnTo>
                      <a:pt x="99851" y="0"/>
                    </a:lnTo>
                    <a:cubicBezTo>
                      <a:pt x="125251" y="0"/>
                      <a:pt x="145842" y="20591"/>
                      <a:pt x="145842" y="45991"/>
                    </a:cubicBezTo>
                    <a:lnTo>
                      <a:pt x="145842" y="60328"/>
                    </a:lnTo>
                    <a:lnTo>
                      <a:pt x="156952" y="64930"/>
                    </a:lnTo>
                    <a:cubicBezTo>
                      <a:pt x="169995" y="77973"/>
                      <a:pt x="178062" y="95992"/>
                      <a:pt x="178062" y="115894"/>
                    </a:cubicBezTo>
                    <a:lnTo>
                      <a:pt x="178062" y="209887"/>
                    </a:lnTo>
                    <a:cubicBezTo>
                      <a:pt x="178062" y="229790"/>
                      <a:pt x="169995" y="247808"/>
                      <a:pt x="156952" y="260851"/>
                    </a:cubicBezTo>
                    <a:lnTo>
                      <a:pt x="145842" y="265453"/>
                    </a:lnTo>
                    <a:lnTo>
                      <a:pt x="145842" y="279790"/>
                    </a:lnTo>
                    <a:cubicBezTo>
                      <a:pt x="145842" y="305190"/>
                      <a:pt x="125251" y="325781"/>
                      <a:pt x="99851" y="325781"/>
                    </a:cubicBezTo>
                    <a:lnTo>
                      <a:pt x="78211" y="325781"/>
                    </a:lnTo>
                    <a:cubicBezTo>
                      <a:pt x="52811" y="325781"/>
                      <a:pt x="32220" y="305190"/>
                      <a:pt x="32220" y="279790"/>
                    </a:cubicBezTo>
                    <a:lnTo>
                      <a:pt x="32220" y="265453"/>
                    </a:lnTo>
                    <a:lnTo>
                      <a:pt x="21110" y="260851"/>
                    </a:lnTo>
                    <a:cubicBezTo>
                      <a:pt x="8067" y="247808"/>
                      <a:pt x="0" y="229790"/>
                      <a:pt x="0" y="209887"/>
                    </a:cubicBezTo>
                    <a:lnTo>
                      <a:pt x="0" y="115894"/>
                    </a:lnTo>
                    <a:cubicBezTo>
                      <a:pt x="0" y="95992"/>
                      <a:pt x="8067" y="77973"/>
                      <a:pt x="21110" y="64930"/>
                    </a:cubicBezTo>
                    <a:lnTo>
                      <a:pt x="32220" y="60328"/>
                    </a:lnTo>
                    <a:lnTo>
                      <a:pt x="32220" y="45991"/>
                    </a:lnTo>
                    <a:cubicBezTo>
                      <a:pt x="32220" y="20591"/>
                      <a:pt x="52811" y="0"/>
                      <a:pt x="78211"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54" name="Multiplication Sign 53">
              <a:extLst>
                <a:ext uri="{FF2B5EF4-FFF2-40B4-BE49-F238E27FC236}">
                  <a16:creationId xmlns:a16="http://schemas.microsoft.com/office/drawing/2014/main" id="{449371DA-9D82-5D92-A71B-174E46AF969B}"/>
                </a:ext>
              </a:extLst>
            </p:cNvPr>
            <p:cNvSpPr/>
            <p:nvPr/>
          </p:nvSpPr>
          <p:spPr>
            <a:xfrm>
              <a:off x="9647136" y="-453510"/>
              <a:ext cx="367476" cy="367476"/>
            </a:xfrm>
            <a:prstGeom prst="mathMultiply">
              <a:avLst>
                <a:gd name="adj1" fmla="val 9615"/>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0C63C88B-0B21-FFFA-60C3-BE0B9B39858A}"/>
                </a:ext>
              </a:extLst>
            </p:cNvPr>
            <p:cNvSpPr txBox="1"/>
            <p:nvPr/>
          </p:nvSpPr>
          <p:spPr>
            <a:xfrm>
              <a:off x="9914675" y="-42680"/>
              <a:ext cx="55921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p>
          </p:txBody>
        </p:sp>
      </p:grpSp>
      <p:grpSp>
        <p:nvGrpSpPr>
          <p:cNvPr id="59" name="Group 58">
            <a:extLst>
              <a:ext uri="{FF2B5EF4-FFF2-40B4-BE49-F238E27FC236}">
                <a16:creationId xmlns:a16="http://schemas.microsoft.com/office/drawing/2014/main" id="{F1C6BDA7-006D-96F0-BB95-94A5FF61F429}"/>
              </a:ext>
            </a:extLst>
          </p:cNvPr>
          <p:cNvGrpSpPr/>
          <p:nvPr/>
        </p:nvGrpSpPr>
        <p:grpSpPr>
          <a:xfrm>
            <a:off x="4366215" y="4402827"/>
            <a:ext cx="367476" cy="1484112"/>
            <a:chOff x="10125414" y="-1221312"/>
            <a:chExt cx="367476" cy="1484112"/>
          </a:xfrm>
        </p:grpSpPr>
        <p:grpSp>
          <p:nvGrpSpPr>
            <p:cNvPr id="60" name="Group 59">
              <a:extLst>
                <a:ext uri="{FF2B5EF4-FFF2-40B4-BE49-F238E27FC236}">
                  <a16:creationId xmlns:a16="http://schemas.microsoft.com/office/drawing/2014/main" id="{4967B8C0-64F5-7C2F-DE35-7E15A3A5EDC1}"/>
                </a:ext>
              </a:extLst>
            </p:cNvPr>
            <p:cNvGrpSpPr/>
            <p:nvPr/>
          </p:nvGrpSpPr>
          <p:grpSpPr>
            <a:xfrm>
              <a:off x="10174163" y="-1221312"/>
              <a:ext cx="269978" cy="1484112"/>
              <a:chOff x="9695886" y="-1221312"/>
              <a:chExt cx="269978" cy="1484112"/>
            </a:xfrm>
          </p:grpSpPr>
          <p:sp>
            <p:nvSpPr>
              <p:cNvPr id="62" name="Arc 61">
                <a:extLst>
                  <a:ext uri="{FF2B5EF4-FFF2-40B4-BE49-F238E27FC236}">
                    <a16:creationId xmlns:a16="http://schemas.microsoft.com/office/drawing/2014/main" id="{AD5212BE-71A3-00B1-33B6-BE4E5CFCF18D}"/>
                  </a:ext>
                </a:extLst>
              </p:cNvPr>
              <p:cNvSpPr/>
              <p:nvPr/>
            </p:nvSpPr>
            <p:spPr>
              <a:xfrm rot="5400000">
                <a:off x="9679384" y="-1204810"/>
                <a:ext cx="302981" cy="269978"/>
              </a:xfrm>
              <a:prstGeom prst="arc">
                <a:avLst>
                  <a:gd name="adj1" fmla="val 15743460"/>
                  <a:gd name="adj2" fmla="val 5878209"/>
                </a:avLst>
              </a:prstGeom>
              <a:ln w="44450" cap="rnd">
                <a:solidFill>
                  <a:schemeClr val="accent6"/>
                </a:solidFill>
                <a:roun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63" name="Straight Connector 62">
                <a:extLst>
                  <a:ext uri="{FF2B5EF4-FFF2-40B4-BE49-F238E27FC236}">
                    <a16:creationId xmlns:a16="http://schemas.microsoft.com/office/drawing/2014/main" id="{57F6F85E-5312-3232-7DCE-75C54E8941ED}"/>
                  </a:ext>
                </a:extLst>
              </p:cNvPr>
              <p:cNvCxnSpPr>
                <a:cxnSpLocks/>
              </p:cNvCxnSpPr>
              <p:nvPr/>
            </p:nvCxnSpPr>
            <p:spPr>
              <a:xfrm>
                <a:off x="9830874" y="-914400"/>
                <a:ext cx="0" cy="1177200"/>
              </a:xfrm>
              <a:prstGeom prst="line">
                <a:avLst/>
              </a:prstGeom>
              <a:ln w="44450">
                <a:gradFill>
                  <a:gsLst>
                    <a:gs pos="66000">
                      <a:schemeClr val="accent6"/>
                    </a:gs>
                    <a:gs pos="100000">
                      <a:schemeClr val="bg1"/>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cxnSp>
          <p:sp>
            <p:nvSpPr>
              <p:cNvPr id="64" name="Free-form: Shape 2730">
                <a:extLst>
                  <a:ext uri="{FF2B5EF4-FFF2-40B4-BE49-F238E27FC236}">
                    <a16:creationId xmlns:a16="http://schemas.microsoft.com/office/drawing/2014/main" id="{B4173D02-A013-D4E6-5E78-A0C188AE6254}"/>
                  </a:ext>
                </a:extLst>
              </p:cNvPr>
              <p:cNvSpPr/>
              <p:nvPr/>
            </p:nvSpPr>
            <p:spPr>
              <a:xfrm>
                <a:off x="9741843" y="-431289"/>
                <a:ext cx="178062" cy="325781"/>
              </a:xfrm>
              <a:custGeom>
                <a:avLst/>
                <a:gdLst>
                  <a:gd name="connsiteX0" fmla="*/ 78211 w 178062"/>
                  <a:gd name="connsiteY0" fmla="*/ 0 h 325781"/>
                  <a:gd name="connsiteX1" fmla="*/ 99851 w 178062"/>
                  <a:gd name="connsiteY1" fmla="*/ 0 h 325781"/>
                  <a:gd name="connsiteX2" fmla="*/ 145842 w 178062"/>
                  <a:gd name="connsiteY2" fmla="*/ 45991 h 325781"/>
                  <a:gd name="connsiteX3" fmla="*/ 145842 w 178062"/>
                  <a:gd name="connsiteY3" fmla="*/ 60328 h 325781"/>
                  <a:gd name="connsiteX4" fmla="*/ 156952 w 178062"/>
                  <a:gd name="connsiteY4" fmla="*/ 64930 h 325781"/>
                  <a:gd name="connsiteX5" fmla="*/ 178062 w 178062"/>
                  <a:gd name="connsiteY5" fmla="*/ 115894 h 325781"/>
                  <a:gd name="connsiteX6" fmla="*/ 178062 w 178062"/>
                  <a:gd name="connsiteY6" fmla="*/ 209887 h 325781"/>
                  <a:gd name="connsiteX7" fmla="*/ 156952 w 178062"/>
                  <a:gd name="connsiteY7" fmla="*/ 260851 h 325781"/>
                  <a:gd name="connsiteX8" fmla="*/ 145842 w 178062"/>
                  <a:gd name="connsiteY8" fmla="*/ 265453 h 325781"/>
                  <a:gd name="connsiteX9" fmla="*/ 145842 w 178062"/>
                  <a:gd name="connsiteY9" fmla="*/ 279790 h 325781"/>
                  <a:gd name="connsiteX10" fmla="*/ 99851 w 178062"/>
                  <a:gd name="connsiteY10" fmla="*/ 325781 h 325781"/>
                  <a:gd name="connsiteX11" fmla="*/ 78211 w 178062"/>
                  <a:gd name="connsiteY11" fmla="*/ 325781 h 325781"/>
                  <a:gd name="connsiteX12" fmla="*/ 32220 w 178062"/>
                  <a:gd name="connsiteY12" fmla="*/ 279790 h 325781"/>
                  <a:gd name="connsiteX13" fmla="*/ 32220 w 178062"/>
                  <a:gd name="connsiteY13" fmla="*/ 265453 h 325781"/>
                  <a:gd name="connsiteX14" fmla="*/ 21110 w 178062"/>
                  <a:gd name="connsiteY14" fmla="*/ 260851 h 325781"/>
                  <a:gd name="connsiteX15" fmla="*/ 0 w 178062"/>
                  <a:gd name="connsiteY15" fmla="*/ 209887 h 325781"/>
                  <a:gd name="connsiteX16" fmla="*/ 0 w 178062"/>
                  <a:gd name="connsiteY16" fmla="*/ 115894 h 325781"/>
                  <a:gd name="connsiteX17" fmla="*/ 21110 w 178062"/>
                  <a:gd name="connsiteY17" fmla="*/ 64930 h 325781"/>
                  <a:gd name="connsiteX18" fmla="*/ 32220 w 178062"/>
                  <a:gd name="connsiteY18" fmla="*/ 60328 h 325781"/>
                  <a:gd name="connsiteX19" fmla="*/ 32220 w 178062"/>
                  <a:gd name="connsiteY19" fmla="*/ 45991 h 325781"/>
                  <a:gd name="connsiteX20" fmla="*/ 78211 w 178062"/>
                  <a:gd name="connsiteY20" fmla="*/ 0 h 32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062" h="325781">
                    <a:moveTo>
                      <a:pt x="78211" y="0"/>
                    </a:moveTo>
                    <a:lnTo>
                      <a:pt x="99851" y="0"/>
                    </a:lnTo>
                    <a:cubicBezTo>
                      <a:pt x="125251" y="0"/>
                      <a:pt x="145842" y="20591"/>
                      <a:pt x="145842" y="45991"/>
                    </a:cubicBezTo>
                    <a:lnTo>
                      <a:pt x="145842" y="60328"/>
                    </a:lnTo>
                    <a:lnTo>
                      <a:pt x="156952" y="64930"/>
                    </a:lnTo>
                    <a:cubicBezTo>
                      <a:pt x="169995" y="77973"/>
                      <a:pt x="178062" y="95992"/>
                      <a:pt x="178062" y="115894"/>
                    </a:cubicBezTo>
                    <a:lnTo>
                      <a:pt x="178062" y="209887"/>
                    </a:lnTo>
                    <a:cubicBezTo>
                      <a:pt x="178062" y="229790"/>
                      <a:pt x="169995" y="247808"/>
                      <a:pt x="156952" y="260851"/>
                    </a:cubicBezTo>
                    <a:lnTo>
                      <a:pt x="145842" y="265453"/>
                    </a:lnTo>
                    <a:lnTo>
                      <a:pt x="145842" y="279790"/>
                    </a:lnTo>
                    <a:cubicBezTo>
                      <a:pt x="145842" y="305190"/>
                      <a:pt x="125251" y="325781"/>
                      <a:pt x="99851" y="325781"/>
                    </a:cubicBezTo>
                    <a:lnTo>
                      <a:pt x="78211" y="325781"/>
                    </a:lnTo>
                    <a:cubicBezTo>
                      <a:pt x="52811" y="325781"/>
                      <a:pt x="32220" y="305190"/>
                      <a:pt x="32220" y="279790"/>
                    </a:cubicBezTo>
                    <a:lnTo>
                      <a:pt x="32220" y="265453"/>
                    </a:lnTo>
                    <a:lnTo>
                      <a:pt x="21110" y="260851"/>
                    </a:lnTo>
                    <a:cubicBezTo>
                      <a:pt x="8067" y="247808"/>
                      <a:pt x="0" y="229790"/>
                      <a:pt x="0" y="209887"/>
                    </a:cubicBezTo>
                    <a:lnTo>
                      <a:pt x="0" y="115894"/>
                    </a:lnTo>
                    <a:cubicBezTo>
                      <a:pt x="0" y="95992"/>
                      <a:pt x="8067" y="77973"/>
                      <a:pt x="21110" y="64930"/>
                    </a:cubicBezTo>
                    <a:lnTo>
                      <a:pt x="32220" y="60328"/>
                    </a:lnTo>
                    <a:lnTo>
                      <a:pt x="32220" y="45991"/>
                    </a:lnTo>
                    <a:cubicBezTo>
                      <a:pt x="32220" y="20591"/>
                      <a:pt x="52811" y="0"/>
                      <a:pt x="78211"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1" name="Multiplication Sign 60">
              <a:extLst>
                <a:ext uri="{FF2B5EF4-FFF2-40B4-BE49-F238E27FC236}">
                  <a16:creationId xmlns:a16="http://schemas.microsoft.com/office/drawing/2014/main" id="{F35C8578-2AE3-8F21-FB7C-CB536C00E29E}"/>
                </a:ext>
              </a:extLst>
            </p:cNvPr>
            <p:cNvSpPr/>
            <p:nvPr/>
          </p:nvSpPr>
          <p:spPr>
            <a:xfrm>
              <a:off x="10125414" y="-453510"/>
              <a:ext cx="367476" cy="367476"/>
            </a:xfrm>
            <a:prstGeom prst="mathMultiply">
              <a:avLst>
                <a:gd name="adj1" fmla="val 961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5" name="TextBox 64">
            <a:extLst>
              <a:ext uri="{FF2B5EF4-FFF2-40B4-BE49-F238E27FC236}">
                <a16:creationId xmlns:a16="http://schemas.microsoft.com/office/drawing/2014/main" id="{A1D4944B-7920-9CCB-4272-82E7E5914578}"/>
              </a:ext>
            </a:extLst>
          </p:cNvPr>
          <p:cNvSpPr txBox="1"/>
          <p:nvPr/>
        </p:nvSpPr>
        <p:spPr>
          <a:xfrm>
            <a:off x="4658648" y="5581459"/>
            <a:ext cx="55921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T</a:t>
            </a:r>
          </a:p>
        </p:txBody>
      </p:sp>
      <p:grpSp>
        <p:nvGrpSpPr>
          <p:cNvPr id="66" name="Group 65">
            <a:extLst>
              <a:ext uri="{FF2B5EF4-FFF2-40B4-BE49-F238E27FC236}">
                <a16:creationId xmlns:a16="http://schemas.microsoft.com/office/drawing/2014/main" id="{CC73F638-A4EA-177B-9509-0AB7BF743A65}"/>
              </a:ext>
            </a:extLst>
          </p:cNvPr>
          <p:cNvGrpSpPr/>
          <p:nvPr/>
        </p:nvGrpSpPr>
        <p:grpSpPr>
          <a:xfrm>
            <a:off x="1974486" y="4402827"/>
            <a:ext cx="826758" cy="1484112"/>
            <a:chOff x="9647136" y="-1221312"/>
            <a:chExt cx="826758" cy="1484112"/>
          </a:xfrm>
        </p:grpSpPr>
        <p:grpSp>
          <p:nvGrpSpPr>
            <p:cNvPr id="67" name="Group 66">
              <a:extLst>
                <a:ext uri="{FF2B5EF4-FFF2-40B4-BE49-F238E27FC236}">
                  <a16:creationId xmlns:a16="http://schemas.microsoft.com/office/drawing/2014/main" id="{7D41966E-E9E4-3846-0A33-42A1CDFAD0B0}"/>
                </a:ext>
              </a:extLst>
            </p:cNvPr>
            <p:cNvGrpSpPr/>
            <p:nvPr/>
          </p:nvGrpSpPr>
          <p:grpSpPr>
            <a:xfrm>
              <a:off x="9695886" y="-1221312"/>
              <a:ext cx="269978" cy="1484112"/>
              <a:chOff x="9695886" y="-1221312"/>
              <a:chExt cx="269978" cy="1484112"/>
            </a:xfrm>
          </p:grpSpPr>
          <p:sp>
            <p:nvSpPr>
              <p:cNvPr id="75" name="Arc 74">
                <a:extLst>
                  <a:ext uri="{FF2B5EF4-FFF2-40B4-BE49-F238E27FC236}">
                    <a16:creationId xmlns:a16="http://schemas.microsoft.com/office/drawing/2014/main" id="{C0A440F2-6C2D-1028-1228-965A9B3DE19A}"/>
                  </a:ext>
                </a:extLst>
              </p:cNvPr>
              <p:cNvSpPr/>
              <p:nvPr/>
            </p:nvSpPr>
            <p:spPr>
              <a:xfrm rot="5400000">
                <a:off x="9679384" y="-1204810"/>
                <a:ext cx="302981" cy="269978"/>
              </a:xfrm>
              <a:prstGeom prst="arc">
                <a:avLst>
                  <a:gd name="adj1" fmla="val 15743460"/>
                  <a:gd name="adj2" fmla="val 5878209"/>
                </a:avLst>
              </a:prstGeom>
              <a:ln w="44450" cap="rnd">
                <a:solidFill>
                  <a:schemeClr val="accent1"/>
                </a:solidFill>
                <a:roun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76" name="Straight Connector 75">
                <a:extLst>
                  <a:ext uri="{FF2B5EF4-FFF2-40B4-BE49-F238E27FC236}">
                    <a16:creationId xmlns:a16="http://schemas.microsoft.com/office/drawing/2014/main" id="{EF461FFB-1056-DDDC-8752-5F6BC0B5980C}"/>
                  </a:ext>
                </a:extLst>
              </p:cNvPr>
              <p:cNvCxnSpPr>
                <a:cxnSpLocks/>
              </p:cNvCxnSpPr>
              <p:nvPr/>
            </p:nvCxnSpPr>
            <p:spPr>
              <a:xfrm>
                <a:off x="9830874" y="-914400"/>
                <a:ext cx="0" cy="1177200"/>
              </a:xfrm>
              <a:prstGeom prst="line">
                <a:avLst/>
              </a:prstGeom>
              <a:ln w="44450">
                <a:gradFill>
                  <a:gsLst>
                    <a:gs pos="66000">
                      <a:schemeClr val="accent1"/>
                    </a:gs>
                    <a:gs pos="100000">
                      <a:schemeClr val="bg1"/>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cxnSp>
          <p:sp>
            <p:nvSpPr>
              <p:cNvPr id="77" name="Free-form: Shape 2743">
                <a:extLst>
                  <a:ext uri="{FF2B5EF4-FFF2-40B4-BE49-F238E27FC236}">
                    <a16:creationId xmlns:a16="http://schemas.microsoft.com/office/drawing/2014/main" id="{50703B8D-D650-B65D-8833-D41B54F220B5}"/>
                  </a:ext>
                </a:extLst>
              </p:cNvPr>
              <p:cNvSpPr/>
              <p:nvPr/>
            </p:nvSpPr>
            <p:spPr>
              <a:xfrm>
                <a:off x="9741843" y="-431289"/>
                <a:ext cx="178062" cy="325781"/>
              </a:xfrm>
              <a:custGeom>
                <a:avLst/>
                <a:gdLst>
                  <a:gd name="connsiteX0" fmla="*/ 78211 w 178062"/>
                  <a:gd name="connsiteY0" fmla="*/ 0 h 325781"/>
                  <a:gd name="connsiteX1" fmla="*/ 99851 w 178062"/>
                  <a:gd name="connsiteY1" fmla="*/ 0 h 325781"/>
                  <a:gd name="connsiteX2" fmla="*/ 145842 w 178062"/>
                  <a:gd name="connsiteY2" fmla="*/ 45991 h 325781"/>
                  <a:gd name="connsiteX3" fmla="*/ 145842 w 178062"/>
                  <a:gd name="connsiteY3" fmla="*/ 60328 h 325781"/>
                  <a:gd name="connsiteX4" fmla="*/ 156952 w 178062"/>
                  <a:gd name="connsiteY4" fmla="*/ 64930 h 325781"/>
                  <a:gd name="connsiteX5" fmla="*/ 178062 w 178062"/>
                  <a:gd name="connsiteY5" fmla="*/ 115894 h 325781"/>
                  <a:gd name="connsiteX6" fmla="*/ 178062 w 178062"/>
                  <a:gd name="connsiteY6" fmla="*/ 209887 h 325781"/>
                  <a:gd name="connsiteX7" fmla="*/ 156952 w 178062"/>
                  <a:gd name="connsiteY7" fmla="*/ 260851 h 325781"/>
                  <a:gd name="connsiteX8" fmla="*/ 145842 w 178062"/>
                  <a:gd name="connsiteY8" fmla="*/ 265453 h 325781"/>
                  <a:gd name="connsiteX9" fmla="*/ 145842 w 178062"/>
                  <a:gd name="connsiteY9" fmla="*/ 279790 h 325781"/>
                  <a:gd name="connsiteX10" fmla="*/ 99851 w 178062"/>
                  <a:gd name="connsiteY10" fmla="*/ 325781 h 325781"/>
                  <a:gd name="connsiteX11" fmla="*/ 78211 w 178062"/>
                  <a:gd name="connsiteY11" fmla="*/ 325781 h 325781"/>
                  <a:gd name="connsiteX12" fmla="*/ 32220 w 178062"/>
                  <a:gd name="connsiteY12" fmla="*/ 279790 h 325781"/>
                  <a:gd name="connsiteX13" fmla="*/ 32220 w 178062"/>
                  <a:gd name="connsiteY13" fmla="*/ 265453 h 325781"/>
                  <a:gd name="connsiteX14" fmla="*/ 21110 w 178062"/>
                  <a:gd name="connsiteY14" fmla="*/ 260851 h 325781"/>
                  <a:gd name="connsiteX15" fmla="*/ 0 w 178062"/>
                  <a:gd name="connsiteY15" fmla="*/ 209887 h 325781"/>
                  <a:gd name="connsiteX16" fmla="*/ 0 w 178062"/>
                  <a:gd name="connsiteY16" fmla="*/ 115894 h 325781"/>
                  <a:gd name="connsiteX17" fmla="*/ 21110 w 178062"/>
                  <a:gd name="connsiteY17" fmla="*/ 64930 h 325781"/>
                  <a:gd name="connsiteX18" fmla="*/ 32220 w 178062"/>
                  <a:gd name="connsiteY18" fmla="*/ 60328 h 325781"/>
                  <a:gd name="connsiteX19" fmla="*/ 32220 w 178062"/>
                  <a:gd name="connsiteY19" fmla="*/ 45991 h 325781"/>
                  <a:gd name="connsiteX20" fmla="*/ 78211 w 178062"/>
                  <a:gd name="connsiteY20" fmla="*/ 0 h 32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062" h="325781">
                    <a:moveTo>
                      <a:pt x="78211" y="0"/>
                    </a:moveTo>
                    <a:lnTo>
                      <a:pt x="99851" y="0"/>
                    </a:lnTo>
                    <a:cubicBezTo>
                      <a:pt x="125251" y="0"/>
                      <a:pt x="145842" y="20591"/>
                      <a:pt x="145842" y="45991"/>
                    </a:cubicBezTo>
                    <a:lnTo>
                      <a:pt x="145842" y="60328"/>
                    </a:lnTo>
                    <a:lnTo>
                      <a:pt x="156952" y="64930"/>
                    </a:lnTo>
                    <a:cubicBezTo>
                      <a:pt x="169995" y="77973"/>
                      <a:pt x="178062" y="95992"/>
                      <a:pt x="178062" y="115894"/>
                    </a:cubicBezTo>
                    <a:lnTo>
                      <a:pt x="178062" y="209887"/>
                    </a:lnTo>
                    <a:cubicBezTo>
                      <a:pt x="178062" y="229790"/>
                      <a:pt x="169995" y="247808"/>
                      <a:pt x="156952" y="260851"/>
                    </a:cubicBezTo>
                    <a:lnTo>
                      <a:pt x="145842" y="265453"/>
                    </a:lnTo>
                    <a:lnTo>
                      <a:pt x="145842" y="279790"/>
                    </a:lnTo>
                    <a:cubicBezTo>
                      <a:pt x="145842" y="305190"/>
                      <a:pt x="125251" y="325781"/>
                      <a:pt x="99851" y="325781"/>
                    </a:cubicBezTo>
                    <a:lnTo>
                      <a:pt x="78211" y="325781"/>
                    </a:lnTo>
                    <a:cubicBezTo>
                      <a:pt x="52811" y="325781"/>
                      <a:pt x="32220" y="305190"/>
                      <a:pt x="32220" y="279790"/>
                    </a:cubicBezTo>
                    <a:lnTo>
                      <a:pt x="32220" y="265453"/>
                    </a:lnTo>
                    <a:lnTo>
                      <a:pt x="21110" y="260851"/>
                    </a:lnTo>
                    <a:cubicBezTo>
                      <a:pt x="8067" y="247808"/>
                      <a:pt x="0" y="229790"/>
                      <a:pt x="0" y="209887"/>
                    </a:cubicBezTo>
                    <a:lnTo>
                      <a:pt x="0" y="115894"/>
                    </a:lnTo>
                    <a:cubicBezTo>
                      <a:pt x="0" y="95992"/>
                      <a:pt x="8067" y="77973"/>
                      <a:pt x="21110" y="64930"/>
                    </a:cubicBezTo>
                    <a:lnTo>
                      <a:pt x="32220" y="60328"/>
                    </a:lnTo>
                    <a:lnTo>
                      <a:pt x="32220" y="45991"/>
                    </a:lnTo>
                    <a:cubicBezTo>
                      <a:pt x="32220" y="20591"/>
                      <a:pt x="52811" y="0"/>
                      <a:pt x="78211"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8" name="Multiplication Sign 67">
              <a:extLst>
                <a:ext uri="{FF2B5EF4-FFF2-40B4-BE49-F238E27FC236}">
                  <a16:creationId xmlns:a16="http://schemas.microsoft.com/office/drawing/2014/main" id="{A8B12C6E-18B6-A97A-A59A-F24819C44E4F}"/>
                </a:ext>
              </a:extLst>
            </p:cNvPr>
            <p:cNvSpPr/>
            <p:nvPr/>
          </p:nvSpPr>
          <p:spPr>
            <a:xfrm>
              <a:off x="9647136" y="-453510"/>
              <a:ext cx="367476" cy="367476"/>
            </a:xfrm>
            <a:prstGeom prst="mathMultiply">
              <a:avLst>
                <a:gd name="adj1" fmla="val 9615"/>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69" name="Group 68">
              <a:extLst>
                <a:ext uri="{FF2B5EF4-FFF2-40B4-BE49-F238E27FC236}">
                  <a16:creationId xmlns:a16="http://schemas.microsoft.com/office/drawing/2014/main" id="{AF3181A0-8BC1-1DC2-DCEA-70B8EC360287}"/>
                </a:ext>
              </a:extLst>
            </p:cNvPr>
            <p:cNvGrpSpPr/>
            <p:nvPr/>
          </p:nvGrpSpPr>
          <p:grpSpPr>
            <a:xfrm>
              <a:off x="9648627" y="-166432"/>
              <a:ext cx="175453" cy="155537"/>
              <a:chOff x="9648627" y="-166432"/>
              <a:chExt cx="175453" cy="155537"/>
            </a:xfrm>
          </p:grpSpPr>
          <p:sp>
            <p:nvSpPr>
              <p:cNvPr id="71" name="Oval 70">
                <a:extLst>
                  <a:ext uri="{FF2B5EF4-FFF2-40B4-BE49-F238E27FC236}">
                    <a16:creationId xmlns:a16="http://schemas.microsoft.com/office/drawing/2014/main" id="{863BC7EB-E26B-D182-0E95-133315CBA31F}"/>
                  </a:ext>
                </a:extLst>
              </p:cNvPr>
              <p:cNvSpPr/>
              <p:nvPr/>
            </p:nvSpPr>
            <p:spPr>
              <a:xfrm>
                <a:off x="9742962" y="-166432"/>
                <a:ext cx="81118" cy="8111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72" name="Straight Connector 71">
                <a:extLst>
                  <a:ext uri="{FF2B5EF4-FFF2-40B4-BE49-F238E27FC236}">
                    <a16:creationId xmlns:a16="http://schemas.microsoft.com/office/drawing/2014/main" id="{C3F3ED8F-49C3-9464-6AB3-B846264D843B}"/>
                  </a:ext>
                </a:extLst>
              </p:cNvPr>
              <p:cNvCxnSpPr>
                <a:cxnSpLocks/>
              </p:cNvCxnSpPr>
              <p:nvPr/>
            </p:nvCxnSpPr>
            <p:spPr>
              <a:xfrm flipV="1">
                <a:off x="9703005" y="-68560"/>
                <a:ext cx="47980" cy="5766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EB6388E-1E6C-F1F7-A290-5EFB79633331}"/>
                  </a:ext>
                </a:extLst>
              </p:cNvPr>
              <p:cNvCxnSpPr>
                <a:cxnSpLocks/>
              </p:cNvCxnSpPr>
              <p:nvPr/>
            </p:nvCxnSpPr>
            <p:spPr>
              <a:xfrm>
                <a:off x="9648627" y="-142664"/>
                <a:ext cx="72000" cy="1905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90F1BE4-1C56-8B53-F13B-9B5A771BF332}"/>
                  </a:ext>
                </a:extLst>
              </p:cNvPr>
              <p:cNvCxnSpPr>
                <a:cxnSpLocks/>
              </p:cNvCxnSpPr>
              <p:nvPr/>
            </p:nvCxnSpPr>
            <p:spPr>
              <a:xfrm flipV="1">
                <a:off x="9657472" y="-93411"/>
                <a:ext cx="72000" cy="37298"/>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70" name="TextBox 69">
              <a:extLst>
                <a:ext uri="{FF2B5EF4-FFF2-40B4-BE49-F238E27FC236}">
                  <a16:creationId xmlns:a16="http://schemas.microsoft.com/office/drawing/2014/main" id="{AE410C04-CF30-095B-4578-920B299DE429}"/>
                </a:ext>
              </a:extLst>
            </p:cNvPr>
            <p:cNvSpPr txBox="1"/>
            <p:nvPr/>
          </p:nvSpPr>
          <p:spPr>
            <a:xfrm>
              <a:off x="9914675" y="-42680"/>
              <a:ext cx="55921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p>
          </p:txBody>
        </p:sp>
      </p:grpSp>
      <p:grpSp>
        <p:nvGrpSpPr>
          <p:cNvPr id="90" name="Group 89">
            <a:extLst>
              <a:ext uri="{FF2B5EF4-FFF2-40B4-BE49-F238E27FC236}">
                <a16:creationId xmlns:a16="http://schemas.microsoft.com/office/drawing/2014/main" id="{476B1DE0-210E-6236-674F-F8592F109C87}"/>
              </a:ext>
            </a:extLst>
          </p:cNvPr>
          <p:cNvGrpSpPr/>
          <p:nvPr/>
        </p:nvGrpSpPr>
        <p:grpSpPr>
          <a:xfrm>
            <a:off x="547401" y="4402827"/>
            <a:ext cx="826758" cy="1484112"/>
            <a:chOff x="9647136" y="-1221312"/>
            <a:chExt cx="826758" cy="1484112"/>
          </a:xfrm>
        </p:grpSpPr>
        <p:grpSp>
          <p:nvGrpSpPr>
            <p:cNvPr id="91" name="Group 90">
              <a:extLst>
                <a:ext uri="{FF2B5EF4-FFF2-40B4-BE49-F238E27FC236}">
                  <a16:creationId xmlns:a16="http://schemas.microsoft.com/office/drawing/2014/main" id="{4CDFA1DF-EBF8-4F18-162D-A428C98334A2}"/>
                </a:ext>
              </a:extLst>
            </p:cNvPr>
            <p:cNvGrpSpPr/>
            <p:nvPr/>
          </p:nvGrpSpPr>
          <p:grpSpPr>
            <a:xfrm>
              <a:off x="9695886" y="-1221312"/>
              <a:ext cx="269978" cy="1484112"/>
              <a:chOff x="9695886" y="-1221312"/>
              <a:chExt cx="269978" cy="1484112"/>
            </a:xfrm>
          </p:grpSpPr>
          <p:sp>
            <p:nvSpPr>
              <p:cNvPr id="99" name="Arc 98">
                <a:extLst>
                  <a:ext uri="{FF2B5EF4-FFF2-40B4-BE49-F238E27FC236}">
                    <a16:creationId xmlns:a16="http://schemas.microsoft.com/office/drawing/2014/main" id="{B45E34FF-3B54-465B-880C-2C7942DEB66B}"/>
                  </a:ext>
                </a:extLst>
              </p:cNvPr>
              <p:cNvSpPr/>
              <p:nvPr/>
            </p:nvSpPr>
            <p:spPr>
              <a:xfrm rot="5400000">
                <a:off x="9679384" y="-1204810"/>
                <a:ext cx="302981" cy="269978"/>
              </a:xfrm>
              <a:prstGeom prst="arc">
                <a:avLst>
                  <a:gd name="adj1" fmla="val 15743460"/>
                  <a:gd name="adj2" fmla="val 5878209"/>
                </a:avLst>
              </a:prstGeom>
              <a:ln w="44450" cap="rnd">
                <a:solidFill>
                  <a:schemeClr val="accent1"/>
                </a:solidFill>
                <a:roun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00" name="Straight Connector 99">
                <a:extLst>
                  <a:ext uri="{FF2B5EF4-FFF2-40B4-BE49-F238E27FC236}">
                    <a16:creationId xmlns:a16="http://schemas.microsoft.com/office/drawing/2014/main" id="{6A298946-8A49-54D8-9817-D210786B5BCF}"/>
                  </a:ext>
                </a:extLst>
              </p:cNvPr>
              <p:cNvCxnSpPr>
                <a:cxnSpLocks/>
              </p:cNvCxnSpPr>
              <p:nvPr/>
            </p:nvCxnSpPr>
            <p:spPr>
              <a:xfrm>
                <a:off x="9830874" y="-914400"/>
                <a:ext cx="0" cy="1177200"/>
              </a:xfrm>
              <a:prstGeom prst="line">
                <a:avLst/>
              </a:prstGeom>
              <a:ln w="44450">
                <a:gradFill>
                  <a:gsLst>
                    <a:gs pos="66000">
                      <a:schemeClr val="accent1"/>
                    </a:gs>
                    <a:gs pos="100000">
                      <a:schemeClr val="bg1"/>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cxnSp>
          <p:sp>
            <p:nvSpPr>
              <p:cNvPr id="101" name="Free-form: Shape 2767">
                <a:extLst>
                  <a:ext uri="{FF2B5EF4-FFF2-40B4-BE49-F238E27FC236}">
                    <a16:creationId xmlns:a16="http://schemas.microsoft.com/office/drawing/2014/main" id="{1BEF85E5-2F6F-869B-5F06-B66544F5887D}"/>
                  </a:ext>
                </a:extLst>
              </p:cNvPr>
              <p:cNvSpPr/>
              <p:nvPr/>
            </p:nvSpPr>
            <p:spPr>
              <a:xfrm>
                <a:off x="9741843" y="-431289"/>
                <a:ext cx="178062" cy="325781"/>
              </a:xfrm>
              <a:custGeom>
                <a:avLst/>
                <a:gdLst>
                  <a:gd name="connsiteX0" fmla="*/ 78211 w 178062"/>
                  <a:gd name="connsiteY0" fmla="*/ 0 h 325781"/>
                  <a:gd name="connsiteX1" fmla="*/ 99851 w 178062"/>
                  <a:gd name="connsiteY1" fmla="*/ 0 h 325781"/>
                  <a:gd name="connsiteX2" fmla="*/ 145842 w 178062"/>
                  <a:gd name="connsiteY2" fmla="*/ 45991 h 325781"/>
                  <a:gd name="connsiteX3" fmla="*/ 145842 w 178062"/>
                  <a:gd name="connsiteY3" fmla="*/ 60328 h 325781"/>
                  <a:gd name="connsiteX4" fmla="*/ 156952 w 178062"/>
                  <a:gd name="connsiteY4" fmla="*/ 64930 h 325781"/>
                  <a:gd name="connsiteX5" fmla="*/ 178062 w 178062"/>
                  <a:gd name="connsiteY5" fmla="*/ 115894 h 325781"/>
                  <a:gd name="connsiteX6" fmla="*/ 178062 w 178062"/>
                  <a:gd name="connsiteY6" fmla="*/ 209887 h 325781"/>
                  <a:gd name="connsiteX7" fmla="*/ 156952 w 178062"/>
                  <a:gd name="connsiteY7" fmla="*/ 260851 h 325781"/>
                  <a:gd name="connsiteX8" fmla="*/ 145842 w 178062"/>
                  <a:gd name="connsiteY8" fmla="*/ 265453 h 325781"/>
                  <a:gd name="connsiteX9" fmla="*/ 145842 w 178062"/>
                  <a:gd name="connsiteY9" fmla="*/ 279790 h 325781"/>
                  <a:gd name="connsiteX10" fmla="*/ 99851 w 178062"/>
                  <a:gd name="connsiteY10" fmla="*/ 325781 h 325781"/>
                  <a:gd name="connsiteX11" fmla="*/ 78211 w 178062"/>
                  <a:gd name="connsiteY11" fmla="*/ 325781 h 325781"/>
                  <a:gd name="connsiteX12" fmla="*/ 32220 w 178062"/>
                  <a:gd name="connsiteY12" fmla="*/ 279790 h 325781"/>
                  <a:gd name="connsiteX13" fmla="*/ 32220 w 178062"/>
                  <a:gd name="connsiteY13" fmla="*/ 265453 h 325781"/>
                  <a:gd name="connsiteX14" fmla="*/ 21110 w 178062"/>
                  <a:gd name="connsiteY14" fmla="*/ 260851 h 325781"/>
                  <a:gd name="connsiteX15" fmla="*/ 0 w 178062"/>
                  <a:gd name="connsiteY15" fmla="*/ 209887 h 325781"/>
                  <a:gd name="connsiteX16" fmla="*/ 0 w 178062"/>
                  <a:gd name="connsiteY16" fmla="*/ 115894 h 325781"/>
                  <a:gd name="connsiteX17" fmla="*/ 21110 w 178062"/>
                  <a:gd name="connsiteY17" fmla="*/ 64930 h 325781"/>
                  <a:gd name="connsiteX18" fmla="*/ 32220 w 178062"/>
                  <a:gd name="connsiteY18" fmla="*/ 60328 h 325781"/>
                  <a:gd name="connsiteX19" fmla="*/ 32220 w 178062"/>
                  <a:gd name="connsiteY19" fmla="*/ 45991 h 325781"/>
                  <a:gd name="connsiteX20" fmla="*/ 78211 w 178062"/>
                  <a:gd name="connsiteY20" fmla="*/ 0 h 32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062" h="325781">
                    <a:moveTo>
                      <a:pt x="78211" y="0"/>
                    </a:moveTo>
                    <a:lnTo>
                      <a:pt x="99851" y="0"/>
                    </a:lnTo>
                    <a:cubicBezTo>
                      <a:pt x="125251" y="0"/>
                      <a:pt x="145842" y="20591"/>
                      <a:pt x="145842" y="45991"/>
                    </a:cubicBezTo>
                    <a:lnTo>
                      <a:pt x="145842" y="60328"/>
                    </a:lnTo>
                    <a:lnTo>
                      <a:pt x="156952" y="64930"/>
                    </a:lnTo>
                    <a:cubicBezTo>
                      <a:pt x="169995" y="77973"/>
                      <a:pt x="178062" y="95992"/>
                      <a:pt x="178062" y="115894"/>
                    </a:cubicBezTo>
                    <a:lnTo>
                      <a:pt x="178062" y="209887"/>
                    </a:lnTo>
                    <a:cubicBezTo>
                      <a:pt x="178062" y="229790"/>
                      <a:pt x="169995" y="247808"/>
                      <a:pt x="156952" y="260851"/>
                    </a:cubicBezTo>
                    <a:lnTo>
                      <a:pt x="145842" y="265453"/>
                    </a:lnTo>
                    <a:lnTo>
                      <a:pt x="145842" y="279790"/>
                    </a:lnTo>
                    <a:cubicBezTo>
                      <a:pt x="145842" y="305190"/>
                      <a:pt x="125251" y="325781"/>
                      <a:pt x="99851" y="325781"/>
                    </a:cubicBezTo>
                    <a:lnTo>
                      <a:pt x="78211" y="325781"/>
                    </a:lnTo>
                    <a:cubicBezTo>
                      <a:pt x="52811" y="325781"/>
                      <a:pt x="32220" y="305190"/>
                      <a:pt x="32220" y="279790"/>
                    </a:cubicBezTo>
                    <a:lnTo>
                      <a:pt x="32220" y="265453"/>
                    </a:lnTo>
                    <a:lnTo>
                      <a:pt x="21110" y="260851"/>
                    </a:lnTo>
                    <a:cubicBezTo>
                      <a:pt x="8067" y="247808"/>
                      <a:pt x="0" y="229790"/>
                      <a:pt x="0" y="209887"/>
                    </a:cubicBezTo>
                    <a:lnTo>
                      <a:pt x="0" y="115894"/>
                    </a:lnTo>
                    <a:cubicBezTo>
                      <a:pt x="0" y="95992"/>
                      <a:pt x="8067" y="77973"/>
                      <a:pt x="21110" y="64930"/>
                    </a:cubicBezTo>
                    <a:lnTo>
                      <a:pt x="32220" y="60328"/>
                    </a:lnTo>
                    <a:lnTo>
                      <a:pt x="32220" y="45991"/>
                    </a:lnTo>
                    <a:cubicBezTo>
                      <a:pt x="32220" y="20591"/>
                      <a:pt x="52811" y="0"/>
                      <a:pt x="78211"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92" name="Multiplication Sign 91">
              <a:extLst>
                <a:ext uri="{FF2B5EF4-FFF2-40B4-BE49-F238E27FC236}">
                  <a16:creationId xmlns:a16="http://schemas.microsoft.com/office/drawing/2014/main" id="{EED526F2-8B8C-5546-725D-952F7F1F0A79}"/>
                </a:ext>
              </a:extLst>
            </p:cNvPr>
            <p:cNvSpPr/>
            <p:nvPr/>
          </p:nvSpPr>
          <p:spPr>
            <a:xfrm>
              <a:off x="9647136" y="-453510"/>
              <a:ext cx="367476" cy="367476"/>
            </a:xfrm>
            <a:prstGeom prst="mathMultiply">
              <a:avLst>
                <a:gd name="adj1" fmla="val 9615"/>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93" name="Group 92">
              <a:extLst>
                <a:ext uri="{FF2B5EF4-FFF2-40B4-BE49-F238E27FC236}">
                  <a16:creationId xmlns:a16="http://schemas.microsoft.com/office/drawing/2014/main" id="{8D560AB3-2270-1A76-FD34-B3E5071B7BFC}"/>
                </a:ext>
              </a:extLst>
            </p:cNvPr>
            <p:cNvGrpSpPr/>
            <p:nvPr/>
          </p:nvGrpSpPr>
          <p:grpSpPr>
            <a:xfrm>
              <a:off x="9648627" y="-166432"/>
              <a:ext cx="175453" cy="155537"/>
              <a:chOff x="9648627" y="-166432"/>
              <a:chExt cx="175453" cy="155537"/>
            </a:xfrm>
          </p:grpSpPr>
          <p:sp>
            <p:nvSpPr>
              <p:cNvPr id="95" name="Oval 94">
                <a:extLst>
                  <a:ext uri="{FF2B5EF4-FFF2-40B4-BE49-F238E27FC236}">
                    <a16:creationId xmlns:a16="http://schemas.microsoft.com/office/drawing/2014/main" id="{ABBA5035-DF57-7738-6A8D-4A5EE6E0A3C4}"/>
                  </a:ext>
                </a:extLst>
              </p:cNvPr>
              <p:cNvSpPr/>
              <p:nvPr/>
            </p:nvSpPr>
            <p:spPr>
              <a:xfrm>
                <a:off x="9742962" y="-166432"/>
                <a:ext cx="81118" cy="8111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96" name="Straight Connector 95">
                <a:extLst>
                  <a:ext uri="{FF2B5EF4-FFF2-40B4-BE49-F238E27FC236}">
                    <a16:creationId xmlns:a16="http://schemas.microsoft.com/office/drawing/2014/main" id="{35897C03-00C9-92DA-FA6C-991B1A917D62}"/>
                  </a:ext>
                </a:extLst>
              </p:cNvPr>
              <p:cNvCxnSpPr>
                <a:cxnSpLocks/>
              </p:cNvCxnSpPr>
              <p:nvPr/>
            </p:nvCxnSpPr>
            <p:spPr>
              <a:xfrm flipV="1">
                <a:off x="9703005" y="-68560"/>
                <a:ext cx="47980" cy="5766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A3D78DD-541B-526E-8215-C3A5829D9C72}"/>
                  </a:ext>
                </a:extLst>
              </p:cNvPr>
              <p:cNvCxnSpPr>
                <a:cxnSpLocks/>
              </p:cNvCxnSpPr>
              <p:nvPr/>
            </p:nvCxnSpPr>
            <p:spPr>
              <a:xfrm>
                <a:off x="9648627" y="-142664"/>
                <a:ext cx="72000" cy="1905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37F3BE46-AF18-0B08-344B-07021AA73ACB}"/>
                  </a:ext>
                </a:extLst>
              </p:cNvPr>
              <p:cNvCxnSpPr>
                <a:cxnSpLocks/>
              </p:cNvCxnSpPr>
              <p:nvPr/>
            </p:nvCxnSpPr>
            <p:spPr>
              <a:xfrm flipV="1">
                <a:off x="9657472" y="-93411"/>
                <a:ext cx="72000" cy="37298"/>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94" name="TextBox 93">
              <a:extLst>
                <a:ext uri="{FF2B5EF4-FFF2-40B4-BE49-F238E27FC236}">
                  <a16:creationId xmlns:a16="http://schemas.microsoft.com/office/drawing/2014/main" id="{A82579F6-17AB-976A-F664-C7C62D85036B}"/>
                </a:ext>
              </a:extLst>
            </p:cNvPr>
            <p:cNvSpPr txBox="1"/>
            <p:nvPr/>
          </p:nvSpPr>
          <p:spPr>
            <a:xfrm>
              <a:off x="9914675" y="-42680"/>
              <a:ext cx="55921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p>
          </p:txBody>
        </p:sp>
      </p:grpSp>
      <p:sp>
        <p:nvSpPr>
          <p:cNvPr id="102" name="TextBox 101">
            <a:extLst>
              <a:ext uri="{FF2B5EF4-FFF2-40B4-BE49-F238E27FC236}">
                <a16:creationId xmlns:a16="http://schemas.microsoft.com/office/drawing/2014/main" id="{958ED297-C0D0-B889-EC8D-9F43844E8C88}"/>
              </a:ext>
            </a:extLst>
          </p:cNvPr>
          <p:cNvSpPr txBox="1"/>
          <p:nvPr/>
        </p:nvSpPr>
        <p:spPr>
          <a:xfrm>
            <a:off x="4550824" y="4105072"/>
            <a:ext cx="79174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ti-MET</a:t>
            </a:r>
          </a:p>
        </p:txBody>
      </p:sp>
      <p:sp>
        <p:nvSpPr>
          <p:cNvPr id="103" name="TextBox 102">
            <a:extLst>
              <a:ext uri="{FF2B5EF4-FFF2-40B4-BE49-F238E27FC236}">
                <a16:creationId xmlns:a16="http://schemas.microsoft.com/office/drawing/2014/main" id="{86B05F04-9DAE-F774-50DB-D56B71897EFE}"/>
              </a:ext>
            </a:extLst>
          </p:cNvPr>
          <p:cNvSpPr txBox="1"/>
          <p:nvPr/>
        </p:nvSpPr>
        <p:spPr>
          <a:xfrm>
            <a:off x="3199867" y="4105072"/>
            <a:ext cx="79174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ti-EGFR</a:t>
            </a:r>
          </a:p>
        </p:txBody>
      </p:sp>
      <p:grpSp>
        <p:nvGrpSpPr>
          <p:cNvPr id="104" name="Group 103">
            <a:extLst>
              <a:ext uri="{FF2B5EF4-FFF2-40B4-BE49-F238E27FC236}">
                <a16:creationId xmlns:a16="http://schemas.microsoft.com/office/drawing/2014/main" id="{58C3D6F6-1A9D-C59F-3D65-1F81EEFEBC2B}"/>
              </a:ext>
            </a:extLst>
          </p:cNvPr>
          <p:cNvGrpSpPr/>
          <p:nvPr/>
        </p:nvGrpSpPr>
        <p:grpSpPr>
          <a:xfrm>
            <a:off x="3836796" y="4019636"/>
            <a:ext cx="770488" cy="343833"/>
            <a:chOff x="6917961" y="-1621129"/>
            <a:chExt cx="770488" cy="343833"/>
          </a:xfrm>
        </p:grpSpPr>
        <p:sp>
          <p:nvSpPr>
            <p:cNvPr id="105" name="Rectangle: Rounded Corners 104">
              <a:extLst>
                <a:ext uri="{FF2B5EF4-FFF2-40B4-BE49-F238E27FC236}">
                  <a16:creationId xmlns:a16="http://schemas.microsoft.com/office/drawing/2014/main" id="{D2B43CDC-C48D-8D8F-ADA9-74C9611E37E7}"/>
                </a:ext>
              </a:extLst>
            </p:cNvPr>
            <p:cNvSpPr/>
            <p:nvPr/>
          </p:nvSpPr>
          <p:spPr>
            <a:xfrm rot="2589768">
              <a:off x="7352127" y="-1335887"/>
              <a:ext cx="252000" cy="58591"/>
            </a:xfrm>
            <a:prstGeom prst="roundRect">
              <a:avLst>
                <a:gd name="adj" fmla="val 50000"/>
              </a:avLst>
            </a:prstGeom>
            <a:gradFill flip="none" rotWithShape="1">
              <a:gsLst>
                <a:gs pos="74000">
                  <a:schemeClr val="accent6"/>
                </a:gs>
                <a:gs pos="73000">
                  <a:schemeClr val="accent3">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6" name="Rectangle: Rounded Corners 105">
              <a:extLst>
                <a:ext uri="{FF2B5EF4-FFF2-40B4-BE49-F238E27FC236}">
                  <a16:creationId xmlns:a16="http://schemas.microsoft.com/office/drawing/2014/main" id="{EC30DC26-5546-B171-70D3-0D9A99E74C43}"/>
                </a:ext>
              </a:extLst>
            </p:cNvPr>
            <p:cNvSpPr/>
            <p:nvPr/>
          </p:nvSpPr>
          <p:spPr>
            <a:xfrm rot="19010232" flipH="1">
              <a:off x="6999929" y="-1344399"/>
              <a:ext cx="252000" cy="58591"/>
            </a:xfrm>
            <a:prstGeom prst="roundRect">
              <a:avLst>
                <a:gd name="adj" fmla="val 50000"/>
              </a:avLst>
            </a:prstGeom>
            <a:gradFill flip="none" rotWithShape="1">
              <a:gsLst>
                <a:gs pos="74000">
                  <a:schemeClr val="accent1"/>
                </a:gs>
                <a:gs pos="73000">
                  <a:schemeClr val="accent3">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7" name="Free-form: Shape 2776">
              <a:extLst>
                <a:ext uri="{FF2B5EF4-FFF2-40B4-BE49-F238E27FC236}">
                  <a16:creationId xmlns:a16="http://schemas.microsoft.com/office/drawing/2014/main" id="{7DD4AEE9-DFB9-F316-1E00-B0B834B5D60C}"/>
                </a:ext>
              </a:extLst>
            </p:cNvPr>
            <p:cNvSpPr/>
            <p:nvPr/>
          </p:nvSpPr>
          <p:spPr>
            <a:xfrm rot="19010232" flipH="1">
              <a:off x="6917961" y="-1621129"/>
              <a:ext cx="536464" cy="331199"/>
            </a:xfrm>
            <a:custGeom>
              <a:avLst/>
              <a:gdLst>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295759 w 536464"/>
                <a:gd name="connsiteY6" fmla="*/ 331198 h 331199"/>
                <a:gd name="connsiteX7" fmla="*/ 507167 w 536464"/>
                <a:gd name="connsiteY7" fmla="*/ 331199 h 331199"/>
                <a:gd name="connsiteX8" fmla="*/ 536463 w 536464"/>
                <a:gd name="connsiteY8" fmla="*/ 301903 h 331199"/>
                <a:gd name="connsiteX9" fmla="*/ 536464 w 536464"/>
                <a:gd name="connsiteY9" fmla="*/ 301903 h 331199"/>
                <a:gd name="connsiteX10" fmla="*/ 507168 w 536464"/>
                <a:gd name="connsiteY10" fmla="*/ 272607 h 331199"/>
                <a:gd name="connsiteX11" fmla="*/ 297661 w 536464"/>
                <a:gd name="connsiteY11" fmla="*/ 272607 h 331199"/>
                <a:gd name="connsiteX12" fmla="*/ 50664 w 536464"/>
                <a:gd name="connsiteY12" fmla="*/ 9240 h 331199"/>
                <a:gd name="connsiteX13" fmla="*/ 30235 w 536464"/>
                <a:gd name="connsiteY13" fmla="*/ 0 h 331199"/>
                <a:gd name="connsiteX14" fmla="*/ 9255 w 536464"/>
                <a:gd name="connsiteY14" fmla="*/ 7911 h 331199"/>
                <a:gd name="connsiteX15" fmla="*/ 9255 w 536464"/>
                <a:gd name="connsiteY15" fmla="*/ 7912 h 331199"/>
                <a:gd name="connsiteX16" fmla="*/ 9255 w 536464"/>
                <a:gd name="connsiteY16" fmla="*/ 7912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507167 w 536464"/>
                <a:gd name="connsiteY6" fmla="*/ 331199 h 331199"/>
                <a:gd name="connsiteX7" fmla="*/ 536463 w 536464"/>
                <a:gd name="connsiteY7" fmla="*/ 301903 h 331199"/>
                <a:gd name="connsiteX8" fmla="*/ 536464 w 536464"/>
                <a:gd name="connsiteY8" fmla="*/ 301903 h 331199"/>
                <a:gd name="connsiteX9" fmla="*/ 507168 w 536464"/>
                <a:gd name="connsiteY9" fmla="*/ 272607 h 331199"/>
                <a:gd name="connsiteX10" fmla="*/ 297661 w 536464"/>
                <a:gd name="connsiteY10" fmla="*/ 272607 h 331199"/>
                <a:gd name="connsiteX11" fmla="*/ 50664 w 536464"/>
                <a:gd name="connsiteY11" fmla="*/ 9240 h 331199"/>
                <a:gd name="connsiteX12" fmla="*/ 30235 w 536464"/>
                <a:gd name="connsiteY12" fmla="*/ 0 h 331199"/>
                <a:gd name="connsiteX13" fmla="*/ 9255 w 536464"/>
                <a:gd name="connsiteY13" fmla="*/ 7912 h 331199"/>
                <a:gd name="connsiteX14" fmla="*/ 9255 w 536464"/>
                <a:gd name="connsiteY14" fmla="*/ 7911 h 331199"/>
                <a:gd name="connsiteX15" fmla="*/ 9255 w 536464"/>
                <a:gd name="connsiteY15" fmla="*/ 7912 h 331199"/>
                <a:gd name="connsiteX16" fmla="*/ 9255 w 536464"/>
                <a:gd name="connsiteY16" fmla="*/ 7912 h 331199"/>
                <a:gd name="connsiteX17" fmla="*/ 9255 w 536464"/>
                <a:gd name="connsiteY17" fmla="*/ 7911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507167 w 536464"/>
                <a:gd name="connsiteY5" fmla="*/ 331199 h 331199"/>
                <a:gd name="connsiteX6" fmla="*/ 536463 w 536464"/>
                <a:gd name="connsiteY6" fmla="*/ 301903 h 331199"/>
                <a:gd name="connsiteX7" fmla="*/ 536464 w 536464"/>
                <a:gd name="connsiteY7" fmla="*/ 301903 h 331199"/>
                <a:gd name="connsiteX8" fmla="*/ 507168 w 536464"/>
                <a:gd name="connsiteY8" fmla="*/ 272607 h 331199"/>
                <a:gd name="connsiteX9" fmla="*/ 297661 w 536464"/>
                <a:gd name="connsiteY9" fmla="*/ 272607 h 331199"/>
                <a:gd name="connsiteX10" fmla="*/ 50664 w 536464"/>
                <a:gd name="connsiteY10" fmla="*/ 9240 h 331199"/>
                <a:gd name="connsiteX11" fmla="*/ 30235 w 536464"/>
                <a:gd name="connsiteY11" fmla="*/ 0 h 331199"/>
                <a:gd name="connsiteX12" fmla="*/ 9255 w 536464"/>
                <a:gd name="connsiteY12" fmla="*/ 7912 h 331199"/>
                <a:gd name="connsiteX13" fmla="*/ 9255 w 536464"/>
                <a:gd name="connsiteY13" fmla="*/ 7911 h 331199"/>
                <a:gd name="connsiteX14" fmla="*/ 9255 w 536464"/>
                <a:gd name="connsiteY14" fmla="*/ 7912 h 331199"/>
                <a:gd name="connsiteX15" fmla="*/ 9255 w 536464"/>
                <a:gd name="connsiteY15" fmla="*/ 7912 h 331199"/>
                <a:gd name="connsiteX16" fmla="*/ 9255 w 536464"/>
                <a:gd name="connsiteY16" fmla="*/ 7911 h 3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464" h="331199">
                  <a:moveTo>
                    <a:pt x="9255" y="7912"/>
                  </a:moveTo>
                  <a:lnTo>
                    <a:pt x="15" y="28341"/>
                  </a:lnTo>
                  <a:cubicBezTo>
                    <a:pt x="-225" y="35834"/>
                    <a:pt x="2393" y="43420"/>
                    <a:pt x="7927" y="49321"/>
                  </a:cubicBezTo>
                  <a:lnTo>
                    <a:pt x="263365" y="321690"/>
                  </a:lnTo>
                  <a:cubicBezTo>
                    <a:pt x="268899" y="327591"/>
                    <a:pt x="276301" y="330690"/>
                    <a:pt x="283795" y="330930"/>
                  </a:cubicBezTo>
                  <a:lnTo>
                    <a:pt x="507167" y="331199"/>
                  </a:lnTo>
                  <a:cubicBezTo>
                    <a:pt x="523347" y="331199"/>
                    <a:pt x="536463" y="318083"/>
                    <a:pt x="536463" y="301903"/>
                  </a:cubicBezTo>
                  <a:lnTo>
                    <a:pt x="536464" y="301903"/>
                  </a:lnTo>
                  <a:cubicBezTo>
                    <a:pt x="536464" y="285723"/>
                    <a:pt x="523348" y="272607"/>
                    <a:pt x="507168" y="272607"/>
                  </a:cubicBezTo>
                  <a:lnTo>
                    <a:pt x="297661" y="272607"/>
                  </a:lnTo>
                  <a:lnTo>
                    <a:pt x="50664" y="9240"/>
                  </a:lnTo>
                  <a:cubicBezTo>
                    <a:pt x="45130" y="3339"/>
                    <a:pt x="37728" y="240"/>
                    <a:pt x="30235" y="0"/>
                  </a:cubicBezTo>
                  <a:lnTo>
                    <a:pt x="9255" y="7912"/>
                  </a:lnTo>
                  <a:close/>
                  <a:moveTo>
                    <a:pt x="9255" y="7911"/>
                  </a:moveTo>
                  <a:lnTo>
                    <a:pt x="9255" y="7912"/>
                  </a:lnTo>
                  <a:lnTo>
                    <a:pt x="9255" y="7912"/>
                  </a:lnTo>
                  <a:lnTo>
                    <a:pt x="9255" y="7911"/>
                  </a:lnTo>
                  <a:close/>
                </a:path>
              </a:pathLst>
            </a:custGeom>
            <a:gradFill flip="none" rotWithShape="1">
              <a:gsLst>
                <a:gs pos="88000">
                  <a:schemeClr val="accent1"/>
                </a:gs>
                <a:gs pos="87000">
                  <a:schemeClr val="accent3">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8" name="Free-form: Shape 2778">
              <a:extLst>
                <a:ext uri="{FF2B5EF4-FFF2-40B4-BE49-F238E27FC236}">
                  <a16:creationId xmlns:a16="http://schemas.microsoft.com/office/drawing/2014/main" id="{E8436813-736C-BD22-6BCA-03BBF46D0FC3}"/>
                </a:ext>
              </a:extLst>
            </p:cNvPr>
            <p:cNvSpPr/>
            <p:nvPr/>
          </p:nvSpPr>
          <p:spPr>
            <a:xfrm rot="2589768">
              <a:off x="7151985" y="-1621128"/>
              <a:ext cx="536464" cy="331199"/>
            </a:xfrm>
            <a:custGeom>
              <a:avLst/>
              <a:gdLst>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295759 w 536464"/>
                <a:gd name="connsiteY6" fmla="*/ 331198 h 331199"/>
                <a:gd name="connsiteX7" fmla="*/ 507167 w 536464"/>
                <a:gd name="connsiteY7" fmla="*/ 331199 h 331199"/>
                <a:gd name="connsiteX8" fmla="*/ 536463 w 536464"/>
                <a:gd name="connsiteY8" fmla="*/ 301903 h 331199"/>
                <a:gd name="connsiteX9" fmla="*/ 536464 w 536464"/>
                <a:gd name="connsiteY9" fmla="*/ 301903 h 331199"/>
                <a:gd name="connsiteX10" fmla="*/ 507168 w 536464"/>
                <a:gd name="connsiteY10" fmla="*/ 272607 h 331199"/>
                <a:gd name="connsiteX11" fmla="*/ 297661 w 536464"/>
                <a:gd name="connsiteY11" fmla="*/ 272607 h 331199"/>
                <a:gd name="connsiteX12" fmla="*/ 50664 w 536464"/>
                <a:gd name="connsiteY12" fmla="*/ 9240 h 331199"/>
                <a:gd name="connsiteX13" fmla="*/ 30235 w 536464"/>
                <a:gd name="connsiteY13" fmla="*/ 0 h 331199"/>
                <a:gd name="connsiteX14" fmla="*/ 9255 w 536464"/>
                <a:gd name="connsiteY14" fmla="*/ 7911 h 331199"/>
                <a:gd name="connsiteX15" fmla="*/ 9255 w 536464"/>
                <a:gd name="connsiteY15" fmla="*/ 7912 h 331199"/>
                <a:gd name="connsiteX16" fmla="*/ 9255 w 536464"/>
                <a:gd name="connsiteY16" fmla="*/ 7912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507167 w 536464"/>
                <a:gd name="connsiteY6" fmla="*/ 331199 h 331199"/>
                <a:gd name="connsiteX7" fmla="*/ 536463 w 536464"/>
                <a:gd name="connsiteY7" fmla="*/ 301903 h 331199"/>
                <a:gd name="connsiteX8" fmla="*/ 536464 w 536464"/>
                <a:gd name="connsiteY8" fmla="*/ 301903 h 331199"/>
                <a:gd name="connsiteX9" fmla="*/ 507168 w 536464"/>
                <a:gd name="connsiteY9" fmla="*/ 272607 h 331199"/>
                <a:gd name="connsiteX10" fmla="*/ 297661 w 536464"/>
                <a:gd name="connsiteY10" fmla="*/ 272607 h 331199"/>
                <a:gd name="connsiteX11" fmla="*/ 50664 w 536464"/>
                <a:gd name="connsiteY11" fmla="*/ 9240 h 331199"/>
                <a:gd name="connsiteX12" fmla="*/ 30235 w 536464"/>
                <a:gd name="connsiteY12" fmla="*/ 0 h 331199"/>
                <a:gd name="connsiteX13" fmla="*/ 9255 w 536464"/>
                <a:gd name="connsiteY13" fmla="*/ 7912 h 331199"/>
                <a:gd name="connsiteX14" fmla="*/ 9255 w 536464"/>
                <a:gd name="connsiteY14" fmla="*/ 7911 h 331199"/>
                <a:gd name="connsiteX15" fmla="*/ 9255 w 536464"/>
                <a:gd name="connsiteY15" fmla="*/ 7912 h 331199"/>
                <a:gd name="connsiteX16" fmla="*/ 9255 w 536464"/>
                <a:gd name="connsiteY16" fmla="*/ 7912 h 331199"/>
                <a:gd name="connsiteX17" fmla="*/ 9255 w 536464"/>
                <a:gd name="connsiteY17" fmla="*/ 7911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507167 w 536464"/>
                <a:gd name="connsiteY5" fmla="*/ 331199 h 331199"/>
                <a:gd name="connsiteX6" fmla="*/ 536463 w 536464"/>
                <a:gd name="connsiteY6" fmla="*/ 301903 h 331199"/>
                <a:gd name="connsiteX7" fmla="*/ 536464 w 536464"/>
                <a:gd name="connsiteY7" fmla="*/ 301903 h 331199"/>
                <a:gd name="connsiteX8" fmla="*/ 507168 w 536464"/>
                <a:gd name="connsiteY8" fmla="*/ 272607 h 331199"/>
                <a:gd name="connsiteX9" fmla="*/ 297661 w 536464"/>
                <a:gd name="connsiteY9" fmla="*/ 272607 h 331199"/>
                <a:gd name="connsiteX10" fmla="*/ 50664 w 536464"/>
                <a:gd name="connsiteY10" fmla="*/ 9240 h 331199"/>
                <a:gd name="connsiteX11" fmla="*/ 30235 w 536464"/>
                <a:gd name="connsiteY11" fmla="*/ 0 h 331199"/>
                <a:gd name="connsiteX12" fmla="*/ 9255 w 536464"/>
                <a:gd name="connsiteY12" fmla="*/ 7912 h 331199"/>
                <a:gd name="connsiteX13" fmla="*/ 9255 w 536464"/>
                <a:gd name="connsiteY13" fmla="*/ 7911 h 331199"/>
                <a:gd name="connsiteX14" fmla="*/ 9255 w 536464"/>
                <a:gd name="connsiteY14" fmla="*/ 7912 h 331199"/>
                <a:gd name="connsiteX15" fmla="*/ 9255 w 536464"/>
                <a:gd name="connsiteY15" fmla="*/ 7912 h 331199"/>
                <a:gd name="connsiteX16" fmla="*/ 9255 w 536464"/>
                <a:gd name="connsiteY16" fmla="*/ 7911 h 3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464" h="331199">
                  <a:moveTo>
                    <a:pt x="9255" y="7912"/>
                  </a:moveTo>
                  <a:lnTo>
                    <a:pt x="15" y="28341"/>
                  </a:lnTo>
                  <a:cubicBezTo>
                    <a:pt x="-225" y="35834"/>
                    <a:pt x="2393" y="43420"/>
                    <a:pt x="7927" y="49321"/>
                  </a:cubicBezTo>
                  <a:lnTo>
                    <a:pt x="263365" y="321690"/>
                  </a:lnTo>
                  <a:cubicBezTo>
                    <a:pt x="268899" y="327591"/>
                    <a:pt x="276301" y="330690"/>
                    <a:pt x="283795" y="330930"/>
                  </a:cubicBezTo>
                  <a:lnTo>
                    <a:pt x="507167" y="331199"/>
                  </a:lnTo>
                  <a:cubicBezTo>
                    <a:pt x="523347" y="331199"/>
                    <a:pt x="536463" y="318083"/>
                    <a:pt x="536463" y="301903"/>
                  </a:cubicBezTo>
                  <a:lnTo>
                    <a:pt x="536464" y="301903"/>
                  </a:lnTo>
                  <a:cubicBezTo>
                    <a:pt x="536464" y="285723"/>
                    <a:pt x="523348" y="272607"/>
                    <a:pt x="507168" y="272607"/>
                  </a:cubicBezTo>
                  <a:lnTo>
                    <a:pt x="297661" y="272607"/>
                  </a:lnTo>
                  <a:lnTo>
                    <a:pt x="50664" y="9240"/>
                  </a:lnTo>
                  <a:cubicBezTo>
                    <a:pt x="45130" y="3339"/>
                    <a:pt x="37728" y="240"/>
                    <a:pt x="30235" y="0"/>
                  </a:cubicBezTo>
                  <a:lnTo>
                    <a:pt x="9255" y="7912"/>
                  </a:lnTo>
                  <a:close/>
                  <a:moveTo>
                    <a:pt x="9255" y="7911"/>
                  </a:moveTo>
                  <a:lnTo>
                    <a:pt x="9255" y="7912"/>
                  </a:lnTo>
                  <a:lnTo>
                    <a:pt x="9255" y="7912"/>
                  </a:lnTo>
                  <a:lnTo>
                    <a:pt x="9255" y="7911"/>
                  </a:lnTo>
                  <a:close/>
                </a:path>
              </a:pathLst>
            </a:custGeom>
            <a:gradFill flip="none" rotWithShape="1">
              <a:gsLst>
                <a:gs pos="88000">
                  <a:schemeClr val="accent6"/>
                </a:gs>
                <a:gs pos="87000">
                  <a:schemeClr val="accent3">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15" name="Right Bracket 114">
            <a:extLst>
              <a:ext uri="{FF2B5EF4-FFF2-40B4-BE49-F238E27FC236}">
                <a16:creationId xmlns:a16="http://schemas.microsoft.com/office/drawing/2014/main" id="{4FEED886-2160-9604-CE83-A82F56EA1C16}"/>
              </a:ext>
            </a:extLst>
          </p:cNvPr>
          <p:cNvSpPr/>
          <p:nvPr/>
        </p:nvSpPr>
        <p:spPr>
          <a:xfrm rot="18853838">
            <a:off x="4440977" y="4141195"/>
            <a:ext cx="45719" cy="269893"/>
          </a:xfrm>
          <a:prstGeom prst="rightBracket">
            <a:avLst/>
          </a:prstGeom>
          <a:ln w="12700">
            <a:solidFill>
              <a:schemeClr val="accent3">
                <a:lumMod val="75000"/>
              </a:schemeClr>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 name="Right Bracket 115">
            <a:extLst>
              <a:ext uri="{FF2B5EF4-FFF2-40B4-BE49-F238E27FC236}">
                <a16:creationId xmlns:a16="http://schemas.microsoft.com/office/drawing/2014/main" id="{274AB629-9729-90D6-F7E1-6B9735D58977}"/>
              </a:ext>
            </a:extLst>
          </p:cNvPr>
          <p:cNvSpPr/>
          <p:nvPr/>
        </p:nvSpPr>
        <p:spPr>
          <a:xfrm rot="13612950">
            <a:off x="3964834" y="4140339"/>
            <a:ext cx="45719" cy="269893"/>
          </a:xfrm>
          <a:prstGeom prst="rightBracket">
            <a:avLst/>
          </a:prstGeom>
          <a:ln w="12700">
            <a:solidFill>
              <a:schemeClr val="accent3">
                <a:lumMod val="75000"/>
              </a:schemeClr>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17" name="Group 116">
            <a:extLst>
              <a:ext uri="{FF2B5EF4-FFF2-40B4-BE49-F238E27FC236}">
                <a16:creationId xmlns:a16="http://schemas.microsoft.com/office/drawing/2014/main" id="{F734C0A6-C226-B5FA-AFBE-64E71AE49935}"/>
              </a:ext>
            </a:extLst>
          </p:cNvPr>
          <p:cNvGrpSpPr/>
          <p:nvPr/>
        </p:nvGrpSpPr>
        <p:grpSpPr>
          <a:xfrm>
            <a:off x="3675983" y="5470470"/>
            <a:ext cx="175453" cy="155537"/>
            <a:chOff x="6752385" y="4056297"/>
            <a:chExt cx="175453" cy="155537"/>
          </a:xfrm>
        </p:grpSpPr>
        <p:sp>
          <p:nvSpPr>
            <p:cNvPr id="118" name="Oval 117">
              <a:extLst>
                <a:ext uri="{FF2B5EF4-FFF2-40B4-BE49-F238E27FC236}">
                  <a16:creationId xmlns:a16="http://schemas.microsoft.com/office/drawing/2014/main" id="{15141EE1-C3C0-0AAB-BFFA-749AA6A489AA}"/>
                </a:ext>
              </a:extLst>
            </p:cNvPr>
            <p:cNvSpPr/>
            <p:nvPr/>
          </p:nvSpPr>
          <p:spPr>
            <a:xfrm>
              <a:off x="6846720" y="4056297"/>
              <a:ext cx="81118" cy="8111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19" name="Straight Connector 118">
              <a:extLst>
                <a:ext uri="{FF2B5EF4-FFF2-40B4-BE49-F238E27FC236}">
                  <a16:creationId xmlns:a16="http://schemas.microsoft.com/office/drawing/2014/main" id="{07F976E2-7992-52F9-39A4-A9ABD19AB6E3}"/>
                </a:ext>
              </a:extLst>
            </p:cNvPr>
            <p:cNvCxnSpPr>
              <a:cxnSpLocks/>
            </p:cNvCxnSpPr>
            <p:nvPr/>
          </p:nvCxnSpPr>
          <p:spPr>
            <a:xfrm flipV="1">
              <a:off x="6806763" y="4154169"/>
              <a:ext cx="47980" cy="5766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17323E-298B-16C5-7FE4-5A54AB30FF9A}"/>
                </a:ext>
              </a:extLst>
            </p:cNvPr>
            <p:cNvCxnSpPr>
              <a:cxnSpLocks/>
            </p:cNvCxnSpPr>
            <p:nvPr/>
          </p:nvCxnSpPr>
          <p:spPr>
            <a:xfrm>
              <a:off x="6752385" y="4080065"/>
              <a:ext cx="72000" cy="1905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04E10FF-3400-B76F-621B-FE793C9CA1F0}"/>
                </a:ext>
              </a:extLst>
            </p:cNvPr>
            <p:cNvCxnSpPr>
              <a:cxnSpLocks/>
            </p:cNvCxnSpPr>
            <p:nvPr/>
          </p:nvCxnSpPr>
          <p:spPr>
            <a:xfrm flipV="1">
              <a:off x="6761230" y="4129318"/>
              <a:ext cx="72000" cy="37298"/>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DD7DB212-C5EC-C84B-A7D1-93F0B4EA35DC}"/>
              </a:ext>
            </a:extLst>
          </p:cNvPr>
          <p:cNvSpPr txBox="1"/>
          <p:nvPr/>
        </p:nvSpPr>
        <p:spPr>
          <a:xfrm>
            <a:off x="5679354" y="1994654"/>
            <a:ext cx="1802692"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HER3 ADC </a:t>
            </a:r>
            <a:b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3G EGFR TKI </a:t>
            </a:r>
          </a:p>
        </p:txBody>
      </p:sp>
      <p:cxnSp>
        <p:nvCxnSpPr>
          <p:cNvPr id="170" name="Straight Connector 169">
            <a:extLst>
              <a:ext uri="{FF2B5EF4-FFF2-40B4-BE49-F238E27FC236}">
                <a16:creationId xmlns:a16="http://schemas.microsoft.com/office/drawing/2014/main" id="{7AB06D10-3C0F-A206-CBCE-E9675679B623}"/>
              </a:ext>
            </a:extLst>
          </p:cNvPr>
          <p:cNvCxnSpPr>
            <a:cxnSpLocks/>
          </p:cNvCxnSpPr>
          <p:nvPr/>
        </p:nvCxnSpPr>
        <p:spPr>
          <a:xfrm>
            <a:off x="5575954" y="2449275"/>
            <a:ext cx="2016000" cy="0"/>
          </a:xfrm>
          <a:prstGeom prst="line">
            <a:avLst/>
          </a:prstGeom>
          <a:ln w="22225" cap="rnd">
            <a:solidFill>
              <a:schemeClr val="accent4"/>
            </a:solidFill>
            <a:tailEnd type="none" w="lg" len="med"/>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2F2A340B-1BA8-03E4-FD7A-D772FF99C26D}"/>
              </a:ext>
            </a:extLst>
          </p:cNvPr>
          <p:cNvSpPr txBox="1"/>
          <p:nvPr/>
        </p:nvSpPr>
        <p:spPr>
          <a:xfrm>
            <a:off x="5545396" y="2620975"/>
            <a:ext cx="2118475"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err="1">
                <a:ln>
                  <a:noFill/>
                </a:ln>
                <a:solidFill>
                  <a:srgbClr val="004685"/>
                </a:solidFill>
                <a:effectLst/>
                <a:uLnTx/>
                <a:uFillTx/>
                <a:latin typeface="Arial" panose="020B0604020202020204" pitchFamily="34" charset="0"/>
                <a:ea typeface="+mn-ea"/>
                <a:cs typeface="Arial" panose="020B0604020202020204" pitchFamily="34" charset="0"/>
              </a:rPr>
              <a:t>Izalontamab</a:t>
            </a:r>
            <a: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 b</a:t>
            </a:r>
            <a:r>
              <a:rPr kumimoji="0" lang="en-GB" sz="1300" b="0" i="0" u="none" strike="noStrike" kern="1200" cap="none" spc="0" normalizeH="0" baseline="0" noProof="0" dirty="0" err="1">
                <a:ln>
                  <a:noFill/>
                </a:ln>
                <a:solidFill>
                  <a:srgbClr val="004685"/>
                </a:solidFill>
                <a:effectLst/>
                <a:uLnTx/>
                <a:uFillTx/>
                <a:latin typeface="Arial" panose="020B0604020202020204" pitchFamily="34" charset="0"/>
                <a:ea typeface="+mn-ea"/>
                <a:cs typeface="Arial" panose="020B0604020202020204" pitchFamily="34" charset="0"/>
              </a:rPr>
              <a:t>rengitecan</a:t>
            </a:r>
            <a: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 </a:t>
            </a:r>
            <a:b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 osimertinib</a:t>
            </a:r>
            <a:r>
              <a:rPr kumimoji="0" lang="en-GB" sz="1300" b="0" i="0" u="none" strike="noStrike" kern="1200" cap="none" spc="0" normalizeH="0" baseline="30000" noProof="0" dirty="0">
                <a:ln>
                  <a:noFill/>
                </a:ln>
                <a:solidFill>
                  <a:srgbClr val="004685"/>
                </a:solidFill>
                <a:effectLst/>
                <a:uLnTx/>
                <a:uFillTx/>
                <a:latin typeface="Arial" panose="020B0604020202020204" pitchFamily="34" charset="0"/>
                <a:ea typeface="+mn-ea"/>
                <a:cs typeface="Arial" panose="020B0604020202020204" pitchFamily="34" charset="0"/>
              </a:rPr>
              <a:t>9</a:t>
            </a:r>
          </a:p>
        </p:txBody>
      </p:sp>
      <p:sp>
        <p:nvSpPr>
          <p:cNvPr id="172" name="TextBox 171">
            <a:extLst>
              <a:ext uri="{FF2B5EF4-FFF2-40B4-BE49-F238E27FC236}">
                <a16:creationId xmlns:a16="http://schemas.microsoft.com/office/drawing/2014/main" id="{7B41A5CC-E1CC-990A-9B8F-4BD42FAEAE6D}"/>
              </a:ext>
            </a:extLst>
          </p:cNvPr>
          <p:cNvSpPr txBox="1"/>
          <p:nvPr/>
        </p:nvSpPr>
        <p:spPr>
          <a:xfrm>
            <a:off x="7491547" y="1994654"/>
            <a:ext cx="2484000"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ROP2 ADC </a:t>
            </a:r>
            <a:b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3G EGFR TKI </a:t>
            </a:r>
          </a:p>
        </p:txBody>
      </p:sp>
      <p:cxnSp>
        <p:nvCxnSpPr>
          <p:cNvPr id="173" name="Straight Connector 172">
            <a:extLst>
              <a:ext uri="{FF2B5EF4-FFF2-40B4-BE49-F238E27FC236}">
                <a16:creationId xmlns:a16="http://schemas.microsoft.com/office/drawing/2014/main" id="{02947BA6-04BD-77DF-A99E-1705B01E30E0}"/>
              </a:ext>
            </a:extLst>
          </p:cNvPr>
          <p:cNvCxnSpPr>
            <a:cxnSpLocks/>
          </p:cNvCxnSpPr>
          <p:nvPr/>
        </p:nvCxnSpPr>
        <p:spPr>
          <a:xfrm>
            <a:off x="7846809" y="2441329"/>
            <a:ext cx="1908000" cy="7946"/>
          </a:xfrm>
          <a:prstGeom prst="line">
            <a:avLst/>
          </a:prstGeom>
          <a:ln w="22225" cap="rnd">
            <a:solidFill>
              <a:schemeClr val="accent4"/>
            </a:solidFill>
            <a:tailEnd type="none" w="lg" len="med"/>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A9DDA112-6B3F-430F-706F-8E1F44197237}"/>
              </a:ext>
            </a:extLst>
          </p:cNvPr>
          <p:cNvSpPr txBox="1"/>
          <p:nvPr/>
        </p:nvSpPr>
        <p:spPr>
          <a:xfrm>
            <a:off x="7595936" y="2620975"/>
            <a:ext cx="2390382"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Datopotamab deruxtecan </a:t>
            </a:r>
            <a:b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 osimertinib</a:t>
            </a:r>
            <a:r>
              <a:rPr kumimoji="0" lang="en-GB" sz="1300" b="0" i="0" u="none" strike="noStrike" kern="1200" cap="none" spc="0" normalizeH="0" baseline="30000" noProof="0" dirty="0">
                <a:ln>
                  <a:noFill/>
                </a:ln>
                <a:solidFill>
                  <a:srgbClr val="004685"/>
                </a:solidFill>
                <a:effectLst/>
                <a:uLnTx/>
                <a:uFillTx/>
                <a:latin typeface="Arial" panose="020B0604020202020204" pitchFamily="34" charset="0"/>
                <a:ea typeface="+mn-ea"/>
                <a:cs typeface="Arial" panose="020B0604020202020204" pitchFamily="34" charset="0"/>
              </a:rPr>
              <a:t>10</a:t>
            </a:r>
          </a:p>
        </p:txBody>
      </p:sp>
      <p:sp>
        <p:nvSpPr>
          <p:cNvPr id="176" name="TextBox 175">
            <a:extLst>
              <a:ext uri="{FF2B5EF4-FFF2-40B4-BE49-F238E27FC236}">
                <a16:creationId xmlns:a16="http://schemas.microsoft.com/office/drawing/2014/main" id="{B4A658A8-F329-B8F6-7A0A-77FE05140851}"/>
              </a:ext>
            </a:extLst>
          </p:cNvPr>
          <p:cNvSpPr txBox="1"/>
          <p:nvPr/>
        </p:nvSpPr>
        <p:spPr>
          <a:xfrm>
            <a:off x="9708000" y="1994654"/>
            <a:ext cx="2484000"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T ADC </a:t>
            </a:r>
            <a:b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3G EGFR TKI </a:t>
            </a:r>
          </a:p>
        </p:txBody>
      </p:sp>
      <p:cxnSp>
        <p:nvCxnSpPr>
          <p:cNvPr id="177" name="Straight Connector 176">
            <a:extLst>
              <a:ext uri="{FF2B5EF4-FFF2-40B4-BE49-F238E27FC236}">
                <a16:creationId xmlns:a16="http://schemas.microsoft.com/office/drawing/2014/main" id="{D85730D8-65AA-1B7D-30F6-C26B1AEDFD97}"/>
              </a:ext>
            </a:extLst>
          </p:cNvPr>
          <p:cNvCxnSpPr>
            <a:cxnSpLocks/>
          </p:cNvCxnSpPr>
          <p:nvPr/>
        </p:nvCxnSpPr>
        <p:spPr>
          <a:xfrm>
            <a:off x="9996000" y="2441115"/>
            <a:ext cx="1908000" cy="7946"/>
          </a:xfrm>
          <a:prstGeom prst="line">
            <a:avLst/>
          </a:prstGeom>
          <a:ln w="22225" cap="rnd">
            <a:solidFill>
              <a:schemeClr val="accent4"/>
            </a:solidFill>
            <a:tailEnd type="none" w="lg" len="med"/>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90411015-46FE-C2D9-402A-555626B32FF7}"/>
              </a:ext>
            </a:extLst>
          </p:cNvPr>
          <p:cNvSpPr txBox="1"/>
          <p:nvPr/>
        </p:nvSpPr>
        <p:spPr>
          <a:xfrm>
            <a:off x="9754809" y="2620975"/>
            <a:ext cx="2390382" cy="400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err="1">
                <a:ln>
                  <a:noFill/>
                </a:ln>
                <a:solidFill>
                  <a:srgbClr val="004685"/>
                </a:solidFill>
                <a:effectLst/>
                <a:uLnTx/>
                <a:uFillTx/>
                <a:latin typeface="Arial" panose="020B0604020202020204" pitchFamily="34" charset="0"/>
                <a:ea typeface="+mn-ea"/>
                <a:cs typeface="Arial" panose="020B0604020202020204" pitchFamily="34" charset="0"/>
              </a:rPr>
              <a:t>Telisotuzumab</a:t>
            </a:r>
            <a: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 a</a:t>
            </a:r>
            <a:r>
              <a:rPr kumimoji="0" lang="en-GB" sz="1300" b="0" i="0" u="none" strike="noStrike" kern="1200" cap="none" spc="0" normalizeH="0" baseline="0" noProof="0" dirty="0" err="1">
                <a:ln>
                  <a:noFill/>
                </a:ln>
                <a:solidFill>
                  <a:srgbClr val="004685"/>
                </a:solidFill>
                <a:effectLst/>
                <a:uLnTx/>
                <a:uFillTx/>
                <a:latin typeface="Arial" panose="020B0604020202020204" pitchFamily="34" charset="0"/>
                <a:ea typeface="+mn-ea"/>
                <a:cs typeface="Arial" panose="020B0604020202020204" pitchFamily="34" charset="0"/>
              </a:rPr>
              <a:t>dizutecan</a:t>
            </a:r>
            <a: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 </a:t>
            </a:r>
            <a:b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 osimertinib</a:t>
            </a:r>
            <a:r>
              <a:rPr kumimoji="0" lang="en-GB" sz="1300" b="0" i="0" u="none" strike="noStrike" kern="1200" cap="none" spc="0" normalizeH="0" baseline="30000" noProof="0" dirty="0">
                <a:ln>
                  <a:noFill/>
                </a:ln>
                <a:solidFill>
                  <a:srgbClr val="004685"/>
                </a:solidFill>
                <a:effectLst/>
                <a:uLnTx/>
                <a:uFillTx/>
                <a:latin typeface="Arial" panose="020B0604020202020204" pitchFamily="34" charset="0"/>
                <a:ea typeface="+mn-ea"/>
                <a:cs typeface="Arial" panose="020B0604020202020204" pitchFamily="34" charset="0"/>
              </a:rPr>
              <a:t>11</a:t>
            </a:r>
          </a:p>
        </p:txBody>
      </p:sp>
      <p:grpSp>
        <p:nvGrpSpPr>
          <p:cNvPr id="179" name="Group 178">
            <a:extLst>
              <a:ext uri="{FF2B5EF4-FFF2-40B4-BE49-F238E27FC236}">
                <a16:creationId xmlns:a16="http://schemas.microsoft.com/office/drawing/2014/main" id="{578B0B3A-734B-987B-BC09-D6CC4BCEADD4}"/>
              </a:ext>
            </a:extLst>
          </p:cNvPr>
          <p:cNvGrpSpPr/>
          <p:nvPr/>
        </p:nvGrpSpPr>
        <p:grpSpPr>
          <a:xfrm>
            <a:off x="6028426" y="4402575"/>
            <a:ext cx="826758" cy="1484112"/>
            <a:chOff x="9647136" y="-1221312"/>
            <a:chExt cx="826758" cy="1484112"/>
          </a:xfrm>
        </p:grpSpPr>
        <p:grpSp>
          <p:nvGrpSpPr>
            <p:cNvPr id="180" name="Group 179">
              <a:extLst>
                <a:ext uri="{FF2B5EF4-FFF2-40B4-BE49-F238E27FC236}">
                  <a16:creationId xmlns:a16="http://schemas.microsoft.com/office/drawing/2014/main" id="{5040DBF6-70A8-2D15-5A22-2366B81ECCB8}"/>
                </a:ext>
              </a:extLst>
            </p:cNvPr>
            <p:cNvGrpSpPr/>
            <p:nvPr/>
          </p:nvGrpSpPr>
          <p:grpSpPr>
            <a:xfrm>
              <a:off x="9695886" y="-1221312"/>
              <a:ext cx="269978" cy="1484112"/>
              <a:chOff x="9695886" y="-1221312"/>
              <a:chExt cx="269978" cy="1484112"/>
            </a:xfrm>
          </p:grpSpPr>
          <p:sp>
            <p:nvSpPr>
              <p:cNvPr id="183" name="Arc 182">
                <a:extLst>
                  <a:ext uri="{FF2B5EF4-FFF2-40B4-BE49-F238E27FC236}">
                    <a16:creationId xmlns:a16="http://schemas.microsoft.com/office/drawing/2014/main" id="{128CB810-C770-811D-F6DC-034FBF42311F}"/>
                  </a:ext>
                </a:extLst>
              </p:cNvPr>
              <p:cNvSpPr/>
              <p:nvPr/>
            </p:nvSpPr>
            <p:spPr>
              <a:xfrm rot="5400000">
                <a:off x="9679384" y="-1204810"/>
                <a:ext cx="302981" cy="269978"/>
              </a:xfrm>
              <a:prstGeom prst="arc">
                <a:avLst>
                  <a:gd name="adj1" fmla="val 15743460"/>
                  <a:gd name="adj2" fmla="val 5878209"/>
                </a:avLst>
              </a:prstGeom>
              <a:ln w="44450" cap="rnd">
                <a:solidFill>
                  <a:schemeClr val="accent1"/>
                </a:solidFill>
                <a:roun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84" name="Straight Connector 183">
                <a:extLst>
                  <a:ext uri="{FF2B5EF4-FFF2-40B4-BE49-F238E27FC236}">
                    <a16:creationId xmlns:a16="http://schemas.microsoft.com/office/drawing/2014/main" id="{3E3B156E-9A94-5B7D-EFD8-0F9D81D73A04}"/>
                  </a:ext>
                </a:extLst>
              </p:cNvPr>
              <p:cNvCxnSpPr>
                <a:cxnSpLocks/>
              </p:cNvCxnSpPr>
              <p:nvPr/>
            </p:nvCxnSpPr>
            <p:spPr>
              <a:xfrm>
                <a:off x="9830874" y="-914400"/>
                <a:ext cx="0" cy="1177200"/>
              </a:xfrm>
              <a:prstGeom prst="line">
                <a:avLst/>
              </a:prstGeom>
              <a:ln w="44450">
                <a:gradFill>
                  <a:gsLst>
                    <a:gs pos="66000">
                      <a:schemeClr val="accent1"/>
                    </a:gs>
                    <a:gs pos="100000">
                      <a:schemeClr val="bg1"/>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cxnSp>
          <p:sp>
            <p:nvSpPr>
              <p:cNvPr id="185" name="Free-form: Shape 2723">
                <a:extLst>
                  <a:ext uri="{FF2B5EF4-FFF2-40B4-BE49-F238E27FC236}">
                    <a16:creationId xmlns:a16="http://schemas.microsoft.com/office/drawing/2014/main" id="{5F07521F-930F-B6A1-8A7B-6610AB865676}"/>
                  </a:ext>
                </a:extLst>
              </p:cNvPr>
              <p:cNvSpPr/>
              <p:nvPr/>
            </p:nvSpPr>
            <p:spPr>
              <a:xfrm>
                <a:off x="9741843" y="-431289"/>
                <a:ext cx="178062" cy="325781"/>
              </a:xfrm>
              <a:custGeom>
                <a:avLst/>
                <a:gdLst>
                  <a:gd name="connsiteX0" fmla="*/ 78211 w 178062"/>
                  <a:gd name="connsiteY0" fmla="*/ 0 h 325781"/>
                  <a:gd name="connsiteX1" fmla="*/ 99851 w 178062"/>
                  <a:gd name="connsiteY1" fmla="*/ 0 h 325781"/>
                  <a:gd name="connsiteX2" fmla="*/ 145842 w 178062"/>
                  <a:gd name="connsiteY2" fmla="*/ 45991 h 325781"/>
                  <a:gd name="connsiteX3" fmla="*/ 145842 w 178062"/>
                  <a:gd name="connsiteY3" fmla="*/ 60328 h 325781"/>
                  <a:gd name="connsiteX4" fmla="*/ 156952 w 178062"/>
                  <a:gd name="connsiteY4" fmla="*/ 64930 h 325781"/>
                  <a:gd name="connsiteX5" fmla="*/ 178062 w 178062"/>
                  <a:gd name="connsiteY5" fmla="*/ 115894 h 325781"/>
                  <a:gd name="connsiteX6" fmla="*/ 178062 w 178062"/>
                  <a:gd name="connsiteY6" fmla="*/ 209887 h 325781"/>
                  <a:gd name="connsiteX7" fmla="*/ 156952 w 178062"/>
                  <a:gd name="connsiteY7" fmla="*/ 260851 h 325781"/>
                  <a:gd name="connsiteX8" fmla="*/ 145842 w 178062"/>
                  <a:gd name="connsiteY8" fmla="*/ 265453 h 325781"/>
                  <a:gd name="connsiteX9" fmla="*/ 145842 w 178062"/>
                  <a:gd name="connsiteY9" fmla="*/ 279790 h 325781"/>
                  <a:gd name="connsiteX10" fmla="*/ 99851 w 178062"/>
                  <a:gd name="connsiteY10" fmla="*/ 325781 h 325781"/>
                  <a:gd name="connsiteX11" fmla="*/ 78211 w 178062"/>
                  <a:gd name="connsiteY11" fmla="*/ 325781 h 325781"/>
                  <a:gd name="connsiteX12" fmla="*/ 32220 w 178062"/>
                  <a:gd name="connsiteY12" fmla="*/ 279790 h 325781"/>
                  <a:gd name="connsiteX13" fmla="*/ 32220 w 178062"/>
                  <a:gd name="connsiteY13" fmla="*/ 265453 h 325781"/>
                  <a:gd name="connsiteX14" fmla="*/ 21110 w 178062"/>
                  <a:gd name="connsiteY14" fmla="*/ 260851 h 325781"/>
                  <a:gd name="connsiteX15" fmla="*/ 0 w 178062"/>
                  <a:gd name="connsiteY15" fmla="*/ 209887 h 325781"/>
                  <a:gd name="connsiteX16" fmla="*/ 0 w 178062"/>
                  <a:gd name="connsiteY16" fmla="*/ 115894 h 325781"/>
                  <a:gd name="connsiteX17" fmla="*/ 21110 w 178062"/>
                  <a:gd name="connsiteY17" fmla="*/ 64930 h 325781"/>
                  <a:gd name="connsiteX18" fmla="*/ 32220 w 178062"/>
                  <a:gd name="connsiteY18" fmla="*/ 60328 h 325781"/>
                  <a:gd name="connsiteX19" fmla="*/ 32220 w 178062"/>
                  <a:gd name="connsiteY19" fmla="*/ 45991 h 325781"/>
                  <a:gd name="connsiteX20" fmla="*/ 78211 w 178062"/>
                  <a:gd name="connsiteY20" fmla="*/ 0 h 32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062" h="325781">
                    <a:moveTo>
                      <a:pt x="78211" y="0"/>
                    </a:moveTo>
                    <a:lnTo>
                      <a:pt x="99851" y="0"/>
                    </a:lnTo>
                    <a:cubicBezTo>
                      <a:pt x="125251" y="0"/>
                      <a:pt x="145842" y="20591"/>
                      <a:pt x="145842" y="45991"/>
                    </a:cubicBezTo>
                    <a:lnTo>
                      <a:pt x="145842" y="60328"/>
                    </a:lnTo>
                    <a:lnTo>
                      <a:pt x="156952" y="64930"/>
                    </a:lnTo>
                    <a:cubicBezTo>
                      <a:pt x="169995" y="77973"/>
                      <a:pt x="178062" y="95992"/>
                      <a:pt x="178062" y="115894"/>
                    </a:cubicBezTo>
                    <a:lnTo>
                      <a:pt x="178062" y="209887"/>
                    </a:lnTo>
                    <a:cubicBezTo>
                      <a:pt x="178062" y="229790"/>
                      <a:pt x="169995" y="247808"/>
                      <a:pt x="156952" y="260851"/>
                    </a:cubicBezTo>
                    <a:lnTo>
                      <a:pt x="145842" y="265453"/>
                    </a:lnTo>
                    <a:lnTo>
                      <a:pt x="145842" y="279790"/>
                    </a:lnTo>
                    <a:cubicBezTo>
                      <a:pt x="145842" y="305190"/>
                      <a:pt x="125251" y="325781"/>
                      <a:pt x="99851" y="325781"/>
                    </a:cubicBezTo>
                    <a:lnTo>
                      <a:pt x="78211" y="325781"/>
                    </a:lnTo>
                    <a:cubicBezTo>
                      <a:pt x="52811" y="325781"/>
                      <a:pt x="32220" y="305190"/>
                      <a:pt x="32220" y="279790"/>
                    </a:cubicBezTo>
                    <a:lnTo>
                      <a:pt x="32220" y="265453"/>
                    </a:lnTo>
                    <a:lnTo>
                      <a:pt x="21110" y="260851"/>
                    </a:lnTo>
                    <a:cubicBezTo>
                      <a:pt x="8067" y="247808"/>
                      <a:pt x="0" y="229790"/>
                      <a:pt x="0" y="209887"/>
                    </a:cubicBezTo>
                    <a:lnTo>
                      <a:pt x="0" y="115894"/>
                    </a:lnTo>
                    <a:cubicBezTo>
                      <a:pt x="0" y="95992"/>
                      <a:pt x="8067" y="77973"/>
                      <a:pt x="21110" y="64930"/>
                    </a:cubicBezTo>
                    <a:lnTo>
                      <a:pt x="32220" y="60328"/>
                    </a:lnTo>
                    <a:lnTo>
                      <a:pt x="32220" y="45991"/>
                    </a:lnTo>
                    <a:cubicBezTo>
                      <a:pt x="32220" y="20591"/>
                      <a:pt x="52811" y="0"/>
                      <a:pt x="78211"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81" name="Multiplication Sign 180">
              <a:extLst>
                <a:ext uri="{FF2B5EF4-FFF2-40B4-BE49-F238E27FC236}">
                  <a16:creationId xmlns:a16="http://schemas.microsoft.com/office/drawing/2014/main" id="{A78F6154-4888-3AAA-C2BD-B05E680A20C5}"/>
                </a:ext>
              </a:extLst>
            </p:cNvPr>
            <p:cNvSpPr/>
            <p:nvPr/>
          </p:nvSpPr>
          <p:spPr>
            <a:xfrm>
              <a:off x="9647136" y="-453510"/>
              <a:ext cx="367476" cy="367476"/>
            </a:xfrm>
            <a:prstGeom prst="mathMultiply">
              <a:avLst>
                <a:gd name="adj1" fmla="val 9615"/>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 name="TextBox 181">
              <a:extLst>
                <a:ext uri="{FF2B5EF4-FFF2-40B4-BE49-F238E27FC236}">
                  <a16:creationId xmlns:a16="http://schemas.microsoft.com/office/drawing/2014/main" id="{237AB7B9-3198-0CCB-5A40-4934A743D468}"/>
                </a:ext>
              </a:extLst>
            </p:cNvPr>
            <p:cNvSpPr txBox="1"/>
            <p:nvPr/>
          </p:nvSpPr>
          <p:spPr>
            <a:xfrm>
              <a:off x="9914675" y="-42680"/>
              <a:ext cx="55921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p>
          </p:txBody>
        </p:sp>
      </p:grpSp>
      <p:grpSp>
        <p:nvGrpSpPr>
          <p:cNvPr id="195" name="Group 194">
            <a:extLst>
              <a:ext uri="{FF2B5EF4-FFF2-40B4-BE49-F238E27FC236}">
                <a16:creationId xmlns:a16="http://schemas.microsoft.com/office/drawing/2014/main" id="{17D643D7-0993-5844-10AE-1FC1052B2D52}"/>
              </a:ext>
            </a:extLst>
          </p:cNvPr>
          <p:cNvGrpSpPr/>
          <p:nvPr/>
        </p:nvGrpSpPr>
        <p:grpSpPr>
          <a:xfrm>
            <a:off x="6041474" y="5465972"/>
            <a:ext cx="175453" cy="155537"/>
            <a:chOff x="6752385" y="4056297"/>
            <a:chExt cx="175453" cy="155537"/>
          </a:xfrm>
        </p:grpSpPr>
        <p:sp>
          <p:nvSpPr>
            <p:cNvPr id="196" name="Oval 195">
              <a:extLst>
                <a:ext uri="{FF2B5EF4-FFF2-40B4-BE49-F238E27FC236}">
                  <a16:creationId xmlns:a16="http://schemas.microsoft.com/office/drawing/2014/main" id="{00261B1E-6939-0492-DB0A-CDFAD6691924}"/>
                </a:ext>
              </a:extLst>
            </p:cNvPr>
            <p:cNvSpPr/>
            <p:nvPr/>
          </p:nvSpPr>
          <p:spPr>
            <a:xfrm>
              <a:off x="6846720" y="4056297"/>
              <a:ext cx="81118" cy="8111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97" name="Straight Connector 196">
              <a:extLst>
                <a:ext uri="{FF2B5EF4-FFF2-40B4-BE49-F238E27FC236}">
                  <a16:creationId xmlns:a16="http://schemas.microsoft.com/office/drawing/2014/main" id="{18B8A7C3-07A4-26A9-DD53-E2A9C4FE241C}"/>
                </a:ext>
              </a:extLst>
            </p:cNvPr>
            <p:cNvCxnSpPr>
              <a:cxnSpLocks/>
            </p:cNvCxnSpPr>
            <p:nvPr/>
          </p:nvCxnSpPr>
          <p:spPr>
            <a:xfrm flipV="1">
              <a:off x="6806763" y="4154169"/>
              <a:ext cx="47980" cy="5766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D5D7D3E1-8017-96B9-B25A-90022BC1B9AB}"/>
                </a:ext>
              </a:extLst>
            </p:cNvPr>
            <p:cNvCxnSpPr>
              <a:cxnSpLocks/>
            </p:cNvCxnSpPr>
            <p:nvPr/>
          </p:nvCxnSpPr>
          <p:spPr>
            <a:xfrm>
              <a:off x="6752385" y="4080065"/>
              <a:ext cx="72000" cy="1905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83C599D4-A136-E2E0-403A-B75426455C03}"/>
                </a:ext>
              </a:extLst>
            </p:cNvPr>
            <p:cNvCxnSpPr>
              <a:cxnSpLocks/>
            </p:cNvCxnSpPr>
            <p:nvPr/>
          </p:nvCxnSpPr>
          <p:spPr>
            <a:xfrm flipV="1">
              <a:off x="6761230" y="4129318"/>
              <a:ext cx="72000" cy="37298"/>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200" name="Group 199">
            <a:extLst>
              <a:ext uri="{FF2B5EF4-FFF2-40B4-BE49-F238E27FC236}">
                <a16:creationId xmlns:a16="http://schemas.microsoft.com/office/drawing/2014/main" id="{D7F7E651-9783-B6A2-74E2-9F8C730B9D8D}"/>
              </a:ext>
            </a:extLst>
          </p:cNvPr>
          <p:cNvGrpSpPr/>
          <p:nvPr/>
        </p:nvGrpSpPr>
        <p:grpSpPr>
          <a:xfrm>
            <a:off x="6796304" y="4402575"/>
            <a:ext cx="826758" cy="1484112"/>
            <a:chOff x="9647136" y="-1221312"/>
            <a:chExt cx="826758" cy="1484112"/>
          </a:xfrm>
        </p:grpSpPr>
        <p:grpSp>
          <p:nvGrpSpPr>
            <p:cNvPr id="201" name="Group 200">
              <a:extLst>
                <a:ext uri="{FF2B5EF4-FFF2-40B4-BE49-F238E27FC236}">
                  <a16:creationId xmlns:a16="http://schemas.microsoft.com/office/drawing/2014/main" id="{93D6B46E-D1BD-6771-DBBA-F2201299B975}"/>
                </a:ext>
              </a:extLst>
            </p:cNvPr>
            <p:cNvGrpSpPr/>
            <p:nvPr/>
          </p:nvGrpSpPr>
          <p:grpSpPr>
            <a:xfrm>
              <a:off x="9695886" y="-1221312"/>
              <a:ext cx="269978" cy="1484112"/>
              <a:chOff x="9695886" y="-1221312"/>
              <a:chExt cx="269978" cy="1484112"/>
            </a:xfrm>
          </p:grpSpPr>
          <p:sp>
            <p:nvSpPr>
              <p:cNvPr id="204" name="Arc 203">
                <a:extLst>
                  <a:ext uri="{FF2B5EF4-FFF2-40B4-BE49-F238E27FC236}">
                    <a16:creationId xmlns:a16="http://schemas.microsoft.com/office/drawing/2014/main" id="{69798388-180E-DDB4-AF79-03BC280E3798}"/>
                  </a:ext>
                </a:extLst>
              </p:cNvPr>
              <p:cNvSpPr/>
              <p:nvPr/>
            </p:nvSpPr>
            <p:spPr>
              <a:xfrm rot="5400000">
                <a:off x="9679384" y="-1204810"/>
                <a:ext cx="302981" cy="269978"/>
              </a:xfrm>
              <a:prstGeom prst="arc">
                <a:avLst>
                  <a:gd name="adj1" fmla="val 15743460"/>
                  <a:gd name="adj2" fmla="val 5878209"/>
                </a:avLst>
              </a:prstGeom>
              <a:ln w="44450" cap="rnd">
                <a:solidFill>
                  <a:srgbClr val="9E4CDC"/>
                </a:solidFill>
                <a:roun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05" name="Straight Connector 204">
                <a:extLst>
                  <a:ext uri="{FF2B5EF4-FFF2-40B4-BE49-F238E27FC236}">
                    <a16:creationId xmlns:a16="http://schemas.microsoft.com/office/drawing/2014/main" id="{2CADEBE0-F95C-711A-9BEA-BEDFC09FAFBB}"/>
                  </a:ext>
                </a:extLst>
              </p:cNvPr>
              <p:cNvCxnSpPr>
                <a:cxnSpLocks/>
              </p:cNvCxnSpPr>
              <p:nvPr/>
            </p:nvCxnSpPr>
            <p:spPr>
              <a:xfrm>
                <a:off x="9830874" y="-914400"/>
                <a:ext cx="0" cy="1177200"/>
              </a:xfrm>
              <a:prstGeom prst="line">
                <a:avLst/>
              </a:prstGeom>
              <a:ln w="44450">
                <a:gradFill>
                  <a:gsLst>
                    <a:gs pos="66000">
                      <a:srgbClr val="9E4CDC"/>
                    </a:gs>
                    <a:gs pos="100000">
                      <a:schemeClr val="bg1"/>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cxnSp>
          <p:sp>
            <p:nvSpPr>
              <p:cNvPr id="206" name="Free-form: Shape 2723">
                <a:extLst>
                  <a:ext uri="{FF2B5EF4-FFF2-40B4-BE49-F238E27FC236}">
                    <a16:creationId xmlns:a16="http://schemas.microsoft.com/office/drawing/2014/main" id="{1BED26BB-0529-E77C-9F21-CBA751830C9F}"/>
                  </a:ext>
                </a:extLst>
              </p:cNvPr>
              <p:cNvSpPr/>
              <p:nvPr/>
            </p:nvSpPr>
            <p:spPr>
              <a:xfrm>
                <a:off x="9741843" y="-431289"/>
                <a:ext cx="178062" cy="325781"/>
              </a:xfrm>
              <a:custGeom>
                <a:avLst/>
                <a:gdLst>
                  <a:gd name="connsiteX0" fmla="*/ 78211 w 178062"/>
                  <a:gd name="connsiteY0" fmla="*/ 0 h 325781"/>
                  <a:gd name="connsiteX1" fmla="*/ 99851 w 178062"/>
                  <a:gd name="connsiteY1" fmla="*/ 0 h 325781"/>
                  <a:gd name="connsiteX2" fmla="*/ 145842 w 178062"/>
                  <a:gd name="connsiteY2" fmla="*/ 45991 h 325781"/>
                  <a:gd name="connsiteX3" fmla="*/ 145842 w 178062"/>
                  <a:gd name="connsiteY3" fmla="*/ 60328 h 325781"/>
                  <a:gd name="connsiteX4" fmla="*/ 156952 w 178062"/>
                  <a:gd name="connsiteY4" fmla="*/ 64930 h 325781"/>
                  <a:gd name="connsiteX5" fmla="*/ 178062 w 178062"/>
                  <a:gd name="connsiteY5" fmla="*/ 115894 h 325781"/>
                  <a:gd name="connsiteX6" fmla="*/ 178062 w 178062"/>
                  <a:gd name="connsiteY6" fmla="*/ 209887 h 325781"/>
                  <a:gd name="connsiteX7" fmla="*/ 156952 w 178062"/>
                  <a:gd name="connsiteY7" fmla="*/ 260851 h 325781"/>
                  <a:gd name="connsiteX8" fmla="*/ 145842 w 178062"/>
                  <a:gd name="connsiteY8" fmla="*/ 265453 h 325781"/>
                  <a:gd name="connsiteX9" fmla="*/ 145842 w 178062"/>
                  <a:gd name="connsiteY9" fmla="*/ 279790 h 325781"/>
                  <a:gd name="connsiteX10" fmla="*/ 99851 w 178062"/>
                  <a:gd name="connsiteY10" fmla="*/ 325781 h 325781"/>
                  <a:gd name="connsiteX11" fmla="*/ 78211 w 178062"/>
                  <a:gd name="connsiteY11" fmla="*/ 325781 h 325781"/>
                  <a:gd name="connsiteX12" fmla="*/ 32220 w 178062"/>
                  <a:gd name="connsiteY12" fmla="*/ 279790 h 325781"/>
                  <a:gd name="connsiteX13" fmla="*/ 32220 w 178062"/>
                  <a:gd name="connsiteY13" fmla="*/ 265453 h 325781"/>
                  <a:gd name="connsiteX14" fmla="*/ 21110 w 178062"/>
                  <a:gd name="connsiteY14" fmla="*/ 260851 h 325781"/>
                  <a:gd name="connsiteX15" fmla="*/ 0 w 178062"/>
                  <a:gd name="connsiteY15" fmla="*/ 209887 h 325781"/>
                  <a:gd name="connsiteX16" fmla="*/ 0 w 178062"/>
                  <a:gd name="connsiteY16" fmla="*/ 115894 h 325781"/>
                  <a:gd name="connsiteX17" fmla="*/ 21110 w 178062"/>
                  <a:gd name="connsiteY17" fmla="*/ 64930 h 325781"/>
                  <a:gd name="connsiteX18" fmla="*/ 32220 w 178062"/>
                  <a:gd name="connsiteY18" fmla="*/ 60328 h 325781"/>
                  <a:gd name="connsiteX19" fmla="*/ 32220 w 178062"/>
                  <a:gd name="connsiteY19" fmla="*/ 45991 h 325781"/>
                  <a:gd name="connsiteX20" fmla="*/ 78211 w 178062"/>
                  <a:gd name="connsiteY20" fmla="*/ 0 h 32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062" h="325781">
                    <a:moveTo>
                      <a:pt x="78211" y="0"/>
                    </a:moveTo>
                    <a:lnTo>
                      <a:pt x="99851" y="0"/>
                    </a:lnTo>
                    <a:cubicBezTo>
                      <a:pt x="125251" y="0"/>
                      <a:pt x="145842" y="20591"/>
                      <a:pt x="145842" y="45991"/>
                    </a:cubicBezTo>
                    <a:lnTo>
                      <a:pt x="145842" y="60328"/>
                    </a:lnTo>
                    <a:lnTo>
                      <a:pt x="156952" y="64930"/>
                    </a:lnTo>
                    <a:cubicBezTo>
                      <a:pt x="169995" y="77973"/>
                      <a:pt x="178062" y="95992"/>
                      <a:pt x="178062" y="115894"/>
                    </a:cubicBezTo>
                    <a:lnTo>
                      <a:pt x="178062" y="209887"/>
                    </a:lnTo>
                    <a:cubicBezTo>
                      <a:pt x="178062" y="229790"/>
                      <a:pt x="169995" y="247808"/>
                      <a:pt x="156952" y="260851"/>
                    </a:cubicBezTo>
                    <a:lnTo>
                      <a:pt x="145842" y="265453"/>
                    </a:lnTo>
                    <a:lnTo>
                      <a:pt x="145842" y="279790"/>
                    </a:lnTo>
                    <a:cubicBezTo>
                      <a:pt x="145842" y="305190"/>
                      <a:pt x="125251" y="325781"/>
                      <a:pt x="99851" y="325781"/>
                    </a:cubicBezTo>
                    <a:lnTo>
                      <a:pt x="78211" y="325781"/>
                    </a:lnTo>
                    <a:cubicBezTo>
                      <a:pt x="52811" y="325781"/>
                      <a:pt x="32220" y="305190"/>
                      <a:pt x="32220" y="279790"/>
                    </a:cubicBezTo>
                    <a:lnTo>
                      <a:pt x="32220" y="265453"/>
                    </a:lnTo>
                    <a:lnTo>
                      <a:pt x="21110" y="260851"/>
                    </a:lnTo>
                    <a:cubicBezTo>
                      <a:pt x="8067" y="247808"/>
                      <a:pt x="0" y="229790"/>
                      <a:pt x="0" y="209887"/>
                    </a:cubicBezTo>
                    <a:lnTo>
                      <a:pt x="0" y="115894"/>
                    </a:lnTo>
                    <a:cubicBezTo>
                      <a:pt x="0" y="95992"/>
                      <a:pt x="8067" y="77973"/>
                      <a:pt x="21110" y="64930"/>
                    </a:cubicBezTo>
                    <a:lnTo>
                      <a:pt x="32220" y="60328"/>
                    </a:lnTo>
                    <a:lnTo>
                      <a:pt x="32220" y="45991"/>
                    </a:lnTo>
                    <a:cubicBezTo>
                      <a:pt x="32220" y="20591"/>
                      <a:pt x="52811" y="0"/>
                      <a:pt x="78211" y="0"/>
                    </a:cubicBezTo>
                    <a:close/>
                  </a:path>
                </a:pathLst>
              </a:custGeom>
              <a:solidFill>
                <a:srgbClr val="9E4CD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02" name="Multiplication Sign 201">
              <a:extLst>
                <a:ext uri="{FF2B5EF4-FFF2-40B4-BE49-F238E27FC236}">
                  <a16:creationId xmlns:a16="http://schemas.microsoft.com/office/drawing/2014/main" id="{658FD115-5076-C5A8-EBE9-FDC97AB76FB7}"/>
                </a:ext>
              </a:extLst>
            </p:cNvPr>
            <p:cNvSpPr/>
            <p:nvPr/>
          </p:nvSpPr>
          <p:spPr>
            <a:xfrm>
              <a:off x="9647136" y="-453510"/>
              <a:ext cx="367476" cy="367476"/>
            </a:xfrm>
            <a:prstGeom prst="mathMultiply">
              <a:avLst>
                <a:gd name="adj1" fmla="val 961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3" name="TextBox 202">
              <a:extLst>
                <a:ext uri="{FF2B5EF4-FFF2-40B4-BE49-F238E27FC236}">
                  <a16:creationId xmlns:a16="http://schemas.microsoft.com/office/drawing/2014/main" id="{46A778EA-D590-BEE7-72B6-0D12CF76FE56}"/>
                </a:ext>
              </a:extLst>
            </p:cNvPr>
            <p:cNvSpPr txBox="1"/>
            <p:nvPr/>
          </p:nvSpPr>
          <p:spPr>
            <a:xfrm>
              <a:off x="9914675" y="-42680"/>
              <a:ext cx="55921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R3</a:t>
              </a:r>
            </a:p>
          </p:txBody>
        </p:sp>
      </p:grpSp>
      <p:grpSp>
        <p:nvGrpSpPr>
          <p:cNvPr id="207" name="Group 206">
            <a:extLst>
              <a:ext uri="{FF2B5EF4-FFF2-40B4-BE49-F238E27FC236}">
                <a16:creationId xmlns:a16="http://schemas.microsoft.com/office/drawing/2014/main" id="{027E2B50-DEB1-F25A-A6A3-FD8C208F522B}"/>
              </a:ext>
            </a:extLst>
          </p:cNvPr>
          <p:cNvGrpSpPr/>
          <p:nvPr/>
        </p:nvGrpSpPr>
        <p:grpSpPr>
          <a:xfrm rot="18796049">
            <a:off x="6351270" y="3856484"/>
            <a:ext cx="403308" cy="740254"/>
            <a:chOff x="9878131" y="-2122499"/>
            <a:chExt cx="419780" cy="770488"/>
          </a:xfrm>
        </p:grpSpPr>
        <p:sp>
          <p:nvSpPr>
            <p:cNvPr id="208" name="Oval 207">
              <a:extLst>
                <a:ext uri="{FF2B5EF4-FFF2-40B4-BE49-F238E27FC236}">
                  <a16:creationId xmlns:a16="http://schemas.microsoft.com/office/drawing/2014/main" id="{D75EC1AB-B862-0EC5-A689-96D313582EA7}"/>
                </a:ext>
              </a:extLst>
            </p:cNvPr>
            <p:cNvSpPr/>
            <p:nvPr/>
          </p:nvSpPr>
          <p:spPr>
            <a:xfrm>
              <a:off x="10197634" y="-1544503"/>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9" name="Oval 208">
              <a:extLst>
                <a:ext uri="{FF2B5EF4-FFF2-40B4-BE49-F238E27FC236}">
                  <a16:creationId xmlns:a16="http://schemas.microsoft.com/office/drawing/2014/main" id="{4D75C648-22C9-C014-2399-03D4B2FB055A}"/>
                </a:ext>
              </a:extLst>
            </p:cNvPr>
            <p:cNvSpPr/>
            <p:nvPr/>
          </p:nvSpPr>
          <p:spPr>
            <a:xfrm>
              <a:off x="9979268" y="-1544503"/>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0" name="Oval 209">
              <a:extLst>
                <a:ext uri="{FF2B5EF4-FFF2-40B4-BE49-F238E27FC236}">
                  <a16:creationId xmlns:a16="http://schemas.microsoft.com/office/drawing/2014/main" id="{3C7D4238-2A8A-CFCA-F482-935DCFDDF7D3}"/>
                </a:ext>
              </a:extLst>
            </p:cNvPr>
            <p:cNvSpPr/>
            <p:nvPr/>
          </p:nvSpPr>
          <p:spPr>
            <a:xfrm>
              <a:off x="9878131" y="-165105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1" name="Oval 210">
              <a:extLst>
                <a:ext uri="{FF2B5EF4-FFF2-40B4-BE49-F238E27FC236}">
                  <a16:creationId xmlns:a16="http://schemas.microsoft.com/office/drawing/2014/main" id="{CC7521C6-5BAD-F021-4168-F44FEB226556}"/>
                </a:ext>
              </a:extLst>
            </p:cNvPr>
            <p:cNvSpPr/>
            <p:nvPr/>
          </p:nvSpPr>
          <p:spPr>
            <a:xfrm>
              <a:off x="9878131" y="-186430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2" name="Oval 211">
              <a:extLst>
                <a:ext uri="{FF2B5EF4-FFF2-40B4-BE49-F238E27FC236}">
                  <a16:creationId xmlns:a16="http://schemas.microsoft.com/office/drawing/2014/main" id="{D7E9AF69-BC3B-5868-99C2-3C18A37B9D7C}"/>
                </a:ext>
              </a:extLst>
            </p:cNvPr>
            <p:cNvSpPr/>
            <p:nvPr/>
          </p:nvSpPr>
          <p:spPr>
            <a:xfrm>
              <a:off x="10049215" y="-1841536"/>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3" name="Oval 212">
              <a:extLst>
                <a:ext uri="{FF2B5EF4-FFF2-40B4-BE49-F238E27FC236}">
                  <a16:creationId xmlns:a16="http://schemas.microsoft.com/office/drawing/2014/main" id="{1F0A359C-6E67-4B56-5B01-7C9634AB759E}"/>
                </a:ext>
              </a:extLst>
            </p:cNvPr>
            <p:cNvSpPr/>
            <p:nvPr/>
          </p:nvSpPr>
          <p:spPr>
            <a:xfrm>
              <a:off x="10186109" y="-169378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4" name="Oval 213">
              <a:extLst>
                <a:ext uri="{FF2B5EF4-FFF2-40B4-BE49-F238E27FC236}">
                  <a16:creationId xmlns:a16="http://schemas.microsoft.com/office/drawing/2014/main" id="{066AFC81-1913-54E6-1958-4971E3E31B66}"/>
                </a:ext>
              </a:extLst>
            </p:cNvPr>
            <p:cNvSpPr/>
            <p:nvPr/>
          </p:nvSpPr>
          <p:spPr>
            <a:xfrm>
              <a:off x="9963985" y="-165105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5" name="Oval 214">
              <a:extLst>
                <a:ext uri="{FF2B5EF4-FFF2-40B4-BE49-F238E27FC236}">
                  <a16:creationId xmlns:a16="http://schemas.microsoft.com/office/drawing/2014/main" id="{0330463B-63B2-ADEA-305B-A6BA67A2089B}"/>
                </a:ext>
              </a:extLst>
            </p:cNvPr>
            <p:cNvSpPr/>
            <p:nvPr/>
          </p:nvSpPr>
          <p:spPr>
            <a:xfrm>
              <a:off x="9979268" y="-1600985"/>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216" name="Straight Connector 215">
              <a:extLst>
                <a:ext uri="{FF2B5EF4-FFF2-40B4-BE49-F238E27FC236}">
                  <a16:creationId xmlns:a16="http://schemas.microsoft.com/office/drawing/2014/main" id="{01F043CC-7C87-1851-A999-D920CA396CCC}"/>
                </a:ext>
              </a:extLst>
            </p:cNvPr>
            <p:cNvCxnSpPr>
              <a:stCxn id="233" idx="6"/>
              <a:endCxn id="208" idx="2"/>
            </p:cNvCxnSpPr>
            <p:nvPr/>
          </p:nvCxnSpPr>
          <p:spPr>
            <a:xfrm>
              <a:off x="10155148" y="-1526503"/>
              <a:ext cx="42486" cy="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15680981-9AEF-2B90-B64C-E03F8F14B60A}"/>
                </a:ext>
              </a:extLst>
            </p:cNvPr>
            <p:cNvCxnSpPr>
              <a:cxnSpLocks/>
              <a:stCxn id="209" idx="6"/>
              <a:endCxn id="232" idx="2"/>
            </p:cNvCxnSpPr>
            <p:nvPr/>
          </p:nvCxnSpPr>
          <p:spPr>
            <a:xfrm>
              <a:off x="10015268" y="-1526503"/>
              <a:ext cx="35096" cy="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15DA0FF4-50EB-B291-FB8B-155427C807AD}"/>
                </a:ext>
              </a:extLst>
            </p:cNvPr>
            <p:cNvCxnSpPr>
              <a:cxnSpLocks/>
              <a:stCxn id="210" idx="0"/>
              <a:endCxn id="227" idx="4"/>
            </p:cNvCxnSpPr>
            <p:nvPr/>
          </p:nvCxnSpPr>
          <p:spPr>
            <a:xfrm flipV="1">
              <a:off x="9896131" y="-1684818"/>
              <a:ext cx="962" cy="33768"/>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719B4908-3711-36C7-3C3E-7CDEC573D9F1}"/>
                </a:ext>
              </a:extLst>
            </p:cNvPr>
            <p:cNvCxnSpPr>
              <a:cxnSpLocks/>
              <a:stCxn id="226" idx="0"/>
              <a:endCxn id="211" idx="4"/>
            </p:cNvCxnSpPr>
            <p:nvPr/>
          </p:nvCxnSpPr>
          <p:spPr>
            <a:xfrm flipH="1" flipV="1">
              <a:off x="9896131" y="-1828300"/>
              <a:ext cx="962" cy="32489"/>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F323C81B-2612-2D07-093C-926C6DD304A7}"/>
                </a:ext>
              </a:extLst>
            </p:cNvPr>
            <p:cNvCxnSpPr>
              <a:cxnSpLocks/>
            </p:cNvCxnSpPr>
            <p:nvPr/>
          </p:nvCxnSpPr>
          <p:spPr>
            <a:xfrm flipV="1">
              <a:off x="9985620" y="-1682958"/>
              <a:ext cx="19357" cy="3600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39B59548-3969-8970-0F40-EF574807ADBD}"/>
                </a:ext>
              </a:extLst>
            </p:cNvPr>
            <p:cNvCxnSpPr>
              <a:cxnSpLocks/>
            </p:cNvCxnSpPr>
            <p:nvPr/>
          </p:nvCxnSpPr>
          <p:spPr>
            <a:xfrm flipV="1">
              <a:off x="10015268" y="-1584357"/>
              <a:ext cx="36000" cy="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7EFB316A-C79F-8000-B209-C07DBF671FB5}"/>
                </a:ext>
              </a:extLst>
            </p:cNvPr>
            <p:cNvCxnSpPr>
              <a:cxnSpLocks/>
              <a:stCxn id="231" idx="5"/>
              <a:endCxn id="213" idx="1"/>
            </p:cNvCxnSpPr>
            <p:nvPr/>
          </p:nvCxnSpPr>
          <p:spPr>
            <a:xfrm>
              <a:off x="10179725" y="-1711009"/>
              <a:ext cx="11656" cy="22501"/>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8AE48FB5-6D2A-B82C-E683-66BC9D5ED3D1}"/>
                </a:ext>
              </a:extLst>
            </p:cNvPr>
            <p:cNvCxnSpPr>
              <a:cxnSpLocks/>
              <a:stCxn id="212" idx="5"/>
              <a:endCxn id="230" idx="1"/>
            </p:cNvCxnSpPr>
            <p:nvPr/>
          </p:nvCxnSpPr>
          <p:spPr>
            <a:xfrm>
              <a:off x="10079943" y="-1810808"/>
              <a:ext cx="24889" cy="17643"/>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grpSp>
          <p:nvGrpSpPr>
            <p:cNvPr id="224" name="Group 223">
              <a:extLst>
                <a:ext uri="{FF2B5EF4-FFF2-40B4-BE49-F238E27FC236}">
                  <a16:creationId xmlns:a16="http://schemas.microsoft.com/office/drawing/2014/main" id="{15536183-D127-0195-EA87-B902C39E1639}"/>
                </a:ext>
              </a:extLst>
            </p:cNvPr>
            <p:cNvGrpSpPr/>
            <p:nvPr/>
          </p:nvGrpSpPr>
          <p:grpSpPr>
            <a:xfrm>
              <a:off x="9879093" y="-2122499"/>
              <a:ext cx="418818" cy="770488"/>
              <a:chOff x="9879093" y="-2122499"/>
              <a:chExt cx="418818" cy="770488"/>
            </a:xfrm>
          </p:grpSpPr>
          <p:grpSp>
            <p:nvGrpSpPr>
              <p:cNvPr id="225" name="Group 224">
                <a:extLst>
                  <a:ext uri="{FF2B5EF4-FFF2-40B4-BE49-F238E27FC236}">
                    <a16:creationId xmlns:a16="http://schemas.microsoft.com/office/drawing/2014/main" id="{C25BA4B0-E28E-35DB-6B52-3D342036A8C6}"/>
                  </a:ext>
                </a:extLst>
              </p:cNvPr>
              <p:cNvGrpSpPr/>
              <p:nvPr/>
            </p:nvGrpSpPr>
            <p:grpSpPr>
              <a:xfrm rot="2873470">
                <a:off x="9740751" y="-1909172"/>
                <a:ext cx="770488" cy="343833"/>
                <a:chOff x="6917961" y="-1621129"/>
                <a:chExt cx="770488" cy="343833"/>
              </a:xfrm>
            </p:grpSpPr>
            <p:sp>
              <p:nvSpPr>
                <p:cNvPr id="234" name="Rectangle: Rounded Corners 233">
                  <a:extLst>
                    <a:ext uri="{FF2B5EF4-FFF2-40B4-BE49-F238E27FC236}">
                      <a16:creationId xmlns:a16="http://schemas.microsoft.com/office/drawing/2014/main" id="{AC70AA25-DCBE-1CAD-8782-4EB49FBA7342}"/>
                    </a:ext>
                  </a:extLst>
                </p:cNvPr>
                <p:cNvSpPr/>
                <p:nvPr/>
              </p:nvSpPr>
              <p:spPr>
                <a:xfrm rot="2589768">
                  <a:off x="7352127" y="-1335887"/>
                  <a:ext cx="252000" cy="58591"/>
                </a:xfrm>
                <a:prstGeom prst="roundRect">
                  <a:avLst>
                    <a:gd name="adj" fmla="val 50000"/>
                  </a:avLst>
                </a:prstGeom>
                <a:gradFill flip="none" rotWithShape="1">
                  <a:gsLst>
                    <a:gs pos="74000">
                      <a:srgbClr val="9E4CDC"/>
                    </a:gs>
                    <a:gs pos="73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5" name="Rectangle: Rounded Corners 234">
                  <a:extLst>
                    <a:ext uri="{FF2B5EF4-FFF2-40B4-BE49-F238E27FC236}">
                      <a16:creationId xmlns:a16="http://schemas.microsoft.com/office/drawing/2014/main" id="{6E155D2A-5D83-AEC6-826D-F701B694516F}"/>
                    </a:ext>
                  </a:extLst>
                </p:cNvPr>
                <p:cNvSpPr/>
                <p:nvPr/>
              </p:nvSpPr>
              <p:spPr>
                <a:xfrm rot="19010232" flipH="1">
                  <a:off x="6999929" y="-1344399"/>
                  <a:ext cx="252000" cy="58591"/>
                </a:xfrm>
                <a:prstGeom prst="roundRect">
                  <a:avLst>
                    <a:gd name="adj" fmla="val 50000"/>
                  </a:avLst>
                </a:prstGeom>
                <a:gradFill flip="none" rotWithShape="1">
                  <a:gsLst>
                    <a:gs pos="74000">
                      <a:schemeClr val="accent1"/>
                    </a:gs>
                    <a:gs pos="73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6" name="Free-form: Shape 1357">
                  <a:extLst>
                    <a:ext uri="{FF2B5EF4-FFF2-40B4-BE49-F238E27FC236}">
                      <a16:creationId xmlns:a16="http://schemas.microsoft.com/office/drawing/2014/main" id="{24ECB386-B57D-FAD2-260F-7718CE17D1D5}"/>
                    </a:ext>
                  </a:extLst>
                </p:cNvPr>
                <p:cNvSpPr/>
                <p:nvPr/>
              </p:nvSpPr>
              <p:spPr>
                <a:xfrm rot="19010232" flipH="1">
                  <a:off x="6917961" y="-1621129"/>
                  <a:ext cx="536464" cy="331199"/>
                </a:xfrm>
                <a:custGeom>
                  <a:avLst/>
                  <a:gdLst>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295759 w 536464"/>
                    <a:gd name="connsiteY6" fmla="*/ 331198 h 331199"/>
                    <a:gd name="connsiteX7" fmla="*/ 507167 w 536464"/>
                    <a:gd name="connsiteY7" fmla="*/ 331199 h 331199"/>
                    <a:gd name="connsiteX8" fmla="*/ 536463 w 536464"/>
                    <a:gd name="connsiteY8" fmla="*/ 301903 h 331199"/>
                    <a:gd name="connsiteX9" fmla="*/ 536464 w 536464"/>
                    <a:gd name="connsiteY9" fmla="*/ 301903 h 331199"/>
                    <a:gd name="connsiteX10" fmla="*/ 507168 w 536464"/>
                    <a:gd name="connsiteY10" fmla="*/ 272607 h 331199"/>
                    <a:gd name="connsiteX11" fmla="*/ 297661 w 536464"/>
                    <a:gd name="connsiteY11" fmla="*/ 272607 h 331199"/>
                    <a:gd name="connsiteX12" fmla="*/ 50664 w 536464"/>
                    <a:gd name="connsiteY12" fmla="*/ 9240 h 331199"/>
                    <a:gd name="connsiteX13" fmla="*/ 30235 w 536464"/>
                    <a:gd name="connsiteY13" fmla="*/ 0 h 331199"/>
                    <a:gd name="connsiteX14" fmla="*/ 9255 w 536464"/>
                    <a:gd name="connsiteY14" fmla="*/ 7911 h 331199"/>
                    <a:gd name="connsiteX15" fmla="*/ 9255 w 536464"/>
                    <a:gd name="connsiteY15" fmla="*/ 7912 h 331199"/>
                    <a:gd name="connsiteX16" fmla="*/ 9255 w 536464"/>
                    <a:gd name="connsiteY16" fmla="*/ 7912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507167 w 536464"/>
                    <a:gd name="connsiteY6" fmla="*/ 331199 h 331199"/>
                    <a:gd name="connsiteX7" fmla="*/ 536463 w 536464"/>
                    <a:gd name="connsiteY7" fmla="*/ 301903 h 331199"/>
                    <a:gd name="connsiteX8" fmla="*/ 536464 w 536464"/>
                    <a:gd name="connsiteY8" fmla="*/ 301903 h 331199"/>
                    <a:gd name="connsiteX9" fmla="*/ 507168 w 536464"/>
                    <a:gd name="connsiteY9" fmla="*/ 272607 h 331199"/>
                    <a:gd name="connsiteX10" fmla="*/ 297661 w 536464"/>
                    <a:gd name="connsiteY10" fmla="*/ 272607 h 331199"/>
                    <a:gd name="connsiteX11" fmla="*/ 50664 w 536464"/>
                    <a:gd name="connsiteY11" fmla="*/ 9240 h 331199"/>
                    <a:gd name="connsiteX12" fmla="*/ 30235 w 536464"/>
                    <a:gd name="connsiteY12" fmla="*/ 0 h 331199"/>
                    <a:gd name="connsiteX13" fmla="*/ 9255 w 536464"/>
                    <a:gd name="connsiteY13" fmla="*/ 7912 h 331199"/>
                    <a:gd name="connsiteX14" fmla="*/ 9255 w 536464"/>
                    <a:gd name="connsiteY14" fmla="*/ 7911 h 331199"/>
                    <a:gd name="connsiteX15" fmla="*/ 9255 w 536464"/>
                    <a:gd name="connsiteY15" fmla="*/ 7912 h 331199"/>
                    <a:gd name="connsiteX16" fmla="*/ 9255 w 536464"/>
                    <a:gd name="connsiteY16" fmla="*/ 7912 h 331199"/>
                    <a:gd name="connsiteX17" fmla="*/ 9255 w 536464"/>
                    <a:gd name="connsiteY17" fmla="*/ 7911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507167 w 536464"/>
                    <a:gd name="connsiteY5" fmla="*/ 331199 h 331199"/>
                    <a:gd name="connsiteX6" fmla="*/ 536463 w 536464"/>
                    <a:gd name="connsiteY6" fmla="*/ 301903 h 331199"/>
                    <a:gd name="connsiteX7" fmla="*/ 536464 w 536464"/>
                    <a:gd name="connsiteY7" fmla="*/ 301903 h 331199"/>
                    <a:gd name="connsiteX8" fmla="*/ 507168 w 536464"/>
                    <a:gd name="connsiteY8" fmla="*/ 272607 h 331199"/>
                    <a:gd name="connsiteX9" fmla="*/ 297661 w 536464"/>
                    <a:gd name="connsiteY9" fmla="*/ 272607 h 331199"/>
                    <a:gd name="connsiteX10" fmla="*/ 50664 w 536464"/>
                    <a:gd name="connsiteY10" fmla="*/ 9240 h 331199"/>
                    <a:gd name="connsiteX11" fmla="*/ 30235 w 536464"/>
                    <a:gd name="connsiteY11" fmla="*/ 0 h 331199"/>
                    <a:gd name="connsiteX12" fmla="*/ 9255 w 536464"/>
                    <a:gd name="connsiteY12" fmla="*/ 7912 h 331199"/>
                    <a:gd name="connsiteX13" fmla="*/ 9255 w 536464"/>
                    <a:gd name="connsiteY13" fmla="*/ 7911 h 331199"/>
                    <a:gd name="connsiteX14" fmla="*/ 9255 w 536464"/>
                    <a:gd name="connsiteY14" fmla="*/ 7912 h 331199"/>
                    <a:gd name="connsiteX15" fmla="*/ 9255 w 536464"/>
                    <a:gd name="connsiteY15" fmla="*/ 7912 h 331199"/>
                    <a:gd name="connsiteX16" fmla="*/ 9255 w 536464"/>
                    <a:gd name="connsiteY16" fmla="*/ 7911 h 3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464" h="331199">
                      <a:moveTo>
                        <a:pt x="9255" y="7912"/>
                      </a:moveTo>
                      <a:lnTo>
                        <a:pt x="15" y="28341"/>
                      </a:lnTo>
                      <a:cubicBezTo>
                        <a:pt x="-225" y="35834"/>
                        <a:pt x="2393" y="43420"/>
                        <a:pt x="7927" y="49321"/>
                      </a:cubicBezTo>
                      <a:lnTo>
                        <a:pt x="263365" y="321690"/>
                      </a:lnTo>
                      <a:cubicBezTo>
                        <a:pt x="268899" y="327591"/>
                        <a:pt x="276301" y="330690"/>
                        <a:pt x="283795" y="330930"/>
                      </a:cubicBezTo>
                      <a:lnTo>
                        <a:pt x="507167" y="331199"/>
                      </a:lnTo>
                      <a:cubicBezTo>
                        <a:pt x="523347" y="331199"/>
                        <a:pt x="536463" y="318083"/>
                        <a:pt x="536463" y="301903"/>
                      </a:cubicBezTo>
                      <a:lnTo>
                        <a:pt x="536464" y="301903"/>
                      </a:lnTo>
                      <a:cubicBezTo>
                        <a:pt x="536464" y="285723"/>
                        <a:pt x="523348" y="272607"/>
                        <a:pt x="507168" y="272607"/>
                      </a:cubicBezTo>
                      <a:lnTo>
                        <a:pt x="297661" y="272607"/>
                      </a:lnTo>
                      <a:lnTo>
                        <a:pt x="50664" y="9240"/>
                      </a:lnTo>
                      <a:cubicBezTo>
                        <a:pt x="45130" y="3339"/>
                        <a:pt x="37728" y="240"/>
                        <a:pt x="30235" y="0"/>
                      </a:cubicBezTo>
                      <a:lnTo>
                        <a:pt x="9255" y="7912"/>
                      </a:lnTo>
                      <a:close/>
                      <a:moveTo>
                        <a:pt x="9255" y="7911"/>
                      </a:moveTo>
                      <a:lnTo>
                        <a:pt x="9255" y="7912"/>
                      </a:lnTo>
                      <a:lnTo>
                        <a:pt x="9255" y="7912"/>
                      </a:lnTo>
                      <a:lnTo>
                        <a:pt x="9255" y="7911"/>
                      </a:lnTo>
                      <a:close/>
                    </a:path>
                  </a:pathLst>
                </a:custGeom>
                <a:gradFill flip="none" rotWithShape="1">
                  <a:gsLst>
                    <a:gs pos="88000">
                      <a:schemeClr val="accent1"/>
                    </a:gs>
                    <a:gs pos="87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7" name="Free-form: Shape 1358">
                  <a:extLst>
                    <a:ext uri="{FF2B5EF4-FFF2-40B4-BE49-F238E27FC236}">
                      <a16:creationId xmlns:a16="http://schemas.microsoft.com/office/drawing/2014/main" id="{4407C9CE-ED1C-D1A2-C7AD-2A7ACED14D72}"/>
                    </a:ext>
                  </a:extLst>
                </p:cNvPr>
                <p:cNvSpPr/>
                <p:nvPr/>
              </p:nvSpPr>
              <p:spPr>
                <a:xfrm rot="2589768">
                  <a:off x="7151985" y="-1621128"/>
                  <a:ext cx="536464" cy="331199"/>
                </a:xfrm>
                <a:custGeom>
                  <a:avLst/>
                  <a:gdLst>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295759 w 536464"/>
                    <a:gd name="connsiteY6" fmla="*/ 331198 h 331199"/>
                    <a:gd name="connsiteX7" fmla="*/ 507167 w 536464"/>
                    <a:gd name="connsiteY7" fmla="*/ 331199 h 331199"/>
                    <a:gd name="connsiteX8" fmla="*/ 536463 w 536464"/>
                    <a:gd name="connsiteY8" fmla="*/ 301903 h 331199"/>
                    <a:gd name="connsiteX9" fmla="*/ 536464 w 536464"/>
                    <a:gd name="connsiteY9" fmla="*/ 301903 h 331199"/>
                    <a:gd name="connsiteX10" fmla="*/ 507168 w 536464"/>
                    <a:gd name="connsiteY10" fmla="*/ 272607 h 331199"/>
                    <a:gd name="connsiteX11" fmla="*/ 297661 w 536464"/>
                    <a:gd name="connsiteY11" fmla="*/ 272607 h 331199"/>
                    <a:gd name="connsiteX12" fmla="*/ 50664 w 536464"/>
                    <a:gd name="connsiteY12" fmla="*/ 9240 h 331199"/>
                    <a:gd name="connsiteX13" fmla="*/ 30235 w 536464"/>
                    <a:gd name="connsiteY13" fmla="*/ 0 h 331199"/>
                    <a:gd name="connsiteX14" fmla="*/ 9255 w 536464"/>
                    <a:gd name="connsiteY14" fmla="*/ 7911 h 331199"/>
                    <a:gd name="connsiteX15" fmla="*/ 9255 w 536464"/>
                    <a:gd name="connsiteY15" fmla="*/ 7912 h 331199"/>
                    <a:gd name="connsiteX16" fmla="*/ 9255 w 536464"/>
                    <a:gd name="connsiteY16" fmla="*/ 7912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507167 w 536464"/>
                    <a:gd name="connsiteY6" fmla="*/ 331199 h 331199"/>
                    <a:gd name="connsiteX7" fmla="*/ 536463 w 536464"/>
                    <a:gd name="connsiteY7" fmla="*/ 301903 h 331199"/>
                    <a:gd name="connsiteX8" fmla="*/ 536464 w 536464"/>
                    <a:gd name="connsiteY8" fmla="*/ 301903 h 331199"/>
                    <a:gd name="connsiteX9" fmla="*/ 507168 w 536464"/>
                    <a:gd name="connsiteY9" fmla="*/ 272607 h 331199"/>
                    <a:gd name="connsiteX10" fmla="*/ 297661 w 536464"/>
                    <a:gd name="connsiteY10" fmla="*/ 272607 h 331199"/>
                    <a:gd name="connsiteX11" fmla="*/ 50664 w 536464"/>
                    <a:gd name="connsiteY11" fmla="*/ 9240 h 331199"/>
                    <a:gd name="connsiteX12" fmla="*/ 30235 w 536464"/>
                    <a:gd name="connsiteY12" fmla="*/ 0 h 331199"/>
                    <a:gd name="connsiteX13" fmla="*/ 9255 w 536464"/>
                    <a:gd name="connsiteY13" fmla="*/ 7912 h 331199"/>
                    <a:gd name="connsiteX14" fmla="*/ 9255 w 536464"/>
                    <a:gd name="connsiteY14" fmla="*/ 7911 h 331199"/>
                    <a:gd name="connsiteX15" fmla="*/ 9255 w 536464"/>
                    <a:gd name="connsiteY15" fmla="*/ 7912 h 331199"/>
                    <a:gd name="connsiteX16" fmla="*/ 9255 w 536464"/>
                    <a:gd name="connsiteY16" fmla="*/ 7912 h 331199"/>
                    <a:gd name="connsiteX17" fmla="*/ 9255 w 536464"/>
                    <a:gd name="connsiteY17" fmla="*/ 7911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507167 w 536464"/>
                    <a:gd name="connsiteY5" fmla="*/ 331199 h 331199"/>
                    <a:gd name="connsiteX6" fmla="*/ 536463 w 536464"/>
                    <a:gd name="connsiteY6" fmla="*/ 301903 h 331199"/>
                    <a:gd name="connsiteX7" fmla="*/ 536464 w 536464"/>
                    <a:gd name="connsiteY7" fmla="*/ 301903 h 331199"/>
                    <a:gd name="connsiteX8" fmla="*/ 507168 w 536464"/>
                    <a:gd name="connsiteY8" fmla="*/ 272607 h 331199"/>
                    <a:gd name="connsiteX9" fmla="*/ 297661 w 536464"/>
                    <a:gd name="connsiteY9" fmla="*/ 272607 h 331199"/>
                    <a:gd name="connsiteX10" fmla="*/ 50664 w 536464"/>
                    <a:gd name="connsiteY10" fmla="*/ 9240 h 331199"/>
                    <a:gd name="connsiteX11" fmla="*/ 30235 w 536464"/>
                    <a:gd name="connsiteY11" fmla="*/ 0 h 331199"/>
                    <a:gd name="connsiteX12" fmla="*/ 9255 w 536464"/>
                    <a:gd name="connsiteY12" fmla="*/ 7912 h 331199"/>
                    <a:gd name="connsiteX13" fmla="*/ 9255 w 536464"/>
                    <a:gd name="connsiteY13" fmla="*/ 7911 h 331199"/>
                    <a:gd name="connsiteX14" fmla="*/ 9255 w 536464"/>
                    <a:gd name="connsiteY14" fmla="*/ 7912 h 331199"/>
                    <a:gd name="connsiteX15" fmla="*/ 9255 w 536464"/>
                    <a:gd name="connsiteY15" fmla="*/ 7912 h 331199"/>
                    <a:gd name="connsiteX16" fmla="*/ 9255 w 536464"/>
                    <a:gd name="connsiteY16" fmla="*/ 7911 h 3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464" h="331199">
                      <a:moveTo>
                        <a:pt x="9255" y="7912"/>
                      </a:moveTo>
                      <a:lnTo>
                        <a:pt x="15" y="28341"/>
                      </a:lnTo>
                      <a:cubicBezTo>
                        <a:pt x="-225" y="35834"/>
                        <a:pt x="2393" y="43420"/>
                        <a:pt x="7927" y="49321"/>
                      </a:cubicBezTo>
                      <a:lnTo>
                        <a:pt x="263365" y="321690"/>
                      </a:lnTo>
                      <a:cubicBezTo>
                        <a:pt x="268899" y="327591"/>
                        <a:pt x="276301" y="330690"/>
                        <a:pt x="283795" y="330930"/>
                      </a:cubicBezTo>
                      <a:lnTo>
                        <a:pt x="507167" y="331199"/>
                      </a:lnTo>
                      <a:cubicBezTo>
                        <a:pt x="523347" y="331199"/>
                        <a:pt x="536463" y="318083"/>
                        <a:pt x="536463" y="301903"/>
                      </a:cubicBezTo>
                      <a:lnTo>
                        <a:pt x="536464" y="301903"/>
                      </a:lnTo>
                      <a:cubicBezTo>
                        <a:pt x="536464" y="285723"/>
                        <a:pt x="523348" y="272607"/>
                        <a:pt x="507168" y="272607"/>
                      </a:cubicBezTo>
                      <a:lnTo>
                        <a:pt x="297661" y="272607"/>
                      </a:lnTo>
                      <a:lnTo>
                        <a:pt x="50664" y="9240"/>
                      </a:lnTo>
                      <a:cubicBezTo>
                        <a:pt x="45130" y="3339"/>
                        <a:pt x="37728" y="240"/>
                        <a:pt x="30235" y="0"/>
                      </a:cubicBezTo>
                      <a:lnTo>
                        <a:pt x="9255" y="7912"/>
                      </a:lnTo>
                      <a:close/>
                      <a:moveTo>
                        <a:pt x="9255" y="7911"/>
                      </a:moveTo>
                      <a:lnTo>
                        <a:pt x="9255" y="7912"/>
                      </a:lnTo>
                      <a:lnTo>
                        <a:pt x="9255" y="7912"/>
                      </a:lnTo>
                      <a:lnTo>
                        <a:pt x="9255" y="7911"/>
                      </a:lnTo>
                      <a:close/>
                    </a:path>
                  </a:pathLst>
                </a:custGeom>
                <a:gradFill flip="none" rotWithShape="1">
                  <a:gsLst>
                    <a:gs pos="88000">
                      <a:srgbClr val="9E4CDC"/>
                    </a:gs>
                    <a:gs pos="87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26" name="Oval 225">
                <a:extLst>
                  <a:ext uri="{FF2B5EF4-FFF2-40B4-BE49-F238E27FC236}">
                    <a16:creationId xmlns:a16="http://schemas.microsoft.com/office/drawing/2014/main" id="{C748A30D-BFCB-67C0-A456-08DB0D94FB84}"/>
                  </a:ext>
                </a:extLst>
              </p:cNvPr>
              <p:cNvSpPr/>
              <p:nvPr/>
            </p:nvSpPr>
            <p:spPr>
              <a:xfrm>
                <a:off x="9879093" y="-1795811"/>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7" name="Oval 226">
                <a:extLst>
                  <a:ext uri="{FF2B5EF4-FFF2-40B4-BE49-F238E27FC236}">
                    <a16:creationId xmlns:a16="http://schemas.microsoft.com/office/drawing/2014/main" id="{DA362F45-92EA-0708-7A94-0DE98A4FB9A4}"/>
                  </a:ext>
                </a:extLst>
              </p:cNvPr>
              <p:cNvSpPr/>
              <p:nvPr/>
            </p:nvSpPr>
            <p:spPr>
              <a:xfrm>
                <a:off x="9879093" y="-1720818"/>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8" name="Oval 227">
                <a:extLst>
                  <a:ext uri="{FF2B5EF4-FFF2-40B4-BE49-F238E27FC236}">
                    <a16:creationId xmlns:a16="http://schemas.microsoft.com/office/drawing/2014/main" id="{C6F21233-A311-BA21-7B41-BC5737E3F462}"/>
                  </a:ext>
                </a:extLst>
              </p:cNvPr>
              <p:cNvSpPr/>
              <p:nvPr/>
            </p:nvSpPr>
            <p:spPr>
              <a:xfrm>
                <a:off x="10018932" y="-1724969"/>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9" name="Oval 228">
                <a:extLst>
                  <a:ext uri="{FF2B5EF4-FFF2-40B4-BE49-F238E27FC236}">
                    <a16:creationId xmlns:a16="http://schemas.microsoft.com/office/drawing/2014/main" id="{736F7CD6-D36C-0D53-CFDE-C50234E78265}"/>
                  </a:ext>
                </a:extLst>
              </p:cNvPr>
              <p:cNvSpPr/>
              <p:nvPr/>
            </p:nvSpPr>
            <p:spPr>
              <a:xfrm>
                <a:off x="10059414" y="-1660414"/>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0" name="Oval 229">
                <a:extLst>
                  <a:ext uri="{FF2B5EF4-FFF2-40B4-BE49-F238E27FC236}">
                    <a16:creationId xmlns:a16="http://schemas.microsoft.com/office/drawing/2014/main" id="{FD94CB10-783E-2DD5-C2D8-1DF0B8A840DC}"/>
                  </a:ext>
                </a:extLst>
              </p:cNvPr>
              <p:cNvSpPr/>
              <p:nvPr/>
            </p:nvSpPr>
            <p:spPr>
              <a:xfrm>
                <a:off x="10099560" y="-1798437"/>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1" name="Oval 230">
                <a:extLst>
                  <a:ext uri="{FF2B5EF4-FFF2-40B4-BE49-F238E27FC236}">
                    <a16:creationId xmlns:a16="http://schemas.microsoft.com/office/drawing/2014/main" id="{A55DCE69-3D17-56B0-8311-E87CB65C5C25}"/>
                  </a:ext>
                </a:extLst>
              </p:cNvPr>
              <p:cNvSpPr/>
              <p:nvPr/>
            </p:nvSpPr>
            <p:spPr>
              <a:xfrm>
                <a:off x="10148997" y="-1741737"/>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2" name="Oval 231">
                <a:extLst>
                  <a:ext uri="{FF2B5EF4-FFF2-40B4-BE49-F238E27FC236}">
                    <a16:creationId xmlns:a16="http://schemas.microsoft.com/office/drawing/2014/main" id="{2FA3EA64-D9B6-EC00-91F8-5E2E6F728F89}"/>
                  </a:ext>
                </a:extLst>
              </p:cNvPr>
              <p:cNvSpPr/>
              <p:nvPr/>
            </p:nvSpPr>
            <p:spPr>
              <a:xfrm>
                <a:off x="10050364" y="-1544503"/>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3" name="Oval 232">
                <a:extLst>
                  <a:ext uri="{FF2B5EF4-FFF2-40B4-BE49-F238E27FC236}">
                    <a16:creationId xmlns:a16="http://schemas.microsoft.com/office/drawing/2014/main" id="{302A6EDE-AD9A-F72A-ADD0-E0A8A1196309}"/>
                  </a:ext>
                </a:extLst>
              </p:cNvPr>
              <p:cNvSpPr/>
              <p:nvPr/>
            </p:nvSpPr>
            <p:spPr>
              <a:xfrm>
                <a:off x="10119148" y="-1544503"/>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240" name="Group 239">
            <a:extLst>
              <a:ext uri="{FF2B5EF4-FFF2-40B4-BE49-F238E27FC236}">
                <a16:creationId xmlns:a16="http://schemas.microsoft.com/office/drawing/2014/main" id="{93FEAAA8-1EE2-C712-13C8-103CD67A5199}"/>
              </a:ext>
            </a:extLst>
          </p:cNvPr>
          <p:cNvGrpSpPr/>
          <p:nvPr/>
        </p:nvGrpSpPr>
        <p:grpSpPr>
          <a:xfrm>
            <a:off x="8950507" y="4377381"/>
            <a:ext cx="817855" cy="1472068"/>
            <a:chOff x="10229528" y="3274122"/>
            <a:chExt cx="851259" cy="1532192"/>
          </a:xfrm>
        </p:grpSpPr>
        <p:grpSp>
          <p:nvGrpSpPr>
            <p:cNvPr id="241" name="Group 240">
              <a:extLst>
                <a:ext uri="{FF2B5EF4-FFF2-40B4-BE49-F238E27FC236}">
                  <a16:creationId xmlns:a16="http://schemas.microsoft.com/office/drawing/2014/main" id="{3902DF10-FA2F-2E22-B83E-97EBC972BAA1}"/>
                </a:ext>
              </a:extLst>
            </p:cNvPr>
            <p:cNvGrpSpPr/>
            <p:nvPr/>
          </p:nvGrpSpPr>
          <p:grpSpPr>
            <a:xfrm>
              <a:off x="10229528" y="3274122"/>
              <a:ext cx="367476" cy="1532192"/>
              <a:chOff x="10125414" y="-1221312"/>
              <a:chExt cx="367476" cy="1532192"/>
            </a:xfrm>
          </p:grpSpPr>
          <p:grpSp>
            <p:nvGrpSpPr>
              <p:cNvPr id="243" name="Group 242">
                <a:extLst>
                  <a:ext uri="{FF2B5EF4-FFF2-40B4-BE49-F238E27FC236}">
                    <a16:creationId xmlns:a16="http://schemas.microsoft.com/office/drawing/2014/main" id="{4B9CECAF-3E6E-F2A9-4E05-2FD2C8ED4D37}"/>
                  </a:ext>
                </a:extLst>
              </p:cNvPr>
              <p:cNvGrpSpPr/>
              <p:nvPr/>
            </p:nvGrpSpPr>
            <p:grpSpPr>
              <a:xfrm>
                <a:off x="10174163" y="-1221312"/>
                <a:ext cx="269978" cy="1532192"/>
                <a:chOff x="9695886" y="-1221312"/>
                <a:chExt cx="269978" cy="1532192"/>
              </a:xfrm>
            </p:grpSpPr>
            <p:sp>
              <p:nvSpPr>
                <p:cNvPr id="245" name="Arc 244">
                  <a:extLst>
                    <a:ext uri="{FF2B5EF4-FFF2-40B4-BE49-F238E27FC236}">
                      <a16:creationId xmlns:a16="http://schemas.microsoft.com/office/drawing/2014/main" id="{4E2168C4-C6C5-EF6D-6FA4-A44158D00F1D}"/>
                    </a:ext>
                  </a:extLst>
                </p:cNvPr>
                <p:cNvSpPr/>
                <p:nvPr/>
              </p:nvSpPr>
              <p:spPr>
                <a:xfrm rot="5400000">
                  <a:off x="9679384" y="-1204810"/>
                  <a:ext cx="302981" cy="269978"/>
                </a:xfrm>
                <a:prstGeom prst="arc">
                  <a:avLst>
                    <a:gd name="adj1" fmla="val 15743460"/>
                    <a:gd name="adj2" fmla="val 5878209"/>
                  </a:avLst>
                </a:prstGeom>
                <a:ln w="44450" cap="rnd">
                  <a:solidFill>
                    <a:schemeClr val="accent5">
                      <a:lumMod val="50000"/>
                    </a:schemeClr>
                  </a:solidFill>
                  <a:roun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46" name="Straight Connector 245">
                  <a:extLst>
                    <a:ext uri="{FF2B5EF4-FFF2-40B4-BE49-F238E27FC236}">
                      <a16:creationId xmlns:a16="http://schemas.microsoft.com/office/drawing/2014/main" id="{A5CAE64A-4211-701A-D51D-86427BB5F305}"/>
                    </a:ext>
                  </a:extLst>
                </p:cNvPr>
                <p:cNvCxnSpPr>
                  <a:cxnSpLocks/>
                </p:cNvCxnSpPr>
                <p:nvPr/>
              </p:nvCxnSpPr>
              <p:spPr>
                <a:xfrm>
                  <a:off x="9830874" y="-914400"/>
                  <a:ext cx="0" cy="1225280"/>
                </a:xfrm>
                <a:prstGeom prst="line">
                  <a:avLst/>
                </a:prstGeom>
                <a:ln w="44450">
                  <a:gradFill>
                    <a:gsLst>
                      <a:gs pos="66000">
                        <a:schemeClr val="accent5">
                          <a:lumMod val="50000"/>
                        </a:schemeClr>
                      </a:gs>
                      <a:gs pos="100000">
                        <a:schemeClr val="bg1"/>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cxnSp>
            <p:sp>
              <p:nvSpPr>
                <p:cNvPr id="247" name="Free-form: Shape 1234">
                  <a:extLst>
                    <a:ext uri="{FF2B5EF4-FFF2-40B4-BE49-F238E27FC236}">
                      <a16:creationId xmlns:a16="http://schemas.microsoft.com/office/drawing/2014/main" id="{819FF468-10B7-BFE5-4394-3074112D6967}"/>
                    </a:ext>
                  </a:extLst>
                </p:cNvPr>
                <p:cNvSpPr/>
                <p:nvPr/>
              </p:nvSpPr>
              <p:spPr>
                <a:xfrm>
                  <a:off x="9741843" y="-431289"/>
                  <a:ext cx="178062" cy="325781"/>
                </a:xfrm>
                <a:custGeom>
                  <a:avLst/>
                  <a:gdLst>
                    <a:gd name="connsiteX0" fmla="*/ 78211 w 178062"/>
                    <a:gd name="connsiteY0" fmla="*/ 0 h 325781"/>
                    <a:gd name="connsiteX1" fmla="*/ 99851 w 178062"/>
                    <a:gd name="connsiteY1" fmla="*/ 0 h 325781"/>
                    <a:gd name="connsiteX2" fmla="*/ 145842 w 178062"/>
                    <a:gd name="connsiteY2" fmla="*/ 45991 h 325781"/>
                    <a:gd name="connsiteX3" fmla="*/ 145842 w 178062"/>
                    <a:gd name="connsiteY3" fmla="*/ 60328 h 325781"/>
                    <a:gd name="connsiteX4" fmla="*/ 156952 w 178062"/>
                    <a:gd name="connsiteY4" fmla="*/ 64930 h 325781"/>
                    <a:gd name="connsiteX5" fmla="*/ 178062 w 178062"/>
                    <a:gd name="connsiteY5" fmla="*/ 115894 h 325781"/>
                    <a:gd name="connsiteX6" fmla="*/ 178062 w 178062"/>
                    <a:gd name="connsiteY6" fmla="*/ 209887 h 325781"/>
                    <a:gd name="connsiteX7" fmla="*/ 156952 w 178062"/>
                    <a:gd name="connsiteY7" fmla="*/ 260851 h 325781"/>
                    <a:gd name="connsiteX8" fmla="*/ 145842 w 178062"/>
                    <a:gd name="connsiteY8" fmla="*/ 265453 h 325781"/>
                    <a:gd name="connsiteX9" fmla="*/ 145842 w 178062"/>
                    <a:gd name="connsiteY9" fmla="*/ 279790 h 325781"/>
                    <a:gd name="connsiteX10" fmla="*/ 99851 w 178062"/>
                    <a:gd name="connsiteY10" fmla="*/ 325781 h 325781"/>
                    <a:gd name="connsiteX11" fmla="*/ 78211 w 178062"/>
                    <a:gd name="connsiteY11" fmla="*/ 325781 h 325781"/>
                    <a:gd name="connsiteX12" fmla="*/ 32220 w 178062"/>
                    <a:gd name="connsiteY12" fmla="*/ 279790 h 325781"/>
                    <a:gd name="connsiteX13" fmla="*/ 32220 w 178062"/>
                    <a:gd name="connsiteY13" fmla="*/ 265453 h 325781"/>
                    <a:gd name="connsiteX14" fmla="*/ 21110 w 178062"/>
                    <a:gd name="connsiteY14" fmla="*/ 260851 h 325781"/>
                    <a:gd name="connsiteX15" fmla="*/ 0 w 178062"/>
                    <a:gd name="connsiteY15" fmla="*/ 209887 h 325781"/>
                    <a:gd name="connsiteX16" fmla="*/ 0 w 178062"/>
                    <a:gd name="connsiteY16" fmla="*/ 115894 h 325781"/>
                    <a:gd name="connsiteX17" fmla="*/ 21110 w 178062"/>
                    <a:gd name="connsiteY17" fmla="*/ 64930 h 325781"/>
                    <a:gd name="connsiteX18" fmla="*/ 32220 w 178062"/>
                    <a:gd name="connsiteY18" fmla="*/ 60328 h 325781"/>
                    <a:gd name="connsiteX19" fmla="*/ 32220 w 178062"/>
                    <a:gd name="connsiteY19" fmla="*/ 45991 h 325781"/>
                    <a:gd name="connsiteX20" fmla="*/ 78211 w 178062"/>
                    <a:gd name="connsiteY20" fmla="*/ 0 h 32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062" h="325781">
                      <a:moveTo>
                        <a:pt x="78211" y="0"/>
                      </a:moveTo>
                      <a:lnTo>
                        <a:pt x="99851" y="0"/>
                      </a:lnTo>
                      <a:cubicBezTo>
                        <a:pt x="125251" y="0"/>
                        <a:pt x="145842" y="20591"/>
                        <a:pt x="145842" y="45991"/>
                      </a:cubicBezTo>
                      <a:lnTo>
                        <a:pt x="145842" y="60328"/>
                      </a:lnTo>
                      <a:lnTo>
                        <a:pt x="156952" y="64930"/>
                      </a:lnTo>
                      <a:cubicBezTo>
                        <a:pt x="169995" y="77973"/>
                        <a:pt x="178062" y="95992"/>
                        <a:pt x="178062" y="115894"/>
                      </a:cubicBezTo>
                      <a:lnTo>
                        <a:pt x="178062" y="209887"/>
                      </a:lnTo>
                      <a:cubicBezTo>
                        <a:pt x="178062" y="229790"/>
                        <a:pt x="169995" y="247808"/>
                        <a:pt x="156952" y="260851"/>
                      </a:cubicBezTo>
                      <a:lnTo>
                        <a:pt x="145842" y="265453"/>
                      </a:lnTo>
                      <a:lnTo>
                        <a:pt x="145842" y="279790"/>
                      </a:lnTo>
                      <a:cubicBezTo>
                        <a:pt x="145842" y="305190"/>
                        <a:pt x="125251" y="325781"/>
                        <a:pt x="99851" y="325781"/>
                      </a:cubicBezTo>
                      <a:lnTo>
                        <a:pt x="78211" y="325781"/>
                      </a:lnTo>
                      <a:cubicBezTo>
                        <a:pt x="52811" y="325781"/>
                        <a:pt x="32220" y="305190"/>
                        <a:pt x="32220" y="279790"/>
                      </a:cubicBezTo>
                      <a:lnTo>
                        <a:pt x="32220" y="265453"/>
                      </a:lnTo>
                      <a:lnTo>
                        <a:pt x="21110" y="260851"/>
                      </a:lnTo>
                      <a:cubicBezTo>
                        <a:pt x="8067" y="247808"/>
                        <a:pt x="0" y="229790"/>
                        <a:pt x="0" y="209887"/>
                      </a:cubicBezTo>
                      <a:lnTo>
                        <a:pt x="0" y="115894"/>
                      </a:lnTo>
                      <a:cubicBezTo>
                        <a:pt x="0" y="95992"/>
                        <a:pt x="8067" y="77973"/>
                        <a:pt x="21110" y="64930"/>
                      </a:cubicBezTo>
                      <a:lnTo>
                        <a:pt x="32220" y="60328"/>
                      </a:lnTo>
                      <a:lnTo>
                        <a:pt x="32220" y="45991"/>
                      </a:lnTo>
                      <a:cubicBezTo>
                        <a:pt x="32220" y="20591"/>
                        <a:pt x="52811" y="0"/>
                        <a:pt x="78211" y="0"/>
                      </a:cubicBez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44" name="Multiplication Sign 243">
                <a:extLst>
                  <a:ext uri="{FF2B5EF4-FFF2-40B4-BE49-F238E27FC236}">
                    <a16:creationId xmlns:a16="http://schemas.microsoft.com/office/drawing/2014/main" id="{601F145F-E3AC-DC96-43DB-8A5567B8058B}"/>
                  </a:ext>
                </a:extLst>
              </p:cNvPr>
              <p:cNvSpPr/>
              <p:nvPr/>
            </p:nvSpPr>
            <p:spPr>
              <a:xfrm>
                <a:off x="10125414" y="-453510"/>
                <a:ext cx="367476" cy="367476"/>
              </a:xfrm>
              <a:prstGeom prst="mathMultiply">
                <a:avLst>
                  <a:gd name="adj1" fmla="val 961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42" name="TextBox 241">
              <a:extLst>
                <a:ext uri="{FF2B5EF4-FFF2-40B4-BE49-F238E27FC236}">
                  <a16:creationId xmlns:a16="http://schemas.microsoft.com/office/drawing/2014/main" id="{7BBB8F6F-DA1D-40AD-E4E4-41A189D0E6C0}"/>
                </a:ext>
              </a:extLst>
            </p:cNvPr>
            <p:cNvSpPr txBox="1"/>
            <p:nvPr/>
          </p:nvSpPr>
          <p:spPr>
            <a:xfrm>
              <a:off x="10521568" y="4505629"/>
              <a:ext cx="559219" cy="17619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ROP2</a:t>
              </a:r>
            </a:p>
          </p:txBody>
        </p:sp>
      </p:grpSp>
      <p:grpSp>
        <p:nvGrpSpPr>
          <p:cNvPr id="248" name="Group 247">
            <a:extLst>
              <a:ext uri="{FF2B5EF4-FFF2-40B4-BE49-F238E27FC236}">
                <a16:creationId xmlns:a16="http://schemas.microsoft.com/office/drawing/2014/main" id="{350DEE64-9760-A074-A3A2-A7952FB6BAB3}"/>
              </a:ext>
            </a:extLst>
          </p:cNvPr>
          <p:cNvGrpSpPr/>
          <p:nvPr/>
        </p:nvGrpSpPr>
        <p:grpSpPr>
          <a:xfrm>
            <a:off x="8191849" y="4372008"/>
            <a:ext cx="826758" cy="1484112"/>
            <a:chOff x="9647136" y="-1221312"/>
            <a:chExt cx="826758" cy="1484112"/>
          </a:xfrm>
        </p:grpSpPr>
        <p:grpSp>
          <p:nvGrpSpPr>
            <p:cNvPr id="249" name="Group 248">
              <a:extLst>
                <a:ext uri="{FF2B5EF4-FFF2-40B4-BE49-F238E27FC236}">
                  <a16:creationId xmlns:a16="http://schemas.microsoft.com/office/drawing/2014/main" id="{A4D5AA7A-EA8C-5C8F-94F6-846186D58AFB}"/>
                </a:ext>
              </a:extLst>
            </p:cNvPr>
            <p:cNvGrpSpPr/>
            <p:nvPr/>
          </p:nvGrpSpPr>
          <p:grpSpPr>
            <a:xfrm>
              <a:off x="9695886" y="-1221312"/>
              <a:ext cx="269978" cy="1484112"/>
              <a:chOff x="9695886" y="-1221312"/>
              <a:chExt cx="269978" cy="1484112"/>
            </a:xfrm>
          </p:grpSpPr>
          <p:sp>
            <p:nvSpPr>
              <p:cNvPr id="252" name="Arc 251">
                <a:extLst>
                  <a:ext uri="{FF2B5EF4-FFF2-40B4-BE49-F238E27FC236}">
                    <a16:creationId xmlns:a16="http://schemas.microsoft.com/office/drawing/2014/main" id="{D30743AB-D532-2879-325D-F40592AB6183}"/>
                  </a:ext>
                </a:extLst>
              </p:cNvPr>
              <p:cNvSpPr/>
              <p:nvPr/>
            </p:nvSpPr>
            <p:spPr>
              <a:xfrm rot="5400000">
                <a:off x="9679384" y="-1204810"/>
                <a:ext cx="302981" cy="269978"/>
              </a:xfrm>
              <a:prstGeom prst="arc">
                <a:avLst>
                  <a:gd name="adj1" fmla="val 15743460"/>
                  <a:gd name="adj2" fmla="val 5878209"/>
                </a:avLst>
              </a:prstGeom>
              <a:ln w="44450" cap="rnd">
                <a:solidFill>
                  <a:schemeClr val="accent1"/>
                </a:solidFill>
                <a:roun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53" name="Straight Connector 252">
                <a:extLst>
                  <a:ext uri="{FF2B5EF4-FFF2-40B4-BE49-F238E27FC236}">
                    <a16:creationId xmlns:a16="http://schemas.microsoft.com/office/drawing/2014/main" id="{1D9CDC11-8C06-644A-9C24-740861378E45}"/>
                  </a:ext>
                </a:extLst>
              </p:cNvPr>
              <p:cNvCxnSpPr>
                <a:cxnSpLocks/>
              </p:cNvCxnSpPr>
              <p:nvPr/>
            </p:nvCxnSpPr>
            <p:spPr>
              <a:xfrm>
                <a:off x="9830874" y="-914400"/>
                <a:ext cx="0" cy="1177200"/>
              </a:xfrm>
              <a:prstGeom prst="line">
                <a:avLst/>
              </a:prstGeom>
              <a:ln w="44450">
                <a:gradFill>
                  <a:gsLst>
                    <a:gs pos="66000">
                      <a:schemeClr val="accent1"/>
                    </a:gs>
                    <a:gs pos="100000">
                      <a:schemeClr val="bg1"/>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cxnSp>
          <p:sp>
            <p:nvSpPr>
              <p:cNvPr id="254" name="Free-form: Shape 2723">
                <a:extLst>
                  <a:ext uri="{FF2B5EF4-FFF2-40B4-BE49-F238E27FC236}">
                    <a16:creationId xmlns:a16="http://schemas.microsoft.com/office/drawing/2014/main" id="{E3717B8A-8044-BFFE-BD0A-3D61C46E02AC}"/>
                  </a:ext>
                </a:extLst>
              </p:cNvPr>
              <p:cNvSpPr/>
              <p:nvPr/>
            </p:nvSpPr>
            <p:spPr>
              <a:xfrm>
                <a:off x="9741843" y="-431289"/>
                <a:ext cx="178062" cy="325781"/>
              </a:xfrm>
              <a:custGeom>
                <a:avLst/>
                <a:gdLst>
                  <a:gd name="connsiteX0" fmla="*/ 78211 w 178062"/>
                  <a:gd name="connsiteY0" fmla="*/ 0 h 325781"/>
                  <a:gd name="connsiteX1" fmla="*/ 99851 w 178062"/>
                  <a:gd name="connsiteY1" fmla="*/ 0 h 325781"/>
                  <a:gd name="connsiteX2" fmla="*/ 145842 w 178062"/>
                  <a:gd name="connsiteY2" fmla="*/ 45991 h 325781"/>
                  <a:gd name="connsiteX3" fmla="*/ 145842 w 178062"/>
                  <a:gd name="connsiteY3" fmla="*/ 60328 h 325781"/>
                  <a:gd name="connsiteX4" fmla="*/ 156952 w 178062"/>
                  <a:gd name="connsiteY4" fmla="*/ 64930 h 325781"/>
                  <a:gd name="connsiteX5" fmla="*/ 178062 w 178062"/>
                  <a:gd name="connsiteY5" fmla="*/ 115894 h 325781"/>
                  <a:gd name="connsiteX6" fmla="*/ 178062 w 178062"/>
                  <a:gd name="connsiteY6" fmla="*/ 209887 h 325781"/>
                  <a:gd name="connsiteX7" fmla="*/ 156952 w 178062"/>
                  <a:gd name="connsiteY7" fmla="*/ 260851 h 325781"/>
                  <a:gd name="connsiteX8" fmla="*/ 145842 w 178062"/>
                  <a:gd name="connsiteY8" fmla="*/ 265453 h 325781"/>
                  <a:gd name="connsiteX9" fmla="*/ 145842 w 178062"/>
                  <a:gd name="connsiteY9" fmla="*/ 279790 h 325781"/>
                  <a:gd name="connsiteX10" fmla="*/ 99851 w 178062"/>
                  <a:gd name="connsiteY10" fmla="*/ 325781 h 325781"/>
                  <a:gd name="connsiteX11" fmla="*/ 78211 w 178062"/>
                  <a:gd name="connsiteY11" fmla="*/ 325781 h 325781"/>
                  <a:gd name="connsiteX12" fmla="*/ 32220 w 178062"/>
                  <a:gd name="connsiteY12" fmla="*/ 279790 h 325781"/>
                  <a:gd name="connsiteX13" fmla="*/ 32220 w 178062"/>
                  <a:gd name="connsiteY13" fmla="*/ 265453 h 325781"/>
                  <a:gd name="connsiteX14" fmla="*/ 21110 w 178062"/>
                  <a:gd name="connsiteY14" fmla="*/ 260851 h 325781"/>
                  <a:gd name="connsiteX15" fmla="*/ 0 w 178062"/>
                  <a:gd name="connsiteY15" fmla="*/ 209887 h 325781"/>
                  <a:gd name="connsiteX16" fmla="*/ 0 w 178062"/>
                  <a:gd name="connsiteY16" fmla="*/ 115894 h 325781"/>
                  <a:gd name="connsiteX17" fmla="*/ 21110 w 178062"/>
                  <a:gd name="connsiteY17" fmla="*/ 64930 h 325781"/>
                  <a:gd name="connsiteX18" fmla="*/ 32220 w 178062"/>
                  <a:gd name="connsiteY18" fmla="*/ 60328 h 325781"/>
                  <a:gd name="connsiteX19" fmla="*/ 32220 w 178062"/>
                  <a:gd name="connsiteY19" fmla="*/ 45991 h 325781"/>
                  <a:gd name="connsiteX20" fmla="*/ 78211 w 178062"/>
                  <a:gd name="connsiteY20" fmla="*/ 0 h 32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062" h="325781">
                    <a:moveTo>
                      <a:pt x="78211" y="0"/>
                    </a:moveTo>
                    <a:lnTo>
                      <a:pt x="99851" y="0"/>
                    </a:lnTo>
                    <a:cubicBezTo>
                      <a:pt x="125251" y="0"/>
                      <a:pt x="145842" y="20591"/>
                      <a:pt x="145842" y="45991"/>
                    </a:cubicBezTo>
                    <a:lnTo>
                      <a:pt x="145842" y="60328"/>
                    </a:lnTo>
                    <a:lnTo>
                      <a:pt x="156952" y="64930"/>
                    </a:lnTo>
                    <a:cubicBezTo>
                      <a:pt x="169995" y="77973"/>
                      <a:pt x="178062" y="95992"/>
                      <a:pt x="178062" y="115894"/>
                    </a:cubicBezTo>
                    <a:lnTo>
                      <a:pt x="178062" y="209887"/>
                    </a:lnTo>
                    <a:cubicBezTo>
                      <a:pt x="178062" y="229790"/>
                      <a:pt x="169995" y="247808"/>
                      <a:pt x="156952" y="260851"/>
                    </a:cubicBezTo>
                    <a:lnTo>
                      <a:pt x="145842" y="265453"/>
                    </a:lnTo>
                    <a:lnTo>
                      <a:pt x="145842" y="279790"/>
                    </a:lnTo>
                    <a:cubicBezTo>
                      <a:pt x="145842" y="305190"/>
                      <a:pt x="125251" y="325781"/>
                      <a:pt x="99851" y="325781"/>
                    </a:cubicBezTo>
                    <a:lnTo>
                      <a:pt x="78211" y="325781"/>
                    </a:lnTo>
                    <a:cubicBezTo>
                      <a:pt x="52811" y="325781"/>
                      <a:pt x="32220" y="305190"/>
                      <a:pt x="32220" y="279790"/>
                    </a:cubicBezTo>
                    <a:lnTo>
                      <a:pt x="32220" y="265453"/>
                    </a:lnTo>
                    <a:lnTo>
                      <a:pt x="21110" y="260851"/>
                    </a:lnTo>
                    <a:cubicBezTo>
                      <a:pt x="8067" y="247808"/>
                      <a:pt x="0" y="229790"/>
                      <a:pt x="0" y="209887"/>
                    </a:cubicBezTo>
                    <a:lnTo>
                      <a:pt x="0" y="115894"/>
                    </a:lnTo>
                    <a:cubicBezTo>
                      <a:pt x="0" y="95992"/>
                      <a:pt x="8067" y="77973"/>
                      <a:pt x="21110" y="64930"/>
                    </a:cubicBezTo>
                    <a:lnTo>
                      <a:pt x="32220" y="60328"/>
                    </a:lnTo>
                    <a:lnTo>
                      <a:pt x="32220" y="45991"/>
                    </a:lnTo>
                    <a:cubicBezTo>
                      <a:pt x="32220" y="20591"/>
                      <a:pt x="52811" y="0"/>
                      <a:pt x="78211"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50" name="Multiplication Sign 249">
              <a:extLst>
                <a:ext uri="{FF2B5EF4-FFF2-40B4-BE49-F238E27FC236}">
                  <a16:creationId xmlns:a16="http://schemas.microsoft.com/office/drawing/2014/main" id="{DA48B74D-21AA-61A8-4A54-11CC64EDCD1F}"/>
                </a:ext>
              </a:extLst>
            </p:cNvPr>
            <p:cNvSpPr/>
            <p:nvPr/>
          </p:nvSpPr>
          <p:spPr>
            <a:xfrm>
              <a:off x="9647136" y="-453510"/>
              <a:ext cx="367476" cy="367476"/>
            </a:xfrm>
            <a:prstGeom prst="mathMultiply">
              <a:avLst>
                <a:gd name="adj1" fmla="val 9615"/>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1" name="TextBox 250">
              <a:extLst>
                <a:ext uri="{FF2B5EF4-FFF2-40B4-BE49-F238E27FC236}">
                  <a16:creationId xmlns:a16="http://schemas.microsoft.com/office/drawing/2014/main" id="{B2883500-3DB4-0DE4-50A3-830499D6C873}"/>
                </a:ext>
              </a:extLst>
            </p:cNvPr>
            <p:cNvSpPr txBox="1"/>
            <p:nvPr/>
          </p:nvSpPr>
          <p:spPr>
            <a:xfrm>
              <a:off x="9914675" y="-42680"/>
              <a:ext cx="55921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p>
          </p:txBody>
        </p:sp>
      </p:grpSp>
      <p:sp>
        <p:nvSpPr>
          <p:cNvPr id="255" name="TextBox 254">
            <a:extLst>
              <a:ext uri="{FF2B5EF4-FFF2-40B4-BE49-F238E27FC236}">
                <a16:creationId xmlns:a16="http://schemas.microsoft.com/office/drawing/2014/main" id="{2BB292BA-55F7-3F44-AED6-377B2B123224}"/>
              </a:ext>
            </a:extLst>
          </p:cNvPr>
          <p:cNvSpPr txBox="1"/>
          <p:nvPr/>
        </p:nvSpPr>
        <p:spPr>
          <a:xfrm>
            <a:off x="6902777" y="4105072"/>
            <a:ext cx="79174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ti-HER3</a:t>
            </a:r>
          </a:p>
        </p:txBody>
      </p:sp>
      <p:sp>
        <p:nvSpPr>
          <p:cNvPr id="256" name="TextBox 255">
            <a:extLst>
              <a:ext uri="{FF2B5EF4-FFF2-40B4-BE49-F238E27FC236}">
                <a16:creationId xmlns:a16="http://schemas.microsoft.com/office/drawing/2014/main" id="{706F2DA6-7EFF-C1D7-783A-185CDE1A0027}"/>
              </a:ext>
            </a:extLst>
          </p:cNvPr>
          <p:cNvSpPr txBox="1"/>
          <p:nvPr/>
        </p:nvSpPr>
        <p:spPr>
          <a:xfrm>
            <a:off x="5551820" y="4105072"/>
            <a:ext cx="79174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ti-EGFR</a:t>
            </a:r>
          </a:p>
        </p:txBody>
      </p:sp>
      <p:sp>
        <p:nvSpPr>
          <p:cNvPr id="257" name="Right Bracket 256">
            <a:extLst>
              <a:ext uri="{FF2B5EF4-FFF2-40B4-BE49-F238E27FC236}">
                <a16:creationId xmlns:a16="http://schemas.microsoft.com/office/drawing/2014/main" id="{9472B166-0B4C-2715-1AE5-D1049F350304}"/>
              </a:ext>
            </a:extLst>
          </p:cNvPr>
          <p:cNvSpPr/>
          <p:nvPr/>
        </p:nvSpPr>
        <p:spPr>
          <a:xfrm rot="18853838">
            <a:off x="6792930" y="4141195"/>
            <a:ext cx="45719" cy="269893"/>
          </a:xfrm>
          <a:prstGeom prst="rightBracket">
            <a:avLst/>
          </a:prstGeom>
          <a:ln w="12700">
            <a:solidFill>
              <a:schemeClr val="accent3">
                <a:lumMod val="75000"/>
              </a:schemeClr>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 name="Right Bracket 257">
            <a:extLst>
              <a:ext uri="{FF2B5EF4-FFF2-40B4-BE49-F238E27FC236}">
                <a16:creationId xmlns:a16="http://schemas.microsoft.com/office/drawing/2014/main" id="{A8494FEE-3742-ACA9-B6E7-BF3C3313CA25}"/>
              </a:ext>
            </a:extLst>
          </p:cNvPr>
          <p:cNvSpPr/>
          <p:nvPr/>
        </p:nvSpPr>
        <p:spPr>
          <a:xfrm rot="13612950">
            <a:off x="6316787" y="4140339"/>
            <a:ext cx="45719" cy="269893"/>
          </a:xfrm>
          <a:prstGeom prst="rightBracket">
            <a:avLst/>
          </a:prstGeom>
          <a:ln w="12700">
            <a:solidFill>
              <a:schemeClr val="accent3">
                <a:lumMod val="75000"/>
              </a:schemeClr>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4" name="Group 13">
            <a:extLst>
              <a:ext uri="{FF2B5EF4-FFF2-40B4-BE49-F238E27FC236}">
                <a16:creationId xmlns:a16="http://schemas.microsoft.com/office/drawing/2014/main" id="{F68DD5BF-4665-0B61-247E-147396D92D99}"/>
              </a:ext>
            </a:extLst>
          </p:cNvPr>
          <p:cNvGrpSpPr/>
          <p:nvPr/>
        </p:nvGrpSpPr>
        <p:grpSpPr>
          <a:xfrm rot="18765640">
            <a:off x="9110442" y="3853959"/>
            <a:ext cx="403308" cy="740254"/>
            <a:chOff x="9878131" y="-2122499"/>
            <a:chExt cx="419780" cy="770488"/>
          </a:xfrm>
        </p:grpSpPr>
        <p:sp>
          <p:nvSpPr>
            <p:cNvPr id="15" name="Oval 14">
              <a:extLst>
                <a:ext uri="{FF2B5EF4-FFF2-40B4-BE49-F238E27FC236}">
                  <a16:creationId xmlns:a16="http://schemas.microsoft.com/office/drawing/2014/main" id="{7095438A-2B2D-4C8B-92C4-88412121771A}"/>
                </a:ext>
              </a:extLst>
            </p:cNvPr>
            <p:cNvSpPr/>
            <p:nvPr/>
          </p:nvSpPr>
          <p:spPr>
            <a:xfrm>
              <a:off x="10197634" y="-1544503"/>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Oval 19">
              <a:extLst>
                <a:ext uri="{FF2B5EF4-FFF2-40B4-BE49-F238E27FC236}">
                  <a16:creationId xmlns:a16="http://schemas.microsoft.com/office/drawing/2014/main" id="{2FBA9CAB-712F-1CC4-39F9-A88AB095F0CF}"/>
                </a:ext>
              </a:extLst>
            </p:cNvPr>
            <p:cNvSpPr/>
            <p:nvPr/>
          </p:nvSpPr>
          <p:spPr>
            <a:xfrm>
              <a:off x="9979268" y="-1544503"/>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Oval 22">
              <a:extLst>
                <a:ext uri="{FF2B5EF4-FFF2-40B4-BE49-F238E27FC236}">
                  <a16:creationId xmlns:a16="http://schemas.microsoft.com/office/drawing/2014/main" id="{E3083932-4CDF-7079-4232-751AC9712918}"/>
                </a:ext>
              </a:extLst>
            </p:cNvPr>
            <p:cNvSpPr/>
            <p:nvPr/>
          </p:nvSpPr>
          <p:spPr>
            <a:xfrm>
              <a:off x="9878131" y="-165105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Oval 23">
              <a:extLst>
                <a:ext uri="{FF2B5EF4-FFF2-40B4-BE49-F238E27FC236}">
                  <a16:creationId xmlns:a16="http://schemas.microsoft.com/office/drawing/2014/main" id="{4B3E4BDC-DF2A-E58D-34F2-F033E3D057D0}"/>
                </a:ext>
              </a:extLst>
            </p:cNvPr>
            <p:cNvSpPr/>
            <p:nvPr/>
          </p:nvSpPr>
          <p:spPr>
            <a:xfrm>
              <a:off x="9878131" y="-186430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Oval 24">
              <a:extLst>
                <a:ext uri="{FF2B5EF4-FFF2-40B4-BE49-F238E27FC236}">
                  <a16:creationId xmlns:a16="http://schemas.microsoft.com/office/drawing/2014/main" id="{688E9E91-AB71-5593-DBAF-44670D4DD6C6}"/>
                </a:ext>
              </a:extLst>
            </p:cNvPr>
            <p:cNvSpPr/>
            <p:nvPr/>
          </p:nvSpPr>
          <p:spPr>
            <a:xfrm>
              <a:off x="10049215" y="-1841536"/>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Oval 31">
              <a:extLst>
                <a:ext uri="{FF2B5EF4-FFF2-40B4-BE49-F238E27FC236}">
                  <a16:creationId xmlns:a16="http://schemas.microsoft.com/office/drawing/2014/main" id="{1BA11CB2-ADF8-68AC-C13C-309748509DFD}"/>
                </a:ext>
              </a:extLst>
            </p:cNvPr>
            <p:cNvSpPr/>
            <p:nvPr/>
          </p:nvSpPr>
          <p:spPr>
            <a:xfrm>
              <a:off x="10186109" y="-169378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 name="Oval 32">
              <a:extLst>
                <a:ext uri="{FF2B5EF4-FFF2-40B4-BE49-F238E27FC236}">
                  <a16:creationId xmlns:a16="http://schemas.microsoft.com/office/drawing/2014/main" id="{445AC414-A580-53FE-6A18-C2606B631844}"/>
                </a:ext>
              </a:extLst>
            </p:cNvPr>
            <p:cNvSpPr/>
            <p:nvPr/>
          </p:nvSpPr>
          <p:spPr>
            <a:xfrm>
              <a:off x="9963985" y="-165105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Oval 33">
              <a:extLst>
                <a:ext uri="{FF2B5EF4-FFF2-40B4-BE49-F238E27FC236}">
                  <a16:creationId xmlns:a16="http://schemas.microsoft.com/office/drawing/2014/main" id="{9CD59B88-37BB-A9F6-0F1B-87ADD5FBAF6B}"/>
                </a:ext>
              </a:extLst>
            </p:cNvPr>
            <p:cNvSpPr/>
            <p:nvPr/>
          </p:nvSpPr>
          <p:spPr>
            <a:xfrm>
              <a:off x="9979268" y="-1600985"/>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35" name="Straight Connector 34">
              <a:extLst>
                <a:ext uri="{FF2B5EF4-FFF2-40B4-BE49-F238E27FC236}">
                  <a16:creationId xmlns:a16="http://schemas.microsoft.com/office/drawing/2014/main" id="{B6A81BAF-65BF-6A46-8B1E-50E5FBF33FDC}"/>
                </a:ext>
              </a:extLst>
            </p:cNvPr>
            <p:cNvCxnSpPr>
              <a:stCxn id="78" idx="6"/>
              <a:endCxn id="15" idx="2"/>
            </p:cNvCxnSpPr>
            <p:nvPr/>
          </p:nvCxnSpPr>
          <p:spPr>
            <a:xfrm>
              <a:off x="10155148" y="-1526503"/>
              <a:ext cx="42486" cy="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F0F4B18-2811-50FB-65DF-1C3C0DA77BDD}"/>
                </a:ext>
              </a:extLst>
            </p:cNvPr>
            <p:cNvCxnSpPr>
              <a:cxnSpLocks/>
              <a:stCxn id="20" idx="6"/>
              <a:endCxn id="51" idx="2"/>
            </p:cNvCxnSpPr>
            <p:nvPr/>
          </p:nvCxnSpPr>
          <p:spPr>
            <a:xfrm>
              <a:off x="10015268" y="-1526503"/>
              <a:ext cx="35096" cy="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C67678A-A872-58D6-8B84-E0B5B6173C18}"/>
                </a:ext>
              </a:extLst>
            </p:cNvPr>
            <p:cNvCxnSpPr>
              <a:cxnSpLocks/>
              <a:stCxn id="23" idx="0"/>
              <a:endCxn id="46" idx="4"/>
            </p:cNvCxnSpPr>
            <p:nvPr/>
          </p:nvCxnSpPr>
          <p:spPr>
            <a:xfrm flipV="1">
              <a:off x="9896131" y="-1684818"/>
              <a:ext cx="962" cy="33768"/>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771E59A-7C3A-B902-AE5B-66B969DAA617}"/>
                </a:ext>
              </a:extLst>
            </p:cNvPr>
            <p:cNvCxnSpPr>
              <a:cxnSpLocks/>
              <a:stCxn id="45" idx="0"/>
              <a:endCxn id="24" idx="4"/>
            </p:cNvCxnSpPr>
            <p:nvPr/>
          </p:nvCxnSpPr>
          <p:spPr>
            <a:xfrm flipH="1" flipV="1">
              <a:off x="9896131" y="-1828300"/>
              <a:ext cx="962" cy="32489"/>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036B122-3C5F-0152-10FE-14999C4BE6A2}"/>
                </a:ext>
              </a:extLst>
            </p:cNvPr>
            <p:cNvCxnSpPr>
              <a:cxnSpLocks/>
            </p:cNvCxnSpPr>
            <p:nvPr/>
          </p:nvCxnSpPr>
          <p:spPr>
            <a:xfrm flipV="1">
              <a:off x="9985620" y="-1682958"/>
              <a:ext cx="19357" cy="3600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EF814F7-2686-483F-0BB8-6DA0AF38A337}"/>
                </a:ext>
              </a:extLst>
            </p:cNvPr>
            <p:cNvCxnSpPr>
              <a:cxnSpLocks/>
            </p:cNvCxnSpPr>
            <p:nvPr/>
          </p:nvCxnSpPr>
          <p:spPr>
            <a:xfrm flipV="1">
              <a:off x="10015268" y="-1584357"/>
              <a:ext cx="36000" cy="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A12D86B-51C9-99DB-5AC4-0568DFAA2029}"/>
                </a:ext>
              </a:extLst>
            </p:cNvPr>
            <p:cNvCxnSpPr>
              <a:cxnSpLocks/>
              <a:stCxn id="50" idx="5"/>
              <a:endCxn id="32" idx="1"/>
            </p:cNvCxnSpPr>
            <p:nvPr/>
          </p:nvCxnSpPr>
          <p:spPr>
            <a:xfrm>
              <a:off x="10179725" y="-1711009"/>
              <a:ext cx="11656" cy="22501"/>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58B39F-7E7F-4731-DDF0-0E88963D8992}"/>
                </a:ext>
              </a:extLst>
            </p:cNvPr>
            <p:cNvCxnSpPr>
              <a:cxnSpLocks/>
              <a:stCxn id="25" idx="5"/>
              <a:endCxn id="49" idx="1"/>
            </p:cNvCxnSpPr>
            <p:nvPr/>
          </p:nvCxnSpPr>
          <p:spPr>
            <a:xfrm>
              <a:off x="10079943" y="-1810808"/>
              <a:ext cx="24889" cy="17643"/>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DF6AC5A-E40F-151A-5C63-187F51A8CA55}"/>
                </a:ext>
              </a:extLst>
            </p:cNvPr>
            <p:cNvGrpSpPr/>
            <p:nvPr/>
          </p:nvGrpSpPr>
          <p:grpSpPr>
            <a:xfrm>
              <a:off x="9879093" y="-2122499"/>
              <a:ext cx="418818" cy="770488"/>
              <a:chOff x="9879093" y="-2122499"/>
              <a:chExt cx="418818" cy="770488"/>
            </a:xfrm>
          </p:grpSpPr>
          <p:grpSp>
            <p:nvGrpSpPr>
              <p:cNvPr id="44" name="Group 43">
                <a:extLst>
                  <a:ext uri="{FF2B5EF4-FFF2-40B4-BE49-F238E27FC236}">
                    <a16:creationId xmlns:a16="http://schemas.microsoft.com/office/drawing/2014/main" id="{095A6320-D481-C3B2-4E30-73222C00FBCF}"/>
                  </a:ext>
                </a:extLst>
              </p:cNvPr>
              <p:cNvGrpSpPr/>
              <p:nvPr/>
            </p:nvGrpSpPr>
            <p:grpSpPr>
              <a:xfrm rot="2873470">
                <a:off x="9740751" y="-1909172"/>
                <a:ext cx="770488" cy="343833"/>
                <a:chOff x="6917961" y="-1621129"/>
                <a:chExt cx="770488" cy="343833"/>
              </a:xfrm>
            </p:grpSpPr>
            <p:sp>
              <p:nvSpPr>
                <p:cNvPr id="79" name="Rectangle: Rounded Corners 78">
                  <a:extLst>
                    <a:ext uri="{FF2B5EF4-FFF2-40B4-BE49-F238E27FC236}">
                      <a16:creationId xmlns:a16="http://schemas.microsoft.com/office/drawing/2014/main" id="{7823163A-8476-25E5-93A7-5A8A538A76A1}"/>
                    </a:ext>
                  </a:extLst>
                </p:cNvPr>
                <p:cNvSpPr/>
                <p:nvPr/>
              </p:nvSpPr>
              <p:spPr>
                <a:xfrm rot="2589768">
                  <a:off x="7352127" y="-1335887"/>
                  <a:ext cx="252000" cy="58591"/>
                </a:xfrm>
                <a:prstGeom prst="roundRect">
                  <a:avLst>
                    <a:gd name="adj" fmla="val 50000"/>
                  </a:avLst>
                </a:prstGeom>
                <a:gradFill flip="none" rotWithShape="1">
                  <a:gsLst>
                    <a:gs pos="74000">
                      <a:schemeClr val="accent5">
                        <a:lumMod val="50000"/>
                      </a:schemeClr>
                    </a:gs>
                    <a:gs pos="72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0" name="Rectangle: Rounded Corners 79">
                  <a:extLst>
                    <a:ext uri="{FF2B5EF4-FFF2-40B4-BE49-F238E27FC236}">
                      <a16:creationId xmlns:a16="http://schemas.microsoft.com/office/drawing/2014/main" id="{95787A6A-F8DF-9367-C533-90EE104053AD}"/>
                    </a:ext>
                  </a:extLst>
                </p:cNvPr>
                <p:cNvSpPr/>
                <p:nvPr/>
              </p:nvSpPr>
              <p:spPr>
                <a:xfrm rot="19010232" flipH="1">
                  <a:off x="6999929" y="-1344399"/>
                  <a:ext cx="252000" cy="58591"/>
                </a:xfrm>
                <a:prstGeom prst="roundRect">
                  <a:avLst>
                    <a:gd name="adj" fmla="val 50000"/>
                  </a:avLst>
                </a:prstGeom>
                <a:gradFill flip="none" rotWithShape="1">
                  <a:gsLst>
                    <a:gs pos="74000">
                      <a:schemeClr val="accent5">
                        <a:lumMod val="50000"/>
                      </a:schemeClr>
                    </a:gs>
                    <a:gs pos="73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1" name="Free-form: Shape 1357">
                  <a:extLst>
                    <a:ext uri="{FF2B5EF4-FFF2-40B4-BE49-F238E27FC236}">
                      <a16:creationId xmlns:a16="http://schemas.microsoft.com/office/drawing/2014/main" id="{36C4D517-DE90-840D-2200-D5D6EEDC37F2}"/>
                    </a:ext>
                  </a:extLst>
                </p:cNvPr>
                <p:cNvSpPr/>
                <p:nvPr/>
              </p:nvSpPr>
              <p:spPr>
                <a:xfrm rot="19010232" flipH="1">
                  <a:off x="6917961" y="-1621129"/>
                  <a:ext cx="536464" cy="331199"/>
                </a:xfrm>
                <a:custGeom>
                  <a:avLst/>
                  <a:gdLst>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295759 w 536464"/>
                    <a:gd name="connsiteY6" fmla="*/ 331198 h 331199"/>
                    <a:gd name="connsiteX7" fmla="*/ 507167 w 536464"/>
                    <a:gd name="connsiteY7" fmla="*/ 331199 h 331199"/>
                    <a:gd name="connsiteX8" fmla="*/ 536463 w 536464"/>
                    <a:gd name="connsiteY8" fmla="*/ 301903 h 331199"/>
                    <a:gd name="connsiteX9" fmla="*/ 536464 w 536464"/>
                    <a:gd name="connsiteY9" fmla="*/ 301903 h 331199"/>
                    <a:gd name="connsiteX10" fmla="*/ 507168 w 536464"/>
                    <a:gd name="connsiteY10" fmla="*/ 272607 h 331199"/>
                    <a:gd name="connsiteX11" fmla="*/ 297661 w 536464"/>
                    <a:gd name="connsiteY11" fmla="*/ 272607 h 331199"/>
                    <a:gd name="connsiteX12" fmla="*/ 50664 w 536464"/>
                    <a:gd name="connsiteY12" fmla="*/ 9240 h 331199"/>
                    <a:gd name="connsiteX13" fmla="*/ 30235 w 536464"/>
                    <a:gd name="connsiteY13" fmla="*/ 0 h 331199"/>
                    <a:gd name="connsiteX14" fmla="*/ 9255 w 536464"/>
                    <a:gd name="connsiteY14" fmla="*/ 7911 h 331199"/>
                    <a:gd name="connsiteX15" fmla="*/ 9255 w 536464"/>
                    <a:gd name="connsiteY15" fmla="*/ 7912 h 331199"/>
                    <a:gd name="connsiteX16" fmla="*/ 9255 w 536464"/>
                    <a:gd name="connsiteY16" fmla="*/ 7912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507167 w 536464"/>
                    <a:gd name="connsiteY6" fmla="*/ 331199 h 331199"/>
                    <a:gd name="connsiteX7" fmla="*/ 536463 w 536464"/>
                    <a:gd name="connsiteY7" fmla="*/ 301903 h 331199"/>
                    <a:gd name="connsiteX8" fmla="*/ 536464 w 536464"/>
                    <a:gd name="connsiteY8" fmla="*/ 301903 h 331199"/>
                    <a:gd name="connsiteX9" fmla="*/ 507168 w 536464"/>
                    <a:gd name="connsiteY9" fmla="*/ 272607 h 331199"/>
                    <a:gd name="connsiteX10" fmla="*/ 297661 w 536464"/>
                    <a:gd name="connsiteY10" fmla="*/ 272607 h 331199"/>
                    <a:gd name="connsiteX11" fmla="*/ 50664 w 536464"/>
                    <a:gd name="connsiteY11" fmla="*/ 9240 h 331199"/>
                    <a:gd name="connsiteX12" fmla="*/ 30235 w 536464"/>
                    <a:gd name="connsiteY12" fmla="*/ 0 h 331199"/>
                    <a:gd name="connsiteX13" fmla="*/ 9255 w 536464"/>
                    <a:gd name="connsiteY13" fmla="*/ 7912 h 331199"/>
                    <a:gd name="connsiteX14" fmla="*/ 9255 w 536464"/>
                    <a:gd name="connsiteY14" fmla="*/ 7911 h 331199"/>
                    <a:gd name="connsiteX15" fmla="*/ 9255 w 536464"/>
                    <a:gd name="connsiteY15" fmla="*/ 7912 h 331199"/>
                    <a:gd name="connsiteX16" fmla="*/ 9255 w 536464"/>
                    <a:gd name="connsiteY16" fmla="*/ 7912 h 331199"/>
                    <a:gd name="connsiteX17" fmla="*/ 9255 w 536464"/>
                    <a:gd name="connsiteY17" fmla="*/ 7911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507167 w 536464"/>
                    <a:gd name="connsiteY5" fmla="*/ 331199 h 331199"/>
                    <a:gd name="connsiteX6" fmla="*/ 536463 w 536464"/>
                    <a:gd name="connsiteY6" fmla="*/ 301903 h 331199"/>
                    <a:gd name="connsiteX7" fmla="*/ 536464 w 536464"/>
                    <a:gd name="connsiteY7" fmla="*/ 301903 h 331199"/>
                    <a:gd name="connsiteX8" fmla="*/ 507168 w 536464"/>
                    <a:gd name="connsiteY8" fmla="*/ 272607 h 331199"/>
                    <a:gd name="connsiteX9" fmla="*/ 297661 w 536464"/>
                    <a:gd name="connsiteY9" fmla="*/ 272607 h 331199"/>
                    <a:gd name="connsiteX10" fmla="*/ 50664 w 536464"/>
                    <a:gd name="connsiteY10" fmla="*/ 9240 h 331199"/>
                    <a:gd name="connsiteX11" fmla="*/ 30235 w 536464"/>
                    <a:gd name="connsiteY11" fmla="*/ 0 h 331199"/>
                    <a:gd name="connsiteX12" fmla="*/ 9255 w 536464"/>
                    <a:gd name="connsiteY12" fmla="*/ 7912 h 331199"/>
                    <a:gd name="connsiteX13" fmla="*/ 9255 w 536464"/>
                    <a:gd name="connsiteY13" fmla="*/ 7911 h 331199"/>
                    <a:gd name="connsiteX14" fmla="*/ 9255 w 536464"/>
                    <a:gd name="connsiteY14" fmla="*/ 7912 h 331199"/>
                    <a:gd name="connsiteX15" fmla="*/ 9255 w 536464"/>
                    <a:gd name="connsiteY15" fmla="*/ 7912 h 331199"/>
                    <a:gd name="connsiteX16" fmla="*/ 9255 w 536464"/>
                    <a:gd name="connsiteY16" fmla="*/ 7911 h 3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464" h="331199">
                      <a:moveTo>
                        <a:pt x="9255" y="7912"/>
                      </a:moveTo>
                      <a:lnTo>
                        <a:pt x="15" y="28341"/>
                      </a:lnTo>
                      <a:cubicBezTo>
                        <a:pt x="-225" y="35834"/>
                        <a:pt x="2393" y="43420"/>
                        <a:pt x="7927" y="49321"/>
                      </a:cubicBezTo>
                      <a:lnTo>
                        <a:pt x="263365" y="321690"/>
                      </a:lnTo>
                      <a:cubicBezTo>
                        <a:pt x="268899" y="327591"/>
                        <a:pt x="276301" y="330690"/>
                        <a:pt x="283795" y="330930"/>
                      </a:cubicBezTo>
                      <a:lnTo>
                        <a:pt x="507167" y="331199"/>
                      </a:lnTo>
                      <a:cubicBezTo>
                        <a:pt x="523347" y="331199"/>
                        <a:pt x="536463" y="318083"/>
                        <a:pt x="536463" y="301903"/>
                      </a:cubicBezTo>
                      <a:lnTo>
                        <a:pt x="536464" y="301903"/>
                      </a:lnTo>
                      <a:cubicBezTo>
                        <a:pt x="536464" y="285723"/>
                        <a:pt x="523348" y="272607"/>
                        <a:pt x="507168" y="272607"/>
                      </a:cubicBezTo>
                      <a:lnTo>
                        <a:pt x="297661" y="272607"/>
                      </a:lnTo>
                      <a:lnTo>
                        <a:pt x="50664" y="9240"/>
                      </a:lnTo>
                      <a:cubicBezTo>
                        <a:pt x="45130" y="3339"/>
                        <a:pt x="37728" y="240"/>
                        <a:pt x="30235" y="0"/>
                      </a:cubicBezTo>
                      <a:lnTo>
                        <a:pt x="9255" y="7912"/>
                      </a:lnTo>
                      <a:close/>
                      <a:moveTo>
                        <a:pt x="9255" y="7911"/>
                      </a:moveTo>
                      <a:lnTo>
                        <a:pt x="9255" y="7912"/>
                      </a:lnTo>
                      <a:lnTo>
                        <a:pt x="9255" y="7912"/>
                      </a:lnTo>
                      <a:lnTo>
                        <a:pt x="9255" y="7911"/>
                      </a:lnTo>
                      <a:close/>
                    </a:path>
                  </a:pathLst>
                </a:custGeom>
                <a:gradFill flip="none" rotWithShape="1">
                  <a:gsLst>
                    <a:gs pos="88000">
                      <a:schemeClr val="accent5">
                        <a:lumMod val="50000"/>
                      </a:schemeClr>
                    </a:gs>
                    <a:gs pos="87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2" name="Free-form: Shape 1358">
                  <a:extLst>
                    <a:ext uri="{FF2B5EF4-FFF2-40B4-BE49-F238E27FC236}">
                      <a16:creationId xmlns:a16="http://schemas.microsoft.com/office/drawing/2014/main" id="{3A856EC0-F129-0644-3ED3-C6D079E9C1FC}"/>
                    </a:ext>
                  </a:extLst>
                </p:cNvPr>
                <p:cNvSpPr/>
                <p:nvPr/>
              </p:nvSpPr>
              <p:spPr>
                <a:xfrm rot="2589768">
                  <a:off x="7151985" y="-1621128"/>
                  <a:ext cx="536464" cy="331199"/>
                </a:xfrm>
                <a:custGeom>
                  <a:avLst/>
                  <a:gdLst>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295759 w 536464"/>
                    <a:gd name="connsiteY6" fmla="*/ 331198 h 331199"/>
                    <a:gd name="connsiteX7" fmla="*/ 507167 w 536464"/>
                    <a:gd name="connsiteY7" fmla="*/ 331199 h 331199"/>
                    <a:gd name="connsiteX8" fmla="*/ 536463 w 536464"/>
                    <a:gd name="connsiteY8" fmla="*/ 301903 h 331199"/>
                    <a:gd name="connsiteX9" fmla="*/ 536464 w 536464"/>
                    <a:gd name="connsiteY9" fmla="*/ 301903 h 331199"/>
                    <a:gd name="connsiteX10" fmla="*/ 507168 w 536464"/>
                    <a:gd name="connsiteY10" fmla="*/ 272607 h 331199"/>
                    <a:gd name="connsiteX11" fmla="*/ 297661 w 536464"/>
                    <a:gd name="connsiteY11" fmla="*/ 272607 h 331199"/>
                    <a:gd name="connsiteX12" fmla="*/ 50664 w 536464"/>
                    <a:gd name="connsiteY12" fmla="*/ 9240 h 331199"/>
                    <a:gd name="connsiteX13" fmla="*/ 30235 w 536464"/>
                    <a:gd name="connsiteY13" fmla="*/ 0 h 331199"/>
                    <a:gd name="connsiteX14" fmla="*/ 9255 w 536464"/>
                    <a:gd name="connsiteY14" fmla="*/ 7911 h 331199"/>
                    <a:gd name="connsiteX15" fmla="*/ 9255 w 536464"/>
                    <a:gd name="connsiteY15" fmla="*/ 7912 h 331199"/>
                    <a:gd name="connsiteX16" fmla="*/ 9255 w 536464"/>
                    <a:gd name="connsiteY16" fmla="*/ 7912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507167 w 536464"/>
                    <a:gd name="connsiteY6" fmla="*/ 331199 h 331199"/>
                    <a:gd name="connsiteX7" fmla="*/ 536463 w 536464"/>
                    <a:gd name="connsiteY7" fmla="*/ 301903 h 331199"/>
                    <a:gd name="connsiteX8" fmla="*/ 536464 w 536464"/>
                    <a:gd name="connsiteY8" fmla="*/ 301903 h 331199"/>
                    <a:gd name="connsiteX9" fmla="*/ 507168 w 536464"/>
                    <a:gd name="connsiteY9" fmla="*/ 272607 h 331199"/>
                    <a:gd name="connsiteX10" fmla="*/ 297661 w 536464"/>
                    <a:gd name="connsiteY10" fmla="*/ 272607 h 331199"/>
                    <a:gd name="connsiteX11" fmla="*/ 50664 w 536464"/>
                    <a:gd name="connsiteY11" fmla="*/ 9240 h 331199"/>
                    <a:gd name="connsiteX12" fmla="*/ 30235 w 536464"/>
                    <a:gd name="connsiteY12" fmla="*/ 0 h 331199"/>
                    <a:gd name="connsiteX13" fmla="*/ 9255 w 536464"/>
                    <a:gd name="connsiteY13" fmla="*/ 7912 h 331199"/>
                    <a:gd name="connsiteX14" fmla="*/ 9255 w 536464"/>
                    <a:gd name="connsiteY14" fmla="*/ 7911 h 331199"/>
                    <a:gd name="connsiteX15" fmla="*/ 9255 w 536464"/>
                    <a:gd name="connsiteY15" fmla="*/ 7912 h 331199"/>
                    <a:gd name="connsiteX16" fmla="*/ 9255 w 536464"/>
                    <a:gd name="connsiteY16" fmla="*/ 7912 h 331199"/>
                    <a:gd name="connsiteX17" fmla="*/ 9255 w 536464"/>
                    <a:gd name="connsiteY17" fmla="*/ 7911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507167 w 536464"/>
                    <a:gd name="connsiteY5" fmla="*/ 331199 h 331199"/>
                    <a:gd name="connsiteX6" fmla="*/ 536463 w 536464"/>
                    <a:gd name="connsiteY6" fmla="*/ 301903 h 331199"/>
                    <a:gd name="connsiteX7" fmla="*/ 536464 w 536464"/>
                    <a:gd name="connsiteY7" fmla="*/ 301903 h 331199"/>
                    <a:gd name="connsiteX8" fmla="*/ 507168 w 536464"/>
                    <a:gd name="connsiteY8" fmla="*/ 272607 h 331199"/>
                    <a:gd name="connsiteX9" fmla="*/ 297661 w 536464"/>
                    <a:gd name="connsiteY9" fmla="*/ 272607 h 331199"/>
                    <a:gd name="connsiteX10" fmla="*/ 50664 w 536464"/>
                    <a:gd name="connsiteY10" fmla="*/ 9240 h 331199"/>
                    <a:gd name="connsiteX11" fmla="*/ 30235 w 536464"/>
                    <a:gd name="connsiteY11" fmla="*/ 0 h 331199"/>
                    <a:gd name="connsiteX12" fmla="*/ 9255 w 536464"/>
                    <a:gd name="connsiteY12" fmla="*/ 7912 h 331199"/>
                    <a:gd name="connsiteX13" fmla="*/ 9255 w 536464"/>
                    <a:gd name="connsiteY13" fmla="*/ 7911 h 331199"/>
                    <a:gd name="connsiteX14" fmla="*/ 9255 w 536464"/>
                    <a:gd name="connsiteY14" fmla="*/ 7912 h 331199"/>
                    <a:gd name="connsiteX15" fmla="*/ 9255 w 536464"/>
                    <a:gd name="connsiteY15" fmla="*/ 7912 h 331199"/>
                    <a:gd name="connsiteX16" fmla="*/ 9255 w 536464"/>
                    <a:gd name="connsiteY16" fmla="*/ 7911 h 3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464" h="331199">
                      <a:moveTo>
                        <a:pt x="9255" y="7912"/>
                      </a:moveTo>
                      <a:lnTo>
                        <a:pt x="15" y="28341"/>
                      </a:lnTo>
                      <a:cubicBezTo>
                        <a:pt x="-225" y="35834"/>
                        <a:pt x="2393" y="43420"/>
                        <a:pt x="7927" y="49321"/>
                      </a:cubicBezTo>
                      <a:lnTo>
                        <a:pt x="263365" y="321690"/>
                      </a:lnTo>
                      <a:cubicBezTo>
                        <a:pt x="268899" y="327591"/>
                        <a:pt x="276301" y="330690"/>
                        <a:pt x="283795" y="330930"/>
                      </a:cubicBezTo>
                      <a:lnTo>
                        <a:pt x="507167" y="331199"/>
                      </a:lnTo>
                      <a:cubicBezTo>
                        <a:pt x="523347" y="331199"/>
                        <a:pt x="536463" y="318083"/>
                        <a:pt x="536463" y="301903"/>
                      </a:cubicBezTo>
                      <a:lnTo>
                        <a:pt x="536464" y="301903"/>
                      </a:lnTo>
                      <a:cubicBezTo>
                        <a:pt x="536464" y="285723"/>
                        <a:pt x="523348" y="272607"/>
                        <a:pt x="507168" y="272607"/>
                      </a:cubicBezTo>
                      <a:lnTo>
                        <a:pt x="297661" y="272607"/>
                      </a:lnTo>
                      <a:lnTo>
                        <a:pt x="50664" y="9240"/>
                      </a:lnTo>
                      <a:cubicBezTo>
                        <a:pt x="45130" y="3339"/>
                        <a:pt x="37728" y="240"/>
                        <a:pt x="30235" y="0"/>
                      </a:cubicBezTo>
                      <a:lnTo>
                        <a:pt x="9255" y="7912"/>
                      </a:lnTo>
                      <a:close/>
                      <a:moveTo>
                        <a:pt x="9255" y="7911"/>
                      </a:moveTo>
                      <a:lnTo>
                        <a:pt x="9255" y="7912"/>
                      </a:lnTo>
                      <a:lnTo>
                        <a:pt x="9255" y="7912"/>
                      </a:lnTo>
                      <a:lnTo>
                        <a:pt x="9255" y="7911"/>
                      </a:lnTo>
                      <a:close/>
                    </a:path>
                  </a:pathLst>
                </a:custGeom>
                <a:gradFill flip="none" rotWithShape="1">
                  <a:gsLst>
                    <a:gs pos="88000">
                      <a:schemeClr val="accent5">
                        <a:lumMod val="50000"/>
                      </a:schemeClr>
                    </a:gs>
                    <a:gs pos="87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5" name="Oval 44">
                <a:extLst>
                  <a:ext uri="{FF2B5EF4-FFF2-40B4-BE49-F238E27FC236}">
                    <a16:creationId xmlns:a16="http://schemas.microsoft.com/office/drawing/2014/main" id="{E5F03BBB-58B0-A643-7A84-43D16FD75103}"/>
                  </a:ext>
                </a:extLst>
              </p:cNvPr>
              <p:cNvSpPr/>
              <p:nvPr/>
            </p:nvSpPr>
            <p:spPr>
              <a:xfrm>
                <a:off x="9879093" y="-1795811"/>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Oval 45">
                <a:extLst>
                  <a:ext uri="{FF2B5EF4-FFF2-40B4-BE49-F238E27FC236}">
                    <a16:creationId xmlns:a16="http://schemas.microsoft.com/office/drawing/2014/main" id="{C3021F15-F9A5-E129-9663-F5D2C69BAEEA}"/>
                  </a:ext>
                </a:extLst>
              </p:cNvPr>
              <p:cNvSpPr/>
              <p:nvPr/>
            </p:nvSpPr>
            <p:spPr>
              <a:xfrm>
                <a:off x="9879093" y="-1720818"/>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 name="Oval 46">
                <a:extLst>
                  <a:ext uri="{FF2B5EF4-FFF2-40B4-BE49-F238E27FC236}">
                    <a16:creationId xmlns:a16="http://schemas.microsoft.com/office/drawing/2014/main" id="{E87930A8-0D55-A51A-EC55-42EF7378C6D8}"/>
                  </a:ext>
                </a:extLst>
              </p:cNvPr>
              <p:cNvSpPr/>
              <p:nvPr/>
            </p:nvSpPr>
            <p:spPr>
              <a:xfrm>
                <a:off x="10018932" y="-1724969"/>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Oval 47">
                <a:extLst>
                  <a:ext uri="{FF2B5EF4-FFF2-40B4-BE49-F238E27FC236}">
                    <a16:creationId xmlns:a16="http://schemas.microsoft.com/office/drawing/2014/main" id="{EF321709-6BEE-E579-CCCA-8487D3DD77EA}"/>
                  </a:ext>
                </a:extLst>
              </p:cNvPr>
              <p:cNvSpPr/>
              <p:nvPr/>
            </p:nvSpPr>
            <p:spPr>
              <a:xfrm>
                <a:off x="10059414" y="-1660414"/>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 name="Oval 48">
                <a:extLst>
                  <a:ext uri="{FF2B5EF4-FFF2-40B4-BE49-F238E27FC236}">
                    <a16:creationId xmlns:a16="http://schemas.microsoft.com/office/drawing/2014/main" id="{2B5F90E4-769D-6136-48E3-5F15D94730A2}"/>
                  </a:ext>
                </a:extLst>
              </p:cNvPr>
              <p:cNvSpPr/>
              <p:nvPr/>
            </p:nvSpPr>
            <p:spPr>
              <a:xfrm>
                <a:off x="10099560" y="-1798437"/>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 name="Oval 49">
                <a:extLst>
                  <a:ext uri="{FF2B5EF4-FFF2-40B4-BE49-F238E27FC236}">
                    <a16:creationId xmlns:a16="http://schemas.microsoft.com/office/drawing/2014/main" id="{F100F096-6EB1-E9FB-CD11-F5EAD50A344B}"/>
                  </a:ext>
                </a:extLst>
              </p:cNvPr>
              <p:cNvSpPr/>
              <p:nvPr/>
            </p:nvSpPr>
            <p:spPr>
              <a:xfrm>
                <a:off x="10148997" y="-1741737"/>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 name="Oval 50">
                <a:extLst>
                  <a:ext uri="{FF2B5EF4-FFF2-40B4-BE49-F238E27FC236}">
                    <a16:creationId xmlns:a16="http://schemas.microsoft.com/office/drawing/2014/main" id="{954DD677-8065-AF87-1CDA-B33D0997826F}"/>
                  </a:ext>
                </a:extLst>
              </p:cNvPr>
              <p:cNvSpPr/>
              <p:nvPr/>
            </p:nvSpPr>
            <p:spPr>
              <a:xfrm>
                <a:off x="10050364" y="-1544503"/>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8" name="Oval 77">
                <a:extLst>
                  <a:ext uri="{FF2B5EF4-FFF2-40B4-BE49-F238E27FC236}">
                    <a16:creationId xmlns:a16="http://schemas.microsoft.com/office/drawing/2014/main" id="{7452A1F7-A70B-C713-62D6-BBD0F4056C71}"/>
                  </a:ext>
                </a:extLst>
              </p:cNvPr>
              <p:cNvSpPr/>
              <p:nvPr/>
            </p:nvSpPr>
            <p:spPr>
              <a:xfrm>
                <a:off x="10119148" y="-1544503"/>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83" name="TextBox 82">
            <a:extLst>
              <a:ext uri="{FF2B5EF4-FFF2-40B4-BE49-F238E27FC236}">
                <a16:creationId xmlns:a16="http://schemas.microsoft.com/office/drawing/2014/main" id="{03800FC3-5720-404C-AEF1-923D707A4253}"/>
              </a:ext>
            </a:extLst>
          </p:cNvPr>
          <p:cNvSpPr txBox="1"/>
          <p:nvPr/>
        </p:nvSpPr>
        <p:spPr>
          <a:xfrm>
            <a:off x="8184784" y="4105072"/>
            <a:ext cx="84583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ti-TROP2</a:t>
            </a:r>
          </a:p>
        </p:txBody>
      </p:sp>
      <p:sp>
        <p:nvSpPr>
          <p:cNvPr id="84" name="Right Bracket 83">
            <a:extLst>
              <a:ext uri="{FF2B5EF4-FFF2-40B4-BE49-F238E27FC236}">
                <a16:creationId xmlns:a16="http://schemas.microsoft.com/office/drawing/2014/main" id="{6E6607BE-4426-5872-21D4-5393EFB9FF00}"/>
              </a:ext>
            </a:extLst>
          </p:cNvPr>
          <p:cNvSpPr/>
          <p:nvPr/>
        </p:nvSpPr>
        <p:spPr>
          <a:xfrm rot="13612950">
            <a:off x="9051465" y="4140339"/>
            <a:ext cx="45719" cy="269893"/>
          </a:xfrm>
          <a:prstGeom prst="rightBracket">
            <a:avLst/>
          </a:prstGeom>
          <a:ln w="12700">
            <a:solidFill>
              <a:schemeClr val="accent3">
                <a:lumMod val="75000"/>
              </a:schemeClr>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85" name="Group 84">
            <a:extLst>
              <a:ext uri="{FF2B5EF4-FFF2-40B4-BE49-F238E27FC236}">
                <a16:creationId xmlns:a16="http://schemas.microsoft.com/office/drawing/2014/main" id="{0C33B636-E9F4-AA2D-3797-98C4CA7532DE}"/>
              </a:ext>
            </a:extLst>
          </p:cNvPr>
          <p:cNvGrpSpPr/>
          <p:nvPr/>
        </p:nvGrpSpPr>
        <p:grpSpPr>
          <a:xfrm>
            <a:off x="8200974" y="5439432"/>
            <a:ext cx="175453" cy="155537"/>
            <a:chOff x="6752385" y="4056297"/>
            <a:chExt cx="175453" cy="155537"/>
          </a:xfrm>
        </p:grpSpPr>
        <p:sp>
          <p:nvSpPr>
            <p:cNvPr id="86" name="Oval 85">
              <a:extLst>
                <a:ext uri="{FF2B5EF4-FFF2-40B4-BE49-F238E27FC236}">
                  <a16:creationId xmlns:a16="http://schemas.microsoft.com/office/drawing/2014/main" id="{8E6848A4-E3CE-7C2E-6EC2-D2955BE58CA5}"/>
                </a:ext>
              </a:extLst>
            </p:cNvPr>
            <p:cNvSpPr/>
            <p:nvPr/>
          </p:nvSpPr>
          <p:spPr>
            <a:xfrm>
              <a:off x="6846720" y="4056297"/>
              <a:ext cx="81118" cy="8111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87" name="Straight Connector 86">
              <a:extLst>
                <a:ext uri="{FF2B5EF4-FFF2-40B4-BE49-F238E27FC236}">
                  <a16:creationId xmlns:a16="http://schemas.microsoft.com/office/drawing/2014/main" id="{37BD04F6-F0F2-A59B-7CC7-D17C5A0C9798}"/>
                </a:ext>
              </a:extLst>
            </p:cNvPr>
            <p:cNvCxnSpPr>
              <a:cxnSpLocks/>
            </p:cNvCxnSpPr>
            <p:nvPr/>
          </p:nvCxnSpPr>
          <p:spPr>
            <a:xfrm flipV="1">
              <a:off x="6806763" y="4154169"/>
              <a:ext cx="47980" cy="5766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7DC8864-347D-BF30-AD80-C6BC0C4E7314}"/>
                </a:ext>
              </a:extLst>
            </p:cNvPr>
            <p:cNvCxnSpPr>
              <a:cxnSpLocks/>
            </p:cNvCxnSpPr>
            <p:nvPr/>
          </p:nvCxnSpPr>
          <p:spPr>
            <a:xfrm>
              <a:off x="6752385" y="4080065"/>
              <a:ext cx="72000" cy="1905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BDA948A-66E9-B036-D224-031C07AAD995}"/>
                </a:ext>
              </a:extLst>
            </p:cNvPr>
            <p:cNvCxnSpPr>
              <a:cxnSpLocks/>
            </p:cNvCxnSpPr>
            <p:nvPr/>
          </p:nvCxnSpPr>
          <p:spPr>
            <a:xfrm flipV="1">
              <a:off x="6761230" y="4129318"/>
              <a:ext cx="72000" cy="37298"/>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D92EAC63-93E1-72BE-58DA-5A08B8AEAA76}"/>
              </a:ext>
            </a:extLst>
          </p:cNvPr>
          <p:cNvPicPr>
            <a:picLocks noChangeAspect="1"/>
          </p:cNvPicPr>
          <p:nvPr/>
        </p:nvPicPr>
        <p:blipFill>
          <a:blip r:embed="rId7"/>
          <a:srcRect l="91418" t="-33288" r="563" b="-1"/>
          <a:stretch>
            <a:fillRect/>
          </a:stretch>
        </p:blipFill>
        <p:spPr>
          <a:xfrm>
            <a:off x="11014786" y="4736653"/>
            <a:ext cx="869109" cy="369332"/>
          </a:xfrm>
          <a:prstGeom prst="rect">
            <a:avLst/>
          </a:prstGeom>
        </p:spPr>
      </p:pic>
      <p:grpSp>
        <p:nvGrpSpPr>
          <p:cNvPr id="110" name="Group 109">
            <a:extLst>
              <a:ext uri="{FF2B5EF4-FFF2-40B4-BE49-F238E27FC236}">
                <a16:creationId xmlns:a16="http://schemas.microsoft.com/office/drawing/2014/main" id="{068E32C0-B558-4026-766E-2369E3176582}"/>
              </a:ext>
            </a:extLst>
          </p:cNvPr>
          <p:cNvGrpSpPr/>
          <p:nvPr/>
        </p:nvGrpSpPr>
        <p:grpSpPr>
          <a:xfrm>
            <a:off x="11022045" y="4394126"/>
            <a:ext cx="817855" cy="1472068"/>
            <a:chOff x="10229528" y="3274122"/>
            <a:chExt cx="851259" cy="1532192"/>
          </a:xfrm>
        </p:grpSpPr>
        <p:grpSp>
          <p:nvGrpSpPr>
            <p:cNvPr id="111" name="Group 110">
              <a:extLst>
                <a:ext uri="{FF2B5EF4-FFF2-40B4-BE49-F238E27FC236}">
                  <a16:creationId xmlns:a16="http://schemas.microsoft.com/office/drawing/2014/main" id="{C69D911A-480B-EB71-FC23-D0493577F860}"/>
                </a:ext>
              </a:extLst>
            </p:cNvPr>
            <p:cNvGrpSpPr/>
            <p:nvPr/>
          </p:nvGrpSpPr>
          <p:grpSpPr>
            <a:xfrm>
              <a:off x="10229528" y="3274122"/>
              <a:ext cx="367476" cy="1532192"/>
              <a:chOff x="10125414" y="-1221312"/>
              <a:chExt cx="367476" cy="1532192"/>
            </a:xfrm>
          </p:grpSpPr>
          <p:grpSp>
            <p:nvGrpSpPr>
              <p:cNvPr id="113" name="Group 112">
                <a:extLst>
                  <a:ext uri="{FF2B5EF4-FFF2-40B4-BE49-F238E27FC236}">
                    <a16:creationId xmlns:a16="http://schemas.microsoft.com/office/drawing/2014/main" id="{139A81F7-A29A-66B1-8DE2-B1D7F3D7748F}"/>
                  </a:ext>
                </a:extLst>
              </p:cNvPr>
              <p:cNvGrpSpPr/>
              <p:nvPr/>
            </p:nvGrpSpPr>
            <p:grpSpPr>
              <a:xfrm>
                <a:off x="10174163" y="-1221312"/>
                <a:ext cx="269978" cy="1532192"/>
                <a:chOff x="9695886" y="-1221312"/>
                <a:chExt cx="269978" cy="1532192"/>
              </a:xfrm>
            </p:grpSpPr>
            <p:sp>
              <p:nvSpPr>
                <p:cNvPr id="122" name="Arc 121">
                  <a:extLst>
                    <a:ext uri="{FF2B5EF4-FFF2-40B4-BE49-F238E27FC236}">
                      <a16:creationId xmlns:a16="http://schemas.microsoft.com/office/drawing/2014/main" id="{A2BE6625-5C22-FC5E-B0BE-6F6FB5CEA7EF}"/>
                    </a:ext>
                  </a:extLst>
                </p:cNvPr>
                <p:cNvSpPr/>
                <p:nvPr/>
              </p:nvSpPr>
              <p:spPr>
                <a:xfrm rot="5400000">
                  <a:off x="9679384" y="-1204810"/>
                  <a:ext cx="302981" cy="269978"/>
                </a:xfrm>
                <a:prstGeom prst="arc">
                  <a:avLst>
                    <a:gd name="adj1" fmla="val 15743460"/>
                    <a:gd name="adj2" fmla="val 5878209"/>
                  </a:avLst>
                </a:prstGeom>
                <a:ln w="44450" cap="rnd">
                  <a:solidFill>
                    <a:schemeClr val="accent6"/>
                  </a:solidFill>
                  <a:roun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23" name="Straight Connector 122">
                  <a:extLst>
                    <a:ext uri="{FF2B5EF4-FFF2-40B4-BE49-F238E27FC236}">
                      <a16:creationId xmlns:a16="http://schemas.microsoft.com/office/drawing/2014/main" id="{A3139154-13F1-E25F-8407-0E29A02F7F08}"/>
                    </a:ext>
                  </a:extLst>
                </p:cNvPr>
                <p:cNvCxnSpPr>
                  <a:cxnSpLocks/>
                </p:cNvCxnSpPr>
                <p:nvPr/>
              </p:nvCxnSpPr>
              <p:spPr>
                <a:xfrm>
                  <a:off x="9830874" y="-914400"/>
                  <a:ext cx="0" cy="1225280"/>
                </a:xfrm>
                <a:prstGeom prst="line">
                  <a:avLst/>
                </a:prstGeom>
                <a:ln w="44450">
                  <a:gradFill>
                    <a:gsLst>
                      <a:gs pos="66000">
                        <a:schemeClr val="accent6"/>
                      </a:gs>
                      <a:gs pos="100000">
                        <a:schemeClr val="bg1"/>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cxnSp>
            <p:sp>
              <p:nvSpPr>
                <p:cNvPr id="124" name="Free-form: Shape 1234">
                  <a:extLst>
                    <a:ext uri="{FF2B5EF4-FFF2-40B4-BE49-F238E27FC236}">
                      <a16:creationId xmlns:a16="http://schemas.microsoft.com/office/drawing/2014/main" id="{8E5FF938-76EE-92F4-11A4-AFCA62426C72}"/>
                    </a:ext>
                  </a:extLst>
                </p:cNvPr>
                <p:cNvSpPr/>
                <p:nvPr/>
              </p:nvSpPr>
              <p:spPr>
                <a:xfrm>
                  <a:off x="9741843" y="-431289"/>
                  <a:ext cx="178062" cy="325781"/>
                </a:xfrm>
                <a:custGeom>
                  <a:avLst/>
                  <a:gdLst>
                    <a:gd name="connsiteX0" fmla="*/ 78211 w 178062"/>
                    <a:gd name="connsiteY0" fmla="*/ 0 h 325781"/>
                    <a:gd name="connsiteX1" fmla="*/ 99851 w 178062"/>
                    <a:gd name="connsiteY1" fmla="*/ 0 h 325781"/>
                    <a:gd name="connsiteX2" fmla="*/ 145842 w 178062"/>
                    <a:gd name="connsiteY2" fmla="*/ 45991 h 325781"/>
                    <a:gd name="connsiteX3" fmla="*/ 145842 w 178062"/>
                    <a:gd name="connsiteY3" fmla="*/ 60328 h 325781"/>
                    <a:gd name="connsiteX4" fmla="*/ 156952 w 178062"/>
                    <a:gd name="connsiteY4" fmla="*/ 64930 h 325781"/>
                    <a:gd name="connsiteX5" fmla="*/ 178062 w 178062"/>
                    <a:gd name="connsiteY5" fmla="*/ 115894 h 325781"/>
                    <a:gd name="connsiteX6" fmla="*/ 178062 w 178062"/>
                    <a:gd name="connsiteY6" fmla="*/ 209887 h 325781"/>
                    <a:gd name="connsiteX7" fmla="*/ 156952 w 178062"/>
                    <a:gd name="connsiteY7" fmla="*/ 260851 h 325781"/>
                    <a:gd name="connsiteX8" fmla="*/ 145842 w 178062"/>
                    <a:gd name="connsiteY8" fmla="*/ 265453 h 325781"/>
                    <a:gd name="connsiteX9" fmla="*/ 145842 w 178062"/>
                    <a:gd name="connsiteY9" fmla="*/ 279790 h 325781"/>
                    <a:gd name="connsiteX10" fmla="*/ 99851 w 178062"/>
                    <a:gd name="connsiteY10" fmla="*/ 325781 h 325781"/>
                    <a:gd name="connsiteX11" fmla="*/ 78211 w 178062"/>
                    <a:gd name="connsiteY11" fmla="*/ 325781 h 325781"/>
                    <a:gd name="connsiteX12" fmla="*/ 32220 w 178062"/>
                    <a:gd name="connsiteY12" fmla="*/ 279790 h 325781"/>
                    <a:gd name="connsiteX13" fmla="*/ 32220 w 178062"/>
                    <a:gd name="connsiteY13" fmla="*/ 265453 h 325781"/>
                    <a:gd name="connsiteX14" fmla="*/ 21110 w 178062"/>
                    <a:gd name="connsiteY14" fmla="*/ 260851 h 325781"/>
                    <a:gd name="connsiteX15" fmla="*/ 0 w 178062"/>
                    <a:gd name="connsiteY15" fmla="*/ 209887 h 325781"/>
                    <a:gd name="connsiteX16" fmla="*/ 0 w 178062"/>
                    <a:gd name="connsiteY16" fmla="*/ 115894 h 325781"/>
                    <a:gd name="connsiteX17" fmla="*/ 21110 w 178062"/>
                    <a:gd name="connsiteY17" fmla="*/ 64930 h 325781"/>
                    <a:gd name="connsiteX18" fmla="*/ 32220 w 178062"/>
                    <a:gd name="connsiteY18" fmla="*/ 60328 h 325781"/>
                    <a:gd name="connsiteX19" fmla="*/ 32220 w 178062"/>
                    <a:gd name="connsiteY19" fmla="*/ 45991 h 325781"/>
                    <a:gd name="connsiteX20" fmla="*/ 78211 w 178062"/>
                    <a:gd name="connsiteY20" fmla="*/ 0 h 32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062" h="325781">
                      <a:moveTo>
                        <a:pt x="78211" y="0"/>
                      </a:moveTo>
                      <a:lnTo>
                        <a:pt x="99851" y="0"/>
                      </a:lnTo>
                      <a:cubicBezTo>
                        <a:pt x="125251" y="0"/>
                        <a:pt x="145842" y="20591"/>
                        <a:pt x="145842" y="45991"/>
                      </a:cubicBezTo>
                      <a:lnTo>
                        <a:pt x="145842" y="60328"/>
                      </a:lnTo>
                      <a:lnTo>
                        <a:pt x="156952" y="64930"/>
                      </a:lnTo>
                      <a:cubicBezTo>
                        <a:pt x="169995" y="77973"/>
                        <a:pt x="178062" y="95992"/>
                        <a:pt x="178062" y="115894"/>
                      </a:cubicBezTo>
                      <a:lnTo>
                        <a:pt x="178062" y="209887"/>
                      </a:lnTo>
                      <a:cubicBezTo>
                        <a:pt x="178062" y="229790"/>
                        <a:pt x="169995" y="247808"/>
                        <a:pt x="156952" y="260851"/>
                      </a:cubicBezTo>
                      <a:lnTo>
                        <a:pt x="145842" y="265453"/>
                      </a:lnTo>
                      <a:lnTo>
                        <a:pt x="145842" y="279790"/>
                      </a:lnTo>
                      <a:cubicBezTo>
                        <a:pt x="145842" y="305190"/>
                        <a:pt x="125251" y="325781"/>
                        <a:pt x="99851" y="325781"/>
                      </a:cubicBezTo>
                      <a:lnTo>
                        <a:pt x="78211" y="325781"/>
                      </a:lnTo>
                      <a:cubicBezTo>
                        <a:pt x="52811" y="325781"/>
                        <a:pt x="32220" y="305190"/>
                        <a:pt x="32220" y="279790"/>
                      </a:cubicBezTo>
                      <a:lnTo>
                        <a:pt x="32220" y="265453"/>
                      </a:lnTo>
                      <a:lnTo>
                        <a:pt x="21110" y="260851"/>
                      </a:lnTo>
                      <a:cubicBezTo>
                        <a:pt x="8067" y="247808"/>
                        <a:pt x="0" y="229790"/>
                        <a:pt x="0" y="209887"/>
                      </a:cubicBezTo>
                      <a:lnTo>
                        <a:pt x="0" y="115894"/>
                      </a:lnTo>
                      <a:cubicBezTo>
                        <a:pt x="0" y="95992"/>
                        <a:pt x="8067" y="77973"/>
                        <a:pt x="21110" y="64930"/>
                      </a:cubicBezTo>
                      <a:lnTo>
                        <a:pt x="32220" y="60328"/>
                      </a:lnTo>
                      <a:lnTo>
                        <a:pt x="32220" y="45991"/>
                      </a:lnTo>
                      <a:cubicBezTo>
                        <a:pt x="32220" y="20591"/>
                        <a:pt x="52811" y="0"/>
                        <a:pt x="78211"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14" name="Multiplication Sign 113">
                <a:extLst>
                  <a:ext uri="{FF2B5EF4-FFF2-40B4-BE49-F238E27FC236}">
                    <a16:creationId xmlns:a16="http://schemas.microsoft.com/office/drawing/2014/main" id="{4C7B1780-74DD-0B7E-FD4E-7CC4E842B4E8}"/>
                  </a:ext>
                </a:extLst>
              </p:cNvPr>
              <p:cNvSpPr/>
              <p:nvPr/>
            </p:nvSpPr>
            <p:spPr>
              <a:xfrm>
                <a:off x="10125414" y="-453510"/>
                <a:ext cx="367476" cy="367476"/>
              </a:xfrm>
              <a:prstGeom prst="mathMultiply">
                <a:avLst>
                  <a:gd name="adj1" fmla="val 961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12" name="TextBox 111">
              <a:extLst>
                <a:ext uri="{FF2B5EF4-FFF2-40B4-BE49-F238E27FC236}">
                  <a16:creationId xmlns:a16="http://schemas.microsoft.com/office/drawing/2014/main" id="{8BB0574C-47EB-3651-BE73-F301310BD023}"/>
                </a:ext>
              </a:extLst>
            </p:cNvPr>
            <p:cNvSpPr txBox="1"/>
            <p:nvPr/>
          </p:nvSpPr>
          <p:spPr>
            <a:xfrm>
              <a:off x="10521568" y="4512238"/>
              <a:ext cx="559219" cy="17619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T</a:t>
              </a:r>
            </a:p>
          </p:txBody>
        </p:sp>
      </p:grpSp>
      <p:grpSp>
        <p:nvGrpSpPr>
          <p:cNvPr id="125" name="Group 124">
            <a:extLst>
              <a:ext uri="{FF2B5EF4-FFF2-40B4-BE49-F238E27FC236}">
                <a16:creationId xmlns:a16="http://schemas.microsoft.com/office/drawing/2014/main" id="{B946D969-029A-EB00-09EA-19105F294EF5}"/>
              </a:ext>
            </a:extLst>
          </p:cNvPr>
          <p:cNvGrpSpPr/>
          <p:nvPr/>
        </p:nvGrpSpPr>
        <p:grpSpPr>
          <a:xfrm>
            <a:off x="10263387" y="4385896"/>
            <a:ext cx="826758" cy="1484112"/>
            <a:chOff x="9647136" y="-1221312"/>
            <a:chExt cx="826758" cy="1484112"/>
          </a:xfrm>
        </p:grpSpPr>
        <p:grpSp>
          <p:nvGrpSpPr>
            <p:cNvPr id="126" name="Group 125">
              <a:extLst>
                <a:ext uri="{FF2B5EF4-FFF2-40B4-BE49-F238E27FC236}">
                  <a16:creationId xmlns:a16="http://schemas.microsoft.com/office/drawing/2014/main" id="{91A33279-D3D8-15EC-4D31-22388E0A317D}"/>
                </a:ext>
              </a:extLst>
            </p:cNvPr>
            <p:cNvGrpSpPr/>
            <p:nvPr/>
          </p:nvGrpSpPr>
          <p:grpSpPr>
            <a:xfrm>
              <a:off x="9695886" y="-1221312"/>
              <a:ext cx="269978" cy="1484112"/>
              <a:chOff x="9695886" y="-1221312"/>
              <a:chExt cx="269978" cy="1484112"/>
            </a:xfrm>
          </p:grpSpPr>
          <p:sp>
            <p:nvSpPr>
              <p:cNvPr id="129" name="Arc 128">
                <a:extLst>
                  <a:ext uri="{FF2B5EF4-FFF2-40B4-BE49-F238E27FC236}">
                    <a16:creationId xmlns:a16="http://schemas.microsoft.com/office/drawing/2014/main" id="{20BE7990-C5CB-B9E8-C6B6-13E42894FD3E}"/>
                  </a:ext>
                </a:extLst>
              </p:cNvPr>
              <p:cNvSpPr/>
              <p:nvPr/>
            </p:nvSpPr>
            <p:spPr>
              <a:xfrm rot="5400000">
                <a:off x="9679384" y="-1204810"/>
                <a:ext cx="302981" cy="269978"/>
              </a:xfrm>
              <a:prstGeom prst="arc">
                <a:avLst>
                  <a:gd name="adj1" fmla="val 15743460"/>
                  <a:gd name="adj2" fmla="val 5878209"/>
                </a:avLst>
              </a:prstGeom>
              <a:ln w="44450" cap="rnd">
                <a:solidFill>
                  <a:schemeClr val="accent1"/>
                </a:solidFill>
                <a:roun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30" name="Straight Connector 129">
                <a:extLst>
                  <a:ext uri="{FF2B5EF4-FFF2-40B4-BE49-F238E27FC236}">
                    <a16:creationId xmlns:a16="http://schemas.microsoft.com/office/drawing/2014/main" id="{FFCAE7EB-1F69-B51F-8A84-4484417F214D}"/>
                  </a:ext>
                </a:extLst>
              </p:cNvPr>
              <p:cNvCxnSpPr>
                <a:cxnSpLocks/>
              </p:cNvCxnSpPr>
              <p:nvPr/>
            </p:nvCxnSpPr>
            <p:spPr>
              <a:xfrm>
                <a:off x="9830874" y="-914400"/>
                <a:ext cx="0" cy="1177200"/>
              </a:xfrm>
              <a:prstGeom prst="line">
                <a:avLst/>
              </a:prstGeom>
              <a:ln w="44450">
                <a:gradFill>
                  <a:gsLst>
                    <a:gs pos="66000">
                      <a:schemeClr val="accent1"/>
                    </a:gs>
                    <a:gs pos="100000">
                      <a:schemeClr val="bg1"/>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cxnSp>
          <p:sp>
            <p:nvSpPr>
              <p:cNvPr id="131" name="Free-form: Shape 2723">
                <a:extLst>
                  <a:ext uri="{FF2B5EF4-FFF2-40B4-BE49-F238E27FC236}">
                    <a16:creationId xmlns:a16="http://schemas.microsoft.com/office/drawing/2014/main" id="{E750DE64-9E14-50B3-A84C-CC49298DBFDB}"/>
                  </a:ext>
                </a:extLst>
              </p:cNvPr>
              <p:cNvSpPr/>
              <p:nvPr/>
            </p:nvSpPr>
            <p:spPr>
              <a:xfrm>
                <a:off x="9741843" y="-431289"/>
                <a:ext cx="178062" cy="325781"/>
              </a:xfrm>
              <a:custGeom>
                <a:avLst/>
                <a:gdLst>
                  <a:gd name="connsiteX0" fmla="*/ 78211 w 178062"/>
                  <a:gd name="connsiteY0" fmla="*/ 0 h 325781"/>
                  <a:gd name="connsiteX1" fmla="*/ 99851 w 178062"/>
                  <a:gd name="connsiteY1" fmla="*/ 0 h 325781"/>
                  <a:gd name="connsiteX2" fmla="*/ 145842 w 178062"/>
                  <a:gd name="connsiteY2" fmla="*/ 45991 h 325781"/>
                  <a:gd name="connsiteX3" fmla="*/ 145842 w 178062"/>
                  <a:gd name="connsiteY3" fmla="*/ 60328 h 325781"/>
                  <a:gd name="connsiteX4" fmla="*/ 156952 w 178062"/>
                  <a:gd name="connsiteY4" fmla="*/ 64930 h 325781"/>
                  <a:gd name="connsiteX5" fmla="*/ 178062 w 178062"/>
                  <a:gd name="connsiteY5" fmla="*/ 115894 h 325781"/>
                  <a:gd name="connsiteX6" fmla="*/ 178062 w 178062"/>
                  <a:gd name="connsiteY6" fmla="*/ 209887 h 325781"/>
                  <a:gd name="connsiteX7" fmla="*/ 156952 w 178062"/>
                  <a:gd name="connsiteY7" fmla="*/ 260851 h 325781"/>
                  <a:gd name="connsiteX8" fmla="*/ 145842 w 178062"/>
                  <a:gd name="connsiteY8" fmla="*/ 265453 h 325781"/>
                  <a:gd name="connsiteX9" fmla="*/ 145842 w 178062"/>
                  <a:gd name="connsiteY9" fmla="*/ 279790 h 325781"/>
                  <a:gd name="connsiteX10" fmla="*/ 99851 w 178062"/>
                  <a:gd name="connsiteY10" fmla="*/ 325781 h 325781"/>
                  <a:gd name="connsiteX11" fmla="*/ 78211 w 178062"/>
                  <a:gd name="connsiteY11" fmla="*/ 325781 h 325781"/>
                  <a:gd name="connsiteX12" fmla="*/ 32220 w 178062"/>
                  <a:gd name="connsiteY12" fmla="*/ 279790 h 325781"/>
                  <a:gd name="connsiteX13" fmla="*/ 32220 w 178062"/>
                  <a:gd name="connsiteY13" fmla="*/ 265453 h 325781"/>
                  <a:gd name="connsiteX14" fmla="*/ 21110 w 178062"/>
                  <a:gd name="connsiteY14" fmla="*/ 260851 h 325781"/>
                  <a:gd name="connsiteX15" fmla="*/ 0 w 178062"/>
                  <a:gd name="connsiteY15" fmla="*/ 209887 h 325781"/>
                  <a:gd name="connsiteX16" fmla="*/ 0 w 178062"/>
                  <a:gd name="connsiteY16" fmla="*/ 115894 h 325781"/>
                  <a:gd name="connsiteX17" fmla="*/ 21110 w 178062"/>
                  <a:gd name="connsiteY17" fmla="*/ 64930 h 325781"/>
                  <a:gd name="connsiteX18" fmla="*/ 32220 w 178062"/>
                  <a:gd name="connsiteY18" fmla="*/ 60328 h 325781"/>
                  <a:gd name="connsiteX19" fmla="*/ 32220 w 178062"/>
                  <a:gd name="connsiteY19" fmla="*/ 45991 h 325781"/>
                  <a:gd name="connsiteX20" fmla="*/ 78211 w 178062"/>
                  <a:gd name="connsiteY20" fmla="*/ 0 h 32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062" h="325781">
                    <a:moveTo>
                      <a:pt x="78211" y="0"/>
                    </a:moveTo>
                    <a:lnTo>
                      <a:pt x="99851" y="0"/>
                    </a:lnTo>
                    <a:cubicBezTo>
                      <a:pt x="125251" y="0"/>
                      <a:pt x="145842" y="20591"/>
                      <a:pt x="145842" y="45991"/>
                    </a:cubicBezTo>
                    <a:lnTo>
                      <a:pt x="145842" y="60328"/>
                    </a:lnTo>
                    <a:lnTo>
                      <a:pt x="156952" y="64930"/>
                    </a:lnTo>
                    <a:cubicBezTo>
                      <a:pt x="169995" y="77973"/>
                      <a:pt x="178062" y="95992"/>
                      <a:pt x="178062" y="115894"/>
                    </a:cubicBezTo>
                    <a:lnTo>
                      <a:pt x="178062" y="209887"/>
                    </a:lnTo>
                    <a:cubicBezTo>
                      <a:pt x="178062" y="229790"/>
                      <a:pt x="169995" y="247808"/>
                      <a:pt x="156952" y="260851"/>
                    </a:cubicBezTo>
                    <a:lnTo>
                      <a:pt x="145842" y="265453"/>
                    </a:lnTo>
                    <a:lnTo>
                      <a:pt x="145842" y="279790"/>
                    </a:lnTo>
                    <a:cubicBezTo>
                      <a:pt x="145842" y="305190"/>
                      <a:pt x="125251" y="325781"/>
                      <a:pt x="99851" y="325781"/>
                    </a:cubicBezTo>
                    <a:lnTo>
                      <a:pt x="78211" y="325781"/>
                    </a:lnTo>
                    <a:cubicBezTo>
                      <a:pt x="52811" y="325781"/>
                      <a:pt x="32220" y="305190"/>
                      <a:pt x="32220" y="279790"/>
                    </a:cubicBezTo>
                    <a:lnTo>
                      <a:pt x="32220" y="265453"/>
                    </a:lnTo>
                    <a:lnTo>
                      <a:pt x="21110" y="260851"/>
                    </a:lnTo>
                    <a:cubicBezTo>
                      <a:pt x="8067" y="247808"/>
                      <a:pt x="0" y="229790"/>
                      <a:pt x="0" y="209887"/>
                    </a:cubicBezTo>
                    <a:lnTo>
                      <a:pt x="0" y="115894"/>
                    </a:lnTo>
                    <a:cubicBezTo>
                      <a:pt x="0" y="95992"/>
                      <a:pt x="8067" y="77973"/>
                      <a:pt x="21110" y="64930"/>
                    </a:cubicBezTo>
                    <a:lnTo>
                      <a:pt x="32220" y="60328"/>
                    </a:lnTo>
                    <a:lnTo>
                      <a:pt x="32220" y="45991"/>
                    </a:lnTo>
                    <a:cubicBezTo>
                      <a:pt x="32220" y="20591"/>
                      <a:pt x="52811" y="0"/>
                      <a:pt x="78211"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27" name="Multiplication Sign 126">
              <a:extLst>
                <a:ext uri="{FF2B5EF4-FFF2-40B4-BE49-F238E27FC236}">
                  <a16:creationId xmlns:a16="http://schemas.microsoft.com/office/drawing/2014/main" id="{C68F5641-50A6-EB4A-425E-859D630C62F0}"/>
                </a:ext>
              </a:extLst>
            </p:cNvPr>
            <p:cNvSpPr/>
            <p:nvPr/>
          </p:nvSpPr>
          <p:spPr>
            <a:xfrm>
              <a:off x="9647136" y="-453510"/>
              <a:ext cx="367476" cy="367476"/>
            </a:xfrm>
            <a:prstGeom prst="mathMultiply">
              <a:avLst>
                <a:gd name="adj1" fmla="val 9615"/>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 name="TextBox 127">
              <a:extLst>
                <a:ext uri="{FF2B5EF4-FFF2-40B4-BE49-F238E27FC236}">
                  <a16:creationId xmlns:a16="http://schemas.microsoft.com/office/drawing/2014/main" id="{1F6D7387-9EBD-13A8-748D-B15E0CEFB05C}"/>
                </a:ext>
              </a:extLst>
            </p:cNvPr>
            <p:cNvSpPr txBox="1"/>
            <p:nvPr/>
          </p:nvSpPr>
          <p:spPr>
            <a:xfrm>
              <a:off x="9914675" y="-42680"/>
              <a:ext cx="55921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p>
          </p:txBody>
        </p:sp>
      </p:grpSp>
      <p:grpSp>
        <p:nvGrpSpPr>
          <p:cNvPr id="132" name="Group 131">
            <a:extLst>
              <a:ext uri="{FF2B5EF4-FFF2-40B4-BE49-F238E27FC236}">
                <a16:creationId xmlns:a16="http://schemas.microsoft.com/office/drawing/2014/main" id="{00D154A5-9B84-9058-3069-FCE2F8C46A3A}"/>
              </a:ext>
            </a:extLst>
          </p:cNvPr>
          <p:cNvGrpSpPr/>
          <p:nvPr/>
        </p:nvGrpSpPr>
        <p:grpSpPr>
          <a:xfrm rot="18765640">
            <a:off x="11181980" y="3867847"/>
            <a:ext cx="403308" cy="740254"/>
            <a:chOff x="9878131" y="-2122499"/>
            <a:chExt cx="419780" cy="770488"/>
          </a:xfrm>
        </p:grpSpPr>
        <p:sp>
          <p:nvSpPr>
            <p:cNvPr id="133" name="Oval 132">
              <a:extLst>
                <a:ext uri="{FF2B5EF4-FFF2-40B4-BE49-F238E27FC236}">
                  <a16:creationId xmlns:a16="http://schemas.microsoft.com/office/drawing/2014/main" id="{65A45BBE-842A-646C-2942-728961F5881A}"/>
                </a:ext>
              </a:extLst>
            </p:cNvPr>
            <p:cNvSpPr/>
            <p:nvPr/>
          </p:nvSpPr>
          <p:spPr>
            <a:xfrm>
              <a:off x="10197634" y="-1544503"/>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4" name="Oval 133">
              <a:extLst>
                <a:ext uri="{FF2B5EF4-FFF2-40B4-BE49-F238E27FC236}">
                  <a16:creationId xmlns:a16="http://schemas.microsoft.com/office/drawing/2014/main" id="{AFA5E3C1-37AF-DF28-5135-E7383554E343}"/>
                </a:ext>
              </a:extLst>
            </p:cNvPr>
            <p:cNvSpPr/>
            <p:nvPr/>
          </p:nvSpPr>
          <p:spPr>
            <a:xfrm>
              <a:off x="9979268" y="-1544503"/>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5" name="Oval 134">
              <a:extLst>
                <a:ext uri="{FF2B5EF4-FFF2-40B4-BE49-F238E27FC236}">
                  <a16:creationId xmlns:a16="http://schemas.microsoft.com/office/drawing/2014/main" id="{B9A5B587-0E3C-735C-AF61-D0F131C2ECFF}"/>
                </a:ext>
              </a:extLst>
            </p:cNvPr>
            <p:cNvSpPr/>
            <p:nvPr/>
          </p:nvSpPr>
          <p:spPr>
            <a:xfrm>
              <a:off x="9878131" y="-165105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6" name="Oval 135">
              <a:extLst>
                <a:ext uri="{FF2B5EF4-FFF2-40B4-BE49-F238E27FC236}">
                  <a16:creationId xmlns:a16="http://schemas.microsoft.com/office/drawing/2014/main" id="{2063616E-1EE5-18C2-0DB6-AF588FFA064F}"/>
                </a:ext>
              </a:extLst>
            </p:cNvPr>
            <p:cNvSpPr/>
            <p:nvPr/>
          </p:nvSpPr>
          <p:spPr>
            <a:xfrm>
              <a:off x="9878131" y="-186430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7" name="Oval 136">
              <a:extLst>
                <a:ext uri="{FF2B5EF4-FFF2-40B4-BE49-F238E27FC236}">
                  <a16:creationId xmlns:a16="http://schemas.microsoft.com/office/drawing/2014/main" id="{BC511A7D-DB19-7081-8CEE-13CA79549F05}"/>
                </a:ext>
              </a:extLst>
            </p:cNvPr>
            <p:cNvSpPr/>
            <p:nvPr/>
          </p:nvSpPr>
          <p:spPr>
            <a:xfrm>
              <a:off x="10049215" y="-1841536"/>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8" name="Oval 137">
              <a:extLst>
                <a:ext uri="{FF2B5EF4-FFF2-40B4-BE49-F238E27FC236}">
                  <a16:creationId xmlns:a16="http://schemas.microsoft.com/office/drawing/2014/main" id="{6C65B922-4B8C-6B5F-3124-06579604CD2B}"/>
                </a:ext>
              </a:extLst>
            </p:cNvPr>
            <p:cNvSpPr/>
            <p:nvPr/>
          </p:nvSpPr>
          <p:spPr>
            <a:xfrm>
              <a:off x="10186109" y="-169378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9" name="Oval 138">
              <a:extLst>
                <a:ext uri="{FF2B5EF4-FFF2-40B4-BE49-F238E27FC236}">
                  <a16:creationId xmlns:a16="http://schemas.microsoft.com/office/drawing/2014/main" id="{4F004ADE-55F9-44A3-CADB-16FA116C4B60}"/>
                </a:ext>
              </a:extLst>
            </p:cNvPr>
            <p:cNvSpPr/>
            <p:nvPr/>
          </p:nvSpPr>
          <p:spPr>
            <a:xfrm>
              <a:off x="9963985" y="-1651050"/>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0" name="Oval 139">
              <a:extLst>
                <a:ext uri="{FF2B5EF4-FFF2-40B4-BE49-F238E27FC236}">
                  <a16:creationId xmlns:a16="http://schemas.microsoft.com/office/drawing/2014/main" id="{2BF50CAE-52B8-863F-F9EB-922EB4F87DD9}"/>
                </a:ext>
              </a:extLst>
            </p:cNvPr>
            <p:cNvSpPr/>
            <p:nvPr/>
          </p:nvSpPr>
          <p:spPr>
            <a:xfrm>
              <a:off x="9979268" y="-1600985"/>
              <a:ext cx="36000" cy="36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41" name="Straight Connector 140">
              <a:extLst>
                <a:ext uri="{FF2B5EF4-FFF2-40B4-BE49-F238E27FC236}">
                  <a16:creationId xmlns:a16="http://schemas.microsoft.com/office/drawing/2014/main" id="{17623494-2FCB-9E25-33FB-E1C5FB3C97F6}"/>
                </a:ext>
              </a:extLst>
            </p:cNvPr>
            <p:cNvCxnSpPr>
              <a:stCxn id="158" idx="6"/>
              <a:endCxn id="133" idx="2"/>
            </p:cNvCxnSpPr>
            <p:nvPr/>
          </p:nvCxnSpPr>
          <p:spPr>
            <a:xfrm>
              <a:off x="10155148" y="-1526503"/>
              <a:ext cx="42486" cy="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A7F93888-7510-91AE-535A-84D17BBAF37B}"/>
                </a:ext>
              </a:extLst>
            </p:cNvPr>
            <p:cNvCxnSpPr>
              <a:cxnSpLocks/>
              <a:stCxn id="134" idx="6"/>
              <a:endCxn id="157" idx="2"/>
            </p:cNvCxnSpPr>
            <p:nvPr/>
          </p:nvCxnSpPr>
          <p:spPr>
            <a:xfrm>
              <a:off x="10015268" y="-1526503"/>
              <a:ext cx="35096" cy="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70316B35-CB46-DD7E-F074-EAF6795A199B}"/>
                </a:ext>
              </a:extLst>
            </p:cNvPr>
            <p:cNvCxnSpPr>
              <a:cxnSpLocks/>
              <a:stCxn id="135" idx="0"/>
              <a:endCxn id="152" idx="4"/>
            </p:cNvCxnSpPr>
            <p:nvPr/>
          </p:nvCxnSpPr>
          <p:spPr>
            <a:xfrm flipV="1">
              <a:off x="9896131" y="-1684818"/>
              <a:ext cx="962" cy="33768"/>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5C73FB-DA12-5687-FA44-F3B8133E8354}"/>
                </a:ext>
              </a:extLst>
            </p:cNvPr>
            <p:cNvCxnSpPr>
              <a:cxnSpLocks/>
              <a:stCxn id="151" idx="0"/>
              <a:endCxn id="136" idx="4"/>
            </p:cNvCxnSpPr>
            <p:nvPr/>
          </p:nvCxnSpPr>
          <p:spPr>
            <a:xfrm flipH="1" flipV="1">
              <a:off x="9896131" y="-1828300"/>
              <a:ext cx="962" cy="32489"/>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7133B25-D743-1653-1A8A-5D7AF898C18F}"/>
                </a:ext>
              </a:extLst>
            </p:cNvPr>
            <p:cNvCxnSpPr>
              <a:cxnSpLocks/>
            </p:cNvCxnSpPr>
            <p:nvPr/>
          </p:nvCxnSpPr>
          <p:spPr>
            <a:xfrm flipV="1">
              <a:off x="9985620" y="-1682958"/>
              <a:ext cx="19357" cy="3600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5E9F71B5-11E5-D4F1-CEDE-492654E979DE}"/>
                </a:ext>
              </a:extLst>
            </p:cNvPr>
            <p:cNvCxnSpPr>
              <a:cxnSpLocks/>
            </p:cNvCxnSpPr>
            <p:nvPr/>
          </p:nvCxnSpPr>
          <p:spPr>
            <a:xfrm flipV="1">
              <a:off x="10015268" y="-1584357"/>
              <a:ext cx="36000" cy="0"/>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4AB063EA-0C8A-67DF-9E8D-C0BFAF4B4AAA}"/>
                </a:ext>
              </a:extLst>
            </p:cNvPr>
            <p:cNvCxnSpPr>
              <a:cxnSpLocks/>
              <a:stCxn id="156" idx="5"/>
              <a:endCxn id="138" idx="1"/>
            </p:cNvCxnSpPr>
            <p:nvPr/>
          </p:nvCxnSpPr>
          <p:spPr>
            <a:xfrm>
              <a:off x="10179725" y="-1711009"/>
              <a:ext cx="11656" cy="22501"/>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5E7043BD-AC83-FBAA-41C6-174E20E8AB9B}"/>
                </a:ext>
              </a:extLst>
            </p:cNvPr>
            <p:cNvCxnSpPr>
              <a:cxnSpLocks/>
              <a:stCxn id="137" idx="5"/>
              <a:endCxn id="155" idx="1"/>
            </p:cNvCxnSpPr>
            <p:nvPr/>
          </p:nvCxnSpPr>
          <p:spPr>
            <a:xfrm>
              <a:off x="10079943" y="-1810808"/>
              <a:ext cx="24889" cy="17643"/>
            </a:xfrm>
            <a:prstGeom prst="line">
              <a:avLst/>
            </a:prstGeom>
            <a:ln w="635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grpSp>
          <p:nvGrpSpPr>
            <p:cNvPr id="149" name="Group 148">
              <a:extLst>
                <a:ext uri="{FF2B5EF4-FFF2-40B4-BE49-F238E27FC236}">
                  <a16:creationId xmlns:a16="http://schemas.microsoft.com/office/drawing/2014/main" id="{3DB6FE6F-C31A-36F4-0AFD-05EC1220DA47}"/>
                </a:ext>
              </a:extLst>
            </p:cNvPr>
            <p:cNvGrpSpPr/>
            <p:nvPr/>
          </p:nvGrpSpPr>
          <p:grpSpPr>
            <a:xfrm>
              <a:off x="9879093" y="-2122499"/>
              <a:ext cx="418818" cy="770488"/>
              <a:chOff x="9879093" y="-2122499"/>
              <a:chExt cx="418818" cy="770488"/>
            </a:xfrm>
          </p:grpSpPr>
          <p:grpSp>
            <p:nvGrpSpPr>
              <p:cNvPr id="150" name="Group 149">
                <a:extLst>
                  <a:ext uri="{FF2B5EF4-FFF2-40B4-BE49-F238E27FC236}">
                    <a16:creationId xmlns:a16="http://schemas.microsoft.com/office/drawing/2014/main" id="{605A40CF-CA43-371D-4391-80F9239CF796}"/>
                  </a:ext>
                </a:extLst>
              </p:cNvPr>
              <p:cNvGrpSpPr/>
              <p:nvPr/>
            </p:nvGrpSpPr>
            <p:grpSpPr>
              <a:xfrm rot="2873470">
                <a:off x="9740751" y="-1909172"/>
                <a:ext cx="770488" cy="343833"/>
                <a:chOff x="6917961" y="-1621129"/>
                <a:chExt cx="770488" cy="343833"/>
              </a:xfrm>
            </p:grpSpPr>
            <p:sp>
              <p:nvSpPr>
                <p:cNvPr id="159" name="Rectangle: Rounded Corners 158">
                  <a:extLst>
                    <a:ext uri="{FF2B5EF4-FFF2-40B4-BE49-F238E27FC236}">
                      <a16:creationId xmlns:a16="http://schemas.microsoft.com/office/drawing/2014/main" id="{8DF54455-5E3A-3C83-7689-82A56DBF1323}"/>
                    </a:ext>
                  </a:extLst>
                </p:cNvPr>
                <p:cNvSpPr/>
                <p:nvPr/>
              </p:nvSpPr>
              <p:spPr>
                <a:xfrm rot="2589768">
                  <a:off x="7352127" y="-1335887"/>
                  <a:ext cx="252000" cy="58591"/>
                </a:xfrm>
                <a:prstGeom prst="roundRect">
                  <a:avLst>
                    <a:gd name="adj" fmla="val 50000"/>
                  </a:avLst>
                </a:prstGeom>
                <a:gradFill flip="none" rotWithShape="1">
                  <a:gsLst>
                    <a:gs pos="74000">
                      <a:schemeClr val="accent6"/>
                    </a:gs>
                    <a:gs pos="72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0" name="Rectangle: Rounded Corners 159">
                  <a:extLst>
                    <a:ext uri="{FF2B5EF4-FFF2-40B4-BE49-F238E27FC236}">
                      <a16:creationId xmlns:a16="http://schemas.microsoft.com/office/drawing/2014/main" id="{0ECADD5B-0A3A-4128-B408-75F4425F66E1}"/>
                    </a:ext>
                  </a:extLst>
                </p:cNvPr>
                <p:cNvSpPr/>
                <p:nvPr/>
              </p:nvSpPr>
              <p:spPr>
                <a:xfrm rot="19010232" flipH="1">
                  <a:off x="6999929" y="-1344399"/>
                  <a:ext cx="252000" cy="58591"/>
                </a:xfrm>
                <a:prstGeom prst="roundRect">
                  <a:avLst>
                    <a:gd name="adj" fmla="val 50000"/>
                  </a:avLst>
                </a:prstGeom>
                <a:gradFill flip="none" rotWithShape="1">
                  <a:gsLst>
                    <a:gs pos="74000">
                      <a:schemeClr val="accent6"/>
                    </a:gs>
                    <a:gs pos="73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1" name="Free-form: Shape 1357">
                  <a:extLst>
                    <a:ext uri="{FF2B5EF4-FFF2-40B4-BE49-F238E27FC236}">
                      <a16:creationId xmlns:a16="http://schemas.microsoft.com/office/drawing/2014/main" id="{FBD99526-8F5D-22BD-41FC-907CF4307445}"/>
                    </a:ext>
                  </a:extLst>
                </p:cNvPr>
                <p:cNvSpPr/>
                <p:nvPr/>
              </p:nvSpPr>
              <p:spPr>
                <a:xfrm rot="19010232" flipH="1">
                  <a:off x="6917961" y="-1621129"/>
                  <a:ext cx="536464" cy="331199"/>
                </a:xfrm>
                <a:custGeom>
                  <a:avLst/>
                  <a:gdLst>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295759 w 536464"/>
                    <a:gd name="connsiteY6" fmla="*/ 331198 h 331199"/>
                    <a:gd name="connsiteX7" fmla="*/ 507167 w 536464"/>
                    <a:gd name="connsiteY7" fmla="*/ 331199 h 331199"/>
                    <a:gd name="connsiteX8" fmla="*/ 536463 w 536464"/>
                    <a:gd name="connsiteY8" fmla="*/ 301903 h 331199"/>
                    <a:gd name="connsiteX9" fmla="*/ 536464 w 536464"/>
                    <a:gd name="connsiteY9" fmla="*/ 301903 h 331199"/>
                    <a:gd name="connsiteX10" fmla="*/ 507168 w 536464"/>
                    <a:gd name="connsiteY10" fmla="*/ 272607 h 331199"/>
                    <a:gd name="connsiteX11" fmla="*/ 297661 w 536464"/>
                    <a:gd name="connsiteY11" fmla="*/ 272607 h 331199"/>
                    <a:gd name="connsiteX12" fmla="*/ 50664 w 536464"/>
                    <a:gd name="connsiteY12" fmla="*/ 9240 h 331199"/>
                    <a:gd name="connsiteX13" fmla="*/ 30235 w 536464"/>
                    <a:gd name="connsiteY13" fmla="*/ 0 h 331199"/>
                    <a:gd name="connsiteX14" fmla="*/ 9255 w 536464"/>
                    <a:gd name="connsiteY14" fmla="*/ 7911 h 331199"/>
                    <a:gd name="connsiteX15" fmla="*/ 9255 w 536464"/>
                    <a:gd name="connsiteY15" fmla="*/ 7912 h 331199"/>
                    <a:gd name="connsiteX16" fmla="*/ 9255 w 536464"/>
                    <a:gd name="connsiteY16" fmla="*/ 7912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507167 w 536464"/>
                    <a:gd name="connsiteY6" fmla="*/ 331199 h 331199"/>
                    <a:gd name="connsiteX7" fmla="*/ 536463 w 536464"/>
                    <a:gd name="connsiteY7" fmla="*/ 301903 h 331199"/>
                    <a:gd name="connsiteX8" fmla="*/ 536464 w 536464"/>
                    <a:gd name="connsiteY8" fmla="*/ 301903 h 331199"/>
                    <a:gd name="connsiteX9" fmla="*/ 507168 w 536464"/>
                    <a:gd name="connsiteY9" fmla="*/ 272607 h 331199"/>
                    <a:gd name="connsiteX10" fmla="*/ 297661 w 536464"/>
                    <a:gd name="connsiteY10" fmla="*/ 272607 h 331199"/>
                    <a:gd name="connsiteX11" fmla="*/ 50664 w 536464"/>
                    <a:gd name="connsiteY11" fmla="*/ 9240 h 331199"/>
                    <a:gd name="connsiteX12" fmla="*/ 30235 w 536464"/>
                    <a:gd name="connsiteY12" fmla="*/ 0 h 331199"/>
                    <a:gd name="connsiteX13" fmla="*/ 9255 w 536464"/>
                    <a:gd name="connsiteY13" fmla="*/ 7912 h 331199"/>
                    <a:gd name="connsiteX14" fmla="*/ 9255 w 536464"/>
                    <a:gd name="connsiteY14" fmla="*/ 7911 h 331199"/>
                    <a:gd name="connsiteX15" fmla="*/ 9255 w 536464"/>
                    <a:gd name="connsiteY15" fmla="*/ 7912 h 331199"/>
                    <a:gd name="connsiteX16" fmla="*/ 9255 w 536464"/>
                    <a:gd name="connsiteY16" fmla="*/ 7912 h 331199"/>
                    <a:gd name="connsiteX17" fmla="*/ 9255 w 536464"/>
                    <a:gd name="connsiteY17" fmla="*/ 7911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507167 w 536464"/>
                    <a:gd name="connsiteY5" fmla="*/ 331199 h 331199"/>
                    <a:gd name="connsiteX6" fmla="*/ 536463 w 536464"/>
                    <a:gd name="connsiteY6" fmla="*/ 301903 h 331199"/>
                    <a:gd name="connsiteX7" fmla="*/ 536464 w 536464"/>
                    <a:gd name="connsiteY7" fmla="*/ 301903 h 331199"/>
                    <a:gd name="connsiteX8" fmla="*/ 507168 w 536464"/>
                    <a:gd name="connsiteY8" fmla="*/ 272607 h 331199"/>
                    <a:gd name="connsiteX9" fmla="*/ 297661 w 536464"/>
                    <a:gd name="connsiteY9" fmla="*/ 272607 h 331199"/>
                    <a:gd name="connsiteX10" fmla="*/ 50664 w 536464"/>
                    <a:gd name="connsiteY10" fmla="*/ 9240 h 331199"/>
                    <a:gd name="connsiteX11" fmla="*/ 30235 w 536464"/>
                    <a:gd name="connsiteY11" fmla="*/ 0 h 331199"/>
                    <a:gd name="connsiteX12" fmla="*/ 9255 w 536464"/>
                    <a:gd name="connsiteY12" fmla="*/ 7912 h 331199"/>
                    <a:gd name="connsiteX13" fmla="*/ 9255 w 536464"/>
                    <a:gd name="connsiteY13" fmla="*/ 7911 h 331199"/>
                    <a:gd name="connsiteX14" fmla="*/ 9255 w 536464"/>
                    <a:gd name="connsiteY14" fmla="*/ 7912 h 331199"/>
                    <a:gd name="connsiteX15" fmla="*/ 9255 w 536464"/>
                    <a:gd name="connsiteY15" fmla="*/ 7912 h 331199"/>
                    <a:gd name="connsiteX16" fmla="*/ 9255 w 536464"/>
                    <a:gd name="connsiteY16" fmla="*/ 7911 h 3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464" h="331199">
                      <a:moveTo>
                        <a:pt x="9255" y="7912"/>
                      </a:moveTo>
                      <a:lnTo>
                        <a:pt x="15" y="28341"/>
                      </a:lnTo>
                      <a:cubicBezTo>
                        <a:pt x="-225" y="35834"/>
                        <a:pt x="2393" y="43420"/>
                        <a:pt x="7927" y="49321"/>
                      </a:cubicBezTo>
                      <a:lnTo>
                        <a:pt x="263365" y="321690"/>
                      </a:lnTo>
                      <a:cubicBezTo>
                        <a:pt x="268899" y="327591"/>
                        <a:pt x="276301" y="330690"/>
                        <a:pt x="283795" y="330930"/>
                      </a:cubicBezTo>
                      <a:lnTo>
                        <a:pt x="507167" y="331199"/>
                      </a:lnTo>
                      <a:cubicBezTo>
                        <a:pt x="523347" y="331199"/>
                        <a:pt x="536463" y="318083"/>
                        <a:pt x="536463" y="301903"/>
                      </a:cubicBezTo>
                      <a:lnTo>
                        <a:pt x="536464" y="301903"/>
                      </a:lnTo>
                      <a:cubicBezTo>
                        <a:pt x="536464" y="285723"/>
                        <a:pt x="523348" y="272607"/>
                        <a:pt x="507168" y="272607"/>
                      </a:cubicBezTo>
                      <a:lnTo>
                        <a:pt x="297661" y="272607"/>
                      </a:lnTo>
                      <a:lnTo>
                        <a:pt x="50664" y="9240"/>
                      </a:lnTo>
                      <a:cubicBezTo>
                        <a:pt x="45130" y="3339"/>
                        <a:pt x="37728" y="240"/>
                        <a:pt x="30235" y="0"/>
                      </a:cubicBezTo>
                      <a:lnTo>
                        <a:pt x="9255" y="7912"/>
                      </a:lnTo>
                      <a:close/>
                      <a:moveTo>
                        <a:pt x="9255" y="7911"/>
                      </a:moveTo>
                      <a:lnTo>
                        <a:pt x="9255" y="7912"/>
                      </a:lnTo>
                      <a:lnTo>
                        <a:pt x="9255" y="7912"/>
                      </a:lnTo>
                      <a:lnTo>
                        <a:pt x="9255" y="7911"/>
                      </a:lnTo>
                      <a:close/>
                    </a:path>
                  </a:pathLst>
                </a:custGeom>
                <a:gradFill flip="none" rotWithShape="1">
                  <a:gsLst>
                    <a:gs pos="88000">
                      <a:schemeClr val="accent6"/>
                    </a:gs>
                    <a:gs pos="87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2" name="Free-form: Shape 1358">
                  <a:extLst>
                    <a:ext uri="{FF2B5EF4-FFF2-40B4-BE49-F238E27FC236}">
                      <a16:creationId xmlns:a16="http://schemas.microsoft.com/office/drawing/2014/main" id="{FCF5A279-3AC3-2A4F-5B3E-2AF27535DA89}"/>
                    </a:ext>
                  </a:extLst>
                </p:cNvPr>
                <p:cNvSpPr/>
                <p:nvPr/>
              </p:nvSpPr>
              <p:spPr>
                <a:xfrm rot="2589768">
                  <a:off x="7151985" y="-1621128"/>
                  <a:ext cx="536464" cy="331199"/>
                </a:xfrm>
                <a:custGeom>
                  <a:avLst/>
                  <a:gdLst>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295759 w 536464"/>
                    <a:gd name="connsiteY6" fmla="*/ 331198 h 331199"/>
                    <a:gd name="connsiteX7" fmla="*/ 507167 w 536464"/>
                    <a:gd name="connsiteY7" fmla="*/ 331199 h 331199"/>
                    <a:gd name="connsiteX8" fmla="*/ 536463 w 536464"/>
                    <a:gd name="connsiteY8" fmla="*/ 301903 h 331199"/>
                    <a:gd name="connsiteX9" fmla="*/ 536464 w 536464"/>
                    <a:gd name="connsiteY9" fmla="*/ 301903 h 331199"/>
                    <a:gd name="connsiteX10" fmla="*/ 507168 w 536464"/>
                    <a:gd name="connsiteY10" fmla="*/ 272607 h 331199"/>
                    <a:gd name="connsiteX11" fmla="*/ 297661 w 536464"/>
                    <a:gd name="connsiteY11" fmla="*/ 272607 h 331199"/>
                    <a:gd name="connsiteX12" fmla="*/ 50664 w 536464"/>
                    <a:gd name="connsiteY12" fmla="*/ 9240 h 331199"/>
                    <a:gd name="connsiteX13" fmla="*/ 30235 w 536464"/>
                    <a:gd name="connsiteY13" fmla="*/ 0 h 331199"/>
                    <a:gd name="connsiteX14" fmla="*/ 9255 w 536464"/>
                    <a:gd name="connsiteY14" fmla="*/ 7911 h 331199"/>
                    <a:gd name="connsiteX15" fmla="*/ 9255 w 536464"/>
                    <a:gd name="connsiteY15" fmla="*/ 7912 h 331199"/>
                    <a:gd name="connsiteX16" fmla="*/ 9255 w 536464"/>
                    <a:gd name="connsiteY16" fmla="*/ 7912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289719 w 536464"/>
                    <a:gd name="connsiteY5" fmla="*/ 328696 h 331199"/>
                    <a:gd name="connsiteX6" fmla="*/ 507167 w 536464"/>
                    <a:gd name="connsiteY6" fmla="*/ 331199 h 331199"/>
                    <a:gd name="connsiteX7" fmla="*/ 536463 w 536464"/>
                    <a:gd name="connsiteY7" fmla="*/ 301903 h 331199"/>
                    <a:gd name="connsiteX8" fmla="*/ 536464 w 536464"/>
                    <a:gd name="connsiteY8" fmla="*/ 301903 h 331199"/>
                    <a:gd name="connsiteX9" fmla="*/ 507168 w 536464"/>
                    <a:gd name="connsiteY9" fmla="*/ 272607 h 331199"/>
                    <a:gd name="connsiteX10" fmla="*/ 297661 w 536464"/>
                    <a:gd name="connsiteY10" fmla="*/ 272607 h 331199"/>
                    <a:gd name="connsiteX11" fmla="*/ 50664 w 536464"/>
                    <a:gd name="connsiteY11" fmla="*/ 9240 h 331199"/>
                    <a:gd name="connsiteX12" fmla="*/ 30235 w 536464"/>
                    <a:gd name="connsiteY12" fmla="*/ 0 h 331199"/>
                    <a:gd name="connsiteX13" fmla="*/ 9255 w 536464"/>
                    <a:gd name="connsiteY13" fmla="*/ 7912 h 331199"/>
                    <a:gd name="connsiteX14" fmla="*/ 9255 w 536464"/>
                    <a:gd name="connsiteY14" fmla="*/ 7911 h 331199"/>
                    <a:gd name="connsiteX15" fmla="*/ 9255 w 536464"/>
                    <a:gd name="connsiteY15" fmla="*/ 7912 h 331199"/>
                    <a:gd name="connsiteX16" fmla="*/ 9255 w 536464"/>
                    <a:gd name="connsiteY16" fmla="*/ 7912 h 331199"/>
                    <a:gd name="connsiteX17" fmla="*/ 9255 w 536464"/>
                    <a:gd name="connsiteY17" fmla="*/ 7911 h 331199"/>
                    <a:gd name="connsiteX0" fmla="*/ 9255 w 536464"/>
                    <a:gd name="connsiteY0" fmla="*/ 7912 h 331199"/>
                    <a:gd name="connsiteX1" fmla="*/ 15 w 536464"/>
                    <a:gd name="connsiteY1" fmla="*/ 28341 h 331199"/>
                    <a:gd name="connsiteX2" fmla="*/ 7927 w 536464"/>
                    <a:gd name="connsiteY2" fmla="*/ 49321 h 331199"/>
                    <a:gd name="connsiteX3" fmla="*/ 263365 w 536464"/>
                    <a:gd name="connsiteY3" fmla="*/ 321690 h 331199"/>
                    <a:gd name="connsiteX4" fmla="*/ 283795 w 536464"/>
                    <a:gd name="connsiteY4" fmla="*/ 330930 h 331199"/>
                    <a:gd name="connsiteX5" fmla="*/ 507167 w 536464"/>
                    <a:gd name="connsiteY5" fmla="*/ 331199 h 331199"/>
                    <a:gd name="connsiteX6" fmla="*/ 536463 w 536464"/>
                    <a:gd name="connsiteY6" fmla="*/ 301903 h 331199"/>
                    <a:gd name="connsiteX7" fmla="*/ 536464 w 536464"/>
                    <a:gd name="connsiteY7" fmla="*/ 301903 h 331199"/>
                    <a:gd name="connsiteX8" fmla="*/ 507168 w 536464"/>
                    <a:gd name="connsiteY8" fmla="*/ 272607 h 331199"/>
                    <a:gd name="connsiteX9" fmla="*/ 297661 w 536464"/>
                    <a:gd name="connsiteY9" fmla="*/ 272607 h 331199"/>
                    <a:gd name="connsiteX10" fmla="*/ 50664 w 536464"/>
                    <a:gd name="connsiteY10" fmla="*/ 9240 h 331199"/>
                    <a:gd name="connsiteX11" fmla="*/ 30235 w 536464"/>
                    <a:gd name="connsiteY11" fmla="*/ 0 h 331199"/>
                    <a:gd name="connsiteX12" fmla="*/ 9255 w 536464"/>
                    <a:gd name="connsiteY12" fmla="*/ 7912 h 331199"/>
                    <a:gd name="connsiteX13" fmla="*/ 9255 w 536464"/>
                    <a:gd name="connsiteY13" fmla="*/ 7911 h 331199"/>
                    <a:gd name="connsiteX14" fmla="*/ 9255 w 536464"/>
                    <a:gd name="connsiteY14" fmla="*/ 7912 h 331199"/>
                    <a:gd name="connsiteX15" fmla="*/ 9255 w 536464"/>
                    <a:gd name="connsiteY15" fmla="*/ 7912 h 331199"/>
                    <a:gd name="connsiteX16" fmla="*/ 9255 w 536464"/>
                    <a:gd name="connsiteY16" fmla="*/ 7911 h 3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464" h="331199">
                      <a:moveTo>
                        <a:pt x="9255" y="7912"/>
                      </a:moveTo>
                      <a:lnTo>
                        <a:pt x="15" y="28341"/>
                      </a:lnTo>
                      <a:cubicBezTo>
                        <a:pt x="-225" y="35834"/>
                        <a:pt x="2393" y="43420"/>
                        <a:pt x="7927" y="49321"/>
                      </a:cubicBezTo>
                      <a:lnTo>
                        <a:pt x="263365" y="321690"/>
                      </a:lnTo>
                      <a:cubicBezTo>
                        <a:pt x="268899" y="327591"/>
                        <a:pt x="276301" y="330690"/>
                        <a:pt x="283795" y="330930"/>
                      </a:cubicBezTo>
                      <a:lnTo>
                        <a:pt x="507167" y="331199"/>
                      </a:lnTo>
                      <a:cubicBezTo>
                        <a:pt x="523347" y="331199"/>
                        <a:pt x="536463" y="318083"/>
                        <a:pt x="536463" y="301903"/>
                      </a:cubicBezTo>
                      <a:lnTo>
                        <a:pt x="536464" y="301903"/>
                      </a:lnTo>
                      <a:cubicBezTo>
                        <a:pt x="536464" y="285723"/>
                        <a:pt x="523348" y="272607"/>
                        <a:pt x="507168" y="272607"/>
                      </a:cubicBezTo>
                      <a:lnTo>
                        <a:pt x="297661" y="272607"/>
                      </a:lnTo>
                      <a:lnTo>
                        <a:pt x="50664" y="9240"/>
                      </a:lnTo>
                      <a:cubicBezTo>
                        <a:pt x="45130" y="3339"/>
                        <a:pt x="37728" y="240"/>
                        <a:pt x="30235" y="0"/>
                      </a:cubicBezTo>
                      <a:lnTo>
                        <a:pt x="9255" y="7912"/>
                      </a:lnTo>
                      <a:close/>
                      <a:moveTo>
                        <a:pt x="9255" y="7911"/>
                      </a:moveTo>
                      <a:lnTo>
                        <a:pt x="9255" y="7912"/>
                      </a:lnTo>
                      <a:lnTo>
                        <a:pt x="9255" y="7912"/>
                      </a:lnTo>
                      <a:lnTo>
                        <a:pt x="9255" y="7911"/>
                      </a:lnTo>
                      <a:close/>
                    </a:path>
                  </a:pathLst>
                </a:custGeom>
                <a:gradFill flip="none" rotWithShape="1">
                  <a:gsLst>
                    <a:gs pos="88000">
                      <a:schemeClr val="accent6"/>
                    </a:gs>
                    <a:gs pos="87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1" name="Oval 150">
                <a:extLst>
                  <a:ext uri="{FF2B5EF4-FFF2-40B4-BE49-F238E27FC236}">
                    <a16:creationId xmlns:a16="http://schemas.microsoft.com/office/drawing/2014/main" id="{735257EE-0C19-8BCE-466B-D13B97C3305B}"/>
                  </a:ext>
                </a:extLst>
              </p:cNvPr>
              <p:cNvSpPr/>
              <p:nvPr/>
            </p:nvSpPr>
            <p:spPr>
              <a:xfrm>
                <a:off x="9879093" y="-1795811"/>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2" name="Oval 151">
                <a:extLst>
                  <a:ext uri="{FF2B5EF4-FFF2-40B4-BE49-F238E27FC236}">
                    <a16:creationId xmlns:a16="http://schemas.microsoft.com/office/drawing/2014/main" id="{2411B1FD-5379-0110-3BB8-A36A003C7CE5}"/>
                  </a:ext>
                </a:extLst>
              </p:cNvPr>
              <p:cNvSpPr/>
              <p:nvPr/>
            </p:nvSpPr>
            <p:spPr>
              <a:xfrm>
                <a:off x="9879093" y="-1720818"/>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3" name="Oval 152">
                <a:extLst>
                  <a:ext uri="{FF2B5EF4-FFF2-40B4-BE49-F238E27FC236}">
                    <a16:creationId xmlns:a16="http://schemas.microsoft.com/office/drawing/2014/main" id="{8F09BA62-B539-E9F9-C8CC-B7E4E1177925}"/>
                  </a:ext>
                </a:extLst>
              </p:cNvPr>
              <p:cNvSpPr/>
              <p:nvPr/>
            </p:nvSpPr>
            <p:spPr>
              <a:xfrm>
                <a:off x="10018932" y="-1724969"/>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4" name="Oval 153">
                <a:extLst>
                  <a:ext uri="{FF2B5EF4-FFF2-40B4-BE49-F238E27FC236}">
                    <a16:creationId xmlns:a16="http://schemas.microsoft.com/office/drawing/2014/main" id="{B8443CFD-4356-2D99-EDB6-EAA561301ECD}"/>
                  </a:ext>
                </a:extLst>
              </p:cNvPr>
              <p:cNvSpPr/>
              <p:nvPr/>
            </p:nvSpPr>
            <p:spPr>
              <a:xfrm>
                <a:off x="10059414" y="-1660414"/>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5" name="Oval 154">
                <a:extLst>
                  <a:ext uri="{FF2B5EF4-FFF2-40B4-BE49-F238E27FC236}">
                    <a16:creationId xmlns:a16="http://schemas.microsoft.com/office/drawing/2014/main" id="{68D65DEB-739C-2E9E-CDE3-6101323AE6A3}"/>
                  </a:ext>
                </a:extLst>
              </p:cNvPr>
              <p:cNvSpPr/>
              <p:nvPr/>
            </p:nvSpPr>
            <p:spPr>
              <a:xfrm>
                <a:off x="10099560" y="-1798437"/>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6" name="Oval 155">
                <a:extLst>
                  <a:ext uri="{FF2B5EF4-FFF2-40B4-BE49-F238E27FC236}">
                    <a16:creationId xmlns:a16="http://schemas.microsoft.com/office/drawing/2014/main" id="{CB03F8D7-CA13-032F-C343-C8AE439BEB11}"/>
                  </a:ext>
                </a:extLst>
              </p:cNvPr>
              <p:cNvSpPr/>
              <p:nvPr/>
            </p:nvSpPr>
            <p:spPr>
              <a:xfrm>
                <a:off x="10148997" y="-1741737"/>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7" name="Oval 156">
                <a:extLst>
                  <a:ext uri="{FF2B5EF4-FFF2-40B4-BE49-F238E27FC236}">
                    <a16:creationId xmlns:a16="http://schemas.microsoft.com/office/drawing/2014/main" id="{72D24C91-74A7-A538-0C57-8C558C92607B}"/>
                  </a:ext>
                </a:extLst>
              </p:cNvPr>
              <p:cNvSpPr/>
              <p:nvPr/>
            </p:nvSpPr>
            <p:spPr>
              <a:xfrm>
                <a:off x="10050364" y="-1544503"/>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8" name="Oval 157">
                <a:extLst>
                  <a:ext uri="{FF2B5EF4-FFF2-40B4-BE49-F238E27FC236}">
                    <a16:creationId xmlns:a16="http://schemas.microsoft.com/office/drawing/2014/main" id="{49DAC576-D7CB-B517-C9A5-E453FC50E1DA}"/>
                  </a:ext>
                </a:extLst>
              </p:cNvPr>
              <p:cNvSpPr/>
              <p:nvPr/>
            </p:nvSpPr>
            <p:spPr>
              <a:xfrm>
                <a:off x="10119148" y="-1544503"/>
                <a:ext cx="36000" cy="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163" name="TextBox 162">
            <a:extLst>
              <a:ext uri="{FF2B5EF4-FFF2-40B4-BE49-F238E27FC236}">
                <a16:creationId xmlns:a16="http://schemas.microsoft.com/office/drawing/2014/main" id="{58A678F0-D7FE-56EE-0815-F5C02C180DFA}"/>
              </a:ext>
            </a:extLst>
          </p:cNvPr>
          <p:cNvSpPr txBox="1"/>
          <p:nvPr/>
        </p:nvSpPr>
        <p:spPr>
          <a:xfrm>
            <a:off x="10248702" y="4118960"/>
            <a:ext cx="845836"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ti-MET</a:t>
            </a:r>
          </a:p>
        </p:txBody>
      </p:sp>
      <p:sp>
        <p:nvSpPr>
          <p:cNvPr id="164" name="Right Bracket 163">
            <a:extLst>
              <a:ext uri="{FF2B5EF4-FFF2-40B4-BE49-F238E27FC236}">
                <a16:creationId xmlns:a16="http://schemas.microsoft.com/office/drawing/2014/main" id="{CB286CFA-4CF6-F11A-EEC7-EA023DB6CAA4}"/>
              </a:ext>
            </a:extLst>
          </p:cNvPr>
          <p:cNvSpPr/>
          <p:nvPr/>
        </p:nvSpPr>
        <p:spPr>
          <a:xfrm rot="13612950">
            <a:off x="11123003" y="4154227"/>
            <a:ext cx="45719" cy="269893"/>
          </a:xfrm>
          <a:prstGeom prst="rightBracket">
            <a:avLst/>
          </a:prstGeom>
          <a:ln w="12700">
            <a:solidFill>
              <a:schemeClr val="accent3">
                <a:lumMod val="75000"/>
              </a:schemeClr>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65" name="Group 164">
            <a:extLst>
              <a:ext uri="{FF2B5EF4-FFF2-40B4-BE49-F238E27FC236}">
                <a16:creationId xmlns:a16="http://schemas.microsoft.com/office/drawing/2014/main" id="{A3A57FFA-7ABF-6F89-0041-051C403D2509}"/>
              </a:ext>
            </a:extLst>
          </p:cNvPr>
          <p:cNvGrpSpPr/>
          <p:nvPr/>
        </p:nvGrpSpPr>
        <p:grpSpPr>
          <a:xfrm>
            <a:off x="10272512" y="5453320"/>
            <a:ext cx="175453" cy="155537"/>
            <a:chOff x="6752385" y="4056297"/>
            <a:chExt cx="175453" cy="155537"/>
          </a:xfrm>
        </p:grpSpPr>
        <p:sp>
          <p:nvSpPr>
            <p:cNvPr id="166" name="Oval 165">
              <a:extLst>
                <a:ext uri="{FF2B5EF4-FFF2-40B4-BE49-F238E27FC236}">
                  <a16:creationId xmlns:a16="http://schemas.microsoft.com/office/drawing/2014/main" id="{83044336-058B-B905-707D-F7230ECEEF32}"/>
                </a:ext>
              </a:extLst>
            </p:cNvPr>
            <p:cNvSpPr/>
            <p:nvPr/>
          </p:nvSpPr>
          <p:spPr>
            <a:xfrm>
              <a:off x="6846720" y="4056297"/>
              <a:ext cx="81118" cy="8111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67" name="Straight Connector 166">
              <a:extLst>
                <a:ext uri="{FF2B5EF4-FFF2-40B4-BE49-F238E27FC236}">
                  <a16:creationId xmlns:a16="http://schemas.microsoft.com/office/drawing/2014/main" id="{2174A439-D7B3-A25F-F43F-73E7F7252FA4}"/>
                </a:ext>
              </a:extLst>
            </p:cNvPr>
            <p:cNvCxnSpPr>
              <a:cxnSpLocks/>
            </p:cNvCxnSpPr>
            <p:nvPr/>
          </p:nvCxnSpPr>
          <p:spPr>
            <a:xfrm flipV="1">
              <a:off x="6806763" y="4154169"/>
              <a:ext cx="47980" cy="5766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38718D42-F278-66EB-D9BC-08C3C06707F6}"/>
                </a:ext>
              </a:extLst>
            </p:cNvPr>
            <p:cNvCxnSpPr>
              <a:cxnSpLocks/>
            </p:cNvCxnSpPr>
            <p:nvPr/>
          </p:nvCxnSpPr>
          <p:spPr>
            <a:xfrm>
              <a:off x="6752385" y="4080065"/>
              <a:ext cx="72000" cy="1905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14E50410-31E7-784B-08F1-BA929809294D}"/>
                </a:ext>
              </a:extLst>
            </p:cNvPr>
            <p:cNvCxnSpPr>
              <a:cxnSpLocks/>
            </p:cNvCxnSpPr>
            <p:nvPr/>
          </p:nvCxnSpPr>
          <p:spPr>
            <a:xfrm flipV="1">
              <a:off x="6761230" y="4129318"/>
              <a:ext cx="72000" cy="37298"/>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186" name="TextBox 185">
            <a:extLst>
              <a:ext uri="{FF2B5EF4-FFF2-40B4-BE49-F238E27FC236}">
                <a16:creationId xmlns:a16="http://schemas.microsoft.com/office/drawing/2014/main" id="{CD6E4360-244E-AA26-9402-0BFF43E3D32C}"/>
              </a:ext>
            </a:extLst>
          </p:cNvPr>
          <p:cNvSpPr txBox="1"/>
          <p:nvPr/>
        </p:nvSpPr>
        <p:spPr>
          <a:xfrm>
            <a:off x="1411692" y="2570393"/>
            <a:ext cx="1538496" cy="758955"/>
          </a:xfrm>
          <a:prstGeom prst="roundRect">
            <a:avLst>
              <a:gd name="adj" fmla="val 9137"/>
            </a:avLst>
          </a:prstGeom>
          <a:solidFill>
            <a:schemeClr val="tx1"/>
          </a:solidFill>
        </p:spPr>
        <p:txBody>
          <a:bodyPr wrap="square" lIns="0" tIns="3600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simertinib + ChT</a:t>
            </a:r>
            <a:r>
              <a:rPr kumimoji="0" lang="en-GB" sz="13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5</a:t>
            </a:r>
          </a:p>
        </p:txBody>
      </p:sp>
      <p:grpSp>
        <p:nvGrpSpPr>
          <p:cNvPr id="187" name="Group 186">
            <a:extLst>
              <a:ext uri="{FF2B5EF4-FFF2-40B4-BE49-F238E27FC236}">
                <a16:creationId xmlns:a16="http://schemas.microsoft.com/office/drawing/2014/main" id="{4E837F7A-35C7-7BAE-5842-AA324E1B40D4}"/>
              </a:ext>
            </a:extLst>
          </p:cNvPr>
          <p:cNvGrpSpPr/>
          <p:nvPr/>
        </p:nvGrpSpPr>
        <p:grpSpPr>
          <a:xfrm>
            <a:off x="1587272" y="2896058"/>
            <a:ext cx="1136591" cy="872725"/>
            <a:chOff x="-1408387" y="2159133"/>
            <a:chExt cx="1272034" cy="976724"/>
          </a:xfrm>
        </p:grpSpPr>
        <p:sp>
          <p:nvSpPr>
            <p:cNvPr id="188" name="Oval 187">
              <a:extLst>
                <a:ext uri="{FF2B5EF4-FFF2-40B4-BE49-F238E27FC236}">
                  <a16:creationId xmlns:a16="http://schemas.microsoft.com/office/drawing/2014/main" id="{C8531C88-654C-0D3A-A830-67400C559CDE}"/>
                </a:ext>
              </a:extLst>
            </p:cNvPr>
            <p:cNvSpPr/>
            <p:nvPr/>
          </p:nvSpPr>
          <p:spPr>
            <a:xfrm>
              <a:off x="-1245876" y="2159133"/>
              <a:ext cx="976724" cy="976724"/>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9" name="Oval 188">
              <a:extLst>
                <a:ext uri="{FF2B5EF4-FFF2-40B4-BE49-F238E27FC236}">
                  <a16:creationId xmlns:a16="http://schemas.microsoft.com/office/drawing/2014/main" id="{3DF3149E-FF79-F92F-0F5F-769CB70CB42D}"/>
                </a:ext>
              </a:extLst>
            </p:cNvPr>
            <p:cNvSpPr/>
            <p:nvPr/>
          </p:nvSpPr>
          <p:spPr>
            <a:xfrm>
              <a:off x="-1081016" y="2321531"/>
              <a:ext cx="647004" cy="647004"/>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90" name="Group 189">
              <a:extLst>
                <a:ext uri="{FF2B5EF4-FFF2-40B4-BE49-F238E27FC236}">
                  <a16:creationId xmlns:a16="http://schemas.microsoft.com/office/drawing/2014/main" id="{9C78D91A-D9DC-93DE-B744-C7621575344B}"/>
                </a:ext>
              </a:extLst>
            </p:cNvPr>
            <p:cNvGrpSpPr/>
            <p:nvPr/>
          </p:nvGrpSpPr>
          <p:grpSpPr>
            <a:xfrm>
              <a:off x="-1034902" y="2363285"/>
              <a:ext cx="554776" cy="596887"/>
              <a:chOff x="-956914" y="2420803"/>
              <a:chExt cx="460479" cy="495433"/>
            </a:xfrm>
          </p:grpSpPr>
          <p:sp>
            <p:nvSpPr>
              <p:cNvPr id="264" name="TextBox 263">
                <a:extLst>
                  <a:ext uri="{FF2B5EF4-FFF2-40B4-BE49-F238E27FC236}">
                    <a16:creationId xmlns:a16="http://schemas.microsoft.com/office/drawing/2014/main" id="{267D51ED-AC13-A8CC-ADA5-4A3024771514}"/>
                  </a:ext>
                </a:extLst>
              </p:cNvPr>
              <p:cNvSpPr txBox="1">
                <a:spLocks/>
              </p:cNvSpPr>
              <p:nvPr/>
            </p:nvSpPr>
            <p:spPr>
              <a:xfrm rot="20626961">
                <a:off x="-950035" y="2462636"/>
                <a:ext cx="453600" cy="453600"/>
              </a:xfrm>
              <a:prstGeom prst="rect">
                <a:avLst/>
              </a:prstGeom>
              <a:noFill/>
            </p:spPr>
            <p:txBody>
              <a:bodyPr wrap="square">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300" normalizeH="0" baseline="0" noProof="0" dirty="0">
                  <a:ln w="0"/>
                  <a:solidFill>
                    <a:srgbClr val="EB17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300" normalizeH="0" baseline="0" noProof="0" dirty="0">
                    <a:ln w="0"/>
                    <a:solidFill>
                      <a:srgbClr val="EB1700"/>
                    </a:solidFill>
                    <a:effectLst/>
                    <a:uLnTx/>
                    <a:uFillTx/>
                    <a:latin typeface="Arial" panose="020B0604020202020204" pitchFamily="34" charset="0"/>
                    <a:ea typeface="+mn-ea"/>
                    <a:cs typeface="Arial" panose="020B0604020202020204" pitchFamily="34" charset="0"/>
                  </a:rPr>
                  <a:t>EMA &amp; FDA </a:t>
                </a:r>
              </a:p>
            </p:txBody>
          </p:sp>
          <p:sp>
            <p:nvSpPr>
              <p:cNvPr id="265" name="Rectangle 7">
                <a:extLst>
                  <a:ext uri="{FF2B5EF4-FFF2-40B4-BE49-F238E27FC236}">
                    <a16:creationId xmlns:a16="http://schemas.microsoft.com/office/drawing/2014/main" id="{D7F62C20-4FC0-75FC-3130-0BA29F5FBC61}"/>
                  </a:ext>
                </a:extLst>
              </p:cNvPr>
              <p:cNvSpPr>
                <a:spLocks noChangeArrowheads="1"/>
              </p:cNvSpPr>
              <p:nvPr/>
            </p:nvSpPr>
            <p:spPr bwMode="auto">
              <a:xfrm rot="21027550">
                <a:off x="-956914" y="2420803"/>
                <a:ext cx="453385" cy="453385"/>
              </a:xfrm>
              <a:prstGeom prst="rect">
                <a:avLst/>
              </a:prstGeom>
              <a:noFill/>
              <a:ln w="9525" cap="flat">
                <a:noFill/>
                <a:round/>
                <a:headEnd/>
                <a:tailEnd/>
              </a:ln>
              <a:effectLst/>
            </p:spPr>
            <p:txBody>
              <a:bodyPr lIns="0" tIns="0" rIns="0" bIns="0" anchor="t">
                <a:prstTxWarp prst="textArchUp">
                  <a:avLst/>
                </a:prstTxWarp>
                <a:spAutoFit/>
              </a:bodyPr>
              <a:lstStyle>
                <a:lvl1pPr>
                  <a:tabLst>
                    <a:tab pos="723900" algn="l"/>
                    <a:tab pos="1447800" algn="l"/>
                    <a:tab pos="2171700" algn="l"/>
                    <a:tab pos="2895600" algn="l"/>
                  </a:tabLst>
                  <a:defRPr>
                    <a:solidFill>
                      <a:srgbClr val="000000"/>
                    </a:solidFill>
                    <a:latin typeface="Arial" charset="0"/>
                    <a:ea typeface="SimSun" charset="-122"/>
                    <a:cs typeface="SimSun" charset="-122"/>
                  </a:defRPr>
                </a:lvl1pPr>
                <a:lvl2pPr>
                  <a:tabLst>
                    <a:tab pos="723900" algn="l"/>
                    <a:tab pos="1447800" algn="l"/>
                    <a:tab pos="2171700" algn="l"/>
                    <a:tab pos="2895600" algn="l"/>
                  </a:tabLst>
                  <a:defRPr>
                    <a:solidFill>
                      <a:srgbClr val="000000"/>
                    </a:solidFill>
                    <a:latin typeface="Arial" charset="0"/>
                    <a:ea typeface="SimSun" charset="-122"/>
                    <a:cs typeface="SimSun" charset="-122"/>
                  </a:defRPr>
                </a:lvl2pPr>
                <a:lvl3pPr>
                  <a:tabLst>
                    <a:tab pos="723900" algn="l"/>
                    <a:tab pos="1447800" algn="l"/>
                    <a:tab pos="2171700" algn="l"/>
                    <a:tab pos="2895600" algn="l"/>
                  </a:tabLst>
                  <a:defRPr>
                    <a:solidFill>
                      <a:srgbClr val="000000"/>
                    </a:solidFill>
                    <a:latin typeface="Arial" charset="0"/>
                    <a:ea typeface="SimSun" charset="-122"/>
                    <a:cs typeface="SimSun" charset="-122"/>
                  </a:defRPr>
                </a:lvl3pPr>
                <a:lvl4pPr>
                  <a:tabLst>
                    <a:tab pos="723900" algn="l"/>
                    <a:tab pos="1447800" algn="l"/>
                    <a:tab pos="2171700" algn="l"/>
                    <a:tab pos="2895600" algn="l"/>
                  </a:tabLst>
                  <a:defRPr>
                    <a:solidFill>
                      <a:srgbClr val="000000"/>
                    </a:solidFill>
                    <a:latin typeface="Arial" charset="0"/>
                    <a:ea typeface="SimSun" charset="-122"/>
                    <a:cs typeface="SimSun" charset="-122"/>
                  </a:defRPr>
                </a:lvl4pPr>
                <a:lvl5pPr>
                  <a:tabLst>
                    <a:tab pos="723900" algn="l"/>
                    <a:tab pos="1447800" algn="l"/>
                    <a:tab pos="2171700" algn="l"/>
                    <a:tab pos="2895600" algn="l"/>
                  </a:tabLst>
                  <a:defRPr>
                    <a:solidFill>
                      <a:srgbClr val="000000"/>
                    </a:solidFill>
                    <a:latin typeface="Arial" charset="0"/>
                    <a:ea typeface="SimSun" charset="-122"/>
                    <a:cs typeface="SimSun" charset="-122"/>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9pPr>
              </a:lstStyle>
              <a:p>
                <a:pPr marL="0" marR="0" lvl="0" indent="0" algn="ctr" defTabSz="914400" rtl="0" eaLnBrk="1" fontAlgn="auto" latinLnBrk="0" hangingPunct="1">
                  <a:lnSpc>
                    <a:spcPct val="90000"/>
                  </a:lnSpc>
                  <a:spcBef>
                    <a:spcPts val="0"/>
                  </a:spcBef>
                  <a:spcAft>
                    <a:spcPts val="0"/>
                  </a:spcAft>
                  <a:buClrTx/>
                  <a:buSzTx/>
                  <a:buFontTx/>
                  <a:buNone/>
                  <a:tabLst>
                    <a:tab pos="723900" algn="l"/>
                    <a:tab pos="1447800" algn="l"/>
                    <a:tab pos="2171700" algn="l"/>
                    <a:tab pos="2895600" algn="l"/>
                  </a:tabLst>
                  <a:defRPr/>
                </a:pPr>
                <a:br>
                  <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rPr>
                </a:br>
                <a:r>
                  <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rPr>
                  <a:t> </a:t>
                </a:r>
                <a:r>
                  <a:rPr kumimoji="0" lang="en-US" altLang="x-none" sz="18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rPr>
                  <a:t>EMA &amp; FDA </a:t>
                </a:r>
                <a:endPar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endParaRPr>
              </a:p>
              <a:p>
                <a:pPr marL="0" marR="0" lvl="0" indent="0" algn="ctr" defTabSz="914400" rtl="0" eaLnBrk="1" fontAlgn="auto" latinLnBrk="0" hangingPunct="1">
                  <a:lnSpc>
                    <a:spcPct val="90000"/>
                  </a:lnSpc>
                  <a:spcBef>
                    <a:spcPts val="0"/>
                  </a:spcBef>
                  <a:spcAft>
                    <a:spcPts val="0"/>
                  </a:spcAft>
                  <a:buClrTx/>
                  <a:buSzTx/>
                  <a:buFontTx/>
                  <a:buNone/>
                  <a:tabLst>
                    <a:tab pos="723900" algn="l"/>
                    <a:tab pos="1447800" algn="l"/>
                    <a:tab pos="2171700" algn="l"/>
                    <a:tab pos="2895600" algn="l"/>
                  </a:tabLst>
                  <a:defRPr/>
                </a:pPr>
                <a:endPar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endParaRPr>
              </a:p>
            </p:txBody>
          </p:sp>
        </p:grpSp>
        <p:sp>
          <p:nvSpPr>
            <p:cNvPr id="191" name="Rectangle: Rounded Corners 190">
              <a:extLst>
                <a:ext uri="{FF2B5EF4-FFF2-40B4-BE49-F238E27FC236}">
                  <a16:creationId xmlns:a16="http://schemas.microsoft.com/office/drawing/2014/main" id="{BD9D29FF-CCC6-285B-FCBA-1BA1C1B53A92}"/>
                </a:ext>
              </a:extLst>
            </p:cNvPr>
            <p:cNvSpPr/>
            <p:nvPr/>
          </p:nvSpPr>
          <p:spPr>
            <a:xfrm rot="20910539">
              <a:off x="-1333009" y="2522874"/>
              <a:ext cx="1129548" cy="270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2" name="TextBox 191">
              <a:extLst>
                <a:ext uri="{FF2B5EF4-FFF2-40B4-BE49-F238E27FC236}">
                  <a16:creationId xmlns:a16="http://schemas.microsoft.com/office/drawing/2014/main" id="{9BD9FD42-51DB-B715-9004-39531E1A4A98}"/>
                </a:ext>
              </a:extLst>
            </p:cNvPr>
            <p:cNvSpPr txBox="1"/>
            <p:nvPr/>
          </p:nvSpPr>
          <p:spPr>
            <a:xfrm rot="20902113">
              <a:off x="-1408387" y="2515413"/>
              <a:ext cx="1272034" cy="29278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PPROVED</a:t>
              </a:r>
              <a:r>
                <a:rPr kumimoji="0" lang="en-GB" sz="11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3,4</a:t>
              </a:r>
              <a:endPar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93" name="Group 192">
              <a:extLst>
                <a:ext uri="{FF2B5EF4-FFF2-40B4-BE49-F238E27FC236}">
                  <a16:creationId xmlns:a16="http://schemas.microsoft.com/office/drawing/2014/main" id="{3181C010-64BA-79B6-B9E4-72196EA9CB98}"/>
                </a:ext>
              </a:extLst>
            </p:cNvPr>
            <p:cNvGrpSpPr/>
            <p:nvPr/>
          </p:nvGrpSpPr>
          <p:grpSpPr>
            <a:xfrm rot="20957731">
              <a:off x="-851191" y="2796878"/>
              <a:ext cx="285625" cy="132605"/>
              <a:chOff x="-1108863" y="3698232"/>
              <a:chExt cx="818090" cy="379808"/>
            </a:xfrm>
            <a:solidFill>
              <a:schemeClr val="accent1"/>
            </a:solidFill>
          </p:grpSpPr>
          <p:sp>
            <p:nvSpPr>
              <p:cNvPr id="261" name="Freeform: Shape 260">
                <a:extLst>
                  <a:ext uri="{FF2B5EF4-FFF2-40B4-BE49-F238E27FC236}">
                    <a16:creationId xmlns:a16="http://schemas.microsoft.com/office/drawing/2014/main" id="{B0571F56-4461-E9AF-149A-9C0E2EEA0C86}"/>
                  </a:ext>
                </a:extLst>
              </p:cNvPr>
              <p:cNvSpPr/>
              <p:nvPr/>
            </p:nvSpPr>
            <p:spPr>
              <a:xfrm>
                <a:off x="-851599" y="3773717"/>
                <a:ext cx="303561" cy="304323"/>
              </a:xfrm>
              <a:custGeom>
                <a:avLst/>
                <a:gdLst>
                  <a:gd name="connsiteX0" fmla="*/ 296561 w 303561"/>
                  <a:gd name="connsiteY0" fmla="*/ 134302 h 304323"/>
                  <a:gd name="connsiteX1" fmla="*/ 302276 w 303561"/>
                  <a:gd name="connsiteY1" fmla="*/ 111443 h 304323"/>
                  <a:gd name="connsiteX2" fmla="*/ 283226 w 303561"/>
                  <a:gd name="connsiteY2" fmla="*/ 97155 h 304323"/>
                  <a:gd name="connsiteX3" fmla="*/ 213693 w 303561"/>
                  <a:gd name="connsiteY3" fmla="*/ 97155 h 304323"/>
                  <a:gd name="connsiteX4" fmla="*/ 193691 w 303561"/>
                  <a:gd name="connsiteY4" fmla="*/ 82868 h 304323"/>
                  <a:gd name="connsiteX5" fmla="*/ 171783 w 303561"/>
                  <a:gd name="connsiteY5" fmla="*/ 14288 h 304323"/>
                  <a:gd name="connsiteX6" fmla="*/ 151781 w 303561"/>
                  <a:gd name="connsiteY6" fmla="*/ 0 h 304323"/>
                  <a:gd name="connsiteX7" fmla="*/ 131778 w 303561"/>
                  <a:gd name="connsiteY7" fmla="*/ 14288 h 304323"/>
                  <a:gd name="connsiteX8" fmla="*/ 109871 w 303561"/>
                  <a:gd name="connsiteY8" fmla="*/ 82868 h 304323"/>
                  <a:gd name="connsiteX9" fmla="*/ 89868 w 303561"/>
                  <a:gd name="connsiteY9" fmla="*/ 97155 h 304323"/>
                  <a:gd name="connsiteX10" fmla="*/ 20336 w 303561"/>
                  <a:gd name="connsiteY10" fmla="*/ 97155 h 304323"/>
                  <a:gd name="connsiteX11" fmla="*/ 1286 w 303561"/>
                  <a:gd name="connsiteY11" fmla="*/ 111443 h 304323"/>
                  <a:gd name="connsiteX12" fmla="*/ 7001 w 303561"/>
                  <a:gd name="connsiteY12" fmla="*/ 134302 h 304323"/>
                  <a:gd name="connsiteX13" fmla="*/ 31766 w 303561"/>
                  <a:gd name="connsiteY13" fmla="*/ 156210 h 304323"/>
                  <a:gd name="connsiteX14" fmla="*/ 63198 w 303561"/>
                  <a:gd name="connsiteY14" fmla="*/ 183833 h 304323"/>
                  <a:gd name="connsiteX15" fmla="*/ 69866 w 303561"/>
                  <a:gd name="connsiteY15" fmla="*/ 194310 h 304323"/>
                  <a:gd name="connsiteX16" fmla="*/ 69866 w 303561"/>
                  <a:gd name="connsiteY16" fmla="*/ 206693 h 304323"/>
                  <a:gd name="connsiteX17" fmla="*/ 47006 w 303561"/>
                  <a:gd name="connsiteY17" fmla="*/ 277178 h 304323"/>
                  <a:gd name="connsiteX18" fmla="*/ 54626 w 303561"/>
                  <a:gd name="connsiteY18" fmla="*/ 300038 h 304323"/>
                  <a:gd name="connsiteX19" fmla="*/ 78438 w 303561"/>
                  <a:gd name="connsiteY19" fmla="*/ 300038 h 304323"/>
                  <a:gd name="connsiteX20" fmla="*/ 139398 w 303561"/>
                  <a:gd name="connsiteY20" fmla="*/ 257175 h 304323"/>
                  <a:gd name="connsiteX21" fmla="*/ 163211 w 303561"/>
                  <a:gd name="connsiteY21" fmla="*/ 257175 h 304323"/>
                  <a:gd name="connsiteX22" fmla="*/ 224171 w 303561"/>
                  <a:gd name="connsiteY22" fmla="*/ 300038 h 304323"/>
                  <a:gd name="connsiteX23" fmla="*/ 248936 w 303561"/>
                  <a:gd name="connsiteY23" fmla="*/ 300038 h 304323"/>
                  <a:gd name="connsiteX24" fmla="*/ 256556 w 303561"/>
                  <a:gd name="connsiteY24" fmla="*/ 276225 h 304323"/>
                  <a:gd name="connsiteX25" fmla="*/ 235601 w 303561"/>
                  <a:gd name="connsiteY25" fmla="*/ 204788 h 304323"/>
                  <a:gd name="connsiteX26" fmla="*/ 242268 w 303561"/>
                  <a:gd name="connsiteY26" fmla="*/ 182880 h 304323"/>
                  <a:gd name="connsiteX27" fmla="*/ 296561 w 303561"/>
                  <a:gd name="connsiteY27" fmla="*/ 134302 h 30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3561" h="304323">
                    <a:moveTo>
                      <a:pt x="296561" y="134302"/>
                    </a:moveTo>
                    <a:cubicBezTo>
                      <a:pt x="303228" y="128588"/>
                      <a:pt x="305133" y="119063"/>
                      <a:pt x="302276" y="111443"/>
                    </a:cubicBezTo>
                    <a:cubicBezTo>
                      <a:pt x="299418" y="102870"/>
                      <a:pt x="291798" y="98107"/>
                      <a:pt x="283226" y="97155"/>
                    </a:cubicBezTo>
                    <a:lnTo>
                      <a:pt x="213693" y="97155"/>
                    </a:lnTo>
                    <a:cubicBezTo>
                      <a:pt x="205121" y="97155"/>
                      <a:pt x="196548" y="91440"/>
                      <a:pt x="193691" y="82868"/>
                    </a:cubicBezTo>
                    <a:lnTo>
                      <a:pt x="171783" y="14288"/>
                    </a:lnTo>
                    <a:cubicBezTo>
                      <a:pt x="168926" y="5715"/>
                      <a:pt x="161306" y="0"/>
                      <a:pt x="151781" y="0"/>
                    </a:cubicBezTo>
                    <a:cubicBezTo>
                      <a:pt x="143208" y="0"/>
                      <a:pt x="134636" y="5715"/>
                      <a:pt x="131778" y="14288"/>
                    </a:cubicBezTo>
                    <a:lnTo>
                      <a:pt x="109871" y="82868"/>
                    </a:lnTo>
                    <a:cubicBezTo>
                      <a:pt x="107013" y="91440"/>
                      <a:pt x="99393" y="97155"/>
                      <a:pt x="89868" y="97155"/>
                    </a:cubicBezTo>
                    <a:lnTo>
                      <a:pt x="20336" y="97155"/>
                    </a:lnTo>
                    <a:cubicBezTo>
                      <a:pt x="11763" y="97155"/>
                      <a:pt x="4143" y="102870"/>
                      <a:pt x="1286" y="111443"/>
                    </a:cubicBezTo>
                    <a:cubicBezTo>
                      <a:pt x="-1572" y="120015"/>
                      <a:pt x="333" y="128588"/>
                      <a:pt x="7001" y="134302"/>
                    </a:cubicBezTo>
                    <a:lnTo>
                      <a:pt x="31766" y="156210"/>
                    </a:lnTo>
                    <a:lnTo>
                      <a:pt x="63198" y="183833"/>
                    </a:lnTo>
                    <a:cubicBezTo>
                      <a:pt x="66056" y="186690"/>
                      <a:pt x="67961" y="190500"/>
                      <a:pt x="69866" y="194310"/>
                    </a:cubicBezTo>
                    <a:cubicBezTo>
                      <a:pt x="70818" y="198120"/>
                      <a:pt x="70818" y="201930"/>
                      <a:pt x="69866" y="206693"/>
                    </a:cubicBezTo>
                    <a:lnTo>
                      <a:pt x="47006" y="277178"/>
                    </a:lnTo>
                    <a:cubicBezTo>
                      <a:pt x="44148" y="285750"/>
                      <a:pt x="47006" y="295275"/>
                      <a:pt x="54626" y="300038"/>
                    </a:cubicBezTo>
                    <a:cubicBezTo>
                      <a:pt x="62246" y="305753"/>
                      <a:pt x="71771" y="305753"/>
                      <a:pt x="78438" y="300038"/>
                    </a:cubicBezTo>
                    <a:lnTo>
                      <a:pt x="139398" y="257175"/>
                    </a:lnTo>
                    <a:cubicBezTo>
                      <a:pt x="146066" y="252413"/>
                      <a:pt x="155591" y="252413"/>
                      <a:pt x="163211" y="257175"/>
                    </a:cubicBezTo>
                    <a:lnTo>
                      <a:pt x="224171" y="300038"/>
                    </a:lnTo>
                    <a:cubicBezTo>
                      <a:pt x="231791" y="305753"/>
                      <a:pt x="241316" y="305753"/>
                      <a:pt x="248936" y="300038"/>
                    </a:cubicBezTo>
                    <a:cubicBezTo>
                      <a:pt x="256556" y="294323"/>
                      <a:pt x="259413" y="284798"/>
                      <a:pt x="256556" y="276225"/>
                    </a:cubicBezTo>
                    <a:lnTo>
                      <a:pt x="235601" y="204788"/>
                    </a:lnTo>
                    <a:cubicBezTo>
                      <a:pt x="233696" y="197168"/>
                      <a:pt x="235601" y="188595"/>
                      <a:pt x="242268" y="182880"/>
                    </a:cubicBezTo>
                    <a:lnTo>
                      <a:pt x="296561" y="13430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2" name="Freeform: Shape 261">
                <a:extLst>
                  <a:ext uri="{FF2B5EF4-FFF2-40B4-BE49-F238E27FC236}">
                    <a16:creationId xmlns:a16="http://schemas.microsoft.com/office/drawing/2014/main" id="{656A5B13-DE90-0294-1833-F3FB35970EDE}"/>
                  </a:ext>
                </a:extLst>
              </p:cNvPr>
              <p:cNvSpPr/>
              <p:nvPr/>
            </p:nvSpPr>
            <p:spPr>
              <a:xfrm>
                <a:off x="-1108863"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3" name="Freeform: Shape 262">
                <a:extLst>
                  <a:ext uri="{FF2B5EF4-FFF2-40B4-BE49-F238E27FC236}">
                    <a16:creationId xmlns:a16="http://schemas.microsoft.com/office/drawing/2014/main" id="{48910608-B1EA-7C4D-8D42-2F34A666D1D1}"/>
                  </a:ext>
                </a:extLst>
              </p:cNvPr>
              <p:cNvSpPr/>
              <p:nvPr/>
            </p:nvSpPr>
            <p:spPr>
              <a:xfrm>
                <a:off x="-518928"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94" name="Group 193">
              <a:extLst>
                <a:ext uri="{FF2B5EF4-FFF2-40B4-BE49-F238E27FC236}">
                  <a16:creationId xmlns:a16="http://schemas.microsoft.com/office/drawing/2014/main" id="{64D8CF3A-7D0B-1E69-E27A-7240BF8214E5}"/>
                </a:ext>
              </a:extLst>
            </p:cNvPr>
            <p:cNvGrpSpPr/>
            <p:nvPr/>
          </p:nvGrpSpPr>
          <p:grpSpPr>
            <a:xfrm rot="10073678">
              <a:off x="-943537" y="2366793"/>
              <a:ext cx="285625" cy="132605"/>
              <a:chOff x="-1108863" y="3698232"/>
              <a:chExt cx="818090" cy="379808"/>
            </a:xfrm>
            <a:solidFill>
              <a:schemeClr val="accent1"/>
            </a:solidFill>
          </p:grpSpPr>
          <p:sp>
            <p:nvSpPr>
              <p:cNvPr id="239" name="Freeform: Shape 238">
                <a:extLst>
                  <a:ext uri="{FF2B5EF4-FFF2-40B4-BE49-F238E27FC236}">
                    <a16:creationId xmlns:a16="http://schemas.microsoft.com/office/drawing/2014/main" id="{EDE4792B-888D-18BC-7B18-122695E338B7}"/>
                  </a:ext>
                </a:extLst>
              </p:cNvPr>
              <p:cNvSpPr/>
              <p:nvPr/>
            </p:nvSpPr>
            <p:spPr>
              <a:xfrm>
                <a:off x="-851599" y="3773717"/>
                <a:ext cx="303561" cy="304323"/>
              </a:xfrm>
              <a:custGeom>
                <a:avLst/>
                <a:gdLst>
                  <a:gd name="connsiteX0" fmla="*/ 296561 w 303561"/>
                  <a:gd name="connsiteY0" fmla="*/ 134302 h 304323"/>
                  <a:gd name="connsiteX1" fmla="*/ 302276 w 303561"/>
                  <a:gd name="connsiteY1" fmla="*/ 111443 h 304323"/>
                  <a:gd name="connsiteX2" fmla="*/ 283226 w 303561"/>
                  <a:gd name="connsiteY2" fmla="*/ 97155 h 304323"/>
                  <a:gd name="connsiteX3" fmla="*/ 213693 w 303561"/>
                  <a:gd name="connsiteY3" fmla="*/ 97155 h 304323"/>
                  <a:gd name="connsiteX4" fmla="*/ 193691 w 303561"/>
                  <a:gd name="connsiteY4" fmla="*/ 82868 h 304323"/>
                  <a:gd name="connsiteX5" fmla="*/ 171783 w 303561"/>
                  <a:gd name="connsiteY5" fmla="*/ 14288 h 304323"/>
                  <a:gd name="connsiteX6" fmla="*/ 151781 w 303561"/>
                  <a:gd name="connsiteY6" fmla="*/ 0 h 304323"/>
                  <a:gd name="connsiteX7" fmla="*/ 131778 w 303561"/>
                  <a:gd name="connsiteY7" fmla="*/ 14288 h 304323"/>
                  <a:gd name="connsiteX8" fmla="*/ 109871 w 303561"/>
                  <a:gd name="connsiteY8" fmla="*/ 82868 h 304323"/>
                  <a:gd name="connsiteX9" fmla="*/ 89868 w 303561"/>
                  <a:gd name="connsiteY9" fmla="*/ 97155 h 304323"/>
                  <a:gd name="connsiteX10" fmla="*/ 20336 w 303561"/>
                  <a:gd name="connsiteY10" fmla="*/ 97155 h 304323"/>
                  <a:gd name="connsiteX11" fmla="*/ 1286 w 303561"/>
                  <a:gd name="connsiteY11" fmla="*/ 111443 h 304323"/>
                  <a:gd name="connsiteX12" fmla="*/ 7001 w 303561"/>
                  <a:gd name="connsiteY12" fmla="*/ 134302 h 304323"/>
                  <a:gd name="connsiteX13" fmla="*/ 31766 w 303561"/>
                  <a:gd name="connsiteY13" fmla="*/ 156210 h 304323"/>
                  <a:gd name="connsiteX14" fmla="*/ 63198 w 303561"/>
                  <a:gd name="connsiteY14" fmla="*/ 183833 h 304323"/>
                  <a:gd name="connsiteX15" fmla="*/ 69866 w 303561"/>
                  <a:gd name="connsiteY15" fmla="*/ 194310 h 304323"/>
                  <a:gd name="connsiteX16" fmla="*/ 69866 w 303561"/>
                  <a:gd name="connsiteY16" fmla="*/ 206693 h 304323"/>
                  <a:gd name="connsiteX17" fmla="*/ 47006 w 303561"/>
                  <a:gd name="connsiteY17" fmla="*/ 277178 h 304323"/>
                  <a:gd name="connsiteX18" fmla="*/ 54626 w 303561"/>
                  <a:gd name="connsiteY18" fmla="*/ 300038 h 304323"/>
                  <a:gd name="connsiteX19" fmla="*/ 78438 w 303561"/>
                  <a:gd name="connsiteY19" fmla="*/ 300038 h 304323"/>
                  <a:gd name="connsiteX20" fmla="*/ 139398 w 303561"/>
                  <a:gd name="connsiteY20" fmla="*/ 257175 h 304323"/>
                  <a:gd name="connsiteX21" fmla="*/ 163211 w 303561"/>
                  <a:gd name="connsiteY21" fmla="*/ 257175 h 304323"/>
                  <a:gd name="connsiteX22" fmla="*/ 224171 w 303561"/>
                  <a:gd name="connsiteY22" fmla="*/ 300038 h 304323"/>
                  <a:gd name="connsiteX23" fmla="*/ 248936 w 303561"/>
                  <a:gd name="connsiteY23" fmla="*/ 300038 h 304323"/>
                  <a:gd name="connsiteX24" fmla="*/ 256556 w 303561"/>
                  <a:gd name="connsiteY24" fmla="*/ 276225 h 304323"/>
                  <a:gd name="connsiteX25" fmla="*/ 235601 w 303561"/>
                  <a:gd name="connsiteY25" fmla="*/ 204788 h 304323"/>
                  <a:gd name="connsiteX26" fmla="*/ 242268 w 303561"/>
                  <a:gd name="connsiteY26" fmla="*/ 182880 h 304323"/>
                  <a:gd name="connsiteX27" fmla="*/ 296561 w 303561"/>
                  <a:gd name="connsiteY27" fmla="*/ 134302 h 30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3561" h="304323">
                    <a:moveTo>
                      <a:pt x="296561" y="134302"/>
                    </a:moveTo>
                    <a:cubicBezTo>
                      <a:pt x="303228" y="128588"/>
                      <a:pt x="305133" y="119063"/>
                      <a:pt x="302276" y="111443"/>
                    </a:cubicBezTo>
                    <a:cubicBezTo>
                      <a:pt x="299418" y="102870"/>
                      <a:pt x="291798" y="98107"/>
                      <a:pt x="283226" y="97155"/>
                    </a:cubicBezTo>
                    <a:lnTo>
                      <a:pt x="213693" y="97155"/>
                    </a:lnTo>
                    <a:cubicBezTo>
                      <a:pt x="205121" y="97155"/>
                      <a:pt x="196548" y="91440"/>
                      <a:pt x="193691" y="82868"/>
                    </a:cubicBezTo>
                    <a:lnTo>
                      <a:pt x="171783" y="14288"/>
                    </a:lnTo>
                    <a:cubicBezTo>
                      <a:pt x="168926" y="5715"/>
                      <a:pt x="161306" y="0"/>
                      <a:pt x="151781" y="0"/>
                    </a:cubicBezTo>
                    <a:cubicBezTo>
                      <a:pt x="143208" y="0"/>
                      <a:pt x="134636" y="5715"/>
                      <a:pt x="131778" y="14288"/>
                    </a:cubicBezTo>
                    <a:lnTo>
                      <a:pt x="109871" y="82868"/>
                    </a:lnTo>
                    <a:cubicBezTo>
                      <a:pt x="107013" y="91440"/>
                      <a:pt x="99393" y="97155"/>
                      <a:pt x="89868" y="97155"/>
                    </a:cubicBezTo>
                    <a:lnTo>
                      <a:pt x="20336" y="97155"/>
                    </a:lnTo>
                    <a:cubicBezTo>
                      <a:pt x="11763" y="97155"/>
                      <a:pt x="4143" y="102870"/>
                      <a:pt x="1286" y="111443"/>
                    </a:cubicBezTo>
                    <a:cubicBezTo>
                      <a:pt x="-1572" y="120015"/>
                      <a:pt x="333" y="128588"/>
                      <a:pt x="7001" y="134302"/>
                    </a:cubicBezTo>
                    <a:lnTo>
                      <a:pt x="31766" y="156210"/>
                    </a:lnTo>
                    <a:lnTo>
                      <a:pt x="63198" y="183833"/>
                    </a:lnTo>
                    <a:cubicBezTo>
                      <a:pt x="66056" y="186690"/>
                      <a:pt x="67961" y="190500"/>
                      <a:pt x="69866" y="194310"/>
                    </a:cubicBezTo>
                    <a:cubicBezTo>
                      <a:pt x="70818" y="198120"/>
                      <a:pt x="70818" y="201930"/>
                      <a:pt x="69866" y="206693"/>
                    </a:cubicBezTo>
                    <a:lnTo>
                      <a:pt x="47006" y="277178"/>
                    </a:lnTo>
                    <a:cubicBezTo>
                      <a:pt x="44148" y="285750"/>
                      <a:pt x="47006" y="295275"/>
                      <a:pt x="54626" y="300038"/>
                    </a:cubicBezTo>
                    <a:cubicBezTo>
                      <a:pt x="62246" y="305753"/>
                      <a:pt x="71771" y="305753"/>
                      <a:pt x="78438" y="300038"/>
                    </a:cubicBezTo>
                    <a:lnTo>
                      <a:pt x="139398" y="257175"/>
                    </a:lnTo>
                    <a:cubicBezTo>
                      <a:pt x="146066" y="252413"/>
                      <a:pt x="155591" y="252413"/>
                      <a:pt x="163211" y="257175"/>
                    </a:cubicBezTo>
                    <a:lnTo>
                      <a:pt x="224171" y="300038"/>
                    </a:lnTo>
                    <a:cubicBezTo>
                      <a:pt x="231791" y="305753"/>
                      <a:pt x="241316" y="305753"/>
                      <a:pt x="248936" y="300038"/>
                    </a:cubicBezTo>
                    <a:cubicBezTo>
                      <a:pt x="256556" y="294323"/>
                      <a:pt x="259413" y="284798"/>
                      <a:pt x="256556" y="276225"/>
                    </a:cubicBezTo>
                    <a:lnTo>
                      <a:pt x="235601" y="204788"/>
                    </a:lnTo>
                    <a:cubicBezTo>
                      <a:pt x="233696" y="197168"/>
                      <a:pt x="235601" y="188595"/>
                      <a:pt x="242268" y="182880"/>
                    </a:cubicBezTo>
                    <a:lnTo>
                      <a:pt x="296561" y="13430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 name="Freeform: Shape 258">
                <a:extLst>
                  <a:ext uri="{FF2B5EF4-FFF2-40B4-BE49-F238E27FC236}">
                    <a16:creationId xmlns:a16="http://schemas.microsoft.com/office/drawing/2014/main" id="{7BD4D8C2-B191-6112-F0E2-22CB711F458E}"/>
                  </a:ext>
                </a:extLst>
              </p:cNvPr>
              <p:cNvSpPr/>
              <p:nvPr/>
            </p:nvSpPr>
            <p:spPr>
              <a:xfrm>
                <a:off x="-1108863"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 name="Freeform: Shape 259">
                <a:extLst>
                  <a:ext uri="{FF2B5EF4-FFF2-40B4-BE49-F238E27FC236}">
                    <a16:creationId xmlns:a16="http://schemas.microsoft.com/office/drawing/2014/main" id="{35671AD4-1F82-1B74-3FBF-221F07C04AB6}"/>
                  </a:ext>
                </a:extLst>
              </p:cNvPr>
              <p:cNvSpPr/>
              <p:nvPr/>
            </p:nvSpPr>
            <p:spPr>
              <a:xfrm>
                <a:off x="-518928"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sp>
        <p:nvSpPr>
          <p:cNvPr id="266" name="TextBox 265">
            <a:extLst>
              <a:ext uri="{FF2B5EF4-FFF2-40B4-BE49-F238E27FC236}">
                <a16:creationId xmlns:a16="http://schemas.microsoft.com/office/drawing/2014/main" id="{1AE8252F-680A-8E43-8151-3E5311CC77D0}"/>
              </a:ext>
            </a:extLst>
          </p:cNvPr>
          <p:cNvSpPr txBox="1"/>
          <p:nvPr/>
        </p:nvSpPr>
        <p:spPr>
          <a:xfrm>
            <a:off x="240484" y="2570393"/>
            <a:ext cx="1028861" cy="758955"/>
          </a:xfrm>
          <a:prstGeom prst="roundRect">
            <a:avLst>
              <a:gd name="adj" fmla="val 9137"/>
            </a:avLst>
          </a:prstGeom>
          <a:solidFill>
            <a:schemeClr val="tx1"/>
          </a:solidFill>
        </p:spPr>
        <p:txBody>
          <a:bodyPr wrap="square" lIns="0" tIns="3600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simertinib</a:t>
            </a:r>
            <a:r>
              <a:rPr kumimoji="0" lang="en-GB" sz="13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2</a:t>
            </a:r>
          </a:p>
        </p:txBody>
      </p:sp>
      <p:grpSp>
        <p:nvGrpSpPr>
          <p:cNvPr id="267" name="Group 266">
            <a:extLst>
              <a:ext uri="{FF2B5EF4-FFF2-40B4-BE49-F238E27FC236}">
                <a16:creationId xmlns:a16="http://schemas.microsoft.com/office/drawing/2014/main" id="{220E9A16-B4A7-5DB9-6E8D-0E98C5670DD6}"/>
              </a:ext>
            </a:extLst>
          </p:cNvPr>
          <p:cNvGrpSpPr/>
          <p:nvPr/>
        </p:nvGrpSpPr>
        <p:grpSpPr>
          <a:xfrm>
            <a:off x="179131" y="2896057"/>
            <a:ext cx="1136591" cy="872725"/>
            <a:chOff x="-1408390" y="2159126"/>
            <a:chExt cx="1272037" cy="976721"/>
          </a:xfrm>
        </p:grpSpPr>
        <p:sp>
          <p:nvSpPr>
            <p:cNvPr id="268" name="Oval 267">
              <a:extLst>
                <a:ext uri="{FF2B5EF4-FFF2-40B4-BE49-F238E27FC236}">
                  <a16:creationId xmlns:a16="http://schemas.microsoft.com/office/drawing/2014/main" id="{7BC0C1A3-49BF-6892-7A14-BCBB54EB33FD}"/>
                </a:ext>
              </a:extLst>
            </p:cNvPr>
            <p:cNvSpPr/>
            <p:nvPr/>
          </p:nvSpPr>
          <p:spPr>
            <a:xfrm>
              <a:off x="-1245880" y="2159126"/>
              <a:ext cx="976726" cy="976721"/>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9" name="Oval 268">
              <a:extLst>
                <a:ext uri="{FF2B5EF4-FFF2-40B4-BE49-F238E27FC236}">
                  <a16:creationId xmlns:a16="http://schemas.microsoft.com/office/drawing/2014/main" id="{FC71B2F7-35D6-F5D5-B984-E95E6EAF36DD}"/>
                </a:ext>
              </a:extLst>
            </p:cNvPr>
            <p:cNvSpPr/>
            <p:nvPr/>
          </p:nvSpPr>
          <p:spPr>
            <a:xfrm>
              <a:off x="-1081020" y="2321523"/>
              <a:ext cx="647006" cy="64700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70" name="Group 269">
              <a:extLst>
                <a:ext uri="{FF2B5EF4-FFF2-40B4-BE49-F238E27FC236}">
                  <a16:creationId xmlns:a16="http://schemas.microsoft.com/office/drawing/2014/main" id="{1148B360-BEAB-5DFC-219E-2EEA4570E205}"/>
                </a:ext>
              </a:extLst>
            </p:cNvPr>
            <p:cNvGrpSpPr/>
            <p:nvPr/>
          </p:nvGrpSpPr>
          <p:grpSpPr>
            <a:xfrm>
              <a:off x="-1034906" y="2363277"/>
              <a:ext cx="554777" cy="596885"/>
              <a:chOff x="-956914" y="2420803"/>
              <a:chExt cx="460479" cy="495433"/>
            </a:xfrm>
          </p:grpSpPr>
          <p:sp>
            <p:nvSpPr>
              <p:cNvPr id="281" name="TextBox 280">
                <a:extLst>
                  <a:ext uri="{FF2B5EF4-FFF2-40B4-BE49-F238E27FC236}">
                    <a16:creationId xmlns:a16="http://schemas.microsoft.com/office/drawing/2014/main" id="{E43FFA14-88CC-D544-7456-3DB6B8DEFB7A}"/>
                  </a:ext>
                </a:extLst>
              </p:cNvPr>
              <p:cNvSpPr txBox="1">
                <a:spLocks/>
              </p:cNvSpPr>
              <p:nvPr/>
            </p:nvSpPr>
            <p:spPr>
              <a:xfrm rot="20626961">
                <a:off x="-950035" y="2462636"/>
                <a:ext cx="453600" cy="453600"/>
              </a:xfrm>
              <a:prstGeom prst="rect">
                <a:avLst/>
              </a:prstGeom>
              <a:noFill/>
            </p:spPr>
            <p:txBody>
              <a:bodyPr wrap="square">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300" normalizeH="0" baseline="0" noProof="0" dirty="0">
                  <a:ln w="0"/>
                  <a:solidFill>
                    <a:srgbClr val="EB17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300" normalizeH="0" baseline="0" noProof="0" dirty="0">
                    <a:ln w="0"/>
                    <a:solidFill>
                      <a:srgbClr val="EB1700"/>
                    </a:solidFill>
                    <a:effectLst/>
                    <a:uLnTx/>
                    <a:uFillTx/>
                    <a:latin typeface="Arial" panose="020B0604020202020204" pitchFamily="34" charset="0"/>
                    <a:ea typeface="+mn-ea"/>
                    <a:cs typeface="Arial" panose="020B0604020202020204" pitchFamily="34" charset="0"/>
                  </a:rPr>
                  <a:t>EMA &amp; FDA </a:t>
                </a:r>
              </a:p>
            </p:txBody>
          </p:sp>
          <p:sp>
            <p:nvSpPr>
              <p:cNvPr id="282" name="Rectangle 7">
                <a:extLst>
                  <a:ext uri="{FF2B5EF4-FFF2-40B4-BE49-F238E27FC236}">
                    <a16:creationId xmlns:a16="http://schemas.microsoft.com/office/drawing/2014/main" id="{CF274019-0A2F-D93A-5BD1-98123E61B5CF}"/>
                  </a:ext>
                </a:extLst>
              </p:cNvPr>
              <p:cNvSpPr>
                <a:spLocks noChangeArrowheads="1"/>
              </p:cNvSpPr>
              <p:nvPr/>
            </p:nvSpPr>
            <p:spPr bwMode="auto">
              <a:xfrm rot="21027550">
                <a:off x="-956914" y="2420803"/>
                <a:ext cx="453385" cy="453385"/>
              </a:xfrm>
              <a:prstGeom prst="rect">
                <a:avLst/>
              </a:prstGeom>
              <a:noFill/>
              <a:ln w="9525" cap="flat">
                <a:noFill/>
                <a:round/>
                <a:headEnd/>
                <a:tailEnd/>
              </a:ln>
              <a:effectLst/>
            </p:spPr>
            <p:txBody>
              <a:bodyPr lIns="0" tIns="0" rIns="0" bIns="0" anchor="t">
                <a:prstTxWarp prst="textArchUp">
                  <a:avLst/>
                </a:prstTxWarp>
                <a:spAutoFit/>
              </a:bodyPr>
              <a:lstStyle>
                <a:lvl1pPr>
                  <a:tabLst>
                    <a:tab pos="723900" algn="l"/>
                    <a:tab pos="1447800" algn="l"/>
                    <a:tab pos="2171700" algn="l"/>
                    <a:tab pos="2895600" algn="l"/>
                  </a:tabLst>
                  <a:defRPr>
                    <a:solidFill>
                      <a:srgbClr val="000000"/>
                    </a:solidFill>
                    <a:latin typeface="Arial" charset="0"/>
                    <a:ea typeface="SimSun" charset="-122"/>
                    <a:cs typeface="SimSun" charset="-122"/>
                  </a:defRPr>
                </a:lvl1pPr>
                <a:lvl2pPr>
                  <a:tabLst>
                    <a:tab pos="723900" algn="l"/>
                    <a:tab pos="1447800" algn="l"/>
                    <a:tab pos="2171700" algn="l"/>
                    <a:tab pos="2895600" algn="l"/>
                  </a:tabLst>
                  <a:defRPr>
                    <a:solidFill>
                      <a:srgbClr val="000000"/>
                    </a:solidFill>
                    <a:latin typeface="Arial" charset="0"/>
                    <a:ea typeface="SimSun" charset="-122"/>
                    <a:cs typeface="SimSun" charset="-122"/>
                  </a:defRPr>
                </a:lvl2pPr>
                <a:lvl3pPr>
                  <a:tabLst>
                    <a:tab pos="723900" algn="l"/>
                    <a:tab pos="1447800" algn="l"/>
                    <a:tab pos="2171700" algn="l"/>
                    <a:tab pos="2895600" algn="l"/>
                  </a:tabLst>
                  <a:defRPr>
                    <a:solidFill>
                      <a:srgbClr val="000000"/>
                    </a:solidFill>
                    <a:latin typeface="Arial" charset="0"/>
                    <a:ea typeface="SimSun" charset="-122"/>
                    <a:cs typeface="SimSun" charset="-122"/>
                  </a:defRPr>
                </a:lvl3pPr>
                <a:lvl4pPr>
                  <a:tabLst>
                    <a:tab pos="723900" algn="l"/>
                    <a:tab pos="1447800" algn="l"/>
                    <a:tab pos="2171700" algn="l"/>
                    <a:tab pos="2895600" algn="l"/>
                  </a:tabLst>
                  <a:defRPr>
                    <a:solidFill>
                      <a:srgbClr val="000000"/>
                    </a:solidFill>
                    <a:latin typeface="Arial" charset="0"/>
                    <a:ea typeface="SimSun" charset="-122"/>
                    <a:cs typeface="SimSun" charset="-122"/>
                  </a:defRPr>
                </a:lvl4pPr>
                <a:lvl5pPr>
                  <a:tabLst>
                    <a:tab pos="723900" algn="l"/>
                    <a:tab pos="1447800" algn="l"/>
                    <a:tab pos="2171700" algn="l"/>
                    <a:tab pos="2895600" algn="l"/>
                  </a:tabLst>
                  <a:defRPr>
                    <a:solidFill>
                      <a:srgbClr val="000000"/>
                    </a:solidFill>
                    <a:latin typeface="Arial" charset="0"/>
                    <a:ea typeface="SimSun" charset="-122"/>
                    <a:cs typeface="SimSun" charset="-122"/>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9pPr>
              </a:lstStyle>
              <a:p>
                <a:pPr marL="0" marR="0" lvl="0" indent="0" algn="ctr" defTabSz="914400" rtl="0" eaLnBrk="1" fontAlgn="auto" latinLnBrk="0" hangingPunct="1">
                  <a:lnSpc>
                    <a:spcPct val="90000"/>
                  </a:lnSpc>
                  <a:spcBef>
                    <a:spcPts val="0"/>
                  </a:spcBef>
                  <a:spcAft>
                    <a:spcPts val="0"/>
                  </a:spcAft>
                  <a:buClrTx/>
                  <a:buSzTx/>
                  <a:buFontTx/>
                  <a:buNone/>
                  <a:tabLst>
                    <a:tab pos="723900" algn="l"/>
                    <a:tab pos="1447800" algn="l"/>
                    <a:tab pos="2171700" algn="l"/>
                    <a:tab pos="2895600" algn="l"/>
                  </a:tabLst>
                  <a:defRPr/>
                </a:pPr>
                <a:br>
                  <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rPr>
                </a:br>
                <a:r>
                  <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rPr>
                  <a:t> </a:t>
                </a:r>
                <a:r>
                  <a:rPr kumimoji="0" lang="en-US" altLang="x-none" sz="18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rPr>
                  <a:t>EMA &amp; FDA </a:t>
                </a:r>
                <a:endPar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endParaRPr>
              </a:p>
              <a:p>
                <a:pPr marL="0" marR="0" lvl="0" indent="0" algn="ctr" defTabSz="914400" rtl="0" eaLnBrk="1" fontAlgn="auto" latinLnBrk="0" hangingPunct="1">
                  <a:lnSpc>
                    <a:spcPct val="90000"/>
                  </a:lnSpc>
                  <a:spcBef>
                    <a:spcPts val="0"/>
                  </a:spcBef>
                  <a:spcAft>
                    <a:spcPts val="0"/>
                  </a:spcAft>
                  <a:buClrTx/>
                  <a:buSzTx/>
                  <a:buFontTx/>
                  <a:buNone/>
                  <a:tabLst>
                    <a:tab pos="723900" algn="l"/>
                    <a:tab pos="1447800" algn="l"/>
                    <a:tab pos="2171700" algn="l"/>
                    <a:tab pos="2895600" algn="l"/>
                  </a:tabLst>
                  <a:defRPr/>
                </a:pPr>
                <a:endPar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endParaRPr>
              </a:p>
            </p:txBody>
          </p:sp>
        </p:grpSp>
        <p:sp>
          <p:nvSpPr>
            <p:cNvPr id="271" name="Rectangle: Rounded Corners 270">
              <a:extLst>
                <a:ext uri="{FF2B5EF4-FFF2-40B4-BE49-F238E27FC236}">
                  <a16:creationId xmlns:a16="http://schemas.microsoft.com/office/drawing/2014/main" id="{77FF9F73-DC74-D85E-6ACC-E57DDF9AF474}"/>
                </a:ext>
              </a:extLst>
            </p:cNvPr>
            <p:cNvSpPr/>
            <p:nvPr/>
          </p:nvSpPr>
          <p:spPr>
            <a:xfrm rot="20910539">
              <a:off x="-1333013" y="2522866"/>
              <a:ext cx="1129551" cy="27020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2" name="TextBox 271">
              <a:extLst>
                <a:ext uri="{FF2B5EF4-FFF2-40B4-BE49-F238E27FC236}">
                  <a16:creationId xmlns:a16="http://schemas.microsoft.com/office/drawing/2014/main" id="{7843F9E9-CE32-1ABA-9C09-523D99E378BB}"/>
                </a:ext>
              </a:extLst>
            </p:cNvPr>
            <p:cNvSpPr txBox="1"/>
            <p:nvPr/>
          </p:nvSpPr>
          <p:spPr>
            <a:xfrm rot="20902113">
              <a:off x="-1408390" y="2515404"/>
              <a:ext cx="1272037" cy="2927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PPROVED</a:t>
              </a:r>
              <a:r>
                <a:rPr kumimoji="0" lang="en-GB" sz="11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3,4</a:t>
              </a:r>
              <a:endPar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73" name="Group 272">
              <a:extLst>
                <a:ext uri="{FF2B5EF4-FFF2-40B4-BE49-F238E27FC236}">
                  <a16:creationId xmlns:a16="http://schemas.microsoft.com/office/drawing/2014/main" id="{25D9438E-C28F-B166-C93E-89EC89B1B891}"/>
                </a:ext>
              </a:extLst>
            </p:cNvPr>
            <p:cNvGrpSpPr/>
            <p:nvPr/>
          </p:nvGrpSpPr>
          <p:grpSpPr>
            <a:xfrm rot="20957731">
              <a:off x="-851192" y="2796868"/>
              <a:ext cx="285625" cy="132605"/>
              <a:chOff x="-1108863" y="3698232"/>
              <a:chExt cx="818090" cy="379808"/>
            </a:xfrm>
            <a:solidFill>
              <a:schemeClr val="accent1"/>
            </a:solidFill>
          </p:grpSpPr>
          <p:sp>
            <p:nvSpPr>
              <p:cNvPr id="278" name="Freeform: Shape 277">
                <a:extLst>
                  <a:ext uri="{FF2B5EF4-FFF2-40B4-BE49-F238E27FC236}">
                    <a16:creationId xmlns:a16="http://schemas.microsoft.com/office/drawing/2014/main" id="{BED52D5F-CC8F-273E-E5B0-D85C621ED128}"/>
                  </a:ext>
                </a:extLst>
              </p:cNvPr>
              <p:cNvSpPr/>
              <p:nvPr/>
            </p:nvSpPr>
            <p:spPr>
              <a:xfrm>
                <a:off x="-851599" y="3773717"/>
                <a:ext cx="303561" cy="304323"/>
              </a:xfrm>
              <a:custGeom>
                <a:avLst/>
                <a:gdLst>
                  <a:gd name="connsiteX0" fmla="*/ 296561 w 303561"/>
                  <a:gd name="connsiteY0" fmla="*/ 134302 h 304323"/>
                  <a:gd name="connsiteX1" fmla="*/ 302276 w 303561"/>
                  <a:gd name="connsiteY1" fmla="*/ 111443 h 304323"/>
                  <a:gd name="connsiteX2" fmla="*/ 283226 w 303561"/>
                  <a:gd name="connsiteY2" fmla="*/ 97155 h 304323"/>
                  <a:gd name="connsiteX3" fmla="*/ 213693 w 303561"/>
                  <a:gd name="connsiteY3" fmla="*/ 97155 h 304323"/>
                  <a:gd name="connsiteX4" fmla="*/ 193691 w 303561"/>
                  <a:gd name="connsiteY4" fmla="*/ 82868 h 304323"/>
                  <a:gd name="connsiteX5" fmla="*/ 171783 w 303561"/>
                  <a:gd name="connsiteY5" fmla="*/ 14288 h 304323"/>
                  <a:gd name="connsiteX6" fmla="*/ 151781 w 303561"/>
                  <a:gd name="connsiteY6" fmla="*/ 0 h 304323"/>
                  <a:gd name="connsiteX7" fmla="*/ 131778 w 303561"/>
                  <a:gd name="connsiteY7" fmla="*/ 14288 h 304323"/>
                  <a:gd name="connsiteX8" fmla="*/ 109871 w 303561"/>
                  <a:gd name="connsiteY8" fmla="*/ 82868 h 304323"/>
                  <a:gd name="connsiteX9" fmla="*/ 89868 w 303561"/>
                  <a:gd name="connsiteY9" fmla="*/ 97155 h 304323"/>
                  <a:gd name="connsiteX10" fmla="*/ 20336 w 303561"/>
                  <a:gd name="connsiteY10" fmla="*/ 97155 h 304323"/>
                  <a:gd name="connsiteX11" fmla="*/ 1286 w 303561"/>
                  <a:gd name="connsiteY11" fmla="*/ 111443 h 304323"/>
                  <a:gd name="connsiteX12" fmla="*/ 7001 w 303561"/>
                  <a:gd name="connsiteY12" fmla="*/ 134302 h 304323"/>
                  <a:gd name="connsiteX13" fmla="*/ 31766 w 303561"/>
                  <a:gd name="connsiteY13" fmla="*/ 156210 h 304323"/>
                  <a:gd name="connsiteX14" fmla="*/ 63198 w 303561"/>
                  <a:gd name="connsiteY14" fmla="*/ 183833 h 304323"/>
                  <a:gd name="connsiteX15" fmla="*/ 69866 w 303561"/>
                  <a:gd name="connsiteY15" fmla="*/ 194310 h 304323"/>
                  <a:gd name="connsiteX16" fmla="*/ 69866 w 303561"/>
                  <a:gd name="connsiteY16" fmla="*/ 206693 h 304323"/>
                  <a:gd name="connsiteX17" fmla="*/ 47006 w 303561"/>
                  <a:gd name="connsiteY17" fmla="*/ 277178 h 304323"/>
                  <a:gd name="connsiteX18" fmla="*/ 54626 w 303561"/>
                  <a:gd name="connsiteY18" fmla="*/ 300038 h 304323"/>
                  <a:gd name="connsiteX19" fmla="*/ 78438 w 303561"/>
                  <a:gd name="connsiteY19" fmla="*/ 300038 h 304323"/>
                  <a:gd name="connsiteX20" fmla="*/ 139398 w 303561"/>
                  <a:gd name="connsiteY20" fmla="*/ 257175 h 304323"/>
                  <a:gd name="connsiteX21" fmla="*/ 163211 w 303561"/>
                  <a:gd name="connsiteY21" fmla="*/ 257175 h 304323"/>
                  <a:gd name="connsiteX22" fmla="*/ 224171 w 303561"/>
                  <a:gd name="connsiteY22" fmla="*/ 300038 h 304323"/>
                  <a:gd name="connsiteX23" fmla="*/ 248936 w 303561"/>
                  <a:gd name="connsiteY23" fmla="*/ 300038 h 304323"/>
                  <a:gd name="connsiteX24" fmla="*/ 256556 w 303561"/>
                  <a:gd name="connsiteY24" fmla="*/ 276225 h 304323"/>
                  <a:gd name="connsiteX25" fmla="*/ 235601 w 303561"/>
                  <a:gd name="connsiteY25" fmla="*/ 204788 h 304323"/>
                  <a:gd name="connsiteX26" fmla="*/ 242268 w 303561"/>
                  <a:gd name="connsiteY26" fmla="*/ 182880 h 304323"/>
                  <a:gd name="connsiteX27" fmla="*/ 296561 w 303561"/>
                  <a:gd name="connsiteY27" fmla="*/ 134302 h 30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3561" h="304323">
                    <a:moveTo>
                      <a:pt x="296561" y="134302"/>
                    </a:moveTo>
                    <a:cubicBezTo>
                      <a:pt x="303228" y="128588"/>
                      <a:pt x="305133" y="119063"/>
                      <a:pt x="302276" y="111443"/>
                    </a:cubicBezTo>
                    <a:cubicBezTo>
                      <a:pt x="299418" y="102870"/>
                      <a:pt x="291798" y="98107"/>
                      <a:pt x="283226" y="97155"/>
                    </a:cubicBezTo>
                    <a:lnTo>
                      <a:pt x="213693" y="97155"/>
                    </a:lnTo>
                    <a:cubicBezTo>
                      <a:pt x="205121" y="97155"/>
                      <a:pt x="196548" y="91440"/>
                      <a:pt x="193691" y="82868"/>
                    </a:cubicBezTo>
                    <a:lnTo>
                      <a:pt x="171783" y="14288"/>
                    </a:lnTo>
                    <a:cubicBezTo>
                      <a:pt x="168926" y="5715"/>
                      <a:pt x="161306" y="0"/>
                      <a:pt x="151781" y="0"/>
                    </a:cubicBezTo>
                    <a:cubicBezTo>
                      <a:pt x="143208" y="0"/>
                      <a:pt x="134636" y="5715"/>
                      <a:pt x="131778" y="14288"/>
                    </a:cubicBezTo>
                    <a:lnTo>
                      <a:pt x="109871" y="82868"/>
                    </a:lnTo>
                    <a:cubicBezTo>
                      <a:pt x="107013" y="91440"/>
                      <a:pt x="99393" y="97155"/>
                      <a:pt x="89868" y="97155"/>
                    </a:cubicBezTo>
                    <a:lnTo>
                      <a:pt x="20336" y="97155"/>
                    </a:lnTo>
                    <a:cubicBezTo>
                      <a:pt x="11763" y="97155"/>
                      <a:pt x="4143" y="102870"/>
                      <a:pt x="1286" y="111443"/>
                    </a:cubicBezTo>
                    <a:cubicBezTo>
                      <a:pt x="-1572" y="120015"/>
                      <a:pt x="333" y="128588"/>
                      <a:pt x="7001" y="134302"/>
                    </a:cubicBezTo>
                    <a:lnTo>
                      <a:pt x="31766" y="156210"/>
                    </a:lnTo>
                    <a:lnTo>
                      <a:pt x="63198" y="183833"/>
                    </a:lnTo>
                    <a:cubicBezTo>
                      <a:pt x="66056" y="186690"/>
                      <a:pt x="67961" y="190500"/>
                      <a:pt x="69866" y="194310"/>
                    </a:cubicBezTo>
                    <a:cubicBezTo>
                      <a:pt x="70818" y="198120"/>
                      <a:pt x="70818" y="201930"/>
                      <a:pt x="69866" y="206693"/>
                    </a:cubicBezTo>
                    <a:lnTo>
                      <a:pt x="47006" y="277178"/>
                    </a:lnTo>
                    <a:cubicBezTo>
                      <a:pt x="44148" y="285750"/>
                      <a:pt x="47006" y="295275"/>
                      <a:pt x="54626" y="300038"/>
                    </a:cubicBezTo>
                    <a:cubicBezTo>
                      <a:pt x="62246" y="305753"/>
                      <a:pt x="71771" y="305753"/>
                      <a:pt x="78438" y="300038"/>
                    </a:cubicBezTo>
                    <a:lnTo>
                      <a:pt x="139398" y="257175"/>
                    </a:lnTo>
                    <a:cubicBezTo>
                      <a:pt x="146066" y="252413"/>
                      <a:pt x="155591" y="252413"/>
                      <a:pt x="163211" y="257175"/>
                    </a:cubicBezTo>
                    <a:lnTo>
                      <a:pt x="224171" y="300038"/>
                    </a:lnTo>
                    <a:cubicBezTo>
                      <a:pt x="231791" y="305753"/>
                      <a:pt x="241316" y="305753"/>
                      <a:pt x="248936" y="300038"/>
                    </a:cubicBezTo>
                    <a:cubicBezTo>
                      <a:pt x="256556" y="294323"/>
                      <a:pt x="259413" y="284798"/>
                      <a:pt x="256556" y="276225"/>
                    </a:cubicBezTo>
                    <a:lnTo>
                      <a:pt x="235601" y="204788"/>
                    </a:lnTo>
                    <a:cubicBezTo>
                      <a:pt x="233696" y="197168"/>
                      <a:pt x="235601" y="188595"/>
                      <a:pt x="242268" y="182880"/>
                    </a:cubicBezTo>
                    <a:lnTo>
                      <a:pt x="296561" y="13430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9" name="Freeform: Shape 278">
                <a:extLst>
                  <a:ext uri="{FF2B5EF4-FFF2-40B4-BE49-F238E27FC236}">
                    <a16:creationId xmlns:a16="http://schemas.microsoft.com/office/drawing/2014/main" id="{64BECD77-7B4F-41C6-35F0-BA4CEDE6EBB5}"/>
                  </a:ext>
                </a:extLst>
              </p:cNvPr>
              <p:cNvSpPr/>
              <p:nvPr/>
            </p:nvSpPr>
            <p:spPr>
              <a:xfrm>
                <a:off x="-1108863"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0" name="Freeform: Shape 279">
                <a:extLst>
                  <a:ext uri="{FF2B5EF4-FFF2-40B4-BE49-F238E27FC236}">
                    <a16:creationId xmlns:a16="http://schemas.microsoft.com/office/drawing/2014/main" id="{5AC173D1-5D63-E4A8-8758-55E75AB8604B}"/>
                  </a:ext>
                </a:extLst>
              </p:cNvPr>
              <p:cNvSpPr/>
              <p:nvPr/>
            </p:nvSpPr>
            <p:spPr>
              <a:xfrm>
                <a:off x="-518928"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74" name="Group 273">
              <a:extLst>
                <a:ext uri="{FF2B5EF4-FFF2-40B4-BE49-F238E27FC236}">
                  <a16:creationId xmlns:a16="http://schemas.microsoft.com/office/drawing/2014/main" id="{7196EB58-F40A-3231-CA62-5C1A42BF0166}"/>
                </a:ext>
              </a:extLst>
            </p:cNvPr>
            <p:cNvGrpSpPr/>
            <p:nvPr/>
          </p:nvGrpSpPr>
          <p:grpSpPr>
            <a:xfrm rot="10073678">
              <a:off x="-943537" y="2366793"/>
              <a:ext cx="285625" cy="132605"/>
              <a:chOff x="-1108863" y="3698232"/>
              <a:chExt cx="818090" cy="379808"/>
            </a:xfrm>
            <a:solidFill>
              <a:schemeClr val="accent1"/>
            </a:solidFill>
          </p:grpSpPr>
          <p:sp>
            <p:nvSpPr>
              <p:cNvPr id="275" name="Freeform: Shape 274">
                <a:extLst>
                  <a:ext uri="{FF2B5EF4-FFF2-40B4-BE49-F238E27FC236}">
                    <a16:creationId xmlns:a16="http://schemas.microsoft.com/office/drawing/2014/main" id="{793B4AAF-A414-228D-8D59-B238D5B4140A}"/>
                  </a:ext>
                </a:extLst>
              </p:cNvPr>
              <p:cNvSpPr/>
              <p:nvPr/>
            </p:nvSpPr>
            <p:spPr>
              <a:xfrm>
                <a:off x="-851599" y="3773717"/>
                <a:ext cx="303561" cy="304323"/>
              </a:xfrm>
              <a:custGeom>
                <a:avLst/>
                <a:gdLst>
                  <a:gd name="connsiteX0" fmla="*/ 296561 w 303561"/>
                  <a:gd name="connsiteY0" fmla="*/ 134302 h 304323"/>
                  <a:gd name="connsiteX1" fmla="*/ 302276 w 303561"/>
                  <a:gd name="connsiteY1" fmla="*/ 111443 h 304323"/>
                  <a:gd name="connsiteX2" fmla="*/ 283226 w 303561"/>
                  <a:gd name="connsiteY2" fmla="*/ 97155 h 304323"/>
                  <a:gd name="connsiteX3" fmla="*/ 213693 w 303561"/>
                  <a:gd name="connsiteY3" fmla="*/ 97155 h 304323"/>
                  <a:gd name="connsiteX4" fmla="*/ 193691 w 303561"/>
                  <a:gd name="connsiteY4" fmla="*/ 82868 h 304323"/>
                  <a:gd name="connsiteX5" fmla="*/ 171783 w 303561"/>
                  <a:gd name="connsiteY5" fmla="*/ 14288 h 304323"/>
                  <a:gd name="connsiteX6" fmla="*/ 151781 w 303561"/>
                  <a:gd name="connsiteY6" fmla="*/ 0 h 304323"/>
                  <a:gd name="connsiteX7" fmla="*/ 131778 w 303561"/>
                  <a:gd name="connsiteY7" fmla="*/ 14288 h 304323"/>
                  <a:gd name="connsiteX8" fmla="*/ 109871 w 303561"/>
                  <a:gd name="connsiteY8" fmla="*/ 82868 h 304323"/>
                  <a:gd name="connsiteX9" fmla="*/ 89868 w 303561"/>
                  <a:gd name="connsiteY9" fmla="*/ 97155 h 304323"/>
                  <a:gd name="connsiteX10" fmla="*/ 20336 w 303561"/>
                  <a:gd name="connsiteY10" fmla="*/ 97155 h 304323"/>
                  <a:gd name="connsiteX11" fmla="*/ 1286 w 303561"/>
                  <a:gd name="connsiteY11" fmla="*/ 111443 h 304323"/>
                  <a:gd name="connsiteX12" fmla="*/ 7001 w 303561"/>
                  <a:gd name="connsiteY12" fmla="*/ 134302 h 304323"/>
                  <a:gd name="connsiteX13" fmla="*/ 31766 w 303561"/>
                  <a:gd name="connsiteY13" fmla="*/ 156210 h 304323"/>
                  <a:gd name="connsiteX14" fmla="*/ 63198 w 303561"/>
                  <a:gd name="connsiteY14" fmla="*/ 183833 h 304323"/>
                  <a:gd name="connsiteX15" fmla="*/ 69866 w 303561"/>
                  <a:gd name="connsiteY15" fmla="*/ 194310 h 304323"/>
                  <a:gd name="connsiteX16" fmla="*/ 69866 w 303561"/>
                  <a:gd name="connsiteY16" fmla="*/ 206693 h 304323"/>
                  <a:gd name="connsiteX17" fmla="*/ 47006 w 303561"/>
                  <a:gd name="connsiteY17" fmla="*/ 277178 h 304323"/>
                  <a:gd name="connsiteX18" fmla="*/ 54626 w 303561"/>
                  <a:gd name="connsiteY18" fmla="*/ 300038 h 304323"/>
                  <a:gd name="connsiteX19" fmla="*/ 78438 w 303561"/>
                  <a:gd name="connsiteY19" fmla="*/ 300038 h 304323"/>
                  <a:gd name="connsiteX20" fmla="*/ 139398 w 303561"/>
                  <a:gd name="connsiteY20" fmla="*/ 257175 h 304323"/>
                  <a:gd name="connsiteX21" fmla="*/ 163211 w 303561"/>
                  <a:gd name="connsiteY21" fmla="*/ 257175 h 304323"/>
                  <a:gd name="connsiteX22" fmla="*/ 224171 w 303561"/>
                  <a:gd name="connsiteY22" fmla="*/ 300038 h 304323"/>
                  <a:gd name="connsiteX23" fmla="*/ 248936 w 303561"/>
                  <a:gd name="connsiteY23" fmla="*/ 300038 h 304323"/>
                  <a:gd name="connsiteX24" fmla="*/ 256556 w 303561"/>
                  <a:gd name="connsiteY24" fmla="*/ 276225 h 304323"/>
                  <a:gd name="connsiteX25" fmla="*/ 235601 w 303561"/>
                  <a:gd name="connsiteY25" fmla="*/ 204788 h 304323"/>
                  <a:gd name="connsiteX26" fmla="*/ 242268 w 303561"/>
                  <a:gd name="connsiteY26" fmla="*/ 182880 h 304323"/>
                  <a:gd name="connsiteX27" fmla="*/ 296561 w 303561"/>
                  <a:gd name="connsiteY27" fmla="*/ 134302 h 30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3561" h="304323">
                    <a:moveTo>
                      <a:pt x="296561" y="134302"/>
                    </a:moveTo>
                    <a:cubicBezTo>
                      <a:pt x="303228" y="128588"/>
                      <a:pt x="305133" y="119063"/>
                      <a:pt x="302276" y="111443"/>
                    </a:cubicBezTo>
                    <a:cubicBezTo>
                      <a:pt x="299418" y="102870"/>
                      <a:pt x="291798" y="98107"/>
                      <a:pt x="283226" y="97155"/>
                    </a:cubicBezTo>
                    <a:lnTo>
                      <a:pt x="213693" y="97155"/>
                    </a:lnTo>
                    <a:cubicBezTo>
                      <a:pt x="205121" y="97155"/>
                      <a:pt x="196548" y="91440"/>
                      <a:pt x="193691" y="82868"/>
                    </a:cubicBezTo>
                    <a:lnTo>
                      <a:pt x="171783" y="14288"/>
                    </a:lnTo>
                    <a:cubicBezTo>
                      <a:pt x="168926" y="5715"/>
                      <a:pt x="161306" y="0"/>
                      <a:pt x="151781" y="0"/>
                    </a:cubicBezTo>
                    <a:cubicBezTo>
                      <a:pt x="143208" y="0"/>
                      <a:pt x="134636" y="5715"/>
                      <a:pt x="131778" y="14288"/>
                    </a:cubicBezTo>
                    <a:lnTo>
                      <a:pt x="109871" y="82868"/>
                    </a:lnTo>
                    <a:cubicBezTo>
                      <a:pt x="107013" y="91440"/>
                      <a:pt x="99393" y="97155"/>
                      <a:pt x="89868" y="97155"/>
                    </a:cubicBezTo>
                    <a:lnTo>
                      <a:pt x="20336" y="97155"/>
                    </a:lnTo>
                    <a:cubicBezTo>
                      <a:pt x="11763" y="97155"/>
                      <a:pt x="4143" y="102870"/>
                      <a:pt x="1286" y="111443"/>
                    </a:cubicBezTo>
                    <a:cubicBezTo>
                      <a:pt x="-1572" y="120015"/>
                      <a:pt x="333" y="128588"/>
                      <a:pt x="7001" y="134302"/>
                    </a:cubicBezTo>
                    <a:lnTo>
                      <a:pt x="31766" y="156210"/>
                    </a:lnTo>
                    <a:lnTo>
                      <a:pt x="63198" y="183833"/>
                    </a:lnTo>
                    <a:cubicBezTo>
                      <a:pt x="66056" y="186690"/>
                      <a:pt x="67961" y="190500"/>
                      <a:pt x="69866" y="194310"/>
                    </a:cubicBezTo>
                    <a:cubicBezTo>
                      <a:pt x="70818" y="198120"/>
                      <a:pt x="70818" y="201930"/>
                      <a:pt x="69866" y="206693"/>
                    </a:cubicBezTo>
                    <a:lnTo>
                      <a:pt x="47006" y="277178"/>
                    </a:lnTo>
                    <a:cubicBezTo>
                      <a:pt x="44148" y="285750"/>
                      <a:pt x="47006" y="295275"/>
                      <a:pt x="54626" y="300038"/>
                    </a:cubicBezTo>
                    <a:cubicBezTo>
                      <a:pt x="62246" y="305753"/>
                      <a:pt x="71771" y="305753"/>
                      <a:pt x="78438" y="300038"/>
                    </a:cubicBezTo>
                    <a:lnTo>
                      <a:pt x="139398" y="257175"/>
                    </a:lnTo>
                    <a:cubicBezTo>
                      <a:pt x="146066" y="252413"/>
                      <a:pt x="155591" y="252413"/>
                      <a:pt x="163211" y="257175"/>
                    </a:cubicBezTo>
                    <a:lnTo>
                      <a:pt x="224171" y="300038"/>
                    </a:lnTo>
                    <a:cubicBezTo>
                      <a:pt x="231791" y="305753"/>
                      <a:pt x="241316" y="305753"/>
                      <a:pt x="248936" y="300038"/>
                    </a:cubicBezTo>
                    <a:cubicBezTo>
                      <a:pt x="256556" y="294323"/>
                      <a:pt x="259413" y="284798"/>
                      <a:pt x="256556" y="276225"/>
                    </a:cubicBezTo>
                    <a:lnTo>
                      <a:pt x="235601" y="204788"/>
                    </a:lnTo>
                    <a:cubicBezTo>
                      <a:pt x="233696" y="197168"/>
                      <a:pt x="235601" y="188595"/>
                      <a:pt x="242268" y="182880"/>
                    </a:cubicBezTo>
                    <a:lnTo>
                      <a:pt x="296561" y="13430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6" name="Freeform: Shape 275">
                <a:extLst>
                  <a:ext uri="{FF2B5EF4-FFF2-40B4-BE49-F238E27FC236}">
                    <a16:creationId xmlns:a16="http://schemas.microsoft.com/office/drawing/2014/main" id="{16491CFA-89B1-07AE-E8FC-0FF5BA4485FE}"/>
                  </a:ext>
                </a:extLst>
              </p:cNvPr>
              <p:cNvSpPr/>
              <p:nvPr/>
            </p:nvSpPr>
            <p:spPr>
              <a:xfrm>
                <a:off x="-1108863"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7" name="Freeform: Shape 276">
                <a:extLst>
                  <a:ext uri="{FF2B5EF4-FFF2-40B4-BE49-F238E27FC236}">
                    <a16:creationId xmlns:a16="http://schemas.microsoft.com/office/drawing/2014/main" id="{E0A7EADB-B0CD-AB51-3688-CF951E64FD29}"/>
                  </a:ext>
                </a:extLst>
              </p:cNvPr>
              <p:cNvSpPr/>
              <p:nvPr/>
            </p:nvSpPr>
            <p:spPr>
              <a:xfrm>
                <a:off x="-518928"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sp>
        <p:nvSpPr>
          <p:cNvPr id="283" name="TextBox 282">
            <a:extLst>
              <a:ext uri="{FF2B5EF4-FFF2-40B4-BE49-F238E27FC236}">
                <a16:creationId xmlns:a16="http://schemas.microsoft.com/office/drawing/2014/main" id="{78409F86-95E8-3F9B-5BB0-374233044BD1}"/>
              </a:ext>
            </a:extLst>
          </p:cNvPr>
          <p:cNvSpPr txBox="1"/>
          <p:nvPr/>
        </p:nvSpPr>
        <p:spPr>
          <a:xfrm>
            <a:off x="3114300" y="2570393"/>
            <a:ext cx="2231995" cy="758955"/>
          </a:xfrm>
          <a:prstGeom prst="roundRect">
            <a:avLst>
              <a:gd name="adj" fmla="val 9137"/>
            </a:avLst>
          </a:prstGeom>
          <a:solidFill>
            <a:schemeClr val="accent4"/>
          </a:solidFill>
        </p:spPr>
        <p:txBody>
          <a:bodyPr wrap="square" lIns="0" tIns="3600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mivantamab + lazertinib</a:t>
            </a:r>
            <a:r>
              <a:rPr kumimoji="0" lang="en-GB" sz="13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6</a:t>
            </a:r>
          </a:p>
        </p:txBody>
      </p:sp>
      <p:grpSp>
        <p:nvGrpSpPr>
          <p:cNvPr id="284" name="Group 283">
            <a:extLst>
              <a:ext uri="{FF2B5EF4-FFF2-40B4-BE49-F238E27FC236}">
                <a16:creationId xmlns:a16="http://schemas.microsoft.com/office/drawing/2014/main" id="{EDCD6626-99C9-1E07-CD50-49408BC17AB6}"/>
              </a:ext>
            </a:extLst>
          </p:cNvPr>
          <p:cNvGrpSpPr/>
          <p:nvPr/>
        </p:nvGrpSpPr>
        <p:grpSpPr>
          <a:xfrm>
            <a:off x="3640580" y="2896058"/>
            <a:ext cx="1136591" cy="872725"/>
            <a:chOff x="-1408387" y="2159133"/>
            <a:chExt cx="1272034" cy="976724"/>
          </a:xfrm>
        </p:grpSpPr>
        <p:sp>
          <p:nvSpPr>
            <p:cNvPr id="285" name="Oval 284">
              <a:extLst>
                <a:ext uri="{FF2B5EF4-FFF2-40B4-BE49-F238E27FC236}">
                  <a16:creationId xmlns:a16="http://schemas.microsoft.com/office/drawing/2014/main" id="{670FC774-B645-E691-FE7A-51E2DA254C60}"/>
                </a:ext>
              </a:extLst>
            </p:cNvPr>
            <p:cNvSpPr/>
            <p:nvPr/>
          </p:nvSpPr>
          <p:spPr>
            <a:xfrm>
              <a:off x="-1245876" y="2159133"/>
              <a:ext cx="976724" cy="976724"/>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6" name="Oval 285">
              <a:extLst>
                <a:ext uri="{FF2B5EF4-FFF2-40B4-BE49-F238E27FC236}">
                  <a16:creationId xmlns:a16="http://schemas.microsoft.com/office/drawing/2014/main" id="{BEEDD6E1-B587-9E72-FA9B-B83CE240E6D2}"/>
                </a:ext>
              </a:extLst>
            </p:cNvPr>
            <p:cNvSpPr/>
            <p:nvPr/>
          </p:nvSpPr>
          <p:spPr>
            <a:xfrm>
              <a:off x="-1081016" y="2321531"/>
              <a:ext cx="647004" cy="647004"/>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87" name="Group 286">
              <a:extLst>
                <a:ext uri="{FF2B5EF4-FFF2-40B4-BE49-F238E27FC236}">
                  <a16:creationId xmlns:a16="http://schemas.microsoft.com/office/drawing/2014/main" id="{9C924D4C-2FED-F539-FFAE-0A9B7FCEC66F}"/>
                </a:ext>
              </a:extLst>
            </p:cNvPr>
            <p:cNvGrpSpPr/>
            <p:nvPr/>
          </p:nvGrpSpPr>
          <p:grpSpPr>
            <a:xfrm>
              <a:off x="-1034902" y="2363285"/>
              <a:ext cx="554776" cy="596887"/>
              <a:chOff x="-956914" y="2420803"/>
              <a:chExt cx="460479" cy="495433"/>
            </a:xfrm>
          </p:grpSpPr>
          <p:sp>
            <p:nvSpPr>
              <p:cNvPr id="298" name="TextBox 297">
                <a:extLst>
                  <a:ext uri="{FF2B5EF4-FFF2-40B4-BE49-F238E27FC236}">
                    <a16:creationId xmlns:a16="http://schemas.microsoft.com/office/drawing/2014/main" id="{2A474699-98E8-8F84-284F-D0DA6DACACBB}"/>
                  </a:ext>
                </a:extLst>
              </p:cNvPr>
              <p:cNvSpPr txBox="1">
                <a:spLocks/>
              </p:cNvSpPr>
              <p:nvPr/>
            </p:nvSpPr>
            <p:spPr>
              <a:xfrm rot="20626961">
                <a:off x="-950035" y="2462636"/>
                <a:ext cx="453600" cy="453600"/>
              </a:xfrm>
              <a:prstGeom prst="rect">
                <a:avLst/>
              </a:prstGeom>
              <a:noFill/>
            </p:spPr>
            <p:txBody>
              <a:bodyPr wrap="square">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300" normalizeH="0" baseline="0" noProof="0" dirty="0">
                  <a:ln w="0"/>
                  <a:solidFill>
                    <a:srgbClr val="EB17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300" normalizeH="0" baseline="0" noProof="0" dirty="0">
                    <a:ln w="0"/>
                    <a:solidFill>
                      <a:srgbClr val="EB1700"/>
                    </a:solidFill>
                    <a:effectLst/>
                    <a:uLnTx/>
                    <a:uFillTx/>
                    <a:latin typeface="Arial" panose="020B0604020202020204" pitchFamily="34" charset="0"/>
                    <a:ea typeface="+mn-ea"/>
                    <a:cs typeface="Arial" panose="020B0604020202020204" pitchFamily="34" charset="0"/>
                  </a:rPr>
                  <a:t>EMA &amp; FDA</a:t>
                </a:r>
                <a:r>
                  <a:rPr kumimoji="0" lang="en-GB" sz="1800" b="0" i="0" u="none" strike="noStrike" kern="1200" cap="none" spc="300" normalizeH="0" baseline="0" noProof="0" dirty="0">
                    <a:ln w="0"/>
                    <a:solidFill>
                      <a:srgbClr val="EB1700"/>
                    </a:solidFill>
                    <a:effectLst/>
                    <a:uLnTx/>
                    <a:uFillTx/>
                    <a:latin typeface="Arial" panose="020B0604020202020204" pitchFamily="34" charset="0"/>
                    <a:ea typeface="+mn-ea"/>
                    <a:cs typeface="Arial" panose="020B0604020202020204" pitchFamily="34" charset="0"/>
                  </a:rPr>
                  <a:t> </a:t>
                </a:r>
              </a:p>
            </p:txBody>
          </p:sp>
          <p:sp>
            <p:nvSpPr>
              <p:cNvPr id="299" name="Rectangle 7">
                <a:extLst>
                  <a:ext uri="{FF2B5EF4-FFF2-40B4-BE49-F238E27FC236}">
                    <a16:creationId xmlns:a16="http://schemas.microsoft.com/office/drawing/2014/main" id="{3699DA6A-E100-71B5-2BFD-228CA3480993}"/>
                  </a:ext>
                </a:extLst>
              </p:cNvPr>
              <p:cNvSpPr>
                <a:spLocks noChangeArrowheads="1"/>
              </p:cNvSpPr>
              <p:nvPr/>
            </p:nvSpPr>
            <p:spPr bwMode="auto">
              <a:xfrm rot="21027550">
                <a:off x="-956914" y="2420803"/>
                <a:ext cx="453385" cy="453385"/>
              </a:xfrm>
              <a:prstGeom prst="rect">
                <a:avLst/>
              </a:prstGeom>
              <a:noFill/>
              <a:ln w="9525" cap="flat">
                <a:noFill/>
                <a:round/>
                <a:headEnd/>
                <a:tailEnd/>
              </a:ln>
              <a:effectLst/>
            </p:spPr>
            <p:txBody>
              <a:bodyPr lIns="0" tIns="0" rIns="0" bIns="0" anchor="t">
                <a:prstTxWarp prst="textArchUp">
                  <a:avLst/>
                </a:prstTxWarp>
                <a:spAutoFit/>
              </a:bodyPr>
              <a:lstStyle>
                <a:lvl1pPr>
                  <a:tabLst>
                    <a:tab pos="723900" algn="l"/>
                    <a:tab pos="1447800" algn="l"/>
                    <a:tab pos="2171700" algn="l"/>
                    <a:tab pos="2895600" algn="l"/>
                  </a:tabLst>
                  <a:defRPr>
                    <a:solidFill>
                      <a:srgbClr val="000000"/>
                    </a:solidFill>
                    <a:latin typeface="Arial" charset="0"/>
                    <a:ea typeface="SimSun" charset="-122"/>
                    <a:cs typeface="SimSun" charset="-122"/>
                  </a:defRPr>
                </a:lvl1pPr>
                <a:lvl2pPr>
                  <a:tabLst>
                    <a:tab pos="723900" algn="l"/>
                    <a:tab pos="1447800" algn="l"/>
                    <a:tab pos="2171700" algn="l"/>
                    <a:tab pos="2895600" algn="l"/>
                  </a:tabLst>
                  <a:defRPr>
                    <a:solidFill>
                      <a:srgbClr val="000000"/>
                    </a:solidFill>
                    <a:latin typeface="Arial" charset="0"/>
                    <a:ea typeface="SimSun" charset="-122"/>
                    <a:cs typeface="SimSun" charset="-122"/>
                  </a:defRPr>
                </a:lvl2pPr>
                <a:lvl3pPr>
                  <a:tabLst>
                    <a:tab pos="723900" algn="l"/>
                    <a:tab pos="1447800" algn="l"/>
                    <a:tab pos="2171700" algn="l"/>
                    <a:tab pos="2895600" algn="l"/>
                  </a:tabLst>
                  <a:defRPr>
                    <a:solidFill>
                      <a:srgbClr val="000000"/>
                    </a:solidFill>
                    <a:latin typeface="Arial" charset="0"/>
                    <a:ea typeface="SimSun" charset="-122"/>
                    <a:cs typeface="SimSun" charset="-122"/>
                  </a:defRPr>
                </a:lvl3pPr>
                <a:lvl4pPr>
                  <a:tabLst>
                    <a:tab pos="723900" algn="l"/>
                    <a:tab pos="1447800" algn="l"/>
                    <a:tab pos="2171700" algn="l"/>
                    <a:tab pos="2895600" algn="l"/>
                  </a:tabLst>
                  <a:defRPr>
                    <a:solidFill>
                      <a:srgbClr val="000000"/>
                    </a:solidFill>
                    <a:latin typeface="Arial" charset="0"/>
                    <a:ea typeface="SimSun" charset="-122"/>
                    <a:cs typeface="SimSun" charset="-122"/>
                  </a:defRPr>
                </a:lvl4pPr>
                <a:lvl5pPr>
                  <a:tabLst>
                    <a:tab pos="723900" algn="l"/>
                    <a:tab pos="1447800" algn="l"/>
                    <a:tab pos="2171700" algn="l"/>
                    <a:tab pos="2895600" algn="l"/>
                  </a:tabLst>
                  <a:defRPr>
                    <a:solidFill>
                      <a:srgbClr val="000000"/>
                    </a:solidFill>
                    <a:latin typeface="Arial" charset="0"/>
                    <a:ea typeface="SimSun" charset="-122"/>
                    <a:cs typeface="SimSun" charset="-122"/>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9pPr>
              </a:lstStyle>
              <a:p>
                <a:pPr marL="0" marR="0" lvl="0" indent="0" algn="ctr" defTabSz="914400" rtl="0" eaLnBrk="1" fontAlgn="auto" latinLnBrk="0" hangingPunct="1">
                  <a:lnSpc>
                    <a:spcPct val="90000"/>
                  </a:lnSpc>
                  <a:spcBef>
                    <a:spcPts val="0"/>
                  </a:spcBef>
                  <a:spcAft>
                    <a:spcPts val="0"/>
                  </a:spcAft>
                  <a:buClrTx/>
                  <a:buSzTx/>
                  <a:buFontTx/>
                  <a:buNone/>
                  <a:tabLst>
                    <a:tab pos="723900" algn="l"/>
                    <a:tab pos="1447800" algn="l"/>
                    <a:tab pos="2171700" algn="l"/>
                    <a:tab pos="2895600" algn="l"/>
                  </a:tabLst>
                  <a:defRPr/>
                </a:pPr>
                <a:br>
                  <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rPr>
                </a:br>
                <a:r>
                  <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rPr>
                  <a:t> </a:t>
                </a:r>
                <a:r>
                  <a:rPr kumimoji="0" lang="en-US" altLang="x-none" sz="18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rPr>
                  <a:t>EMA &amp; FDA </a:t>
                </a:r>
                <a:endPar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endParaRPr>
              </a:p>
              <a:p>
                <a:pPr marL="0" marR="0" lvl="0" indent="0" algn="ctr" defTabSz="914400" rtl="0" eaLnBrk="1" fontAlgn="auto" latinLnBrk="0" hangingPunct="1">
                  <a:lnSpc>
                    <a:spcPct val="90000"/>
                  </a:lnSpc>
                  <a:spcBef>
                    <a:spcPts val="0"/>
                  </a:spcBef>
                  <a:spcAft>
                    <a:spcPts val="0"/>
                  </a:spcAft>
                  <a:buClrTx/>
                  <a:buSzTx/>
                  <a:buFontTx/>
                  <a:buNone/>
                  <a:tabLst>
                    <a:tab pos="723900" algn="l"/>
                    <a:tab pos="1447800" algn="l"/>
                    <a:tab pos="2171700" algn="l"/>
                    <a:tab pos="2895600" algn="l"/>
                  </a:tabLst>
                  <a:defRPr/>
                </a:pPr>
                <a:endParaRPr kumimoji="0" lang="en-US" altLang="x-none" sz="1200" b="1" i="0" u="none" strike="noStrike" kern="1200" cap="none" spc="300" normalizeH="0" baseline="0" noProof="0" dirty="0">
                  <a:ln>
                    <a:noFill/>
                  </a:ln>
                  <a:solidFill>
                    <a:srgbClr val="EB1700"/>
                  </a:solidFill>
                  <a:effectLst/>
                  <a:uLnTx/>
                  <a:uFillTx/>
                  <a:latin typeface="Arial" panose="020B0604020202020204" pitchFamily="34" charset="0"/>
                  <a:ea typeface="Gotham Light" charset="0"/>
                  <a:cs typeface="Arial" panose="020B0604020202020204" pitchFamily="34" charset="0"/>
                </a:endParaRPr>
              </a:p>
            </p:txBody>
          </p:sp>
        </p:grpSp>
        <p:sp>
          <p:nvSpPr>
            <p:cNvPr id="288" name="Rectangle: Rounded Corners 287">
              <a:extLst>
                <a:ext uri="{FF2B5EF4-FFF2-40B4-BE49-F238E27FC236}">
                  <a16:creationId xmlns:a16="http://schemas.microsoft.com/office/drawing/2014/main" id="{85E6756B-D43A-3CE5-02C2-648498EFD1DF}"/>
                </a:ext>
              </a:extLst>
            </p:cNvPr>
            <p:cNvSpPr/>
            <p:nvPr/>
          </p:nvSpPr>
          <p:spPr>
            <a:xfrm rot="20910539">
              <a:off x="-1333009" y="2522874"/>
              <a:ext cx="1129548" cy="270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9" name="TextBox 288">
              <a:extLst>
                <a:ext uri="{FF2B5EF4-FFF2-40B4-BE49-F238E27FC236}">
                  <a16:creationId xmlns:a16="http://schemas.microsoft.com/office/drawing/2014/main" id="{B23BD481-6054-BE48-D732-2B9AB792E238}"/>
                </a:ext>
              </a:extLst>
            </p:cNvPr>
            <p:cNvSpPr txBox="1"/>
            <p:nvPr/>
          </p:nvSpPr>
          <p:spPr>
            <a:xfrm rot="20902113">
              <a:off x="-1408387" y="2515413"/>
              <a:ext cx="1272034" cy="29278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PPROVED</a:t>
              </a:r>
              <a:r>
                <a:rPr kumimoji="0" lang="en-GB" sz="11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7,8</a:t>
              </a:r>
              <a:endPar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90" name="Group 289">
              <a:extLst>
                <a:ext uri="{FF2B5EF4-FFF2-40B4-BE49-F238E27FC236}">
                  <a16:creationId xmlns:a16="http://schemas.microsoft.com/office/drawing/2014/main" id="{3CF63210-8C82-8E9C-BE78-D6BB251DFBD6}"/>
                </a:ext>
              </a:extLst>
            </p:cNvPr>
            <p:cNvGrpSpPr/>
            <p:nvPr/>
          </p:nvGrpSpPr>
          <p:grpSpPr>
            <a:xfrm rot="20957731">
              <a:off x="-851191" y="2796878"/>
              <a:ext cx="285625" cy="132605"/>
              <a:chOff x="-1108863" y="3698232"/>
              <a:chExt cx="818090" cy="379808"/>
            </a:xfrm>
            <a:solidFill>
              <a:schemeClr val="accent1"/>
            </a:solidFill>
          </p:grpSpPr>
          <p:sp>
            <p:nvSpPr>
              <p:cNvPr id="295" name="Freeform: Shape 294">
                <a:extLst>
                  <a:ext uri="{FF2B5EF4-FFF2-40B4-BE49-F238E27FC236}">
                    <a16:creationId xmlns:a16="http://schemas.microsoft.com/office/drawing/2014/main" id="{C1BEE058-7AAF-D350-09B7-01BCE2144F39}"/>
                  </a:ext>
                </a:extLst>
              </p:cNvPr>
              <p:cNvSpPr/>
              <p:nvPr/>
            </p:nvSpPr>
            <p:spPr>
              <a:xfrm>
                <a:off x="-851599" y="3773717"/>
                <a:ext cx="303561" cy="304323"/>
              </a:xfrm>
              <a:custGeom>
                <a:avLst/>
                <a:gdLst>
                  <a:gd name="connsiteX0" fmla="*/ 296561 w 303561"/>
                  <a:gd name="connsiteY0" fmla="*/ 134302 h 304323"/>
                  <a:gd name="connsiteX1" fmla="*/ 302276 w 303561"/>
                  <a:gd name="connsiteY1" fmla="*/ 111443 h 304323"/>
                  <a:gd name="connsiteX2" fmla="*/ 283226 w 303561"/>
                  <a:gd name="connsiteY2" fmla="*/ 97155 h 304323"/>
                  <a:gd name="connsiteX3" fmla="*/ 213693 w 303561"/>
                  <a:gd name="connsiteY3" fmla="*/ 97155 h 304323"/>
                  <a:gd name="connsiteX4" fmla="*/ 193691 w 303561"/>
                  <a:gd name="connsiteY4" fmla="*/ 82868 h 304323"/>
                  <a:gd name="connsiteX5" fmla="*/ 171783 w 303561"/>
                  <a:gd name="connsiteY5" fmla="*/ 14288 h 304323"/>
                  <a:gd name="connsiteX6" fmla="*/ 151781 w 303561"/>
                  <a:gd name="connsiteY6" fmla="*/ 0 h 304323"/>
                  <a:gd name="connsiteX7" fmla="*/ 131778 w 303561"/>
                  <a:gd name="connsiteY7" fmla="*/ 14288 h 304323"/>
                  <a:gd name="connsiteX8" fmla="*/ 109871 w 303561"/>
                  <a:gd name="connsiteY8" fmla="*/ 82868 h 304323"/>
                  <a:gd name="connsiteX9" fmla="*/ 89868 w 303561"/>
                  <a:gd name="connsiteY9" fmla="*/ 97155 h 304323"/>
                  <a:gd name="connsiteX10" fmla="*/ 20336 w 303561"/>
                  <a:gd name="connsiteY10" fmla="*/ 97155 h 304323"/>
                  <a:gd name="connsiteX11" fmla="*/ 1286 w 303561"/>
                  <a:gd name="connsiteY11" fmla="*/ 111443 h 304323"/>
                  <a:gd name="connsiteX12" fmla="*/ 7001 w 303561"/>
                  <a:gd name="connsiteY12" fmla="*/ 134302 h 304323"/>
                  <a:gd name="connsiteX13" fmla="*/ 31766 w 303561"/>
                  <a:gd name="connsiteY13" fmla="*/ 156210 h 304323"/>
                  <a:gd name="connsiteX14" fmla="*/ 63198 w 303561"/>
                  <a:gd name="connsiteY14" fmla="*/ 183833 h 304323"/>
                  <a:gd name="connsiteX15" fmla="*/ 69866 w 303561"/>
                  <a:gd name="connsiteY15" fmla="*/ 194310 h 304323"/>
                  <a:gd name="connsiteX16" fmla="*/ 69866 w 303561"/>
                  <a:gd name="connsiteY16" fmla="*/ 206693 h 304323"/>
                  <a:gd name="connsiteX17" fmla="*/ 47006 w 303561"/>
                  <a:gd name="connsiteY17" fmla="*/ 277178 h 304323"/>
                  <a:gd name="connsiteX18" fmla="*/ 54626 w 303561"/>
                  <a:gd name="connsiteY18" fmla="*/ 300038 h 304323"/>
                  <a:gd name="connsiteX19" fmla="*/ 78438 w 303561"/>
                  <a:gd name="connsiteY19" fmla="*/ 300038 h 304323"/>
                  <a:gd name="connsiteX20" fmla="*/ 139398 w 303561"/>
                  <a:gd name="connsiteY20" fmla="*/ 257175 h 304323"/>
                  <a:gd name="connsiteX21" fmla="*/ 163211 w 303561"/>
                  <a:gd name="connsiteY21" fmla="*/ 257175 h 304323"/>
                  <a:gd name="connsiteX22" fmla="*/ 224171 w 303561"/>
                  <a:gd name="connsiteY22" fmla="*/ 300038 h 304323"/>
                  <a:gd name="connsiteX23" fmla="*/ 248936 w 303561"/>
                  <a:gd name="connsiteY23" fmla="*/ 300038 h 304323"/>
                  <a:gd name="connsiteX24" fmla="*/ 256556 w 303561"/>
                  <a:gd name="connsiteY24" fmla="*/ 276225 h 304323"/>
                  <a:gd name="connsiteX25" fmla="*/ 235601 w 303561"/>
                  <a:gd name="connsiteY25" fmla="*/ 204788 h 304323"/>
                  <a:gd name="connsiteX26" fmla="*/ 242268 w 303561"/>
                  <a:gd name="connsiteY26" fmla="*/ 182880 h 304323"/>
                  <a:gd name="connsiteX27" fmla="*/ 296561 w 303561"/>
                  <a:gd name="connsiteY27" fmla="*/ 134302 h 30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3561" h="304323">
                    <a:moveTo>
                      <a:pt x="296561" y="134302"/>
                    </a:moveTo>
                    <a:cubicBezTo>
                      <a:pt x="303228" y="128588"/>
                      <a:pt x="305133" y="119063"/>
                      <a:pt x="302276" y="111443"/>
                    </a:cubicBezTo>
                    <a:cubicBezTo>
                      <a:pt x="299418" y="102870"/>
                      <a:pt x="291798" y="98107"/>
                      <a:pt x="283226" y="97155"/>
                    </a:cubicBezTo>
                    <a:lnTo>
                      <a:pt x="213693" y="97155"/>
                    </a:lnTo>
                    <a:cubicBezTo>
                      <a:pt x="205121" y="97155"/>
                      <a:pt x="196548" y="91440"/>
                      <a:pt x="193691" y="82868"/>
                    </a:cubicBezTo>
                    <a:lnTo>
                      <a:pt x="171783" y="14288"/>
                    </a:lnTo>
                    <a:cubicBezTo>
                      <a:pt x="168926" y="5715"/>
                      <a:pt x="161306" y="0"/>
                      <a:pt x="151781" y="0"/>
                    </a:cubicBezTo>
                    <a:cubicBezTo>
                      <a:pt x="143208" y="0"/>
                      <a:pt x="134636" y="5715"/>
                      <a:pt x="131778" y="14288"/>
                    </a:cubicBezTo>
                    <a:lnTo>
                      <a:pt x="109871" y="82868"/>
                    </a:lnTo>
                    <a:cubicBezTo>
                      <a:pt x="107013" y="91440"/>
                      <a:pt x="99393" y="97155"/>
                      <a:pt x="89868" y="97155"/>
                    </a:cubicBezTo>
                    <a:lnTo>
                      <a:pt x="20336" y="97155"/>
                    </a:lnTo>
                    <a:cubicBezTo>
                      <a:pt x="11763" y="97155"/>
                      <a:pt x="4143" y="102870"/>
                      <a:pt x="1286" y="111443"/>
                    </a:cubicBezTo>
                    <a:cubicBezTo>
                      <a:pt x="-1572" y="120015"/>
                      <a:pt x="333" y="128588"/>
                      <a:pt x="7001" y="134302"/>
                    </a:cubicBezTo>
                    <a:lnTo>
                      <a:pt x="31766" y="156210"/>
                    </a:lnTo>
                    <a:lnTo>
                      <a:pt x="63198" y="183833"/>
                    </a:lnTo>
                    <a:cubicBezTo>
                      <a:pt x="66056" y="186690"/>
                      <a:pt x="67961" y="190500"/>
                      <a:pt x="69866" y="194310"/>
                    </a:cubicBezTo>
                    <a:cubicBezTo>
                      <a:pt x="70818" y="198120"/>
                      <a:pt x="70818" y="201930"/>
                      <a:pt x="69866" y="206693"/>
                    </a:cubicBezTo>
                    <a:lnTo>
                      <a:pt x="47006" y="277178"/>
                    </a:lnTo>
                    <a:cubicBezTo>
                      <a:pt x="44148" y="285750"/>
                      <a:pt x="47006" y="295275"/>
                      <a:pt x="54626" y="300038"/>
                    </a:cubicBezTo>
                    <a:cubicBezTo>
                      <a:pt x="62246" y="305753"/>
                      <a:pt x="71771" y="305753"/>
                      <a:pt x="78438" y="300038"/>
                    </a:cubicBezTo>
                    <a:lnTo>
                      <a:pt x="139398" y="257175"/>
                    </a:lnTo>
                    <a:cubicBezTo>
                      <a:pt x="146066" y="252413"/>
                      <a:pt x="155591" y="252413"/>
                      <a:pt x="163211" y="257175"/>
                    </a:cubicBezTo>
                    <a:lnTo>
                      <a:pt x="224171" y="300038"/>
                    </a:lnTo>
                    <a:cubicBezTo>
                      <a:pt x="231791" y="305753"/>
                      <a:pt x="241316" y="305753"/>
                      <a:pt x="248936" y="300038"/>
                    </a:cubicBezTo>
                    <a:cubicBezTo>
                      <a:pt x="256556" y="294323"/>
                      <a:pt x="259413" y="284798"/>
                      <a:pt x="256556" y="276225"/>
                    </a:cubicBezTo>
                    <a:lnTo>
                      <a:pt x="235601" y="204788"/>
                    </a:lnTo>
                    <a:cubicBezTo>
                      <a:pt x="233696" y="197168"/>
                      <a:pt x="235601" y="188595"/>
                      <a:pt x="242268" y="182880"/>
                    </a:cubicBezTo>
                    <a:lnTo>
                      <a:pt x="296561" y="13430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6" name="Freeform: Shape 295">
                <a:extLst>
                  <a:ext uri="{FF2B5EF4-FFF2-40B4-BE49-F238E27FC236}">
                    <a16:creationId xmlns:a16="http://schemas.microsoft.com/office/drawing/2014/main" id="{EF62918D-AAE2-5F7A-5605-4FA5A1147DD9}"/>
                  </a:ext>
                </a:extLst>
              </p:cNvPr>
              <p:cNvSpPr/>
              <p:nvPr/>
            </p:nvSpPr>
            <p:spPr>
              <a:xfrm>
                <a:off x="-1108863"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7" name="Freeform: Shape 296">
                <a:extLst>
                  <a:ext uri="{FF2B5EF4-FFF2-40B4-BE49-F238E27FC236}">
                    <a16:creationId xmlns:a16="http://schemas.microsoft.com/office/drawing/2014/main" id="{8185EE46-2FA0-BB47-8A44-1FA4BA67EC52}"/>
                  </a:ext>
                </a:extLst>
              </p:cNvPr>
              <p:cNvSpPr/>
              <p:nvPr/>
            </p:nvSpPr>
            <p:spPr>
              <a:xfrm>
                <a:off x="-518928"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91" name="Group 290">
              <a:extLst>
                <a:ext uri="{FF2B5EF4-FFF2-40B4-BE49-F238E27FC236}">
                  <a16:creationId xmlns:a16="http://schemas.microsoft.com/office/drawing/2014/main" id="{8598BCB5-6780-D2B8-4575-75ECBCEA4DB8}"/>
                </a:ext>
              </a:extLst>
            </p:cNvPr>
            <p:cNvGrpSpPr/>
            <p:nvPr/>
          </p:nvGrpSpPr>
          <p:grpSpPr>
            <a:xfrm rot="10073678">
              <a:off x="-943537" y="2366793"/>
              <a:ext cx="285625" cy="132605"/>
              <a:chOff x="-1108863" y="3698232"/>
              <a:chExt cx="818090" cy="379808"/>
            </a:xfrm>
            <a:solidFill>
              <a:schemeClr val="accent1"/>
            </a:solidFill>
          </p:grpSpPr>
          <p:sp>
            <p:nvSpPr>
              <p:cNvPr id="292" name="Freeform: Shape 291">
                <a:extLst>
                  <a:ext uri="{FF2B5EF4-FFF2-40B4-BE49-F238E27FC236}">
                    <a16:creationId xmlns:a16="http://schemas.microsoft.com/office/drawing/2014/main" id="{362F6F8E-D8CD-6415-1FAB-245889920E58}"/>
                  </a:ext>
                </a:extLst>
              </p:cNvPr>
              <p:cNvSpPr/>
              <p:nvPr/>
            </p:nvSpPr>
            <p:spPr>
              <a:xfrm>
                <a:off x="-851599" y="3773717"/>
                <a:ext cx="303561" cy="304323"/>
              </a:xfrm>
              <a:custGeom>
                <a:avLst/>
                <a:gdLst>
                  <a:gd name="connsiteX0" fmla="*/ 296561 w 303561"/>
                  <a:gd name="connsiteY0" fmla="*/ 134302 h 304323"/>
                  <a:gd name="connsiteX1" fmla="*/ 302276 w 303561"/>
                  <a:gd name="connsiteY1" fmla="*/ 111443 h 304323"/>
                  <a:gd name="connsiteX2" fmla="*/ 283226 w 303561"/>
                  <a:gd name="connsiteY2" fmla="*/ 97155 h 304323"/>
                  <a:gd name="connsiteX3" fmla="*/ 213693 w 303561"/>
                  <a:gd name="connsiteY3" fmla="*/ 97155 h 304323"/>
                  <a:gd name="connsiteX4" fmla="*/ 193691 w 303561"/>
                  <a:gd name="connsiteY4" fmla="*/ 82868 h 304323"/>
                  <a:gd name="connsiteX5" fmla="*/ 171783 w 303561"/>
                  <a:gd name="connsiteY5" fmla="*/ 14288 h 304323"/>
                  <a:gd name="connsiteX6" fmla="*/ 151781 w 303561"/>
                  <a:gd name="connsiteY6" fmla="*/ 0 h 304323"/>
                  <a:gd name="connsiteX7" fmla="*/ 131778 w 303561"/>
                  <a:gd name="connsiteY7" fmla="*/ 14288 h 304323"/>
                  <a:gd name="connsiteX8" fmla="*/ 109871 w 303561"/>
                  <a:gd name="connsiteY8" fmla="*/ 82868 h 304323"/>
                  <a:gd name="connsiteX9" fmla="*/ 89868 w 303561"/>
                  <a:gd name="connsiteY9" fmla="*/ 97155 h 304323"/>
                  <a:gd name="connsiteX10" fmla="*/ 20336 w 303561"/>
                  <a:gd name="connsiteY10" fmla="*/ 97155 h 304323"/>
                  <a:gd name="connsiteX11" fmla="*/ 1286 w 303561"/>
                  <a:gd name="connsiteY11" fmla="*/ 111443 h 304323"/>
                  <a:gd name="connsiteX12" fmla="*/ 7001 w 303561"/>
                  <a:gd name="connsiteY12" fmla="*/ 134302 h 304323"/>
                  <a:gd name="connsiteX13" fmla="*/ 31766 w 303561"/>
                  <a:gd name="connsiteY13" fmla="*/ 156210 h 304323"/>
                  <a:gd name="connsiteX14" fmla="*/ 63198 w 303561"/>
                  <a:gd name="connsiteY14" fmla="*/ 183833 h 304323"/>
                  <a:gd name="connsiteX15" fmla="*/ 69866 w 303561"/>
                  <a:gd name="connsiteY15" fmla="*/ 194310 h 304323"/>
                  <a:gd name="connsiteX16" fmla="*/ 69866 w 303561"/>
                  <a:gd name="connsiteY16" fmla="*/ 206693 h 304323"/>
                  <a:gd name="connsiteX17" fmla="*/ 47006 w 303561"/>
                  <a:gd name="connsiteY17" fmla="*/ 277178 h 304323"/>
                  <a:gd name="connsiteX18" fmla="*/ 54626 w 303561"/>
                  <a:gd name="connsiteY18" fmla="*/ 300038 h 304323"/>
                  <a:gd name="connsiteX19" fmla="*/ 78438 w 303561"/>
                  <a:gd name="connsiteY19" fmla="*/ 300038 h 304323"/>
                  <a:gd name="connsiteX20" fmla="*/ 139398 w 303561"/>
                  <a:gd name="connsiteY20" fmla="*/ 257175 h 304323"/>
                  <a:gd name="connsiteX21" fmla="*/ 163211 w 303561"/>
                  <a:gd name="connsiteY21" fmla="*/ 257175 h 304323"/>
                  <a:gd name="connsiteX22" fmla="*/ 224171 w 303561"/>
                  <a:gd name="connsiteY22" fmla="*/ 300038 h 304323"/>
                  <a:gd name="connsiteX23" fmla="*/ 248936 w 303561"/>
                  <a:gd name="connsiteY23" fmla="*/ 300038 h 304323"/>
                  <a:gd name="connsiteX24" fmla="*/ 256556 w 303561"/>
                  <a:gd name="connsiteY24" fmla="*/ 276225 h 304323"/>
                  <a:gd name="connsiteX25" fmla="*/ 235601 w 303561"/>
                  <a:gd name="connsiteY25" fmla="*/ 204788 h 304323"/>
                  <a:gd name="connsiteX26" fmla="*/ 242268 w 303561"/>
                  <a:gd name="connsiteY26" fmla="*/ 182880 h 304323"/>
                  <a:gd name="connsiteX27" fmla="*/ 296561 w 303561"/>
                  <a:gd name="connsiteY27" fmla="*/ 134302 h 30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3561" h="304323">
                    <a:moveTo>
                      <a:pt x="296561" y="134302"/>
                    </a:moveTo>
                    <a:cubicBezTo>
                      <a:pt x="303228" y="128588"/>
                      <a:pt x="305133" y="119063"/>
                      <a:pt x="302276" y="111443"/>
                    </a:cubicBezTo>
                    <a:cubicBezTo>
                      <a:pt x="299418" y="102870"/>
                      <a:pt x="291798" y="98107"/>
                      <a:pt x="283226" y="97155"/>
                    </a:cubicBezTo>
                    <a:lnTo>
                      <a:pt x="213693" y="97155"/>
                    </a:lnTo>
                    <a:cubicBezTo>
                      <a:pt x="205121" y="97155"/>
                      <a:pt x="196548" y="91440"/>
                      <a:pt x="193691" y="82868"/>
                    </a:cubicBezTo>
                    <a:lnTo>
                      <a:pt x="171783" y="14288"/>
                    </a:lnTo>
                    <a:cubicBezTo>
                      <a:pt x="168926" y="5715"/>
                      <a:pt x="161306" y="0"/>
                      <a:pt x="151781" y="0"/>
                    </a:cubicBezTo>
                    <a:cubicBezTo>
                      <a:pt x="143208" y="0"/>
                      <a:pt x="134636" y="5715"/>
                      <a:pt x="131778" y="14288"/>
                    </a:cubicBezTo>
                    <a:lnTo>
                      <a:pt x="109871" y="82868"/>
                    </a:lnTo>
                    <a:cubicBezTo>
                      <a:pt x="107013" y="91440"/>
                      <a:pt x="99393" y="97155"/>
                      <a:pt x="89868" y="97155"/>
                    </a:cubicBezTo>
                    <a:lnTo>
                      <a:pt x="20336" y="97155"/>
                    </a:lnTo>
                    <a:cubicBezTo>
                      <a:pt x="11763" y="97155"/>
                      <a:pt x="4143" y="102870"/>
                      <a:pt x="1286" y="111443"/>
                    </a:cubicBezTo>
                    <a:cubicBezTo>
                      <a:pt x="-1572" y="120015"/>
                      <a:pt x="333" y="128588"/>
                      <a:pt x="7001" y="134302"/>
                    </a:cubicBezTo>
                    <a:lnTo>
                      <a:pt x="31766" y="156210"/>
                    </a:lnTo>
                    <a:lnTo>
                      <a:pt x="63198" y="183833"/>
                    </a:lnTo>
                    <a:cubicBezTo>
                      <a:pt x="66056" y="186690"/>
                      <a:pt x="67961" y="190500"/>
                      <a:pt x="69866" y="194310"/>
                    </a:cubicBezTo>
                    <a:cubicBezTo>
                      <a:pt x="70818" y="198120"/>
                      <a:pt x="70818" y="201930"/>
                      <a:pt x="69866" y="206693"/>
                    </a:cubicBezTo>
                    <a:lnTo>
                      <a:pt x="47006" y="277178"/>
                    </a:lnTo>
                    <a:cubicBezTo>
                      <a:pt x="44148" y="285750"/>
                      <a:pt x="47006" y="295275"/>
                      <a:pt x="54626" y="300038"/>
                    </a:cubicBezTo>
                    <a:cubicBezTo>
                      <a:pt x="62246" y="305753"/>
                      <a:pt x="71771" y="305753"/>
                      <a:pt x="78438" y="300038"/>
                    </a:cubicBezTo>
                    <a:lnTo>
                      <a:pt x="139398" y="257175"/>
                    </a:lnTo>
                    <a:cubicBezTo>
                      <a:pt x="146066" y="252413"/>
                      <a:pt x="155591" y="252413"/>
                      <a:pt x="163211" y="257175"/>
                    </a:cubicBezTo>
                    <a:lnTo>
                      <a:pt x="224171" y="300038"/>
                    </a:lnTo>
                    <a:cubicBezTo>
                      <a:pt x="231791" y="305753"/>
                      <a:pt x="241316" y="305753"/>
                      <a:pt x="248936" y="300038"/>
                    </a:cubicBezTo>
                    <a:cubicBezTo>
                      <a:pt x="256556" y="294323"/>
                      <a:pt x="259413" y="284798"/>
                      <a:pt x="256556" y="276225"/>
                    </a:cubicBezTo>
                    <a:lnTo>
                      <a:pt x="235601" y="204788"/>
                    </a:lnTo>
                    <a:cubicBezTo>
                      <a:pt x="233696" y="197168"/>
                      <a:pt x="235601" y="188595"/>
                      <a:pt x="242268" y="182880"/>
                    </a:cubicBezTo>
                    <a:lnTo>
                      <a:pt x="296561" y="13430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3" name="Freeform: Shape 292">
                <a:extLst>
                  <a:ext uri="{FF2B5EF4-FFF2-40B4-BE49-F238E27FC236}">
                    <a16:creationId xmlns:a16="http://schemas.microsoft.com/office/drawing/2014/main" id="{1D8978D2-BF23-7B9B-578E-2AA6B71E5579}"/>
                  </a:ext>
                </a:extLst>
              </p:cNvPr>
              <p:cNvSpPr/>
              <p:nvPr/>
            </p:nvSpPr>
            <p:spPr>
              <a:xfrm>
                <a:off x="-1108863"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4" name="Freeform: Shape 293">
                <a:extLst>
                  <a:ext uri="{FF2B5EF4-FFF2-40B4-BE49-F238E27FC236}">
                    <a16:creationId xmlns:a16="http://schemas.microsoft.com/office/drawing/2014/main" id="{C87E7497-DB34-8E66-0278-11F9CC053AA9}"/>
                  </a:ext>
                </a:extLst>
              </p:cNvPr>
              <p:cNvSpPr/>
              <p:nvPr/>
            </p:nvSpPr>
            <p:spPr>
              <a:xfrm>
                <a:off x="-518928" y="3698232"/>
                <a:ext cx="228155" cy="227647"/>
              </a:xfrm>
              <a:custGeom>
                <a:avLst/>
                <a:gdLst>
                  <a:gd name="connsiteX0" fmla="*/ 222663 w 228155"/>
                  <a:gd name="connsiteY0" fmla="*/ 100965 h 227647"/>
                  <a:gd name="connsiteX1" fmla="*/ 227425 w 228155"/>
                  <a:gd name="connsiteY1" fmla="*/ 83820 h 227647"/>
                  <a:gd name="connsiteX2" fmla="*/ 213138 w 228155"/>
                  <a:gd name="connsiteY2" fmla="*/ 73342 h 227647"/>
                  <a:gd name="connsiteX3" fmla="*/ 160750 w 228155"/>
                  <a:gd name="connsiteY3" fmla="*/ 73342 h 227647"/>
                  <a:gd name="connsiteX4" fmla="*/ 146463 w 228155"/>
                  <a:gd name="connsiteY4" fmla="*/ 62865 h 227647"/>
                  <a:gd name="connsiteX5" fmla="*/ 129317 w 228155"/>
                  <a:gd name="connsiteY5" fmla="*/ 11430 h 227647"/>
                  <a:gd name="connsiteX6" fmla="*/ 114078 w 228155"/>
                  <a:gd name="connsiteY6" fmla="*/ 0 h 227647"/>
                  <a:gd name="connsiteX7" fmla="*/ 98838 w 228155"/>
                  <a:gd name="connsiteY7" fmla="*/ 10477 h 227647"/>
                  <a:gd name="connsiteX8" fmla="*/ 81692 w 228155"/>
                  <a:gd name="connsiteY8" fmla="*/ 61913 h 227647"/>
                  <a:gd name="connsiteX9" fmla="*/ 67405 w 228155"/>
                  <a:gd name="connsiteY9" fmla="*/ 72390 h 227647"/>
                  <a:gd name="connsiteX10" fmla="*/ 15017 w 228155"/>
                  <a:gd name="connsiteY10" fmla="*/ 72390 h 227647"/>
                  <a:gd name="connsiteX11" fmla="*/ 730 w 228155"/>
                  <a:gd name="connsiteY11" fmla="*/ 82867 h 227647"/>
                  <a:gd name="connsiteX12" fmla="*/ 5492 w 228155"/>
                  <a:gd name="connsiteY12" fmla="*/ 100013 h 227647"/>
                  <a:gd name="connsiteX13" fmla="*/ 23590 w 228155"/>
                  <a:gd name="connsiteY13" fmla="*/ 116205 h 227647"/>
                  <a:gd name="connsiteX14" fmla="*/ 46450 w 228155"/>
                  <a:gd name="connsiteY14" fmla="*/ 137160 h 227647"/>
                  <a:gd name="connsiteX15" fmla="*/ 51213 w 228155"/>
                  <a:gd name="connsiteY15" fmla="*/ 144780 h 227647"/>
                  <a:gd name="connsiteX16" fmla="*/ 51213 w 228155"/>
                  <a:gd name="connsiteY16" fmla="*/ 153352 h 227647"/>
                  <a:gd name="connsiteX17" fmla="*/ 35020 w 228155"/>
                  <a:gd name="connsiteY17" fmla="*/ 207645 h 227647"/>
                  <a:gd name="connsiteX18" fmla="*/ 40735 w 228155"/>
                  <a:gd name="connsiteY18" fmla="*/ 224790 h 227647"/>
                  <a:gd name="connsiteX19" fmla="*/ 58833 w 228155"/>
                  <a:gd name="connsiteY19" fmla="*/ 224790 h 227647"/>
                  <a:gd name="connsiteX20" fmla="*/ 104553 w 228155"/>
                  <a:gd name="connsiteY20" fmla="*/ 192405 h 227647"/>
                  <a:gd name="connsiteX21" fmla="*/ 122650 w 228155"/>
                  <a:gd name="connsiteY21" fmla="*/ 192405 h 227647"/>
                  <a:gd name="connsiteX22" fmla="*/ 168370 w 228155"/>
                  <a:gd name="connsiteY22" fmla="*/ 224790 h 227647"/>
                  <a:gd name="connsiteX23" fmla="*/ 186467 w 228155"/>
                  <a:gd name="connsiteY23" fmla="*/ 224790 h 227647"/>
                  <a:gd name="connsiteX24" fmla="*/ 192183 w 228155"/>
                  <a:gd name="connsiteY24" fmla="*/ 207645 h 227647"/>
                  <a:gd name="connsiteX25" fmla="*/ 175990 w 228155"/>
                  <a:gd name="connsiteY25" fmla="*/ 153352 h 227647"/>
                  <a:gd name="connsiteX26" fmla="*/ 180753 w 228155"/>
                  <a:gd name="connsiteY26" fmla="*/ 137160 h 227647"/>
                  <a:gd name="connsiteX27" fmla="*/ 222663 w 228155"/>
                  <a:gd name="connsiteY27" fmla="*/ 100965 h 22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155" h="227647">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pic>
        <p:nvPicPr>
          <p:cNvPr id="16" name="Picture 15">
            <a:extLst>
              <a:ext uri="{FF2B5EF4-FFF2-40B4-BE49-F238E27FC236}">
                <a16:creationId xmlns:a16="http://schemas.microsoft.com/office/drawing/2014/main" id="{5F5432EB-41E3-4E46-1CD6-31859A6499E7}"/>
              </a:ext>
            </a:extLst>
          </p:cNvPr>
          <p:cNvPicPr>
            <a:picLocks noChangeAspect="1"/>
          </p:cNvPicPr>
          <p:nvPr/>
        </p:nvPicPr>
        <p:blipFill>
          <a:blip r:embed="rId8"/>
          <a:stretch>
            <a:fillRect/>
          </a:stretch>
        </p:blipFill>
        <p:spPr>
          <a:xfrm>
            <a:off x="1629290" y="5219469"/>
            <a:ext cx="156724" cy="147853"/>
          </a:xfrm>
          <a:prstGeom prst="rect">
            <a:avLst/>
          </a:prstGeom>
        </p:spPr>
      </p:pic>
      <p:pic>
        <p:nvPicPr>
          <p:cNvPr id="22" name="Picture 21">
            <a:extLst>
              <a:ext uri="{FF2B5EF4-FFF2-40B4-BE49-F238E27FC236}">
                <a16:creationId xmlns:a16="http://schemas.microsoft.com/office/drawing/2014/main" id="{933B0104-CCAA-7E2E-E33A-5F968BA09612}"/>
              </a:ext>
            </a:extLst>
          </p:cNvPr>
          <p:cNvPicPr>
            <a:picLocks noChangeAspect="1"/>
          </p:cNvPicPr>
          <p:nvPr/>
        </p:nvPicPr>
        <p:blipFill>
          <a:blip r:embed="rId8"/>
          <a:stretch>
            <a:fillRect/>
          </a:stretch>
        </p:blipFill>
        <p:spPr>
          <a:xfrm>
            <a:off x="1486295" y="5498906"/>
            <a:ext cx="156724" cy="147853"/>
          </a:xfrm>
          <a:prstGeom prst="rect">
            <a:avLst/>
          </a:prstGeom>
        </p:spPr>
      </p:pic>
      <p:pic>
        <p:nvPicPr>
          <p:cNvPr id="30" name="Picture 29">
            <a:extLst>
              <a:ext uri="{FF2B5EF4-FFF2-40B4-BE49-F238E27FC236}">
                <a16:creationId xmlns:a16="http://schemas.microsoft.com/office/drawing/2014/main" id="{38479B1A-69BF-C58F-8898-913CEBE92AA2}"/>
              </a:ext>
            </a:extLst>
          </p:cNvPr>
          <p:cNvPicPr>
            <a:picLocks noChangeAspect="1"/>
          </p:cNvPicPr>
          <p:nvPr/>
        </p:nvPicPr>
        <p:blipFill>
          <a:blip r:embed="rId8"/>
          <a:stretch>
            <a:fillRect/>
          </a:stretch>
        </p:blipFill>
        <p:spPr>
          <a:xfrm>
            <a:off x="2515756" y="5164142"/>
            <a:ext cx="156724" cy="147853"/>
          </a:xfrm>
          <a:prstGeom prst="rect">
            <a:avLst/>
          </a:prstGeom>
        </p:spPr>
      </p:pic>
      <p:pic>
        <p:nvPicPr>
          <p:cNvPr id="175" name="Picture 174">
            <a:extLst>
              <a:ext uri="{FF2B5EF4-FFF2-40B4-BE49-F238E27FC236}">
                <a16:creationId xmlns:a16="http://schemas.microsoft.com/office/drawing/2014/main" id="{2C55A3FD-F5B4-3A4C-9F51-A749E436AD36}"/>
              </a:ext>
            </a:extLst>
          </p:cNvPr>
          <p:cNvPicPr>
            <a:picLocks noChangeAspect="1"/>
          </p:cNvPicPr>
          <p:nvPr/>
        </p:nvPicPr>
        <p:blipFill>
          <a:blip r:embed="rId8"/>
          <a:stretch>
            <a:fillRect/>
          </a:stretch>
        </p:blipFill>
        <p:spPr>
          <a:xfrm>
            <a:off x="2726720" y="5472180"/>
            <a:ext cx="156724" cy="147853"/>
          </a:xfrm>
          <a:prstGeom prst="rect">
            <a:avLst/>
          </a:prstGeom>
        </p:spPr>
      </p:pic>
      <p:pic>
        <p:nvPicPr>
          <p:cNvPr id="300" name="Picture 299">
            <a:extLst>
              <a:ext uri="{FF2B5EF4-FFF2-40B4-BE49-F238E27FC236}">
                <a16:creationId xmlns:a16="http://schemas.microsoft.com/office/drawing/2014/main" id="{3D0DC6E1-2F5B-591E-53AB-8297F4D177C9}"/>
              </a:ext>
            </a:extLst>
          </p:cNvPr>
          <p:cNvPicPr>
            <a:picLocks noChangeAspect="1"/>
          </p:cNvPicPr>
          <p:nvPr/>
        </p:nvPicPr>
        <p:blipFill>
          <a:blip r:embed="rId8"/>
          <a:stretch>
            <a:fillRect/>
          </a:stretch>
        </p:blipFill>
        <p:spPr>
          <a:xfrm>
            <a:off x="1715744" y="5706038"/>
            <a:ext cx="156724" cy="147853"/>
          </a:xfrm>
          <a:prstGeom prst="rect">
            <a:avLst/>
          </a:prstGeom>
        </p:spPr>
      </p:pic>
      <p:sp>
        <p:nvSpPr>
          <p:cNvPr id="301" name="Right Bracket 300">
            <a:extLst>
              <a:ext uri="{FF2B5EF4-FFF2-40B4-BE49-F238E27FC236}">
                <a16:creationId xmlns:a16="http://schemas.microsoft.com/office/drawing/2014/main" id="{733B760E-15FE-1DE4-2BFD-09B362B36079}"/>
              </a:ext>
            </a:extLst>
          </p:cNvPr>
          <p:cNvSpPr/>
          <p:nvPr/>
        </p:nvSpPr>
        <p:spPr>
          <a:xfrm rot="5400000">
            <a:off x="8771096" y="29127"/>
            <a:ext cx="68307" cy="6253809"/>
          </a:xfrm>
          <a:prstGeom prst="rightBracket">
            <a:avLst>
              <a:gd name="adj" fmla="val 53430"/>
            </a:avLst>
          </a:prstGeom>
          <a:ln w="15875">
            <a:solidFill>
              <a:schemeClr val="accent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3" name="Rectangle: Rounded Corners 302">
            <a:extLst>
              <a:ext uri="{FF2B5EF4-FFF2-40B4-BE49-F238E27FC236}">
                <a16:creationId xmlns:a16="http://schemas.microsoft.com/office/drawing/2014/main" id="{8E009AB4-B16E-7A51-7931-16F80823600A}"/>
              </a:ext>
            </a:extLst>
          </p:cNvPr>
          <p:cNvSpPr/>
          <p:nvPr/>
        </p:nvSpPr>
        <p:spPr>
          <a:xfrm>
            <a:off x="7996992" y="3089799"/>
            <a:ext cx="1630935" cy="209277"/>
          </a:xfrm>
          <a:prstGeom prst="roundRect">
            <a:avLst>
              <a:gd name="adj" fmla="val 1818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NGOING STUDIES</a:t>
            </a:r>
          </a:p>
        </p:txBody>
      </p:sp>
      <p:cxnSp>
        <p:nvCxnSpPr>
          <p:cNvPr id="238" name="Straight Connector 237">
            <a:extLst>
              <a:ext uri="{FF2B5EF4-FFF2-40B4-BE49-F238E27FC236}">
                <a16:creationId xmlns:a16="http://schemas.microsoft.com/office/drawing/2014/main" id="{5F013F97-639F-FC4D-7296-AC3EE8075C8A}"/>
              </a:ext>
            </a:extLst>
          </p:cNvPr>
          <p:cNvCxnSpPr>
            <a:cxnSpLocks/>
          </p:cNvCxnSpPr>
          <p:nvPr/>
        </p:nvCxnSpPr>
        <p:spPr>
          <a:xfrm>
            <a:off x="7718622" y="2436370"/>
            <a:ext cx="0" cy="3384000"/>
          </a:xfrm>
          <a:prstGeom prst="line">
            <a:avLst/>
          </a:prstGeom>
          <a:ln w="15875" cap="rnd">
            <a:solidFill>
              <a:schemeClr val="bg1">
                <a:lumMod val="65000"/>
              </a:schemeClr>
            </a:solidFill>
            <a:prstDash val="sysDash"/>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40E4F74-6DB4-58F2-EA14-344F9E37CC56}"/>
              </a:ext>
            </a:extLst>
          </p:cNvPr>
          <p:cNvCxnSpPr>
            <a:cxnSpLocks/>
          </p:cNvCxnSpPr>
          <p:nvPr/>
        </p:nvCxnSpPr>
        <p:spPr>
          <a:xfrm>
            <a:off x="9880978" y="2436370"/>
            <a:ext cx="0" cy="3384000"/>
          </a:xfrm>
          <a:prstGeom prst="line">
            <a:avLst/>
          </a:prstGeom>
          <a:ln w="15875" cap="rnd">
            <a:solidFill>
              <a:schemeClr val="bg1">
                <a:lumMod val="65000"/>
              </a:schemeClr>
            </a:solidFill>
            <a:prstDash val="sysDash"/>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12223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7E4DE-2294-587E-D747-2D2D06027E24}"/>
            </a:ext>
          </a:extLst>
        </p:cNvPr>
        <p:cNvGrpSpPr/>
        <p:nvPr/>
      </p:nvGrpSpPr>
      <p:grpSpPr>
        <a:xfrm>
          <a:off x="0" y="0"/>
          <a:ext cx="0" cy="0"/>
          <a:chOff x="0" y="0"/>
          <a:chExt cx="0" cy="0"/>
        </a:xfrm>
      </p:grpSpPr>
      <p:grpSp>
        <p:nvGrpSpPr>
          <p:cNvPr id="441" name="Group 440">
            <a:extLst>
              <a:ext uri="{FF2B5EF4-FFF2-40B4-BE49-F238E27FC236}">
                <a16:creationId xmlns:a16="http://schemas.microsoft.com/office/drawing/2014/main" id="{874614F4-9E7C-D4B0-9AA2-696B8BB3441B}"/>
              </a:ext>
            </a:extLst>
          </p:cNvPr>
          <p:cNvGrpSpPr/>
          <p:nvPr/>
        </p:nvGrpSpPr>
        <p:grpSpPr>
          <a:xfrm>
            <a:off x="0" y="5446545"/>
            <a:ext cx="11755482" cy="1026586"/>
            <a:chOff x="-1" y="5183761"/>
            <a:chExt cx="11755482" cy="1026586"/>
          </a:xfrm>
        </p:grpSpPr>
        <p:sp>
          <p:nvSpPr>
            <p:cNvPr id="442" name="Rectangle 441">
              <a:extLst>
                <a:ext uri="{FF2B5EF4-FFF2-40B4-BE49-F238E27FC236}">
                  <a16:creationId xmlns:a16="http://schemas.microsoft.com/office/drawing/2014/main" id="{E7213C16-E4DD-9B5D-DB28-810FD81E5E22}"/>
                </a:ext>
              </a:extLst>
            </p:cNvPr>
            <p:cNvSpPr/>
            <p:nvPr/>
          </p:nvSpPr>
          <p:spPr>
            <a:xfrm>
              <a:off x="296883" y="5325052"/>
              <a:ext cx="11458598" cy="720000"/>
            </a:xfrm>
            <a:prstGeom prst="rect">
              <a:avLst/>
            </a:prstGeom>
            <a:gradFill flip="none" rotWithShape="1">
              <a:gsLst>
                <a:gs pos="8000">
                  <a:schemeClr val="bg1"/>
                </a:gs>
                <a:gs pos="0">
                  <a:schemeClr val="accent1"/>
                </a:gs>
                <a:gs pos="90000">
                  <a:schemeClr val="bg1"/>
                </a:gs>
                <a:gs pos="99000">
                  <a:schemeClr val="accent1"/>
                </a:gs>
              </a:gsLst>
              <a:lin ang="0" scaled="1"/>
              <a:tileRect/>
            </a:gra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43" name="Group 442">
              <a:extLst>
                <a:ext uri="{FF2B5EF4-FFF2-40B4-BE49-F238E27FC236}">
                  <a16:creationId xmlns:a16="http://schemas.microsoft.com/office/drawing/2014/main" id="{81B048AA-92F9-5195-31AE-D0776FC2BFD8}"/>
                </a:ext>
              </a:extLst>
            </p:cNvPr>
            <p:cNvGrpSpPr/>
            <p:nvPr/>
          </p:nvGrpSpPr>
          <p:grpSpPr>
            <a:xfrm>
              <a:off x="-1" y="5183761"/>
              <a:ext cx="425473" cy="1026586"/>
              <a:chOff x="0" y="5282896"/>
              <a:chExt cx="436762" cy="1241728"/>
            </a:xfrm>
          </p:grpSpPr>
          <p:sp>
            <p:nvSpPr>
              <p:cNvPr id="446" name="Freeform 14">
                <a:extLst>
                  <a:ext uri="{FF2B5EF4-FFF2-40B4-BE49-F238E27FC236}">
                    <a16:creationId xmlns:a16="http://schemas.microsoft.com/office/drawing/2014/main" id="{D7689846-A630-8305-6A9C-8B780FE3CDF8}"/>
                  </a:ext>
                </a:extLst>
              </p:cNvPr>
              <p:cNvSpPr>
                <a:spLocks/>
              </p:cNvSpPr>
              <p:nvPr/>
            </p:nvSpPr>
            <p:spPr bwMode="auto">
              <a:xfrm>
                <a:off x="17982" y="5313808"/>
                <a:ext cx="393085" cy="1197236"/>
              </a:xfrm>
              <a:custGeom>
                <a:avLst/>
                <a:gdLst>
                  <a:gd name="T0" fmla="*/ 153 w 153"/>
                  <a:gd name="T1" fmla="*/ 0 h 1032"/>
                  <a:gd name="T2" fmla="*/ 150 w 153"/>
                  <a:gd name="T3" fmla="*/ 1032 h 1032"/>
                  <a:gd name="T4" fmla="*/ 0 w 153"/>
                  <a:gd name="T5" fmla="*/ 1032 h 1032"/>
                  <a:gd name="T6" fmla="*/ 0 w 153"/>
                  <a:gd name="T7" fmla="*/ 0 h 1032"/>
                  <a:gd name="T8" fmla="*/ 153 w 153"/>
                  <a:gd name="T9" fmla="*/ 0 h 1032"/>
                </a:gdLst>
                <a:ahLst/>
                <a:cxnLst>
                  <a:cxn ang="0">
                    <a:pos x="T0" y="T1"/>
                  </a:cxn>
                  <a:cxn ang="0">
                    <a:pos x="T2" y="T3"/>
                  </a:cxn>
                  <a:cxn ang="0">
                    <a:pos x="T4" y="T5"/>
                  </a:cxn>
                  <a:cxn ang="0">
                    <a:pos x="T6" y="T7"/>
                  </a:cxn>
                  <a:cxn ang="0">
                    <a:pos x="T8" y="T9"/>
                  </a:cxn>
                </a:cxnLst>
                <a:rect l="0" t="0" r="r" b="b"/>
                <a:pathLst>
                  <a:path w="153" h="1032">
                    <a:moveTo>
                      <a:pt x="153" y="0"/>
                    </a:moveTo>
                    <a:lnTo>
                      <a:pt x="150" y="1032"/>
                    </a:lnTo>
                    <a:lnTo>
                      <a:pt x="0" y="1032"/>
                    </a:lnTo>
                    <a:lnTo>
                      <a:pt x="0" y="0"/>
                    </a:lnTo>
                    <a:lnTo>
                      <a:pt x="153" y="0"/>
                    </a:lnTo>
                    <a:close/>
                  </a:path>
                </a:pathLst>
              </a:custGeom>
              <a:gradFill flip="none" rotWithShape="1">
                <a:gsLst>
                  <a:gs pos="0">
                    <a:sysClr val="window" lastClr="FFFFFF">
                      <a:alpha val="0"/>
                    </a:sysClr>
                  </a:gs>
                  <a:gs pos="50000">
                    <a:sysClr val="window" lastClr="FFFFFF"/>
                  </a:gs>
                  <a:gs pos="100000">
                    <a:sysClr val="window" lastClr="FFFFFF">
                      <a:alpha val="0"/>
                    </a:sysClr>
                  </a:gs>
                </a:gsLst>
                <a:lin ang="5400000" scaled="0"/>
                <a:tileRect/>
              </a:gradFill>
              <a:ln w="12700" cap="flat" cmpd="sng" algn="ctr">
                <a:noFill/>
                <a:prstDash val="solid"/>
                <a:miter lim="800000"/>
              </a:ln>
              <a:effectLst>
                <a:outerShdw blurRad="101600" dist="88900" sx="95000" sy="95000" algn="tl" rotWithShape="0">
                  <a:prstClr val="black">
                    <a:alpha val="5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7" name="Rectangle 446">
                <a:extLst>
                  <a:ext uri="{FF2B5EF4-FFF2-40B4-BE49-F238E27FC236}">
                    <a16:creationId xmlns:a16="http://schemas.microsoft.com/office/drawing/2014/main" id="{0CE22CC5-E503-6711-60D2-B07E3C18C2F3}"/>
                  </a:ext>
                </a:extLst>
              </p:cNvPr>
              <p:cNvSpPr/>
              <p:nvPr/>
            </p:nvSpPr>
            <p:spPr>
              <a:xfrm>
                <a:off x="0" y="5282896"/>
                <a:ext cx="436762" cy="1241728"/>
              </a:xfrm>
              <a:prstGeom prst="rect">
                <a:avLst/>
              </a:prstGeom>
              <a:solidFill>
                <a:srgbClr val="F6F5F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444" name="Picture 2" descr="Data Icon 2500462">
              <a:extLst>
                <a:ext uri="{FF2B5EF4-FFF2-40B4-BE49-F238E27FC236}">
                  <a16:creationId xmlns:a16="http://schemas.microsoft.com/office/drawing/2014/main" id="{FAB5AFC7-E682-AB07-3246-2F77D96951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05187" y="5231799"/>
              <a:ext cx="891266" cy="891266"/>
            </a:xfrm>
            <a:prstGeom prst="rect">
              <a:avLst/>
            </a:prstGeom>
            <a:noFill/>
            <a:extLst>
              <a:ext uri="{909E8E84-426E-40DD-AFC4-6F175D3DCCD1}">
                <a14:hiddenFill xmlns:a14="http://schemas.microsoft.com/office/drawing/2010/main">
                  <a:solidFill>
                    <a:srgbClr val="FFFFFF"/>
                  </a:solidFill>
                </a14:hiddenFill>
              </a:ext>
            </a:extLst>
          </p:spPr>
        </p:pic>
        <p:sp>
          <p:nvSpPr>
            <p:cNvPr id="445" name="TextBox 444">
              <a:extLst>
                <a:ext uri="{FF2B5EF4-FFF2-40B4-BE49-F238E27FC236}">
                  <a16:creationId xmlns:a16="http://schemas.microsoft.com/office/drawing/2014/main" id="{90A8AF0E-3BEE-825C-4DC8-B6E340251C71}"/>
                </a:ext>
              </a:extLst>
            </p:cNvPr>
            <p:cNvSpPr txBox="1"/>
            <p:nvPr/>
          </p:nvSpPr>
          <p:spPr>
            <a:xfrm>
              <a:off x="1163729" y="5370939"/>
              <a:ext cx="963006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L osimertinib + ChT demonstrated a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statistically significant improvement</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b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PFS vs osimertinib monotherapy</a:t>
              </a:r>
              <a:r>
                <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grpSp>
      <p:sp>
        <p:nvSpPr>
          <p:cNvPr id="2" name="Title 1">
            <a:extLst>
              <a:ext uri="{FF2B5EF4-FFF2-40B4-BE49-F238E27FC236}">
                <a16:creationId xmlns:a16="http://schemas.microsoft.com/office/drawing/2014/main" id="{5F56299A-2342-EDFD-F48F-B6FFF25C8049}"/>
              </a:ext>
            </a:extLst>
          </p:cNvPr>
          <p:cNvSpPr>
            <a:spLocks noGrp="1"/>
          </p:cNvSpPr>
          <p:nvPr>
            <p:ph type="title"/>
          </p:nvPr>
        </p:nvSpPr>
        <p:spPr/>
        <p:txBody>
          <a:bodyPr/>
          <a:lstStyle/>
          <a:p>
            <a:r>
              <a:rPr lang="en-GB" dirty="0"/>
              <a:t>Osimertinib + ChT: PFS by INV</a:t>
            </a:r>
          </a:p>
        </p:txBody>
      </p:sp>
      <p:sp>
        <p:nvSpPr>
          <p:cNvPr id="4" name="Text Placeholder 3">
            <a:extLst>
              <a:ext uri="{FF2B5EF4-FFF2-40B4-BE49-F238E27FC236}">
                <a16:creationId xmlns:a16="http://schemas.microsoft.com/office/drawing/2014/main" id="{D7E10712-79CC-8D34-1025-B3D3B1F75AE8}"/>
              </a:ext>
            </a:extLst>
          </p:cNvPr>
          <p:cNvSpPr>
            <a:spLocks noGrp="1"/>
          </p:cNvSpPr>
          <p:nvPr>
            <p:ph type="body" sz="quarter" idx="13"/>
          </p:nvPr>
        </p:nvSpPr>
        <p:spPr>
          <a:xfrm>
            <a:off x="6877050" y="6524625"/>
            <a:ext cx="4881859" cy="230832"/>
          </a:xfrm>
        </p:spPr>
        <p:txBody>
          <a:bodyPr/>
          <a:lstStyle/>
          <a:p>
            <a:r>
              <a:rPr lang="en-GB" dirty="0"/>
              <a:t>1L, first-line; ChT, chemotherapy; HR, hazard ratio; INV, investigator; mPFS, median PFS; NC, not calculable.</a:t>
            </a:r>
          </a:p>
        </p:txBody>
      </p:sp>
      <p:sp>
        <p:nvSpPr>
          <p:cNvPr id="5" name="Text Placeholder 4">
            <a:extLst>
              <a:ext uri="{FF2B5EF4-FFF2-40B4-BE49-F238E27FC236}">
                <a16:creationId xmlns:a16="http://schemas.microsoft.com/office/drawing/2014/main" id="{63C9B272-51F5-2696-B223-1601D351DD56}"/>
              </a:ext>
            </a:extLst>
          </p:cNvPr>
          <p:cNvSpPr>
            <a:spLocks noGrp="1"/>
          </p:cNvSpPr>
          <p:nvPr>
            <p:ph type="body" sz="quarter" idx="15"/>
          </p:nvPr>
        </p:nvSpPr>
        <p:spPr>
          <a:xfrm>
            <a:off x="442913" y="6544523"/>
            <a:ext cx="5490748" cy="210933"/>
          </a:xfrm>
        </p:spPr>
        <p:txBody>
          <a:bodyPr/>
          <a:lstStyle/>
          <a:p>
            <a:r>
              <a:rPr lang="en-GB" dirty="0"/>
              <a:t>1. Planchard D, et al. </a:t>
            </a:r>
            <a:r>
              <a:rPr lang="en-GB" i="1" dirty="0"/>
              <a:t>N Engl J Med</a:t>
            </a:r>
            <a:r>
              <a:rPr lang="en-GB" dirty="0"/>
              <a:t>. 2023;389:1935–48; 2. Jänne PA, et al. Presented at WCLC 2023: PL03.13.</a:t>
            </a:r>
          </a:p>
        </p:txBody>
      </p:sp>
      <p:sp>
        <p:nvSpPr>
          <p:cNvPr id="6" name="Rectangle: Rounded Corners 5">
            <a:extLst>
              <a:ext uri="{FF2B5EF4-FFF2-40B4-BE49-F238E27FC236}">
                <a16:creationId xmlns:a16="http://schemas.microsoft.com/office/drawing/2014/main" id="{BA392E42-896A-E09F-71F1-627CF4F1D230}"/>
              </a:ext>
            </a:extLst>
          </p:cNvPr>
          <p:cNvSpPr/>
          <p:nvPr/>
        </p:nvSpPr>
        <p:spPr>
          <a:xfrm>
            <a:off x="10118785" y="203659"/>
            <a:ext cx="1551426"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LAURA2</a:t>
            </a:r>
          </a:p>
        </p:txBody>
      </p:sp>
      <p:grpSp>
        <p:nvGrpSpPr>
          <p:cNvPr id="7" name="Group 6">
            <a:extLst>
              <a:ext uri="{FF2B5EF4-FFF2-40B4-BE49-F238E27FC236}">
                <a16:creationId xmlns:a16="http://schemas.microsoft.com/office/drawing/2014/main" id="{B13E7335-28D7-AE7B-9C98-BB87EED2DAFD}"/>
              </a:ext>
            </a:extLst>
          </p:cNvPr>
          <p:cNvGrpSpPr/>
          <p:nvPr/>
        </p:nvGrpSpPr>
        <p:grpSpPr>
          <a:xfrm>
            <a:off x="11442807" y="48345"/>
            <a:ext cx="645342" cy="645342"/>
            <a:chOff x="11442807" y="48345"/>
            <a:chExt cx="645342" cy="645342"/>
          </a:xfrm>
        </p:grpSpPr>
        <p:sp>
          <p:nvSpPr>
            <p:cNvPr id="8" name="Oval 7">
              <a:extLst>
                <a:ext uri="{FF2B5EF4-FFF2-40B4-BE49-F238E27FC236}">
                  <a16:creationId xmlns:a16="http://schemas.microsoft.com/office/drawing/2014/main" id="{46C428DC-81E8-D54F-8361-16D5EEE1BEAC}"/>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9" name="Graphic 8" descr="Signal outline">
              <a:extLst>
                <a:ext uri="{FF2B5EF4-FFF2-40B4-BE49-F238E27FC236}">
                  <a16:creationId xmlns:a16="http://schemas.microsoft.com/office/drawing/2014/main" id="{7A1294AE-96F4-7A4D-D5F2-E1C2E02EEDD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492045" y="96048"/>
              <a:ext cx="506740" cy="506740"/>
            </a:xfrm>
            <a:prstGeom prst="rect">
              <a:avLst/>
            </a:prstGeom>
          </p:spPr>
        </p:pic>
      </p:grpSp>
      <p:sp>
        <p:nvSpPr>
          <p:cNvPr id="211" name="Rectangle 210">
            <a:extLst>
              <a:ext uri="{FF2B5EF4-FFF2-40B4-BE49-F238E27FC236}">
                <a16:creationId xmlns:a16="http://schemas.microsoft.com/office/drawing/2014/main" id="{3B797A36-2C98-7649-9A1F-AFF28F171F9C}"/>
              </a:ext>
            </a:extLst>
          </p:cNvPr>
          <p:cNvSpPr/>
          <p:nvPr/>
        </p:nvSpPr>
        <p:spPr>
          <a:xfrm>
            <a:off x="449312" y="1089331"/>
            <a:ext cx="11306174" cy="4330399"/>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3" name="TextBox 212">
            <a:extLst>
              <a:ext uri="{FF2B5EF4-FFF2-40B4-BE49-F238E27FC236}">
                <a16:creationId xmlns:a16="http://schemas.microsoft.com/office/drawing/2014/main" id="{5D33DB41-3F42-FE26-A313-458B0C2A5E8E}"/>
              </a:ext>
            </a:extLst>
          </p:cNvPr>
          <p:cNvSpPr txBox="1"/>
          <p:nvPr/>
        </p:nvSpPr>
        <p:spPr>
          <a:xfrm>
            <a:off x="449312" y="1089331"/>
            <a:ext cx="11306170" cy="355276"/>
          </a:xfrm>
          <a:prstGeom prst="rect">
            <a:avLst/>
          </a:prstGeom>
          <a:gradFill>
            <a:gsLst>
              <a:gs pos="0">
                <a:schemeClr val="accent6"/>
              </a:gs>
              <a:gs pos="100000">
                <a:schemeClr val="accent6"/>
              </a:gs>
              <a:gs pos="93000">
                <a:schemeClr val="accent4"/>
              </a:gs>
              <a:gs pos="7000">
                <a:schemeClr val="accent4"/>
              </a:gs>
            </a:gsLst>
            <a:lin ang="0" scaled="1"/>
          </a:gradFill>
        </p:spPr>
        <p:txBody>
          <a:bodyPr wrap="square" lIns="108000" tIns="54000" rIns="108000" bIns="5400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FS</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2</a:t>
            </a:r>
          </a:p>
        </p:txBody>
      </p:sp>
      <p:sp>
        <p:nvSpPr>
          <p:cNvPr id="217" name="TextBox 216">
            <a:extLst>
              <a:ext uri="{FF2B5EF4-FFF2-40B4-BE49-F238E27FC236}">
                <a16:creationId xmlns:a16="http://schemas.microsoft.com/office/drawing/2014/main" id="{3A3BD76D-CADD-C5E0-200B-3A290DB0A845}"/>
              </a:ext>
            </a:extLst>
          </p:cNvPr>
          <p:cNvSpPr txBox="1"/>
          <p:nvPr/>
        </p:nvSpPr>
        <p:spPr>
          <a:xfrm>
            <a:off x="1143802" y="4982397"/>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79</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78</a:t>
            </a:r>
          </a:p>
        </p:txBody>
      </p:sp>
      <p:sp>
        <p:nvSpPr>
          <p:cNvPr id="218" name="TextBox 217">
            <a:extLst>
              <a:ext uri="{FF2B5EF4-FFF2-40B4-BE49-F238E27FC236}">
                <a16:creationId xmlns:a16="http://schemas.microsoft.com/office/drawing/2014/main" id="{DED77B7A-7BB4-E75A-26BB-0386D6DC469F}"/>
              </a:ext>
            </a:extLst>
          </p:cNvPr>
          <p:cNvSpPr txBox="1"/>
          <p:nvPr/>
        </p:nvSpPr>
        <p:spPr>
          <a:xfrm>
            <a:off x="1634272" y="4982397"/>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4</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6</a:t>
            </a:r>
          </a:p>
        </p:txBody>
      </p:sp>
      <p:sp>
        <p:nvSpPr>
          <p:cNvPr id="219" name="TextBox 218">
            <a:extLst>
              <a:ext uri="{FF2B5EF4-FFF2-40B4-BE49-F238E27FC236}">
                <a16:creationId xmlns:a16="http://schemas.microsoft.com/office/drawing/2014/main" id="{580ABCF5-15C2-2E5A-2115-05B22985EF16}"/>
              </a:ext>
            </a:extLst>
          </p:cNvPr>
          <p:cNvSpPr txBox="1"/>
          <p:nvPr/>
        </p:nvSpPr>
        <p:spPr>
          <a:xfrm>
            <a:off x="2117180" y="4982397"/>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41</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27</a:t>
            </a:r>
          </a:p>
        </p:txBody>
      </p:sp>
      <p:sp>
        <p:nvSpPr>
          <p:cNvPr id="220" name="TextBox 219">
            <a:extLst>
              <a:ext uri="{FF2B5EF4-FFF2-40B4-BE49-F238E27FC236}">
                <a16:creationId xmlns:a16="http://schemas.microsoft.com/office/drawing/2014/main" id="{C91055B2-B093-9E3B-39F4-9BD635BB5414}"/>
              </a:ext>
            </a:extLst>
          </p:cNvPr>
          <p:cNvSpPr txBox="1"/>
          <p:nvPr/>
        </p:nvSpPr>
        <p:spPr>
          <a:xfrm>
            <a:off x="2624884" y="4982397"/>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25</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3</a:t>
            </a:r>
          </a:p>
        </p:txBody>
      </p:sp>
      <p:sp>
        <p:nvSpPr>
          <p:cNvPr id="221" name="TextBox 220">
            <a:extLst>
              <a:ext uri="{FF2B5EF4-FFF2-40B4-BE49-F238E27FC236}">
                <a16:creationId xmlns:a16="http://schemas.microsoft.com/office/drawing/2014/main" id="{28ED1A56-99B0-403F-B720-A4BF54C31265}"/>
              </a:ext>
            </a:extLst>
          </p:cNvPr>
          <p:cNvSpPr txBox="1"/>
          <p:nvPr/>
        </p:nvSpPr>
        <p:spPr>
          <a:xfrm>
            <a:off x="3129150" y="4982397"/>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78</a:t>
            </a:r>
          </a:p>
        </p:txBody>
      </p:sp>
      <p:sp>
        <p:nvSpPr>
          <p:cNvPr id="222" name="TextBox 221">
            <a:extLst>
              <a:ext uri="{FF2B5EF4-FFF2-40B4-BE49-F238E27FC236}">
                <a16:creationId xmlns:a16="http://schemas.microsoft.com/office/drawing/2014/main" id="{0D20CBF5-1CFF-244D-02C7-C4219A991016}"/>
              </a:ext>
            </a:extLst>
          </p:cNvPr>
          <p:cNvSpPr txBox="1"/>
          <p:nvPr/>
        </p:nvSpPr>
        <p:spPr>
          <a:xfrm>
            <a:off x="3630058" y="4982397"/>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8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48</a:t>
            </a:r>
          </a:p>
        </p:txBody>
      </p:sp>
      <p:sp>
        <p:nvSpPr>
          <p:cNvPr id="223" name="TextBox 222">
            <a:extLst>
              <a:ext uri="{FF2B5EF4-FFF2-40B4-BE49-F238E27FC236}">
                <a16:creationId xmlns:a16="http://schemas.microsoft.com/office/drawing/2014/main" id="{A89D4918-32AE-A625-9537-D9538AA57B12}"/>
              </a:ext>
            </a:extLst>
          </p:cNvPr>
          <p:cNvSpPr txBox="1"/>
          <p:nvPr/>
        </p:nvSpPr>
        <p:spPr>
          <a:xfrm>
            <a:off x="4129235" y="4982397"/>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19</a:t>
            </a:r>
          </a:p>
        </p:txBody>
      </p:sp>
      <p:sp>
        <p:nvSpPr>
          <p:cNvPr id="224" name="TextBox 223">
            <a:extLst>
              <a:ext uri="{FF2B5EF4-FFF2-40B4-BE49-F238E27FC236}">
                <a16:creationId xmlns:a16="http://schemas.microsoft.com/office/drawing/2014/main" id="{41D2514E-DEEE-1B56-2F7F-3097D30478A8}"/>
              </a:ext>
            </a:extLst>
          </p:cNvPr>
          <p:cNvSpPr txBox="1"/>
          <p:nvPr/>
        </p:nvSpPr>
        <p:spPr>
          <a:xfrm>
            <a:off x="4624380" y="4982397"/>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94</a:t>
            </a:r>
          </a:p>
        </p:txBody>
      </p:sp>
      <p:sp>
        <p:nvSpPr>
          <p:cNvPr id="225" name="TextBox 224">
            <a:extLst>
              <a:ext uri="{FF2B5EF4-FFF2-40B4-BE49-F238E27FC236}">
                <a16:creationId xmlns:a16="http://schemas.microsoft.com/office/drawing/2014/main" id="{A133CC2E-9719-6F96-C2BC-49EE01A3D442}"/>
              </a:ext>
            </a:extLst>
          </p:cNvPr>
          <p:cNvSpPr txBox="1"/>
          <p:nvPr/>
        </p:nvSpPr>
        <p:spPr>
          <a:xfrm>
            <a:off x="5168870" y="4982397"/>
            <a:ext cx="3257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8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67</a:t>
            </a:r>
          </a:p>
        </p:txBody>
      </p:sp>
      <p:sp>
        <p:nvSpPr>
          <p:cNvPr id="226" name="TextBox 225">
            <a:extLst>
              <a:ext uri="{FF2B5EF4-FFF2-40B4-BE49-F238E27FC236}">
                <a16:creationId xmlns:a16="http://schemas.microsoft.com/office/drawing/2014/main" id="{1D24E1B0-3951-F3FA-AFAE-14DC25A49088}"/>
              </a:ext>
            </a:extLst>
          </p:cNvPr>
          <p:cNvSpPr txBox="1"/>
          <p:nvPr/>
        </p:nvSpPr>
        <p:spPr>
          <a:xfrm>
            <a:off x="5671619" y="4982397"/>
            <a:ext cx="3257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8</a:t>
            </a:r>
          </a:p>
        </p:txBody>
      </p:sp>
      <p:sp>
        <p:nvSpPr>
          <p:cNvPr id="227" name="TextBox 226">
            <a:extLst>
              <a:ext uri="{FF2B5EF4-FFF2-40B4-BE49-F238E27FC236}">
                <a16:creationId xmlns:a16="http://schemas.microsoft.com/office/drawing/2014/main" id="{9A0F1BD1-4BF6-FAED-B91E-C12318A6BE58}"/>
              </a:ext>
            </a:extLst>
          </p:cNvPr>
          <p:cNvSpPr txBox="1"/>
          <p:nvPr/>
        </p:nvSpPr>
        <p:spPr>
          <a:xfrm>
            <a:off x="6176510" y="4982397"/>
            <a:ext cx="3257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1</a:t>
            </a:r>
          </a:p>
        </p:txBody>
      </p:sp>
      <p:sp>
        <p:nvSpPr>
          <p:cNvPr id="228" name="TextBox 227">
            <a:extLst>
              <a:ext uri="{FF2B5EF4-FFF2-40B4-BE49-F238E27FC236}">
                <a16:creationId xmlns:a16="http://schemas.microsoft.com/office/drawing/2014/main" id="{96BA1BCF-DED5-14EC-34A0-5EFAEAE20632}"/>
              </a:ext>
            </a:extLst>
          </p:cNvPr>
          <p:cNvSpPr txBox="1"/>
          <p:nvPr/>
        </p:nvSpPr>
        <p:spPr>
          <a:xfrm>
            <a:off x="6715597" y="4982397"/>
            <a:ext cx="25519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229" name="TextBox 228">
            <a:extLst>
              <a:ext uri="{FF2B5EF4-FFF2-40B4-BE49-F238E27FC236}">
                <a16:creationId xmlns:a16="http://schemas.microsoft.com/office/drawing/2014/main" id="{E94D7A40-B543-8A00-6763-B8E5D5B21A05}"/>
              </a:ext>
            </a:extLst>
          </p:cNvPr>
          <p:cNvSpPr txBox="1"/>
          <p:nvPr/>
        </p:nvSpPr>
        <p:spPr>
          <a:xfrm>
            <a:off x="7199518" y="4982397"/>
            <a:ext cx="25519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268" name="TextBox 267">
            <a:extLst>
              <a:ext uri="{FF2B5EF4-FFF2-40B4-BE49-F238E27FC236}">
                <a16:creationId xmlns:a16="http://schemas.microsoft.com/office/drawing/2014/main" id="{FD183627-371C-0C6D-D135-B166CDF9FC8F}"/>
              </a:ext>
            </a:extLst>
          </p:cNvPr>
          <p:cNvSpPr txBox="1"/>
          <p:nvPr/>
        </p:nvSpPr>
        <p:spPr>
          <a:xfrm>
            <a:off x="4038244" y="4678351"/>
            <a:ext cx="73289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ths</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0" name="TextBox 229">
            <a:extLst>
              <a:ext uri="{FF2B5EF4-FFF2-40B4-BE49-F238E27FC236}">
                <a16:creationId xmlns:a16="http://schemas.microsoft.com/office/drawing/2014/main" id="{383DCE97-789A-C00B-2831-B604E512BA2F}"/>
              </a:ext>
            </a:extLst>
          </p:cNvPr>
          <p:cNvSpPr txBox="1"/>
          <p:nvPr/>
        </p:nvSpPr>
        <p:spPr>
          <a:xfrm>
            <a:off x="938198" y="1570750"/>
            <a:ext cx="38023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cxnSp>
        <p:nvCxnSpPr>
          <p:cNvPr id="231" name="Straight Connector 230">
            <a:extLst>
              <a:ext uri="{FF2B5EF4-FFF2-40B4-BE49-F238E27FC236}">
                <a16:creationId xmlns:a16="http://schemas.microsoft.com/office/drawing/2014/main" id="{33D373C0-4F07-1622-F24B-0469708ED7D8}"/>
              </a:ext>
            </a:extLst>
          </p:cNvPr>
          <p:cNvCxnSpPr>
            <a:cxnSpLocks/>
          </p:cNvCxnSpPr>
          <p:nvPr/>
        </p:nvCxnSpPr>
        <p:spPr>
          <a:xfrm>
            <a:off x="1335124" y="1681168"/>
            <a:ext cx="2" cy="27930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45288635-291A-3C18-91FC-47B9417DBFDA}"/>
              </a:ext>
            </a:extLst>
          </p:cNvPr>
          <p:cNvCxnSpPr>
            <a:cxnSpLocks/>
          </p:cNvCxnSpPr>
          <p:nvPr/>
        </p:nvCxnSpPr>
        <p:spPr>
          <a:xfrm>
            <a:off x="1249034" y="1688546"/>
            <a:ext cx="860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6D06D2BA-2B38-D1A8-B83C-8C8A79A164C7}"/>
              </a:ext>
            </a:extLst>
          </p:cNvPr>
          <p:cNvCxnSpPr>
            <a:cxnSpLocks/>
          </p:cNvCxnSpPr>
          <p:nvPr/>
        </p:nvCxnSpPr>
        <p:spPr>
          <a:xfrm>
            <a:off x="1249034" y="2247102"/>
            <a:ext cx="860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BBFDB15F-C84B-D054-9CFD-2A2B80973F24}"/>
              </a:ext>
            </a:extLst>
          </p:cNvPr>
          <p:cNvCxnSpPr>
            <a:cxnSpLocks/>
          </p:cNvCxnSpPr>
          <p:nvPr/>
        </p:nvCxnSpPr>
        <p:spPr>
          <a:xfrm>
            <a:off x="1249034" y="2784259"/>
            <a:ext cx="860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32EFE780-4E70-2BA7-9B98-BB81922A80E2}"/>
              </a:ext>
            </a:extLst>
          </p:cNvPr>
          <p:cNvCxnSpPr>
            <a:cxnSpLocks/>
          </p:cNvCxnSpPr>
          <p:nvPr/>
        </p:nvCxnSpPr>
        <p:spPr>
          <a:xfrm>
            <a:off x="1249034" y="3845937"/>
            <a:ext cx="860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9B431009-3D69-E33F-C952-DFCB38212F27}"/>
              </a:ext>
            </a:extLst>
          </p:cNvPr>
          <p:cNvSpPr txBox="1"/>
          <p:nvPr/>
        </p:nvSpPr>
        <p:spPr>
          <a:xfrm>
            <a:off x="924157" y="2123525"/>
            <a:ext cx="38023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8</a:t>
            </a:r>
          </a:p>
        </p:txBody>
      </p:sp>
      <p:sp>
        <p:nvSpPr>
          <p:cNvPr id="237" name="TextBox 236">
            <a:extLst>
              <a:ext uri="{FF2B5EF4-FFF2-40B4-BE49-F238E27FC236}">
                <a16:creationId xmlns:a16="http://schemas.microsoft.com/office/drawing/2014/main" id="{8FC6F38A-AD8A-F2DE-78B6-60AB59266B4C}"/>
              </a:ext>
            </a:extLst>
          </p:cNvPr>
          <p:cNvSpPr txBox="1"/>
          <p:nvPr/>
        </p:nvSpPr>
        <p:spPr>
          <a:xfrm>
            <a:off x="924157" y="2659710"/>
            <a:ext cx="38023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a:t>
            </a:r>
          </a:p>
        </p:txBody>
      </p:sp>
      <p:grpSp>
        <p:nvGrpSpPr>
          <p:cNvPr id="238" name="Group 237">
            <a:extLst>
              <a:ext uri="{FF2B5EF4-FFF2-40B4-BE49-F238E27FC236}">
                <a16:creationId xmlns:a16="http://schemas.microsoft.com/office/drawing/2014/main" id="{4123D414-6024-87E4-3E4A-96DDE6DEDFBD}"/>
              </a:ext>
            </a:extLst>
          </p:cNvPr>
          <p:cNvGrpSpPr/>
          <p:nvPr/>
        </p:nvGrpSpPr>
        <p:grpSpPr>
          <a:xfrm>
            <a:off x="924159" y="3181612"/>
            <a:ext cx="410968" cy="261611"/>
            <a:chOff x="804162" y="2648721"/>
            <a:chExt cx="307126" cy="159995"/>
          </a:xfrm>
        </p:grpSpPr>
        <p:cxnSp>
          <p:nvCxnSpPr>
            <p:cNvPr id="239" name="Straight Connector 238">
              <a:extLst>
                <a:ext uri="{FF2B5EF4-FFF2-40B4-BE49-F238E27FC236}">
                  <a16:creationId xmlns:a16="http://schemas.microsoft.com/office/drawing/2014/main" id="{94384B20-ACC9-6767-BC10-4BB77315E2B5}"/>
                </a:ext>
              </a:extLst>
            </p:cNvPr>
            <p:cNvCxnSpPr>
              <a:cxnSpLocks/>
            </p:cNvCxnSpPr>
            <p:nvPr/>
          </p:nvCxnSpPr>
          <p:spPr>
            <a:xfrm>
              <a:off x="1046950" y="2726500"/>
              <a:ext cx="643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155FB92B-68FD-B7B5-79CC-62074E2691C1}"/>
                </a:ext>
              </a:extLst>
            </p:cNvPr>
            <p:cNvSpPr txBox="1"/>
            <p:nvPr/>
          </p:nvSpPr>
          <p:spPr>
            <a:xfrm>
              <a:off x="804162" y="2648721"/>
              <a:ext cx="284156" cy="15999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4</a:t>
              </a:r>
            </a:p>
          </p:txBody>
        </p:sp>
      </p:grpSp>
      <p:sp>
        <p:nvSpPr>
          <p:cNvPr id="241" name="TextBox 240">
            <a:extLst>
              <a:ext uri="{FF2B5EF4-FFF2-40B4-BE49-F238E27FC236}">
                <a16:creationId xmlns:a16="http://schemas.microsoft.com/office/drawing/2014/main" id="{72077D5C-97EB-1E87-AA13-DE3A5808C9C9}"/>
              </a:ext>
            </a:extLst>
          </p:cNvPr>
          <p:cNvSpPr txBox="1"/>
          <p:nvPr/>
        </p:nvSpPr>
        <p:spPr>
          <a:xfrm>
            <a:off x="924157" y="3719363"/>
            <a:ext cx="38023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2</a:t>
            </a:r>
          </a:p>
        </p:txBody>
      </p:sp>
      <p:sp>
        <p:nvSpPr>
          <p:cNvPr id="242" name="TextBox 241">
            <a:extLst>
              <a:ext uri="{FF2B5EF4-FFF2-40B4-BE49-F238E27FC236}">
                <a16:creationId xmlns:a16="http://schemas.microsoft.com/office/drawing/2014/main" id="{08D12F81-A503-372E-9010-04B7A7FC36E6}"/>
              </a:ext>
            </a:extLst>
          </p:cNvPr>
          <p:cNvSpPr txBox="1"/>
          <p:nvPr/>
        </p:nvSpPr>
        <p:spPr>
          <a:xfrm>
            <a:off x="1203517" y="4431672"/>
            <a:ext cx="26321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243" name="TextBox 242">
            <a:extLst>
              <a:ext uri="{FF2B5EF4-FFF2-40B4-BE49-F238E27FC236}">
                <a16:creationId xmlns:a16="http://schemas.microsoft.com/office/drawing/2014/main" id="{842BB7C9-C882-1BEC-FBF6-D7276B8E2E0E}"/>
              </a:ext>
            </a:extLst>
          </p:cNvPr>
          <p:cNvSpPr txBox="1"/>
          <p:nvPr/>
        </p:nvSpPr>
        <p:spPr>
          <a:xfrm>
            <a:off x="2182855" y="4431672"/>
            <a:ext cx="26321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244" name="TextBox 243">
            <a:extLst>
              <a:ext uri="{FF2B5EF4-FFF2-40B4-BE49-F238E27FC236}">
                <a16:creationId xmlns:a16="http://schemas.microsoft.com/office/drawing/2014/main" id="{1E3A73AE-432D-F084-5702-EB4D8D916D77}"/>
              </a:ext>
            </a:extLst>
          </p:cNvPr>
          <p:cNvSpPr txBox="1"/>
          <p:nvPr/>
        </p:nvSpPr>
        <p:spPr>
          <a:xfrm>
            <a:off x="2697997" y="4431672"/>
            <a:ext cx="26321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9</a:t>
            </a:r>
          </a:p>
        </p:txBody>
      </p:sp>
      <p:sp>
        <p:nvSpPr>
          <p:cNvPr id="245" name="TextBox 244">
            <a:extLst>
              <a:ext uri="{FF2B5EF4-FFF2-40B4-BE49-F238E27FC236}">
                <a16:creationId xmlns:a16="http://schemas.microsoft.com/office/drawing/2014/main" id="{B62A81B1-6023-6E30-6011-7AA6EEF47000}"/>
              </a:ext>
            </a:extLst>
          </p:cNvPr>
          <p:cNvSpPr txBox="1"/>
          <p:nvPr/>
        </p:nvSpPr>
        <p:spPr>
          <a:xfrm>
            <a:off x="3156889" y="4431672"/>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246" name="TextBox 245">
            <a:extLst>
              <a:ext uri="{FF2B5EF4-FFF2-40B4-BE49-F238E27FC236}">
                <a16:creationId xmlns:a16="http://schemas.microsoft.com/office/drawing/2014/main" id="{AA12AFE9-0C88-EDCD-C6F0-D4D483FBCA57}"/>
              </a:ext>
            </a:extLst>
          </p:cNvPr>
          <p:cNvSpPr txBox="1"/>
          <p:nvPr/>
        </p:nvSpPr>
        <p:spPr>
          <a:xfrm>
            <a:off x="3649390" y="4431672"/>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247" name="TextBox 246">
            <a:extLst>
              <a:ext uri="{FF2B5EF4-FFF2-40B4-BE49-F238E27FC236}">
                <a16:creationId xmlns:a16="http://schemas.microsoft.com/office/drawing/2014/main" id="{DA8CA3EA-B439-C655-1E61-29A6D5400C2C}"/>
              </a:ext>
            </a:extLst>
          </p:cNvPr>
          <p:cNvSpPr txBox="1"/>
          <p:nvPr/>
        </p:nvSpPr>
        <p:spPr>
          <a:xfrm>
            <a:off x="4153211" y="4431672"/>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8</a:t>
            </a:r>
          </a:p>
        </p:txBody>
      </p:sp>
      <p:sp>
        <p:nvSpPr>
          <p:cNvPr id="248" name="TextBox 247">
            <a:extLst>
              <a:ext uri="{FF2B5EF4-FFF2-40B4-BE49-F238E27FC236}">
                <a16:creationId xmlns:a16="http://schemas.microsoft.com/office/drawing/2014/main" id="{B5B06AC4-2984-468A-3653-1F12F1854FB3}"/>
              </a:ext>
            </a:extLst>
          </p:cNvPr>
          <p:cNvSpPr txBox="1"/>
          <p:nvPr/>
        </p:nvSpPr>
        <p:spPr>
          <a:xfrm>
            <a:off x="4651372" y="4431672"/>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1</a:t>
            </a:r>
          </a:p>
        </p:txBody>
      </p:sp>
      <p:sp>
        <p:nvSpPr>
          <p:cNvPr id="249" name="TextBox 248">
            <a:extLst>
              <a:ext uri="{FF2B5EF4-FFF2-40B4-BE49-F238E27FC236}">
                <a16:creationId xmlns:a16="http://schemas.microsoft.com/office/drawing/2014/main" id="{8BD4160D-9240-0AEA-A846-51571012763B}"/>
              </a:ext>
            </a:extLst>
          </p:cNvPr>
          <p:cNvSpPr txBox="1"/>
          <p:nvPr/>
        </p:nvSpPr>
        <p:spPr>
          <a:xfrm>
            <a:off x="5160855" y="4431672"/>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250" name="TextBox 249">
            <a:extLst>
              <a:ext uri="{FF2B5EF4-FFF2-40B4-BE49-F238E27FC236}">
                <a16:creationId xmlns:a16="http://schemas.microsoft.com/office/drawing/2014/main" id="{6E38D706-FDD8-2AB6-3180-A1FDA5EC4767}"/>
              </a:ext>
            </a:extLst>
          </p:cNvPr>
          <p:cNvSpPr txBox="1"/>
          <p:nvPr/>
        </p:nvSpPr>
        <p:spPr>
          <a:xfrm>
            <a:off x="5663603" y="4431672"/>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7</a:t>
            </a:r>
          </a:p>
        </p:txBody>
      </p:sp>
      <p:sp>
        <p:nvSpPr>
          <p:cNvPr id="251" name="TextBox 250">
            <a:extLst>
              <a:ext uri="{FF2B5EF4-FFF2-40B4-BE49-F238E27FC236}">
                <a16:creationId xmlns:a16="http://schemas.microsoft.com/office/drawing/2014/main" id="{EE44390F-1899-DDBD-D406-B87A92B00AD4}"/>
              </a:ext>
            </a:extLst>
          </p:cNvPr>
          <p:cNvSpPr txBox="1"/>
          <p:nvPr/>
        </p:nvSpPr>
        <p:spPr>
          <a:xfrm>
            <a:off x="6168495" y="4431672"/>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0</a:t>
            </a:r>
          </a:p>
        </p:txBody>
      </p:sp>
      <p:sp>
        <p:nvSpPr>
          <p:cNvPr id="252" name="TextBox 251">
            <a:extLst>
              <a:ext uri="{FF2B5EF4-FFF2-40B4-BE49-F238E27FC236}">
                <a16:creationId xmlns:a16="http://schemas.microsoft.com/office/drawing/2014/main" id="{F282942B-72CC-B561-BCCA-B4B181AD4BA2}"/>
              </a:ext>
            </a:extLst>
          </p:cNvPr>
          <p:cNvSpPr txBox="1"/>
          <p:nvPr/>
        </p:nvSpPr>
        <p:spPr>
          <a:xfrm>
            <a:off x="6672316" y="4431672"/>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3</a:t>
            </a:r>
          </a:p>
        </p:txBody>
      </p:sp>
      <p:sp>
        <p:nvSpPr>
          <p:cNvPr id="253" name="TextBox 252">
            <a:extLst>
              <a:ext uri="{FF2B5EF4-FFF2-40B4-BE49-F238E27FC236}">
                <a16:creationId xmlns:a16="http://schemas.microsoft.com/office/drawing/2014/main" id="{7D1615E9-D7C2-99AB-684E-6FAAA100C2B9}"/>
              </a:ext>
            </a:extLst>
          </p:cNvPr>
          <p:cNvSpPr txBox="1"/>
          <p:nvPr/>
        </p:nvSpPr>
        <p:spPr>
          <a:xfrm>
            <a:off x="7149825" y="443167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6</a:t>
            </a:r>
          </a:p>
        </p:txBody>
      </p:sp>
      <p:grpSp>
        <p:nvGrpSpPr>
          <p:cNvPr id="254" name="Group 253">
            <a:extLst>
              <a:ext uri="{FF2B5EF4-FFF2-40B4-BE49-F238E27FC236}">
                <a16:creationId xmlns:a16="http://schemas.microsoft.com/office/drawing/2014/main" id="{43EC1EBF-C4F5-F46C-01FA-A23623B0B115}"/>
              </a:ext>
            </a:extLst>
          </p:cNvPr>
          <p:cNvGrpSpPr/>
          <p:nvPr/>
        </p:nvGrpSpPr>
        <p:grpSpPr>
          <a:xfrm>
            <a:off x="1249034" y="4390169"/>
            <a:ext cx="6078084" cy="95538"/>
            <a:chOff x="977774" y="4744017"/>
            <a:chExt cx="5113463" cy="72000"/>
          </a:xfrm>
        </p:grpSpPr>
        <p:cxnSp>
          <p:nvCxnSpPr>
            <p:cNvPr id="255" name="Straight Connector 254">
              <a:extLst>
                <a:ext uri="{FF2B5EF4-FFF2-40B4-BE49-F238E27FC236}">
                  <a16:creationId xmlns:a16="http://schemas.microsoft.com/office/drawing/2014/main" id="{05C69116-DC4F-476E-B58F-8C599AC2E562}"/>
                </a:ext>
              </a:extLst>
            </p:cNvPr>
            <p:cNvCxnSpPr>
              <a:cxnSpLocks/>
            </p:cNvCxnSpPr>
            <p:nvPr/>
          </p:nvCxnSpPr>
          <p:spPr>
            <a:xfrm flipH="1">
              <a:off x="977774" y="4744018"/>
              <a:ext cx="51134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8B351979-69AF-8CF8-D1EC-11727946A777}"/>
                </a:ext>
              </a:extLst>
            </p:cNvPr>
            <p:cNvCxnSpPr>
              <a:cxnSpLocks/>
            </p:cNvCxnSpPr>
            <p:nvPr/>
          </p:nvCxnSpPr>
          <p:spPr>
            <a:xfrm>
              <a:off x="1879828"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95113D4E-76CC-96FF-647F-E7C6F838DF81}"/>
                </a:ext>
              </a:extLst>
            </p:cNvPr>
            <p:cNvCxnSpPr>
              <a:cxnSpLocks/>
            </p:cNvCxnSpPr>
            <p:nvPr/>
          </p:nvCxnSpPr>
          <p:spPr>
            <a:xfrm>
              <a:off x="2298928"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D8803C5A-912E-2265-1E7B-3160206FB9DA}"/>
                </a:ext>
              </a:extLst>
            </p:cNvPr>
            <p:cNvCxnSpPr>
              <a:cxnSpLocks/>
            </p:cNvCxnSpPr>
            <p:nvPr/>
          </p:nvCxnSpPr>
          <p:spPr>
            <a:xfrm>
              <a:off x="2729458"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EFEBEA8D-BEEF-BB17-33B6-DBD3141A2204}"/>
                </a:ext>
              </a:extLst>
            </p:cNvPr>
            <p:cNvCxnSpPr>
              <a:cxnSpLocks/>
            </p:cNvCxnSpPr>
            <p:nvPr/>
          </p:nvCxnSpPr>
          <p:spPr>
            <a:xfrm>
              <a:off x="3148558"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0C80DF6B-4038-7A72-D9B4-CA34F2F1551D}"/>
                </a:ext>
              </a:extLst>
            </p:cNvPr>
            <p:cNvCxnSpPr>
              <a:cxnSpLocks/>
            </p:cNvCxnSpPr>
            <p:nvPr/>
          </p:nvCxnSpPr>
          <p:spPr>
            <a:xfrm>
              <a:off x="3567658"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1CBF6D27-64FB-EAF5-7C2D-C51F0190FA73}"/>
                </a:ext>
              </a:extLst>
            </p:cNvPr>
            <p:cNvCxnSpPr>
              <a:cxnSpLocks/>
            </p:cNvCxnSpPr>
            <p:nvPr/>
          </p:nvCxnSpPr>
          <p:spPr>
            <a:xfrm>
              <a:off x="3986758"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C89D2627-3E6E-860A-DA1D-638319B0F768}"/>
                </a:ext>
              </a:extLst>
            </p:cNvPr>
            <p:cNvCxnSpPr>
              <a:cxnSpLocks/>
            </p:cNvCxnSpPr>
            <p:nvPr/>
          </p:nvCxnSpPr>
          <p:spPr>
            <a:xfrm>
              <a:off x="4413478"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9E686953-A359-070E-91D2-AE4DF46462D7}"/>
                </a:ext>
              </a:extLst>
            </p:cNvPr>
            <p:cNvCxnSpPr>
              <a:cxnSpLocks/>
            </p:cNvCxnSpPr>
            <p:nvPr/>
          </p:nvCxnSpPr>
          <p:spPr>
            <a:xfrm>
              <a:off x="4836388"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8FBB19D1-5E43-CF41-737A-325F598101E0}"/>
                </a:ext>
              </a:extLst>
            </p:cNvPr>
            <p:cNvCxnSpPr>
              <a:cxnSpLocks/>
            </p:cNvCxnSpPr>
            <p:nvPr/>
          </p:nvCxnSpPr>
          <p:spPr>
            <a:xfrm>
              <a:off x="5255488"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B816DB5-53DB-5302-57F0-DB2C15548DDC}"/>
                </a:ext>
              </a:extLst>
            </p:cNvPr>
            <p:cNvCxnSpPr>
              <a:cxnSpLocks/>
            </p:cNvCxnSpPr>
            <p:nvPr/>
          </p:nvCxnSpPr>
          <p:spPr>
            <a:xfrm>
              <a:off x="5674588"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D82A7191-10E7-4FEF-D56D-97816CC59435}"/>
                </a:ext>
              </a:extLst>
            </p:cNvPr>
            <p:cNvCxnSpPr>
              <a:cxnSpLocks/>
            </p:cNvCxnSpPr>
            <p:nvPr/>
          </p:nvCxnSpPr>
          <p:spPr>
            <a:xfrm>
              <a:off x="6089212" y="4744017"/>
              <a:ext cx="1"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7" name="TextBox 266">
            <a:extLst>
              <a:ext uri="{FF2B5EF4-FFF2-40B4-BE49-F238E27FC236}">
                <a16:creationId xmlns:a16="http://schemas.microsoft.com/office/drawing/2014/main" id="{E8814D66-D0D8-C123-CF5B-5E98F231B180}"/>
              </a:ext>
            </a:extLst>
          </p:cNvPr>
          <p:cNvSpPr txBox="1"/>
          <p:nvPr/>
        </p:nvSpPr>
        <p:spPr>
          <a:xfrm>
            <a:off x="1041175" y="4258729"/>
            <a:ext cx="263214"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269" name="TextBox 268">
            <a:extLst>
              <a:ext uri="{FF2B5EF4-FFF2-40B4-BE49-F238E27FC236}">
                <a16:creationId xmlns:a16="http://schemas.microsoft.com/office/drawing/2014/main" id="{28C8BB1D-7F97-0702-881F-083A6FE8DB82}"/>
              </a:ext>
            </a:extLst>
          </p:cNvPr>
          <p:cNvSpPr txBox="1"/>
          <p:nvPr/>
        </p:nvSpPr>
        <p:spPr>
          <a:xfrm rot="16200000">
            <a:off x="22163" y="2916523"/>
            <a:ext cx="1513556"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bability of PFS</a:t>
            </a:r>
          </a:p>
        </p:txBody>
      </p:sp>
      <p:grpSp>
        <p:nvGrpSpPr>
          <p:cNvPr id="274" name="Graphic 99">
            <a:extLst>
              <a:ext uri="{FF2B5EF4-FFF2-40B4-BE49-F238E27FC236}">
                <a16:creationId xmlns:a16="http://schemas.microsoft.com/office/drawing/2014/main" id="{3D7D3D1F-59EC-7674-ADD4-EF596420A75D}"/>
              </a:ext>
            </a:extLst>
          </p:cNvPr>
          <p:cNvGrpSpPr/>
          <p:nvPr/>
        </p:nvGrpSpPr>
        <p:grpSpPr>
          <a:xfrm>
            <a:off x="1340460" y="1688853"/>
            <a:ext cx="5522797" cy="2126920"/>
            <a:chOff x="2069849" y="2115751"/>
            <a:chExt cx="3509200" cy="1215867"/>
          </a:xfrm>
          <a:noFill/>
        </p:grpSpPr>
        <p:sp>
          <p:nvSpPr>
            <p:cNvPr id="275" name="Freeform: Shape 274">
              <a:extLst>
                <a:ext uri="{FF2B5EF4-FFF2-40B4-BE49-F238E27FC236}">
                  <a16:creationId xmlns:a16="http://schemas.microsoft.com/office/drawing/2014/main" id="{9DA67D7E-FCDF-8E5A-21A7-577A12F99A10}"/>
                </a:ext>
              </a:extLst>
            </p:cNvPr>
            <p:cNvSpPr/>
            <p:nvPr/>
          </p:nvSpPr>
          <p:spPr>
            <a:xfrm>
              <a:off x="2069849" y="2115751"/>
              <a:ext cx="3509200" cy="1189291"/>
            </a:xfrm>
            <a:custGeom>
              <a:avLst/>
              <a:gdLst>
                <a:gd name="connsiteX0" fmla="*/ 0 w 3509200"/>
                <a:gd name="connsiteY0" fmla="*/ 0 h 1189291"/>
                <a:gd name="connsiteX1" fmla="*/ 32004 w 3509200"/>
                <a:gd name="connsiteY1" fmla="*/ 0 h 1189291"/>
                <a:gd name="connsiteX2" fmla="*/ 32004 w 3509200"/>
                <a:gd name="connsiteY2" fmla="*/ 5810 h 1189291"/>
                <a:gd name="connsiteX3" fmla="*/ 73533 w 3509200"/>
                <a:gd name="connsiteY3" fmla="*/ 5810 h 1189291"/>
                <a:gd name="connsiteX4" fmla="*/ 73533 w 3509200"/>
                <a:gd name="connsiteY4" fmla="*/ 11621 h 1189291"/>
                <a:gd name="connsiteX5" fmla="*/ 109919 w 3509200"/>
                <a:gd name="connsiteY5" fmla="*/ 11621 h 1189291"/>
                <a:gd name="connsiteX6" fmla="*/ 109919 w 3509200"/>
                <a:gd name="connsiteY6" fmla="*/ 16764 h 1189291"/>
                <a:gd name="connsiteX7" fmla="*/ 144113 w 3509200"/>
                <a:gd name="connsiteY7" fmla="*/ 16764 h 1189291"/>
                <a:gd name="connsiteX8" fmla="*/ 144113 w 3509200"/>
                <a:gd name="connsiteY8" fmla="*/ 37910 h 1189291"/>
                <a:gd name="connsiteX9" fmla="*/ 168878 w 3509200"/>
                <a:gd name="connsiteY9" fmla="*/ 37910 h 1189291"/>
                <a:gd name="connsiteX10" fmla="*/ 168878 w 3509200"/>
                <a:gd name="connsiteY10" fmla="*/ 60484 h 1189291"/>
                <a:gd name="connsiteX11" fmla="*/ 208217 w 3509200"/>
                <a:gd name="connsiteY11" fmla="*/ 60484 h 1189291"/>
                <a:gd name="connsiteX12" fmla="*/ 208217 w 3509200"/>
                <a:gd name="connsiteY12" fmla="*/ 67723 h 1189291"/>
                <a:gd name="connsiteX13" fmla="*/ 224219 w 3509200"/>
                <a:gd name="connsiteY13" fmla="*/ 67723 h 1189291"/>
                <a:gd name="connsiteX14" fmla="*/ 224219 w 3509200"/>
                <a:gd name="connsiteY14" fmla="*/ 77915 h 1189291"/>
                <a:gd name="connsiteX15" fmla="*/ 248221 w 3509200"/>
                <a:gd name="connsiteY15" fmla="*/ 77915 h 1189291"/>
                <a:gd name="connsiteX16" fmla="*/ 248221 w 3509200"/>
                <a:gd name="connsiteY16" fmla="*/ 85154 h 1189291"/>
                <a:gd name="connsiteX17" fmla="*/ 265652 w 3509200"/>
                <a:gd name="connsiteY17" fmla="*/ 85154 h 1189291"/>
                <a:gd name="connsiteX18" fmla="*/ 265652 w 3509200"/>
                <a:gd name="connsiteY18" fmla="*/ 89535 h 1189291"/>
                <a:gd name="connsiteX19" fmla="*/ 280988 w 3509200"/>
                <a:gd name="connsiteY19" fmla="*/ 89535 h 1189291"/>
                <a:gd name="connsiteX20" fmla="*/ 280988 w 3509200"/>
                <a:gd name="connsiteY20" fmla="*/ 118681 h 1189291"/>
                <a:gd name="connsiteX21" fmla="*/ 294132 w 3509200"/>
                <a:gd name="connsiteY21" fmla="*/ 118681 h 1189291"/>
                <a:gd name="connsiteX22" fmla="*/ 294132 w 3509200"/>
                <a:gd name="connsiteY22" fmla="*/ 128873 h 1189291"/>
                <a:gd name="connsiteX23" fmla="*/ 300704 w 3509200"/>
                <a:gd name="connsiteY23" fmla="*/ 128873 h 1189291"/>
                <a:gd name="connsiteX24" fmla="*/ 300704 w 3509200"/>
                <a:gd name="connsiteY24" fmla="*/ 139827 h 1189291"/>
                <a:gd name="connsiteX25" fmla="*/ 375666 w 3509200"/>
                <a:gd name="connsiteY25" fmla="*/ 139827 h 1189291"/>
                <a:gd name="connsiteX26" fmla="*/ 375666 w 3509200"/>
                <a:gd name="connsiteY26" fmla="*/ 151448 h 1189291"/>
                <a:gd name="connsiteX27" fmla="*/ 420815 w 3509200"/>
                <a:gd name="connsiteY27" fmla="*/ 151448 h 1189291"/>
                <a:gd name="connsiteX28" fmla="*/ 431006 w 3509200"/>
                <a:gd name="connsiteY28" fmla="*/ 151448 h 1189291"/>
                <a:gd name="connsiteX29" fmla="*/ 431006 w 3509200"/>
                <a:gd name="connsiteY29" fmla="*/ 162401 h 1189291"/>
                <a:gd name="connsiteX30" fmla="*/ 514731 w 3509200"/>
                <a:gd name="connsiteY30" fmla="*/ 162401 h 1189291"/>
                <a:gd name="connsiteX31" fmla="*/ 514731 w 3509200"/>
                <a:gd name="connsiteY31" fmla="*/ 168212 h 1189291"/>
                <a:gd name="connsiteX32" fmla="*/ 560642 w 3509200"/>
                <a:gd name="connsiteY32" fmla="*/ 168212 h 1189291"/>
                <a:gd name="connsiteX33" fmla="*/ 560642 w 3509200"/>
                <a:gd name="connsiteY33" fmla="*/ 176975 h 1189291"/>
                <a:gd name="connsiteX34" fmla="*/ 573024 w 3509200"/>
                <a:gd name="connsiteY34" fmla="*/ 176975 h 1189291"/>
                <a:gd name="connsiteX35" fmla="*/ 573024 w 3509200"/>
                <a:gd name="connsiteY35" fmla="*/ 183547 h 1189291"/>
                <a:gd name="connsiteX36" fmla="*/ 580263 w 3509200"/>
                <a:gd name="connsiteY36" fmla="*/ 183547 h 1189291"/>
                <a:gd name="connsiteX37" fmla="*/ 580263 w 3509200"/>
                <a:gd name="connsiteY37" fmla="*/ 196691 h 1189291"/>
                <a:gd name="connsiteX38" fmla="*/ 584645 w 3509200"/>
                <a:gd name="connsiteY38" fmla="*/ 196691 h 1189291"/>
                <a:gd name="connsiteX39" fmla="*/ 584645 w 3509200"/>
                <a:gd name="connsiteY39" fmla="*/ 225838 h 1189291"/>
                <a:gd name="connsiteX40" fmla="*/ 589026 w 3509200"/>
                <a:gd name="connsiteY40" fmla="*/ 225838 h 1189291"/>
                <a:gd name="connsiteX41" fmla="*/ 589026 w 3509200"/>
                <a:gd name="connsiteY41" fmla="*/ 232410 h 1189291"/>
                <a:gd name="connsiteX42" fmla="*/ 589026 w 3509200"/>
                <a:gd name="connsiteY42" fmla="*/ 236792 h 1189291"/>
                <a:gd name="connsiteX43" fmla="*/ 603599 w 3509200"/>
                <a:gd name="connsiteY43" fmla="*/ 236792 h 1189291"/>
                <a:gd name="connsiteX44" fmla="*/ 603599 w 3509200"/>
                <a:gd name="connsiteY44" fmla="*/ 244030 h 1189291"/>
                <a:gd name="connsiteX45" fmla="*/ 618934 w 3509200"/>
                <a:gd name="connsiteY45" fmla="*/ 244030 h 1189291"/>
                <a:gd name="connsiteX46" fmla="*/ 618934 w 3509200"/>
                <a:gd name="connsiteY46" fmla="*/ 249841 h 1189291"/>
                <a:gd name="connsiteX47" fmla="*/ 662654 w 3509200"/>
                <a:gd name="connsiteY47" fmla="*/ 249841 h 1189291"/>
                <a:gd name="connsiteX48" fmla="*/ 662654 w 3509200"/>
                <a:gd name="connsiteY48" fmla="*/ 254984 h 1189291"/>
                <a:gd name="connsiteX49" fmla="*/ 727424 w 3509200"/>
                <a:gd name="connsiteY49" fmla="*/ 254984 h 1189291"/>
                <a:gd name="connsiteX50" fmla="*/ 727424 w 3509200"/>
                <a:gd name="connsiteY50" fmla="*/ 262223 h 1189291"/>
                <a:gd name="connsiteX51" fmla="*/ 845344 w 3509200"/>
                <a:gd name="connsiteY51" fmla="*/ 262223 h 1189291"/>
                <a:gd name="connsiteX52" fmla="*/ 845344 w 3509200"/>
                <a:gd name="connsiteY52" fmla="*/ 270986 h 1189291"/>
                <a:gd name="connsiteX53" fmla="*/ 856964 w 3509200"/>
                <a:gd name="connsiteY53" fmla="*/ 270986 h 1189291"/>
                <a:gd name="connsiteX54" fmla="*/ 856964 w 3509200"/>
                <a:gd name="connsiteY54" fmla="*/ 277559 h 1189291"/>
                <a:gd name="connsiteX55" fmla="*/ 867918 w 3509200"/>
                <a:gd name="connsiteY55" fmla="*/ 277559 h 1189291"/>
                <a:gd name="connsiteX56" fmla="*/ 867918 w 3509200"/>
                <a:gd name="connsiteY56" fmla="*/ 322707 h 1189291"/>
                <a:gd name="connsiteX57" fmla="*/ 874490 w 3509200"/>
                <a:gd name="connsiteY57" fmla="*/ 322707 h 1189291"/>
                <a:gd name="connsiteX58" fmla="*/ 874490 w 3509200"/>
                <a:gd name="connsiteY58" fmla="*/ 343853 h 1189291"/>
                <a:gd name="connsiteX59" fmla="*/ 879634 w 3509200"/>
                <a:gd name="connsiteY59" fmla="*/ 343853 h 1189291"/>
                <a:gd name="connsiteX60" fmla="*/ 879634 w 3509200"/>
                <a:gd name="connsiteY60" fmla="*/ 356235 h 1189291"/>
                <a:gd name="connsiteX61" fmla="*/ 884015 w 3509200"/>
                <a:gd name="connsiteY61" fmla="*/ 356235 h 1189291"/>
                <a:gd name="connsiteX62" fmla="*/ 884015 w 3509200"/>
                <a:gd name="connsiteY62" fmla="*/ 364998 h 1189291"/>
                <a:gd name="connsiteX63" fmla="*/ 884015 w 3509200"/>
                <a:gd name="connsiteY63" fmla="*/ 375190 h 1189291"/>
                <a:gd name="connsiteX64" fmla="*/ 896398 w 3509200"/>
                <a:gd name="connsiteY64" fmla="*/ 375190 h 1189291"/>
                <a:gd name="connsiteX65" fmla="*/ 896398 w 3509200"/>
                <a:gd name="connsiteY65" fmla="*/ 378809 h 1189291"/>
                <a:gd name="connsiteX66" fmla="*/ 914591 w 3509200"/>
                <a:gd name="connsiteY66" fmla="*/ 378809 h 1189291"/>
                <a:gd name="connsiteX67" fmla="*/ 996125 w 3509200"/>
                <a:gd name="connsiteY67" fmla="*/ 378809 h 1189291"/>
                <a:gd name="connsiteX68" fmla="*/ 996125 w 3509200"/>
                <a:gd name="connsiteY68" fmla="*/ 394144 h 1189291"/>
                <a:gd name="connsiteX69" fmla="*/ 1033939 w 3509200"/>
                <a:gd name="connsiteY69" fmla="*/ 394144 h 1189291"/>
                <a:gd name="connsiteX70" fmla="*/ 1033939 w 3509200"/>
                <a:gd name="connsiteY70" fmla="*/ 405765 h 1189291"/>
                <a:gd name="connsiteX71" fmla="*/ 1085660 w 3509200"/>
                <a:gd name="connsiteY71" fmla="*/ 405765 h 1189291"/>
                <a:gd name="connsiteX72" fmla="*/ 1085660 w 3509200"/>
                <a:gd name="connsiteY72" fmla="*/ 409385 h 1189291"/>
                <a:gd name="connsiteX73" fmla="*/ 1097280 w 3509200"/>
                <a:gd name="connsiteY73" fmla="*/ 409385 h 1189291"/>
                <a:gd name="connsiteX74" fmla="*/ 1097280 w 3509200"/>
                <a:gd name="connsiteY74" fmla="*/ 415195 h 1189291"/>
                <a:gd name="connsiteX75" fmla="*/ 1142429 w 3509200"/>
                <a:gd name="connsiteY75" fmla="*/ 415195 h 1189291"/>
                <a:gd name="connsiteX76" fmla="*/ 1142429 w 3509200"/>
                <a:gd name="connsiteY76" fmla="*/ 427577 h 1189291"/>
                <a:gd name="connsiteX77" fmla="*/ 1160621 w 3509200"/>
                <a:gd name="connsiteY77" fmla="*/ 427577 h 1189291"/>
                <a:gd name="connsiteX78" fmla="*/ 1160621 w 3509200"/>
                <a:gd name="connsiteY78" fmla="*/ 453104 h 1189291"/>
                <a:gd name="connsiteX79" fmla="*/ 1165003 w 3509200"/>
                <a:gd name="connsiteY79" fmla="*/ 453104 h 1189291"/>
                <a:gd name="connsiteX80" fmla="*/ 1165003 w 3509200"/>
                <a:gd name="connsiteY80" fmla="*/ 508444 h 1189291"/>
                <a:gd name="connsiteX81" fmla="*/ 1177385 w 3509200"/>
                <a:gd name="connsiteY81" fmla="*/ 508444 h 1189291"/>
                <a:gd name="connsiteX82" fmla="*/ 1177385 w 3509200"/>
                <a:gd name="connsiteY82" fmla="*/ 517208 h 1189291"/>
                <a:gd name="connsiteX83" fmla="*/ 1212342 w 3509200"/>
                <a:gd name="connsiteY83" fmla="*/ 517208 h 1189291"/>
                <a:gd name="connsiteX84" fmla="*/ 1212342 w 3509200"/>
                <a:gd name="connsiteY84" fmla="*/ 525209 h 1189291"/>
                <a:gd name="connsiteX85" fmla="*/ 1289495 w 3509200"/>
                <a:gd name="connsiteY85" fmla="*/ 525209 h 1189291"/>
                <a:gd name="connsiteX86" fmla="*/ 1289495 w 3509200"/>
                <a:gd name="connsiteY86" fmla="*/ 532448 h 1189291"/>
                <a:gd name="connsiteX87" fmla="*/ 1364456 w 3509200"/>
                <a:gd name="connsiteY87" fmla="*/ 532448 h 1189291"/>
                <a:gd name="connsiteX88" fmla="*/ 1364456 w 3509200"/>
                <a:gd name="connsiteY88" fmla="*/ 537591 h 1189291"/>
                <a:gd name="connsiteX89" fmla="*/ 1382649 w 3509200"/>
                <a:gd name="connsiteY89" fmla="*/ 537591 h 1189291"/>
                <a:gd name="connsiteX90" fmla="*/ 1382649 w 3509200"/>
                <a:gd name="connsiteY90" fmla="*/ 542735 h 1189291"/>
                <a:gd name="connsiteX91" fmla="*/ 1427798 w 3509200"/>
                <a:gd name="connsiteY91" fmla="*/ 542735 h 1189291"/>
                <a:gd name="connsiteX92" fmla="*/ 1427798 w 3509200"/>
                <a:gd name="connsiteY92" fmla="*/ 563118 h 1189291"/>
                <a:gd name="connsiteX93" fmla="*/ 1439418 w 3509200"/>
                <a:gd name="connsiteY93" fmla="*/ 563118 h 1189291"/>
                <a:gd name="connsiteX94" fmla="*/ 1439418 w 3509200"/>
                <a:gd name="connsiteY94" fmla="*/ 579882 h 1189291"/>
                <a:gd name="connsiteX95" fmla="*/ 1443800 w 3509200"/>
                <a:gd name="connsiteY95" fmla="*/ 579882 h 1189291"/>
                <a:gd name="connsiteX96" fmla="*/ 1443800 w 3509200"/>
                <a:gd name="connsiteY96" fmla="*/ 606838 h 1189291"/>
                <a:gd name="connsiteX97" fmla="*/ 1456944 w 3509200"/>
                <a:gd name="connsiteY97" fmla="*/ 606838 h 1189291"/>
                <a:gd name="connsiteX98" fmla="*/ 1456944 w 3509200"/>
                <a:gd name="connsiteY98" fmla="*/ 652748 h 1189291"/>
                <a:gd name="connsiteX99" fmla="*/ 1480947 w 3509200"/>
                <a:gd name="connsiteY99" fmla="*/ 652748 h 1189291"/>
                <a:gd name="connsiteX100" fmla="*/ 1480947 w 3509200"/>
                <a:gd name="connsiteY100" fmla="*/ 665893 h 1189291"/>
                <a:gd name="connsiteX101" fmla="*/ 1487519 w 3509200"/>
                <a:gd name="connsiteY101" fmla="*/ 665893 h 1189291"/>
                <a:gd name="connsiteX102" fmla="*/ 1487519 w 3509200"/>
                <a:gd name="connsiteY102" fmla="*/ 677513 h 1189291"/>
                <a:gd name="connsiteX103" fmla="*/ 1601819 w 3509200"/>
                <a:gd name="connsiteY103" fmla="*/ 677513 h 1189291"/>
                <a:gd name="connsiteX104" fmla="*/ 1601819 w 3509200"/>
                <a:gd name="connsiteY104" fmla="*/ 687705 h 1189291"/>
                <a:gd name="connsiteX105" fmla="*/ 1610582 w 3509200"/>
                <a:gd name="connsiteY105" fmla="*/ 687705 h 1189291"/>
                <a:gd name="connsiteX106" fmla="*/ 1610582 w 3509200"/>
                <a:gd name="connsiteY106" fmla="*/ 695706 h 1189291"/>
                <a:gd name="connsiteX107" fmla="*/ 1721930 w 3509200"/>
                <a:gd name="connsiteY107" fmla="*/ 695706 h 1189291"/>
                <a:gd name="connsiteX108" fmla="*/ 1721930 w 3509200"/>
                <a:gd name="connsiteY108" fmla="*/ 705898 h 1189291"/>
                <a:gd name="connsiteX109" fmla="*/ 1737265 w 3509200"/>
                <a:gd name="connsiteY109" fmla="*/ 705898 h 1189291"/>
                <a:gd name="connsiteX110" fmla="*/ 1737265 w 3509200"/>
                <a:gd name="connsiteY110" fmla="*/ 719042 h 1189291"/>
                <a:gd name="connsiteX111" fmla="*/ 1747457 w 3509200"/>
                <a:gd name="connsiteY111" fmla="*/ 719042 h 1189291"/>
                <a:gd name="connsiteX112" fmla="*/ 1747457 w 3509200"/>
                <a:gd name="connsiteY112" fmla="*/ 740855 h 1189291"/>
                <a:gd name="connsiteX113" fmla="*/ 1758410 w 3509200"/>
                <a:gd name="connsiteY113" fmla="*/ 740855 h 1189291"/>
                <a:gd name="connsiteX114" fmla="*/ 1758410 w 3509200"/>
                <a:gd name="connsiteY114" fmla="*/ 761238 h 1189291"/>
                <a:gd name="connsiteX115" fmla="*/ 1770031 w 3509200"/>
                <a:gd name="connsiteY115" fmla="*/ 761238 h 1189291"/>
                <a:gd name="connsiteX116" fmla="*/ 1770031 w 3509200"/>
                <a:gd name="connsiteY116" fmla="*/ 773621 h 1189291"/>
                <a:gd name="connsiteX117" fmla="*/ 1779460 w 3509200"/>
                <a:gd name="connsiteY117" fmla="*/ 773621 h 1189291"/>
                <a:gd name="connsiteX118" fmla="*/ 1779460 w 3509200"/>
                <a:gd name="connsiteY118" fmla="*/ 779431 h 1189291"/>
                <a:gd name="connsiteX119" fmla="*/ 2012442 w 3509200"/>
                <a:gd name="connsiteY119" fmla="*/ 779431 h 1189291"/>
                <a:gd name="connsiteX120" fmla="*/ 2012442 w 3509200"/>
                <a:gd name="connsiteY120" fmla="*/ 791051 h 1189291"/>
                <a:gd name="connsiteX121" fmla="*/ 2024063 w 3509200"/>
                <a:gd name="connsiteY121" fmla="*/ 791051 h 1189291"/>
                <a:gd name="connsiteX122" fmla="*/ 2024063 w 3509200"/>
                <a:gd name="connsiteY122" fmla="*/ 802005 h 1189291"/>
                <a:gd name="connsiteX123" fmla="*/ 2032826 w 3509200"/>
                <a:gd name="connsiteY123" fmla="*/ 802005 h 1189291"/>
                <a:gd name="connsiteX124" fmla="*/ 2032826 w 3509200"/>
                <a:gd name="connsiteY124" fmla="*/ 810768 h 1189291"/>
                <a:gd name="connsiteX125" fmla="*/ 2041589 w 3509200"/>
                <a:gd name="connsiteY125" fmla="*/ 810768 h 1189291"/>
                <a:gd name="connsiteX126" fmla="*/ 2041589 w 3509200"/>
                <a:gd name="connsiteY126" fmla="*/ 825341 h 1189291"/>
                <a:gd name="connsiteX127" fmla="*/ 2134743 w 3509200"/>
                <a:gd name="connsiteY127" fmla="*/ 825341 h 1189291"/>
                <a:gd name="connsiteX128" fmla="*/ 2134743 w 3509200"/>
                <a:gd name="connsiteY128" fmla="*/ 837724 h 1189291"/>
                <a:gd name="connsiteX129" fmla="*/ 2171891 w 3509200"/>
                <a:gd name="connsiteY129" fmla="*/ 837724 h 1189291"/>
                <a:gd name="connsiteX130" fmla="*/ 2171891 w 3509200"/>
                <a:gd name="connsiteY130" fmla="*/ 845725 h 1189291"/>
                <a:gd name="connsiteX131" fmla="*/ 2211896 w 3509200"/>
                <a:gd name="connsiteY131" fmla="*/ 845725 h 1189291"/>
                <a:gd name="connsiteX132" fmla="*/ 2211896 w 3509200"/>
                <a:gd name="connsiteY132" fmla="*/ 850106 h 1189291"/>
                <a:gd name="connsiteX133" fmla="*/ 2243233 w 3509200"/>
                <a:gd name="connsiteY133" fmla="*/ 850106 h 1189291"/>
                <a:gd name="connsiteX134" fmla="*/ 2243233 w 3509200"/>
                <a:gd name="connsiteY134" fmla="*/ 853726 h 1189291"/>
                <a:gd name="connsiteX135" fmla="*/ 2303621 w 3509200"/>
                <a:gd name="connsiteY135" fmla="*/ 853726 h 1189291"/>
                <a:gd name="connsiteX136" fmla="*/ 2303621 w 3509200"/>
                <a:gd name="connsiteY136" fmla="*/ 860965 h 1189291"/>
                <a:gd name="connsiteX137" fmla="*/ 2313813 w 3509200"/>
                <a:gd name="connsiteY137" fmla="*/ 860965 h 1189291"/>
                <a:gd name="connsiteX138" fmla="*/ 2313813 w 3509200"/>
                <a:gd name="connsiteY138" fmla="*/ 866775 h 1189291"/>
                <a:gd name="connsiteX139" fmla="*/ 2330577 w 3509200"/>
                <a:gd name="connsiteY139" fmla="*/ 866775 h 1189291"/>
                <a:gd name="connsiteX140" fmla="*/ 2330577 w 3509200"/>
                <a:gd name="connsiteY140" fmla="*/ 874776 h 1189291"/>
                <a:gd name="connsiteX141" fmla="*/ 2348008 w 3509200"/>
                <a:gd name="connsiteY141" fmla="*/ 874776 h 1189291"/>
                <a:gd name="connsiteX142" fmla="*/ 2348008 w 3509200"/>
                <a:gd name="connsiteY142" fmla="*/ 899541 h 1189291"/>
                <a:gd name="connsiteX143" fmla="*/ 2592610 w 3509200"/>
                <a:gd name="connsiteY143" fmla="*/ 899541 h 1189291"/>
                <a:gd name="connsiteX144" fmla="*/ 2592610 w 3509200"/>
                <a:gd name="connsiteY144" fmla="*/ 908304 h 1189291"/>
                <a:gd name="connsiteX145" fmla="*/ 2604992 w 3509200"/>
                <a:gd name="connsiteY145" fmla="*/ 908304 h 1189291"/>
                <a:gd name="connsiteX146" fmla="*/ 2604992 w 3509200"/>
                <a:gd name="connsiteY146" fmla="*/ 917067 h 1189291"/>
                <a:gd name="connsiteX147" fmla="*/ 2616613 w 3509200"/>
                <a:gd name="connsiteY147" fmla="*/ 917067 h 1189291"/>
                <a:gd name="connsiteX148" fmla="*/ 2616613 w 3509200"/>
                <a:gd name="connsiteY148" fmla="*/ 928688 h 1189291"/>
                <a:gd name="connsiteX149" fmla="*/ 2629757 w 3509200"/>
                <a:gd name="connsiteY149" fmla="*/ 928688 h 1189291"/>
                <a:gd name="connsiteX150" fmla="*/ 2629757 w 3509200"/>
                <a:gd name="connsiteY150" fmla="*/ 945452 h 1189291"/>
                <a:gd name="connsiteX151" fmla="*/ 2896172 w 3509200"/>
                <a:gd name="connsiteY151" fmla="*/ 945452 h 1189291"/>
                <a:gd name="connsiteX152" fmla="*/ 2891409 w 3509200"/>
                <a:gd name="connsiteY152" fmla="*/ 976408 h 1189291"/>
                <a:gd name="connsiteX153" fmla="*/ 2994089 w 3509200"/>
                <a:gd name="connsiteY153" fmla="*/ 976408 h 1189291"/>
                <a:gd name="connsiteX154" fmla="*/ 2998851 w 3509200"/>
                <a:gd name="connsiteY154" fmla="*/ 998601 h 1189291"/>
                <a:gd name="connsiteX155" fmla="*/ 3193256 w 3509200"/>
                <a:gd name="connsiteY155" fmla="*/ 998601 h 1189291"/>
                <a:gd name="connsiteX156" fmla="*/ 3193256 w 3509200"/>
                <a:gd name="connsiteY156" fmla="*/ 1032796 h 1189291"/>
                <a:gd name="connsiteX157" fmla="*/ 3204877 w 3509200"/>
                <a:gd name="connsiteY157" fmla="*/ 1032796 h 1189291"/>
                <a:gd name="connsiteX158" fmla="*/ 3204877 w 3509200"/>
                <a:gd name="connsiteY158" fmla="*/ 1189292 h 1189291"/>
                <a:gd name="connsiteX159" fmla="*/ 3509201 w 3509200"/>
                <a:gd name="connsiteY159" fmla="*/ 1189292 h 1189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3509200" h="1189291">
                  <a:moveTo>
                    <a:pt x="0" y="0"/>
                  </a:moveTo>
                  <a:lnTo>
                    <a:pt x="32004" y="0"/>
                  </a:lnTo>
                  <a:lnTo>
                    <a:pt x="32004" y="5810"/>
                  </a:lnTo>
                  <a:lnTo>
                    <a:pt x="73533" y="5810"/>
                  </a:lnTo>
                  <a:lnTo>
                    <a:pt x="73533" y="11621"/>
                  </a:lnTo>
                  <a:lnTo>
                    <a:pt x="109919" y="11621"/>
                  </a:lnTo>
                  <a:lnTo>
                    <a:pt x="109919" y="16764"/>
                  </a:lnTo>
                  <a:lnTo>
                    <a:pt x="144113" y="16764"/>
                  </a:lnTo>
                  <a:lnTo>
                    <a:pt x="144113" y="37910"/>
                  </a:lnTo>
                  <a:lnTo>
                    <a:pt x="168878" y="37910"/>
                  </a:lnTo>
                  <a:lnTo>
                    <a:pt x="168878" y="60484"/>
                  </a:lnTo>
                  <a:lnTo>
                    <a:pt x="208217" y="60484"/>
                  </a:lnTo>
                  <a:lnTo>
                    <a:pt x="208217" y="67723"/>
                  </a:lnTo>
                  <a:lnTo>
                    <a:pt x="224219" y="67723"/>
                  </a:lnTo>
                  <a:lnTo>
                    <a:pt x="224219" y="77915"/>
                  </a:lnTo>
                  <a:lnTo>
                    <a:pt x="248221" y="77915"/>
                  </a:lnTo>
                  <a:lnTo>
                    <a:pt x="248221" y="85154"/>
                  </a:lnTo>
                  <a:lnTo>
                    <a:pt x="265652" y="85154"/>
                  </a:lnTo>
                  <a:lnTo>
                    <a:pt x="265652" y="89535"/>
                  </a:lnTo>
                  <a:lnTo>
                    <a:pt x="280988" y="89535"/>
                  </a:lnTo>
                  <a:lnTo>
                    <a:pt x="280988" y="118681"/>
                  </a:lnTo>
                  <a:lnTo>
                    <a:pt x="294132" y="118681"/>
                  </a:lnTo>
                  <a:lnTo>
                    <a:pt x="294132" y="128873"/>
                  </a:lnTo>
                  <a:lnTo>
                    <a:pt x="300704" y="128873"/>
                  </a:lnTo>
                  <a:lnTo>
                    <a:pt x="300704" y="139827"/>
                  </a:lnTo>
                  <a:lnTo>
                    <a:pt x="375666" y="139827"/>
                  </a:lnTo>
                  <a:lnTo>
                    <a:pt x="375666" y="151448"/>
                  </a:lnTo>
                  <a:lnTo>
                    <a:pt x="420815" y="151448"/>
                  </a:lnTo>
                  <a:lnTo>
                    <a:pt x="431006" y="151448"/>
                  </a:lnTo>
                  <a:lnTo>
                    <a:pt x="431006" y="162401"/>
                  </a:lnTo>
                  <a:lnTo>
                    <a:pt x="514731" y="162401"/>
                  </a:lnTo>
                  <a:lnTo>
                    <a:pt x="514731" y="168212"/>
                  </a:lnTo>
                  <a:lnTo>
                    <a:pt x="560642" y="168212"/>
                  </a:lnTo>
                  <a:lnTo>
                    <a:pt x="560642" y="176975"/>
                  </a:lnTo>
                  <a:lnTo>
                    <a:pt x="573024" y="176975"/>
                  </a:lnTo>
                  <a:lnTo>
                    <a:pt x="573024" y="183547"/>
                  </a:lnTo>
                  <a:lnTo>
                    <a:pt x="580263" y="183547"/>
                  </a:lnTo>
                  <a:lnTo>
                    <a:pt x="580263" y="196691"/>
                  </a:lnTo>
                  <a:lnTo>
                    <a:pt x="584645" y="196691"/>
                  </a:lnTo>
                  <a:lnTo>
                    <a:pt x="584645" y="225838"/>
                  </a:lnTo>
                  <a:lnTo>
                    <a:pt x="589026" y="225838"/>
                  </a:lnTo>
                  <a:lnTo>
                    <a:pt x="589026" y="232410"/>
                  </a:lnTo>
                  <a:lnTo>
                    <a:pt x="589026" y="236792"/>
                  </a:lnTo>
                  <a:lnTo>
                    <a:pt x="603599" y="236792"/>
                  </a:lnTo>
                  <a:lnTo>
                    <a:pt x="603599" y="244030"/>
                  </a:lnTo>
                  <a:lnTo>
                    <a:pt x="618934" y="244030"/>
                  </a:lnTo>
                  <a:lnTo>
                    <a:pt x="618934" y="249841"/>
                  </a:lnTo>
                  <a:lnTo>
                    <a:pt x="662654" y="249841"/>
                  </a:lnTo>
                  <a:lnTo>
                    <a:pt x="662654" y="254984"/>
                  </a:lnTo>
                  <a:lnTo>
                    <a:pt x="727424" y="254984"/>
                  </a:lnTo>
                  <a:lnTo>
                    <a:pt x="727424" y="262223"/>
                  </a:lnTo>
                  <a:lnTo>
                    <a:pt x="845344" y="262223"/>
                  </a:lnTo>
                  <a:lnTo>
                    <a:pt x="845344" y="270986"/>
                  </a:lnTo>
                  <a:lnTo>
                    <a:pt x="856964" y="270986"/>
                  </a:lnTo>
                  <a:lnTo>
                    <a:pt x="856964" y="277559"/>
                  </a:lnTo>
                  <a:lnTo>
                    <a:pt x="867918" y="277559"/>
                  </a:lnTo>
                  <a:lnTo>
                    <a:pt x="867918" y="322707"/>
                  </a:lnTo>
                  <a:lnTo>
                    <a:pt x="874490" y="322707"/>
                  </a:lnTo>
                  <a:lnTo>
                    <a:pt x="874490" y="343853"/>
                  </a:lnTo>
                  <a:lnTo>
                    <a:pt x="879634" y="343853"/>
                  </a:lnTo>
                  <a:lnTo>
                    <a:pt x="879634" y="356235"/>
                  </a:lnTo>
                  <a:lnTo>
                    <a:pt x="884015" y="356235"/>
                  </a:lnTo>
                  <a:lnTo>
                    <a:pt x="884015" y="364998"/>
                  </a:lnTo>
                  <a:lnTo>
                    <a:pt x="884015" y="375190"/>
                  </a:lnTo>
                  <a:lnTo>
                    <a:pt x="896398" y="375190"/>
                  </a:lnTo>
                  <a:lnTo>
                    <a:pt x="896398" y="378809"/>
                  </a:lnTo>
                  <a:lnTo>
                    <a:pt x="914591" y="378809"/>
                  </a:lnTo>
                  <a:lnTo>
                    <a:pt x="996125" y="378809"/>
                  </a:lnTo>
                  <a:lnTo>
                    <a:pt x="996125" y="394144"/>
                  </a:lnTo>
                  <a:lnTo>
                    <a:pt x="1033939" y="394144"/>
                  </a:lnTo>
                  <a:lnTo>
                    <a:pt x="1033939" y="405765"/>
                  </a:lnTo>
                  <a:lnTo>
                    <a:pt x="1085660" y="405765"/>
                  </a:lnTo>
                  <a:lnTo>
                    <a:pt x="1085660" y="409385"/>
                  </a:lnTo>
                  <a:lnTo>
                    <a:pt x="1097280" y="409385"/>
                  </a:lnTo>
                  <a:lnTo>
                    <a:pt x="1097280" y="415195"/>
                  </a:lnTo>
                  <a:lnTo>
                    <a:pt x="1142429" y="415195"/>
                  </a:lnTo>
                  <a:lnTo>
                    <a:pt x="1142429" y="427577"/>
                  </a:lnTo>
                  <a:lnTo>
                    <a:pt x="1160621" y="427577"/>
                  </a:lnTo>
                  <a:lnTo>
                    <a:pt x="1160621" y="453104"/>
                  </a:lnTo>
                  <a:lnTo>
                    <a:pt x="1165003" y="453104"/>
                  </a:lnTo>
                  <a:lnTo>
                    <a:pt x="1165003" y="508444"/>
                  </a:lnTo>
                  <a:lnTo>
                    <a:pt x="1177385" y="508444"/>
                  </a:lnTo>
                  <a:lnTo>
                    <a:pt x="1177385" y="517208"/>
                  </a:lnTo>
                  <a:lnTo>
                    <a:pt x="1212342" y="517208"/>
                  </a:lnTo>
                  <a:lnTo>
                    <a:pt x="1212342" y="525209"/>
                  </a:lnTo>
                  <a:lnTo>
                    <a:pt x="1289495" y="525209"/>
                  </a:lnTo>
                  <a:cubicBezTo>
                    <a:pt x="1289495" y="525209"/>
                    <a:pt x="1277874" y="532448"/>
                    <a:pt x="1289495" y="532448"/>
                  </a:cubicBezTo>
                  <a:cubicBezTo>
                    <a:pt x="1301115" y="532448"/>
                    <a:pt x="1364456" y="532448"/>
                    <a:pt x="1364456" y="532448"/>
                  </a:cubicBezTo>
                  <a:lnTo>
                    <a:pt x="1364456" y="537591"/>
                  </a:lnTo>
                  <a:lnTo>
                    <a:pt x="1382649" y="537591"/>
                  </a:lnTo>
                  <a:lnTo>
                    <a:pt x="1382649" y="542735"/>
                  </a:lnTo>
                  <a:lnTo>
                    <a:pt x="1427798" y="542735"/>
                  </a:lnTo>
                  <a:lnTo>
                    <a:pt x="1427798" y="563118"/>
                  </a:lnTo>
                  <a:lnTo>
                    <a:pt x="1439418" y="563118"/>
                  </a:lnTo>
                  <a:lnTo>
                    <a:pt x="1439418" y="579882"/>
                  </a:lnTo>
                  <a:lnTo>
                    <a:pt x="1443800" y="579882"/>
                  </a:lnTo>
                  <a:lnTo>
                    <a:pt x="1443800" y="606838"/>
                  </a:lnTo>
                  <a:lnTo>
                    <a:pt x="1456944" y="606838"/>
                  </a:lnTo>
                  <a:lnTo>
                    <a:pt x="1456944" y="652748"/>
                  </a:lnTo>
                  <a:lnTo>
                    <a:pt x="1480947" y="652748"/>
                  </a:lnTo>
                  <a:lnTo>
                    <a:pt x="1480947" y="665893"/>
                  </a:lnTo>
                  <a:lnTo>
                    <a:pt x="1487519" y="665893"/>
                  </a:lnTo>
                  <a:lnTo>
                    <a:pt x="1487519" y="677513"/>
                  </a:lnTo>
                  <a:lnTo>
                    <a:pt x="1601819" y="677513"/>
                  </a:lnTo>
                  <a:lnTo>
                    <a:pt x="1601819" y="687705"/>
                  </a:lnTo>
                  <a:lnTo>
                    <a:pt x="1610582" y="687705"/>
                  </a:lnTo>
                  <a:lnTo>
                    <a:pt x="1610582" y="695706"/>
                  </a:lnTo>
                  <a:lnTo>
                    <a:pt x="1721930" y="695706"/>
                  </a:lnTo>
                  <a:lnTo>
                    <a:pt x="1721930" y="705898"/>
                  </a:lnTo>
                  <a:lnTo>
                    <a:pt x="1737265" y="705898"/>
                  </a:lnTo>
                  <a:lnTo>
                    <a:pt x="1737265" y="719042"/>
                  </a:lnTo>
                  <a:lnTo>
                    <a:pt x="1747457" y="719042"/>
                  </a:lnTo>
                  <a:lnTo>
                    <a:pt x="1747457" y="740855"/>
                  </a:lnTo>
                  <a:lnTo>
                    <a:pt x="1758410" y="740855"/>
                  </a:lnTo>
                  <a:lnTo>
                    <a:pt x="1758410" y="761238"/>
                  </a:lnTo>
                  <a:lnTo>
                    <a:pt x="1770031" y="761238"/>
                  </a:lnTo>
                  <a:lnTo>
                    <a:pt x="1770031" y="773621"/>
                  </a:lnTo>
                  <a:lnTo>
                    <a:pt x="1779460" y="773621"/>
                  </a:lnTo>
                  <a:lnTo>
                    <a:pt x="1779460" y="779431"/>
                  </a:lnTo>
                  <a:lnTo>
                    <a:pt x="2012442" y="779431"/>
                  </a:lnTo>
                  <a:lnTo>
                    <a:pt x="2012442" y="791051"/>
                  </a:lnTo>
                  <a:lnTo>
                    <a:pt x="2024063" y="791051"/>
                  </a:lnTo>
                  <a:lnTo>
                    <a:pt x="2024063" y="802005"/>
                  </a:lnTo>
                  <a:lnTo>
                    <a:pt x="2032826" y="802005"/>
                  </a:lnTo>
                  <a:lnTo>
                    <a:pt x="2032826" y="810768"/>
                  </a:lnTo>
                  <a:lnTo>
                    <a:pt x="2041589" y="810768"/>
                  </a:lnTo>
                  <a:lnTo>
                    <a:pt x="2041589" y="825341"/>
                  </a:lnTo>
                  <a:lnTo>
                    <a:pt x="2134743" y="825341"/>
                  </a:lnTo>
                  <a:lnTo>
                    <a:pt x="2134743" y="837724"/>
                  </a:lnTo>
                  <a:lnTo>
                    <a:pt x="2171891" y="837724"/>
                  </a:lnTo>
                  <a:lnTo>
                    <a:pt x="2171891" y="845725"/>
                  </a:lnTo>
                  <a:lnTo>
                    <a:pt x="2211896" y="845725"/>
                  </a:lnTo>
                  <a:lnTo>
                    <a:pt x="2211896" y="850106"/>
                  </a:lnTo>
                  <a:lnTo>
                    <a:pt x="2243233" y="850106"/>
                  </a:lnTo>
                  <a:lnTo>
                    <a:pt x="2243233" y="853726"/>
                  </a:lnTo>
                  <a:lnTo>
                    <a:pt x="2303621" y="853726"/>
                  </a:lnTo>
                  <a:lnTo>
                    <a:pt x="2303621" y="860965"/>
                  </a:lnTo>
                  <a:lnTo>
                    <a:pt x="2313813" y="860965"/>
                  </a:lnTo>
                  <a:lnTo>
                    <a:pt x="2313813" y="866775"/>
                  </a:lnTo>
                  <a:lnTo>
                    <a:pt x="2330577" y="866775"/>
                  </a:lnTo>
                  <a:lnTo>
                    <a:pt x="2330577" y="874776"/>
                  </a:lnTo>
                  <a:lnTo>
                    <a:pt x="2348008" y="874776"/>
                  </a:lnTo>
                  <a:lnTo>
                    <a:pt x="2348008" y="899541"/>
                  </a:lnTo>
                  <a:lnTo>
                    <a:pt x="2592610" y="899541"/>
                  </a:lnTo>
                  <a:lnTo>
                    <a:pt x="2592610" y="908304"/>
                  </a:lnTo>
                  <a:lnTo>
                    <a:pt x="2604992" y="908304"/>
                  </a:lnTo>
                  <a:lnTo>
                    <a:pt x="2604992" y="917067"/>
                  </a:lnTo>
                  <a:lnTo>
                    <a:pt x="2616613" y="917067"/>
                  </a:lnTo>
                  <a:lnTo>
                    <a:pt x="2616613" y="928688"/>
                  </a:lnTo>
                  <a:lnTo>
                    <a:pt x="2629757" y="928688"/>
                  </a:lnTo>
                  <a:lnTo>
                    <a:pt x="2629757" y="945452"/>
                  </a:lnTo>
                  <a:lnTo>
                    <a:pt x="2896172" y="945452"/>
                  </a:lnTo>
                  <a:lnTo>
                    <a:pt x="2891409" y="976408"/>
                  </a:lnTo>
                  <a:lnTo>
                    <a:pt x="2994089" y="976408"/>
                  </a:lnTo>
                  <a:lnTo>
                    <a:pt x="2998851" y="998601"/>
                  </a:lnTo>
                  <a:lnTo>
                    <a:pt x="3193256" y="998601"/>
                  </a:lnTo>
                  <a:lnTo>
                    <a:pt x="3193256" y="1032796"/>
                  </a:lnTo>
                  <a:lnTo>
                    <a:pt x="3204877" y="1032796"/>
                  </a:lnTo>
                  <a:lnTo>
                    <a:pt x="3204877" y="1189292"/>
                  </a:lnTo>
                  <a:lnTo>
                    <a:pt x="3509201" y="1189292"/>
                  </a:lnTo>
                </a:path>
              </a:pathLst>
            </a:custGeom>
            <a:noFill/>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6" name="Freeform: Shape 275">
              <a:extLst>
                <a:ext uri="{FF2B5EF4-FFF2-40B4-BE49-F238E27FC236}">
                  <a16:creationId xmlns:a16="http://schemas.microsoft.com/office/drawing/2014/main" id="{C812E13F-1586-1E70-836E-DE1C2611C9CF}"/>
                </a:ext>
              </a:extLst>
            </p:cNvPr>
            <p:cNvSpPr/>
            <p:nvPr/>
          </p:nvSpPr>
          <p:spPr>
            <a:xfrm>
              <a:off x="5548380" y="3277707"/>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7" name="Freeform: Shape 276">
              <a:extLst>
                <a:ext uri="{FF2B5EF4-FFF2-40B4-BE49-F238E27FC236}">
                  <a16:creationId xmlns:a16="http://schemas.microsoft.com/office/drawing/2014/main" id="{F55F5930-0F79-DA58-8512-29F164F5C9EA}"/>
                </a:ext>
              </a:extLst>
            </p:cNvPr>
            <p:cNvSpPr/>
            <p:nvPr/>
          </p:nvSpPr>
          <p:spPr>
            <a:xfrm>
              <a:off x="5535235" y="3277707"/>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8" name="Freeform: Shape 277">
              <a:extLst>
                <a:ext uri="{FF2B5EF4-FFF2-40B4-BE49-F238E27FC236}">
                  <a16:creationId xmlns:a16="http://schemas.microsoft.com/office/drawing/2014/main" id="{A26BA9A7-E7F5-E525-9324-D8BB4BB43C6F}"/>
                </a:ext>
              </a:extLst>
            </p:cNvPr>
            <p:cNvSpPr/>
            <p:nvPr/>
          </p:nvSpPr>
          <p:spPr>
            <a:xfrm>
              <a:off x="5263773" y="3122640"/>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9" name="Freeform: Shape 278">
              <a:extLst>
                <a:ext uri="{FF2B5EF4-FFF2-40B4-BE49-F238E27FC236}">
                  <a16:creationId xmlns:a16="http://schemas.microsoft.com/office/drawing/2014/main" id="{3E820115-E644-3BC0-CDFF-1890E6B9DE5B}"/>
                </a:ext>
              </a:extLst>
            </p:cNvPr>
            <p:cNvSpPr/>
            <p:nvPr/>
          </p:nvSpPr>
          <p:spPr>
            <a:xfrm>
              <a:off x="5253581" y="3122640"/>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0" name="Freeform: Shape 279">
              <a:extLst>
                <a:ext uri="{FF2B5EF4-FFF2-40B4-BE49-F238E27FC236}">
                  <a16:creationId xmlns:a16="http://schemas.microsoft.com/office/drawing/2014/main" id="{F80AA4ED-DE99-8310-6EF8-E261DABBA1BC}"/>
                </a:ext>
              </a:extLst>
            </p:cNvPr>
            <p:cNvSpPr/>
            <p:nvPr/>
          </p:nvSpPr>
          <p:spPr>
            <a:xfrm>
              <a:off x="5241865" y="3087017"/>
              <a:ext cx="9525" cy="53816"/>
            </a:xfrm>
            <a:custGeom>
              <a:avLst/>
              <a:gdLst>
                <a:gd name="connsiteX0" fmla="*/ 0 w 9525"/>
                <a:gd name="connsiteY0" fmla="*/ 0 h 53816"/>
                <a:gd name="connsiteX1" fmla="*/ 0 w 9525"/>
                <a:gd name="connsiteY1" fmla="*/ 53816 h 53816"/>
              </a:gdLst>
              <a:ahLst/>
              <a:cxnLst>
                <a:cxn ang="0">
                  <a:pos x="connsiteX0" y="connsiteY0"/>
                </a:cxn>
                <a:cxn ang="0">
                  <a:pos x="connsiteX1" y="connsiteY1"/>
                </a:cxn>
              </a:cxnLst>
              <a:rect l="l" t="t" r="r" b="b"/>
              <a:pathLst>
                <a:path w="9525" h="53816">
                  <a:moveTo>
                    <a:pt x="0" y="0"/>
                  </a:moveTo>
                  <a:lnTo>
                    <a:pt x="0" y="53816"/>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1" name="Freeform: Shape 280">
              <a:extLst>
                <a:ext uri="{FF2B5EF4-FFF2-40B4-BE49-F238E27FC236}">
                  <a16:creationId xmlns:a16="http://schemas.microsoft.com/office/drawing/2014/main" id="{E494FB65-75DF-D924-C73B-386E5EC7619F}"/>
                </a:ext>
              </a:extLst>
            </p:cNvPr>
            <p:cNvSpPr/>
            <p:nvPr/>
          </p:nvSpPr>
          <p:spPr>
            <a:xfrm>
              <a:off x="5225863" y="3087017"/>
              <a:ext cx="9525" cy="53816"/>
            </a:xfrm>
            <a:custGeom>
              <a:avLst/>
              <a:gdLst>
                <a:gd name="connsiteX0" fmla="*/ 0 w 9525"/>
                <a:gd name="connsiteY0" fmla="*/ 0 h 53816"/>
                <a:gd name="connsiteX1" fmla="*/ 0 w 9525"/>
                <a:gd name="connsiteY1" fmla="*/ 53816 h 53816"/>
              </a:gdLst>
              <a:ahLst/>
              <a:cxnLst>
                <a:cxn ang="0">
                  <a:pos x="connsiteX0" y="connsiteY0"/>
                </a:cxn>
                <a:cxn ang="0">
                  <a:pos x="connsiteX1" y="connsiteY1"/>
                </a:cxn>
              </a:cxnLst>
              <a:rect l="l" t="t" r="r" b="b"/>
              <a:pathLst>
                <a:path w="9525" h="53816">
                  <a:moveTo>
                    <a:pt x="0" y="0"/>
                  </a:moveTo>
                  <a:lnTo>
                    <a:pt x="0" y="53816"/>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2" name="Freeform: Shape 281">
              <a:extLst>
                <a:ext uri="{FF2B5EF4-FFF2-40B4-BE49-F238E27FC236}">
                  <a16:creationId xmlns:a16="http://schemas.microsoft.com/office/drawing/2014/main" id="{E676B54D-3C90-B7D9-894B-1AE9BEB2F036}"/>
                </a:ext>
              </a:extLst>
            </p:cNvPr>
            <p:cNvSpPr/>
            <p:nvPr/>
          </p:nvSpPr>
          <p:spPr>
            <a:xfrm>
              <a:off x="5053365" y="3063681"/>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3" name="Freeform: Shape 282">
              <a:extLst>
                <a:ext uri="{FF2B5EF4-FFF2-40B4-BE49-F238E27FC236}">
                  <a16:creationId xmlns:a16="http://schemas.microsoft.com/office/drawing/2014/main" id="{891D5BF9-92AE-2736-B059-7D7745DCECF9}"/>
                </a:ext>
              </a:extLst>
            </p:cNvPr>
            <p:cNvSpPr/>
            <p:nvPr/>
          </p:nvSpPr>
          <p:spPr>
            <a:xfrm>
              <a:off x="5019075" y="3063681"/>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4" name="Freeform: Shape 283">
              <a:extLst>
                <a:ext uri="{FF2B5EF4-FFF2-40B4-BE49-F238E27FC236}">
                  <a16:creationId xmlns:a16="http://schemas.microsoft.com/office/drawing/2014/main" id="{00153778-2277-9D76-DC6D-E2F9B60D574C}"/>
                </a:ext>
              </a:extLst>
            </p:cNvPr>
            <p:cNvSpPr/>
            <p:nvPr/>
          </p:nvSpPr>
          <p:spPr>
            <a:xfrm>
              <a:off x="4996501" y="3063681"/>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5" name="Freeform: Shape 284">
              <a:extLst>
                <a:ext uri="{FF2B5EF4-FFF2-40B4-BE49-F238E27FC236}">
                  <a16:creationId xmlns:a16="http://schemas.microsoft.com/office/drawing/2014/main" id="{07C95CCA-0E66-56D9-CAA6-FEB32246D8AB}"/>
                </a:ext>
              </a:extLst>
            </p:cNvPr>
            <p:cNvSpPr/>
            <p:nvPr/>
          </p:nvSpPr>
          <p:spPr>
            <a:xfrm>
              <a:off x="4981261" y="3063681"/>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6" name="Freeform: Shape 285">
              <a:extLst>
                <a:ext uri="{FF2B5EF4-FFF2-40B4-BE49-F238E27FC236}">
                  <a16:creationId xmlns:a16="http://schemas.microsoft.com/office/drawing/2014/main" id="{B396C78E-4368-23C5-980E-7B5B7E711E8C}"/>
                </a:ext>
              </a:extLst>
            </p:cNvPr>
            <p:cNvSpPr/>
            <p:nvPr/>
          </p:nvSpPr>
          <p:spPr>
            <a:xfrm>
              <a:off x="4968879" y="3038154"/>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7" name="Freeform: Shape 286">
              <a:extLst>
                <a:ext uri="{FF2B5EF4-FFF2-40B4-BE49-F238E27FC236}">
                  <a16:creationId xmlns:a16="http://schemas.microsoft.com/office/drawing/2014/main" id="{6EF225AD-209E-E740-2BA4-FB0EF57F8454}"/>
                </a:ext>
              </a:extLst>
            </p:cNvPr>
            <p:cNvSpPr/>
            <p:nvPr/>
          </p:nvSpPr>
          <p:spPr>
            <a:xfrm>
              <a:off x="4954305" y="3038154"/>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8" name="Freeform: Shape 287">
              <a:extLst>
                <a:ext uri="{FF2B5EF4-FFF2-40B4-BE49-F238E27FC236}">
                  <a16:creationId xmlns:a16="http://schemas.microsoft.com/office/drawing/2014/main" id="{7DF426CC-5DBC-D5BB-DB31-356525D862CA}"/>
                </a:ext>
              </a:extLst>
            </p:cNvPr>
            <p:cNvSpPr/>
            <p:nvPr/>
          </p:nvSpPr>
          <p:spPr>
            <a:xfrm>
              <a:off x="4729325" y="3036725"/>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9" name="Freeform: Shape 288">
              <a:extLst>
                <a:ext uri="{FF2B5EF4-FFF2-40B4-BE49-F238E27FC236}">
                  <a16:creationId xmlns:a16="http://schemas.microsoft.com/office/drawing/2014/main" id="{D6554A91-A156-90C3-4C46-2675CD6DF5ED}"/>
                </a:ext>
              </a:extLst>
            </p:cNvPr>
            <p:cNvSpPr/>
            <p:nvPr/>
          </p:nvSpPr>
          <p:spPr>
            <a:xfrm>
              <a:off x="4741707" y="3036725"/>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0" name="Freeform: Shape 289">
              <a:extLst>
                <a:ext uri="{FF2B5EF4-FFF2-40B4-BE49-F238E27FC236}">
                  <a16:creationId xmlns:a16="http://schemas.microsoft.com/office/drawing/2014/main" id="{836CB96E-6B07-9B42-8111-16A417427FC9}"/>
                </a:ext>
              </a:extLst>
            </p:cNvPr>
            <p:cNvSpPr/>
            <p:nvPr/>
          </p:nvSpPr>
          <p:spPr>
            <a:xfrm>
              <a:off x="4704560" y="3036725"/>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1" name="Freeform: Shape 290">
              <a:extLst>
                <a:ext uri="{FF2B5EF4-FFF2-40B4-BE49-F238E27FC236}">
                  <a16:creationId xmlns:a16="http://schemas.microsoft.com/office/drawing/2014/main" id="{38E0A1B9-672E-88A0-FDA3-A7AD9299967F}"/>
                </a:ext>
              </a:extLst>
            </p:cNvPr>
            <p:cNvSpPr/>
            <p:nvPr/>
          </p:nvSpPr>
          <p:spPr>
            <a:xfrm>
              <a:off x="4689320" y="3011960"/>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2" name="Freeform: Shape 291">
              <a:extLst>
                <a:ext uri="{FF2B5EF4-FFF2-40B4-BE49-F238E27FC236}">
                  <a16:creationId xmlns:a16="http://schemas.microsoft.com/office/drawing/2014/main" id="{E1CB8B9E-6F0A-6999-4F9C-1D51B5ED0FEE}"/>
                </a:ext>
              </a:extLst>
            </p:cNvPr>
            <p:cNvSpPr/>
            <p:nvPr/>
          </p:nvSpPr>
          <p:spPr>
            <a:xfrm>
              <a:off x="4674747" y="2991576"/>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3" name="Freeform: Shape 292">
              <a:extLst>
                <a:ext uri="{FF2B5EF4-FFF2-40B4-BE49-F238E27FC236}">
                  <a16:creationId xmlns:a16="http://schemas.microsoft.com/office/drawing/2014/main" id="{3B985D46-10DC-7C4F-BAE9-B852F339FF11}"/>
                </a:ext>
              </a:extLst>
            </p:cNvPr>
            <p:cNvSpPr/>
            <p:nvPr/>
          </p:nvSpPr>
          <p:spPr>
            <a:xfrm>
              <a:off x="4662364" y="2991576"/>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4" name="Freeform: Shape 293">
              <a:extLst>
                <a:ext uri="{FF2B5EF4-FFF2-40B4-BE49-F238E27FC236}">
                  <a16:creationId xmlns:a16="http://schemas.microsoft.com/office/drawing/2014/main" id="{7DAB9F74-7B75-6B06-91E4-4645BDA467BD}"/>
                </a:ext>
              </a:extLst>
            </p:cNvPr>
            <p:cNvSpPr/>
            <p:nvPr/>
          </p:nvSpPr>
          <p:spPr>
            <a:xfrm>
              <a:off x="4458529" y="2985004"/>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5" name="Freeform: Shape 294">
              <a:extLst>
                <a:ext uri="{FF2B5EF4-FFF2-40B4-BE49-F238E27FC236}">
                  <a16:creationId xmlns:a16="http://schemas.microsoft.com/office/drawing/2014/main" id="{47BF5D33-673B-1DDA-0626-D6EA5D099A1E}"/>
                </a:ext>
              </a:extLst>
            </p:cNvPr>
            <p:cNvSpPr/>
            <p:nvPr/>
          </p:nvSpPr>
          <p:spPr>
            <a:xfrm>
              <a:off x="4427954" y="2985004"/>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6" name="Freeform: Shape 295">
              <a:extLst>
                <a:ext uri="{FF2B5EF4-FFF2-40B4-BE49-F238E27FC236}">
                  <a16:creationId xmlns:a16="http://schemas.microsoft.com/office/drawing/2014/main" id="{E8290D54-9ED1-7C3C-AC35-561DCE927AC3}"/>
                </a:ext>
              </a:extLst>
            </p:cNvPr>
            <p:cNvSpPr/>
            <p:nvPr/>
          </p:nvSpPr>
          <p:spPr>
            <a:xfrm>
              <a:off x="4414143" y="2985004"/>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7" name="Freeform: Shape 296">
              <a:extLst>
                <a:ext uri="{FF2B5EF4-FFF2-40B4-BE49-F238E27FC236}">
                  <a16:creationId xmlns:a16="http://schemas.microsoft.com/office/drawing/2014/main" id="{852A5D19-20C2-D94A-031A-53B25EF76AD9}"/>
                </a:ext>
              </a:extLst>
            </p:cNvPr>
            <p:cNvSpPr/>
            <p:nvPr/>
          </p:nvSpPr>
          <p:spPr>
            <a:xfrm>
              <a:off x="4402427" y="2961001"/>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8" name="Freeform: Shape 297">
              <a:extLst>
                <a:ext uri="{FF2B5EF4-FFF2-40B4-BE49-F238E27FC236}">
                  <a16:creationId xmlns:a16="http://schemas.microsoft.com/office/drawing/2014/main" id="{CAA513EC-8C9D-5F4B-AC72-C109204D24F7}"/>
                </a:ext>
              </a:extLst>
            </p:cNvPr>
            <p:cNvSpPr/>
            <p:nvPr/>
          </p:nvSpPr>
          <p:spPr>
            <a:xfrm>
              <a:off x="4391568" y="2943570"/>
              <a:ext cx="9525" cy="69913"/>
            </a:xfrm>
            <a:custGeom>
              <a:avLst/>
              <a:gdLst>
                <a:gd name="connsiteX0" fmla="*/ 0 w 9525"/>
                <a:gd name="connsiteY0" fmla="*/ 0 h 69913"/>
                <a:gd name="connsiteX1" fmla="*/ 0 w 9525"/>
                <a:gd name="connsiteY1" fmla="*/ 69913 h 69913"/>
              </a:gdLst>
              <a:ahLst/>
              <a:cxnLst>
                <a:cxn ang="0">
                  <a:pos x="connsiteX0" y="connsiteY0"/>
                </a:cxn>
                <a:cxn ang="0">
                  <a:pos x="connsiteX1" y="connsiteY1"/>
                </a:cxn>
              </a:cxnLst>
              <a:rect l="l" t="t" r="r" b="b"/>
              <a:pathLst>
                <a:path w="9525" h="69913">
                  <a:moveTo>
                    <a:pt x="0" y="0"/>
                  </a:moveTo>
                  <a:lnTo>
                    <a:pt x="0" y="69913"/>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9" name="Freeform: Shape 298">
              <a:extLst>
                <a:ext uri="{FF2B5EF4-FFF2-40B4-BE49-F238E27FC236}">
                  <a16:creationId xmlns:a16="http://schemas.microsoft.com/office/drawing/2014/main" id="{51A18ACE-34C4-ACD0-B180-A22ED19E4E93}"/>
                </a:ext>
              </a:extLst>
            </p:cNvPr>
            <p:cNvSpPr/>
            <p:nvPr/>
          </p:nvSpPr>
          <p:spPr>
            <a:xfrm>
              <a:off x="4374042" y="2940618"/>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0" name="Freeform: Shape 299">
              <a:extLst>
                <a:ext uri="{FF2B5EF4-FFF2-40B4-BE49-F238E27FC236}">
                  <a16:creationId xmlns:a16="http://schemas.microsoft.com/office/drawing/2014/main" id="{6C6E78B6-4C0D-7149-985D-7CA06F976AAD}"/>
                </a:ext>
              </a:extLst>
            </p:cNvPr>
            <p:cNvSpPr/>
            <p:nvPr/>
          </p:nvSpPr>
          <p:spPr>
            <a:xfrm>
              <a:off x="4344229" y="2940618"/>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1" name="Freeform: Shape 300">
              <a:extLst>
                <a:ext uri="{FF2B5EF4-FFF2-40B4-BE49-F238E27FC236}">
                  <a16:creationId xmlns:a16="http://schemas.microsoft.com/office/drawing/2014/main" id="{9EABEA42-2F6D-3BB5-87BB-5BD0AE1CABE5}"/>
                </a:ext>
              </a:extLst>
            </p:cNvPr>
            <p:cNvSpPr/>
            <p:nvPr/>
          </p:nvSpPr>
          <p:spPr>
            <a:xfrm>
              <a:off x="4150586" y="2914424"/>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2" name="Freeform: Shape 301">
              <a:extLst>
                <a:ext uri="{FF2B5EF4-FFF2-40B4-BE49-F238E27FC236}">
                  <a16:creationId xmlns:a16="http://schemas.microsoft.com/office/drawing/2014/main" id="{7924EEC3-9A19-1C44-EFFF-51156FEB5BAA}"/>
                </a:ext>
              </a:extLst>
            </p:cNvPr>
            <p:cNvSpPr/>
            <p:nvPr/>
          </p:nvSpPr>
          <p:spPr>
            <a:xfrm>
              <a:off x="4128012" y="2914424"/>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3" name="Freeform: Shape 302">
              <a:extLst>
                <a:ext uri="{FF2B5EF4-FFF2-40B4-BE49-F238E27FC236}">
                  <a16:creationId xmlns:a16="http://schemas.microsoft.com/office/drawing/2014/main" id="{49FA36FB-D15A-FFEF-3CD3-509910E809FD}"/>
                </a:ext>
              </a:extLst>
            </p:cNvPr>
            <p:cNvSpPr/>
            <p:nvPr/>
          </p:nvSpPr>
          <p:spPr>
            <a:xfrm>
              <a:off x="4111248" y="2914424"/>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4" name="Freeform: Shape 303">
              <a:extLst>
                <a:ext uri="{FF2B5EF4-FFF2-40B4-BE49-F238E27FC236}">
                  <a16:creationId xmlns:a16="http://schemas.microsoft.com/office/drawing/2014/main" id="{79BA1FCA-42B3-E226-EE16-54D23CDD9C62}"/>
                </a:ext>
              </a:extLst>
            </p:cNvPr>
            <p:cNvSpPr/>
            <p:nvPr/>
          </p:nvSpPr>
          <p:spPr>
            <a:xfrm>
              <a:off x="4101056" y="2885277"/>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5" name="Freeform: Shape 304">
              <a:extLst>
                <a:ext uri="{FF2B5EF4-FFF2-40B4-BE49-F238E27FC236}">
                  <a16:creationId xmlns:a16="http://schemas.microsoft.com/office/drawing/2014/main" id="{DFFF628D-9463-5CBA-2370-E3D705F5432B}"/>
                </a:ext>
              </a:extLst>
            </p:cNvPr>
            <p:cNvSpPr/>
            <p:nvPr/>
          </p:nvSpPr>
          <p:spPr>
            <a:xfrm>
              <a:off x="4088673" y="2885277"/>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6" name="Freeform: Shape 305">
              <a:extLst>
                <a:ext uri="{FF2B5EF4-FFF2-40B4-BE49-F238E27FC236}">
                  <a16:creationId xmlns:a16="http://schemas.microsoft.com/office/drawing/2014/main" id="{BD3D7891-D153-5A11-927D-403A4728034B}"/>
                </a:ext>
              </a:extLst>
            </p:cNvPr>
            <p:cNvSpPr/>
            <p:nvPr/>
          </p:nvSpPr>
          <p:spPr>
            <a:xfrm>
              <a:off x="4070481" y="2867085"/>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7" name="Freeform: Shape 306">
              <a:extLst>
                <a:ext uri="{FF2B5EF4-FFF2-40B4-BE49-F238E27FC236}">
                  <a16:creationId xmlns:a16="http://schemas.microsoft.com/office/drawing/2014/main" id="{EFD90B34-80AD-CDEF-BF76-B0401E5AF1CD}"/>
                </a:ext>
              </a:extLst>
            </p:cNvPr>
            <p:cNvSpPr/>
            <p:nvPr/>
          </p:nvSpPr>
          <p:spPr>
            <a:xfrm>
              <a:off x="4082863" y="2867085"/>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8" name="Freeform: Shape 307">
              <a:extLst>
                <a:ext uri="{FF2B5EF4-FFF2-40B4-BE49-F238E27FC236}">
                  <a16:creationId xmlns:a16="http://schemas.microsoft.com/office/drawing/2014/main" id="{1C923894-07E6-2EDF-F3E1-4C1C369D435F}"/>
                </a:ext>
              </a:extLst>
            </p:cNvPr>
            <p:cNvSpPr/>
            <p:nvPr/>
          </p:nvSpPr>
          <p:spPr>
            <a:xfrm>
              <a:off x="3916842" y="2867085"/>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9" name="Freeform: Shape 308">
              <a:extLst>
                <a:ext uri="{FF2B5EF4-FFF2-40B4-BE49-F238E27FC236}">
                  <a16:creationId xmlns:a16="http://schemas.microsoft.com/office/drawing/2014/main" id="{26976426-8996-1D32-9C46-DA6FBB71CB82}"/>
                </a:ext>
              </a:extLst>
            </p:cNvPr>
            <p:cNvSpPr/>
            <p:nvPr/>
          </p:nvSpPr>
          <p:spPr>
            <a:xfrm>
              <a:off x="3874647" y="2867085"/>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0" name="Freeform: Shape 309">
              <a:extLst>
                <a:ext uri="{FF2B5EF4-FFF2-40B4-BE49-F238E27FC236}">
                  <a16:creationId xmlns:a16="http://schemas.microsoft.com/office/drawing/2014/main" id="{7C292E26-2F33-3F2F-ACFD-FC5CA22D4D2F}"/>
                </a:ext>
              </a:extLst>
            </p:cNvPr>
            <p:cNvSpPr/>
            <p:nvPr/>
          </p:nvSpPr>
          <p:spPr>
            <a:xfrm>
              <a:off x="3834642" y="2867085"/>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1" name="Freeform: Shape 310">
              <a:extLst>
                <a:ext uri="{FF2B5EF4-FFF2-40B4-BE49-F238E27FC236}">
                  <a16:creationId xmlns:a16="http://schemas.microsoft.com/office/drawing/2014/main" id="{F3C7DA97-900B-8926-C97F-2B492858A9BD}"/>
                </a:ext>
              </a:extLst>
            </p:cNvPr>
            <p:cNvSpPr/>
            <p:nvPr/>
          </p:nvSpPr>
          <p:spPr>
            <a:xfrm>
              <a:off x="3824450" y="2851845"/>
              <a:ext cx="9525" cy="53816"/>
            </a:xfrm>
            <a:custGeom>
              <a:avLst/>
              <a:gdLst>
                <a:gd name="connsiteX0" fmla="*/ 0 w 9525"/>
                <a:gd name="connsiteY0" fmla="*/ 0 h 53816"/>
                <a:gd name="connsiteX1" fmla="*/ 0 w 9525"/>
                <a:gd name="connsiteY1" fmla="*/ 53816 h 53816"/>
              </a:gdLst>
              <a:ahLst/>
              <a:cxnLst>
                <a:cxn ang="0">
                  <a:pos x="connsiteX0" y="connsiteY0"/>
                </a:cxn>
                <a:cxn ang="0">
                  <a:pos x="connsiteX1" y="connsiteY1"/>
                </a:cxn>
              </a:cxnLst>
              <a:rect l="l" t="t" r="r" b="b"/>
              <a:pathLst>
                <a:path w="9525" h="53816">
                  <a:moveTo>
                    <a:pt x="0" y="0"/>
                  </a:moveTo>
                  <a:lnTo>
                    <a:pt x="0" y="53816"/>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2" name="Freeform: Shape 311">
              <a:extLst>
                <a:ext uri="{FF2B5EF4-FFF2-40B4-BE49-F238E27FC236}">
                  <a16:creationId xmlns:a16="http://schemas.microsoft.com/office/drawing/2014/main" id="{54C4FBC8-A271-79DD-601C-A6EDF3FD2D8B}"/>
                </a:ext>
              </a:extLst>
            </p:cNvPr>
            <p:cNvSpPr/>
            <p:nvPr/>
          </p:nvSpPr>
          <p:spPr>
            <a:xfrm>
              <a:off x="3819306" y="2837938"/>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3" name="Freeform: Shape 312">
              <a:extLst>
                <a:ext uri="{FF2B5EF4-FFF2-40B4-BE49-F238E27FC236}">
                  <a16:creationId xmlns:a16="http://schemas.microsoft.com/office/drawing/2014/main" id="{EF0BB269-B91A-6411-6875-DFA7D7D78834}"/>
                </a:ext>
              </a:extLst>
            </p:cNvPr>
            <p:cNvSpPr/>
            <p:nvPr/>
          </p:nvSpPr>
          <p:spPr>
            <a:xfrm>
              <a:off x="3807686" y="2809554"/>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4" name="Freeform: Shape 313">
              <a:extLst>
                <a:ext uri="{FF2B5EF4-FFF2-40B4-BE49-F238E27FC236}">
                  <a16:creationId xmlns:a16="http://schemas.microsoft.com/office/drawing/2014/main" id="{4E819811-3BB6-B4FD-4FF3-B9557ADEB5D3}"/>
                </a:ext>
              </a:extLst>
            </p:cNvPr>
            <p:cNvSpPr/>
            <p:nvPr/>
          </p:nvSpPr>
          <p:spPr>
            <a:xfrm>
              <a:off x="3797494" y="2792885"/>
              <a:ext cx="9525" cy="53816"/>
            </a:xfrm>
            <a:custGeom>
              <a:avLst/>
              <a:gdLst>
                <a:gd name="connsiteX0" fmla="*/ 0 w 9525"/>
                <a:gd name="connsiteY0" fmla="*/ 0 h 53816"/>
                <a:gd name="connsiteX1" fmla="*/ 0 w 9525"/>
                <a:gd name="connsiteY1" fmla="*/ 53816 h 53816"/>
              </a:gdLst>
              <a:ahLst/>
              <a:cxnLst>
                <a:cxn ang="0">
                  <a:pos x="connsiteX0" y="connsiteY0"/>
                </a:cxn>
                <a:cxn ang="0">
                  <a:pos x="connsiteX1" y="connsiteY1"/>
                </a:cxn>
              </a:cxnLst>
              <a:rect l="l" t="t" r="r" b="b"/>
              <a:pathLst>
                <a:path w="9525" h="53816">
                  <a:moveTo>
                    <a:pt x="0" y="0"/>
                  </a:moveTo>
                  <a:lnTo>
                    <a:pt x="0" y="53816"/>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5" name="Freeform: Shape 314">
              <a:extLst>
                <a:ext uri="{FF2B5EF4-FFF2-40B4-BE49-F238E27FC236}">
                  <a16:creationId xmlns:a16="http://schemas.microsoft.com/office/drawing/2014/main" id="{FAB74EA6-128E-1DCE-3862-BE83B731D411}"/>
                </a:ext>
              </a:extLst>
            </p:cNvPr>
            <p:cNvSpPr/>
            <p:nvPr/>
          </p:nvSpPr>
          <p:spPr>
            <a:xfrm>
              <a:off x="3786159" y="2781550"/>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6" name="Freeform: Shape 315">
              <a:extLst>
                <a:ext uri="{FF2B5EF4-FFF2-40B4-BE49-F238E27FC236}">
                  <a16:creationId xmlns:a16="http://schemas.microsoft.com/office/drawing/2014/main" id="{1205213F-2DC8-0FFD-4A23-BFD0E42F1B65}"/>
                </a:ext>
              </a:extLst>
            </p:cNvPr>
            <p:cNvSpPr/>
            <p:nvPr/>
          </p:nvSpPr>
          <p:spPr>
            <a:xfrm>
              <a:off x="3492408" y="2626483"/>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7" name="Freeform: Shape 316">
              <a:extLst>
                <a:ext uri="{FF2B5EF4-FFF2-40B4-BE49-F238E27FC236}">
                  <a16:creationId xmlns:a16="http://schemas.microsoft.com/office/drawing/2014/main" id="{F4FDAAE2-815C-13C2-8379-C7BAC017A2A3}"/>
                </a:ext>
              </a:extLst>
            </p:cNvPr>
            <p:cNvSpPr/>
            <p:nvPr/>
          </p:nvSpPr>
          <p:spPr>
            <a:xfrm>
              <a:off x="2332740" y="2236625"/>
              <a:ext cx="53816" cy="9525"/>
            </a:xfrm>
            <a:custGeom>
              <a:avLst/>
              <a:gdLst>
                <a:gd name="connsiteX0" fmla="*/ 0 w 53816"/>
                <a:gd name="connsiteY0" fmla="*/ 0 h 9525"/>
                <a:gd name="connsiteX1" fmla="*/ 53816 w 53816"/>
                <a:gd name="connsiteY1" fmla="*/ 0 h 9525"/>
              </a:gdLst>
              <a:ahLst/>
              <a:cxnLst>
                <a:cxn ang="0">
                  <a:pos x="connsiteX0" y="connsiteY0"/>
                </a:cxn>
                <a:cxn ang="0">
                  <a:pos x="connsiteX1" y="connsiteY1"/>
                </a:cxn>
              </a:cxnLst>
              <a:rect l="l" t="t" r="r" b="b"/>
              <a:pathLst>
                <a:path w="53816" h="9525">
                  <a:moveTo>
                    <a:pt x="0" y="0"/>
                  </a:moveTo>
                  <a:lnTo>
                    <a:pt x="53816"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8" name="Freeform: Shape 317">
              <a:extLst>
                <a:ext uri="{FF2B5EF4-FFF2-40B4-BE49-F238E27FC236}">
                  <a16:creationId xmlns:a16="http://schemas.microsoft.com/office/drawing/2014/main" id="{2BBBBDC2-C06F-57E8-9814-B1CCC54B4ECA}"/>
                </a:ext>
              </a:extLst>
            </p:cNvPr>
            <p:cNvSpPr/>
            <p:nvPr/>
          </p:nvSpPr>
          <p:spPr>
            <a:xfrm>
              <a:off x="2345789" y="2255580"/>
              <a:ext cx="53911" cy="9525"/>
            </a:xfrm>
            <a:custGeom>
              <a:avLst/>
              <a:gdLst>
                <a:gd name="connsiteX0" fmla="*/ 0 w 53911"/>
                <a:gd name="connsiteY0" fmla="*/ 0 h 9525"/>
                <a:gd name="connsiteX1" fmla="*/ 53912 w 53911"/>
                <a:gd name="connsiteY1" fmla="*/ 0 h 9525"/>
              </a:gdLst>
              <a:ahLst/>
              <a:cxnLst>
                <a:cxn ang="0">
                  <a:pos x="connsiteX0" y="connsiteY0"/>
                </a:cxn>
                <a:cxn ang="0">
                  <a:pos x="connsiteX1" y="connsiteY1"/>
                </a:cxn>
              </a:cxnLst>
              <a:rect l="l" t="t" r="r" b="b"/>
              <a:pathLst>
                <a:path w="53911" h="9525">
                  <a:moveTo>
                    <a:pt x="0" y="0"/>
                  </a:moveTo>
                  <a:lnTo>
                    <a:pt x="53912"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9" name="Freeform: Shape 318">
              <a:extLst>
                <a:ext uri="{FF2B5EF4-FFF2-40B4-BE49-F238E27FC236}">
                  <a16:creationId xmlns:a16="http://schemas.microsoft.com/office/drawing/2014/main" id="{0B359858-174A-09C1-FAF7-A7D1E72620BC}"/>
                </a:ext>
              </a:extLst>
            </p:cNvPr>
            <p:cNvSpPr/>
            <p:nvPr/>
          </p:nvSpPr>
          <p:spPr>
            <a:xfrm>
              <a:off x="3465548" y="2657439"/>
              <a:ext cx="53816" cy="9525"/>
            </a:xfrm>
            <a:custGeom>
              <a:avLst/>
              <a:gdLst>
                <a:gd name="connsiteX0" fmla="*/ 0 w 53816"/>
                <a:gd name="connsiteY0" fmla="*/ 0 h 9525"/>
                <a:gd name="connsiteX1" fmla="*/ 53816 w 53816"/>
                <a:gd name="connsiteY1" fmla="*/ 0 h 9525"/>
              </a:gdLst>
              <a:ahLst/>
              <a:cxnLst>
                <a:cxn ang="0">
                  <a:pos x="connsiteX0" y="connsiteY0"/>
                </a:cxn>
                <a:cxn ang="0">
                  <a:pos x="connsiteX1" y="connsiteY1"/>
                </a:cxn>
              </a:cxnLst>
              <a:rect l="l" t="t" r="r" b="b"/>
              <a:pathLst>
                <a:path w="53816" h="9525">
                  <a:moveTo>
                    <a:pt x="0" y="0"/>
                  </a:moveTo>
                  <a:lnTo>
                    <a:pt x="53816"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0" name="Freeform: Shape 319">
              <a:extLst>
                <a:ext uri="{FF2B5EF4-FFF2-40B4-BE49-F238E27FC236}">
                  <a16:creationId xmlns:a16="http://schemas.microsoft.com/office/drawing/2014/main" id="{792EC80D-04FF-E8C1-FF8F-79E3DCC5A0F4}"/>
                </a:ext>
              </a:extLst>
            </p:cNvPr>
            <p:cNvSpPr/>
            <p:nvPr/>
          </p:nvSpPr>
          <p:spPr>
            <a:xfrm>
              <a:off x="3485931" y="2701826"/>
              <a:ext cx="53816" cy="9525"/>
            </a:xfrm>
            <a:custGeom>
              <a:avLst/>
              <a:gdLst>
                <a:gd name="connsiteX0" fmla="*/ 0 w 53816"/>
                <a:gd name="connsiteY0" fmla="*/ 0 h 9525"/>
                <a:gd name="connsiteX1" fmla="*/ 53816 w 53816"/>
                <a:gd name="connsiteY1" fmla="*/ 0 h 9525"/>
              </a:gdLst>
              <a:ahLst/>
              <a:cxnLst>
                <a:cxn ang="0">
                  <a:pos x="connsiteX0" y="connsiteY0"/>
                </a:cxn>
                <a:cxn ang="0">
                  <a:pos x="connsiteX1" y="connsiteY1"/>
                </a:cxn>
              </a:cxnLst>
              <a:rect l="l" t="t" r="r" b="b"/>
              <a:pathLst>
                <a:path w="53816" h="9525">
                  <a:moveTo>
                    <a:pt x="0" y="0"/>
                  </a:moveTo>
                  <a:lnTo>
                    <a:pt x="53816"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1" name="Freeform: Shape 320">
              <a:extLst>
                <a:ext uri="{FF2B5EF4-FFF2-40B4-BE49-F238E27FC236}">
                  <a16:creationId xmlns:a16="http://schemas.microsoft.com/office/drawing/2014/main" id="{5306BDA5-16B8-A43C-1D68-D972ADA24F7E}"/>
                </a:ext>
              </a:extLst>
            </p:cNvPr>
            <p:cNvSpPr/>
            <p:nvPr/>
          </p:nvSpPr>
          <p:spPr>
            <a:xfrm>
              <a:off x="3500409" y="2751356"/>
              <a:ext cx="53911" cy="9525"/>
            </a:xfrm>
            <a:custGeom>
              <a:avLst/>
              <a:gdLst>
                <a:gd name="connsiteX0" fmla="*/ 0 w 53911"/>
                <a:gd name="connsiteY0" fmla="*/ 0 h 9525"/>
                <a:gd name="connsiteX1" fmla="*/ 53912 w 53911"/>
                <a:gd name="connsiteY1" fmla="*/ 0 h 9525"/>
              </a:gdLst>
              <a:ahLst/>
              <a:cxnLst>
                <a:cxn ang="0">
                  <a:pos x="connsiteX0" y="connsiteY0"/>
                </a:cxn>
                <a:cxn ang="0">
                  <a:pos x="connsiteX1" y="connsiteY1"/>
                </a:cxn>
              </a:cxnLst>
              <a:rect l="l" t="t" r="r" b="b"/>
              <a:pathLst>
                <a:path w="53911" h="9525">
                  <a:moveTo>
                    <a:pt x="0" y="0"/>
                  </a:moveTo>
                  <a:lnTo>
                    <a:pt x="53912"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2" name="Freeform: Shape 321">
              <a:extLst>
                <a:ext uri="{FF2B5EF4-FFF2-40B4-BE49-F238E27FC236}">
                  <a16:creationId xmlns:a16="http://schemas.microsoft.com/office/drawing/2014/main" id="{4DE8DB83-C49E-2599-F501-3BCE127251B6}"/>
                </a:ext>
              </a:extLst>
            </p:cNvPr>
            <p:cNvSpPr/>
            <p:nvPr/>
          </p:nvSpPr>
          <p:spPr>
            <a:xfrm>
              <a:off x="3776349" y="2815459"/>
              <a:ext cx="53911" cy="9525"/>
            </a:xfrm>
            <a:custGeom>
              <a:avLst/>
              <a:gdLst>
                <a:gd name="connsiteX0" fmla="*/ 0 w 53911"/>
                <a:gd name="connsiteY0" fmla="*/ 0 h 9525"/>
                <a:gd name="connsiteX1" fmla="*/ 53911 w 53911"/>
                <a:gd name="connsiteY1" fmla="*/ 0 h 9525"/>
              </a:gdLst>
              <a:ahLst/>
              <a:cxnLst>
                <a:cxn ang="0">
                  <a:pos x="connsiteX0" y="connsiteY0"/>
                </a:cxn>
                <a:cxn ang="0">
                  <a:pos x="connsiteX1" y="connsiteY1"/>
                </a:cxn>
              </a:cxnLst>
              <a:rect l="l" t="t" r="r" b="b"/>
              <a:pathLst>
                <a:path w="53911" h="9525">
                  <a:moveTo>
                    <a:pt x="0" y="0"/>
                  </a:moveTo>
                  <a:lnTo>
                    <a:pt x="53911"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3" name="Freeform: Shape 322">
              <a:extLst>
                <a:ext uri="{FF2B5EF4-FFF2-40B4-BE49-F238E27FC236}">
                  <a16:creationId xmlns:a16="http://schemas.microsoft.com/office/drawing/2014/main" id="{5269CEC6-FFBD-85C1-3A19-63BFB4F0E024}"/>
                </a:ext>
              </a:extLst>
            </p:cNvPr>
            <p:cNvSpPr/>
            <p:nvPr/>
          </p:nvSpPr>
          <p:spPr>
            <a:xfrm>
              <a:off x="4667508" y="3038916"/>
              <a:ext cx="53816" cy="9525"/>
            </a:xfrm>
            <a:custGeom>
              <a:avLst/>
              <a:gdLst>
                <a:gd name="connsiteX0" fmla="*/ 0 w 53816"/>
                <a:gd name="connsiteY0" fmla="*/ 0 h 9525"/>
                <a:gd name="connsiteX1" fmla="*/ 53816 w 53816"/>
                <a:gd name="connsiteY1" fmla="*/ 0 h 9525"/>
              </a:gdLst>
              <a:ahLst/>
              <a:cxnLst>
                <a:cxn ang="0">
                  <a:pos x="connsiteX0" y="connsiteY0"/>
                </a:cxn>
                <a:cxn ang="0">
                  <a:pos x="connsiteX1" y="connsiteY1"/>
                </a:cxn>
              </a:cxnLst>
              <a:rect l="l" t="t" r="r" b="b"/>
              <a:pathLst>
                <a:path w="53816" h="9525">
                  <a:moveTo>
                    <a:pt x="0" y="0"/>
                  </a:moveTo>
                  <a:lnTo>
                    <a:pt x="53816"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4" name="Freeform: Shape 323">
              <a:extLst>
                <a:ext uri="{FF2B5EF4-FFF2-40B4-BE49-F238E27FC236}">
                  <a16:creationId xmlns:a16="http://schemas.microsoft.com/office/drawing/2014/main" id="{AA3C6B07-9130-2323-E7C5-60B10BE8109A}"/>
                </a:ext>
              </a:extLst>
            </p:cNvPr>
            <p:cNvSpPr/>
            <p:nvPr/>
          </p:nvSpPr>
          <p:spPr>
            <a:xfrm>
              <a:off x="3784350" y="2837938"/>
              <a:ext cx="53911" cy="9525"/>
            </a:xfrm>
            <a:custGeom>
              <a:avLst/>
              <a:gdLst>
                <a:gd name="connsiteX0" fmla="*/ 0 w 53911"/>
                <a:gd name="connsiteY0" fmla="*/ 0 h 9525"/>
                <a:gd name="connsiteX1" fmla="*/ 53912 w 53911"/>
                <a:gd name="connsiteY1" fmla="*/ 0 h 9525"/>
              </a:gdLst>
              <a:ahLst/>
              <a:cxnLst>
                <a:cxn ang="0">
                  <a:pos x="connsiteX0" y="connsiteY0"/>
                </a:cxn>
                <a:cxn ang="0">
                  <a:pos x="connsiteX1" y="connsiteY1"/>
                </a:cxn>
              </a:cxnLst>
              <a:rect l="l" t="t" r="r" b="b"/>
              <a:pathLst>
                <a:path w="53911" h="9525">
                  <a:moveTo>
                    <a:pt x="0" y="0"/>
                  </a:moveTo>
                  <a:lnTo>
                    <a:pt x="53912"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5" name="Freeform: Shape 324">
              <a:extLst>
                <a:ext uri="{FF2B5EF4-FFF2-40B4-BE49-F238E27FC236}">
                  <a16:creationId xmlns:a16="http://schemas.microsoft.com/office/drawing/2014/main" id="{131A5699-03C2-6C57-E0DF-A8B020489A82}"/>
                </a:ext>
              </a:extLst>
            </p:cNvPr>
            <p:cNvSpPr/>
            <p:nvPr/>
          </p:nvSpPr>
          <p:spPr>
            <a:xfrm>
              <a:off x="3802542" y="2877276"/>
              <a:ext cx="53911" cy="9525"/>
            </a:xfrm>
            <a:custGeom>
              <a:avLst/>
              <a:gdLst>
                <a:gd name="connsiteX0" fmla="*/ 0 w 53911"/>
                <a:gd name="connsiteY0" fmla="*/ 0 h 9525"/>
                <a:gd name="connsiteX1" fmla="*/ 53911 w 53911"/>
                <a:gd name="connsiteY1" fmla="*/ 0 h 9525"/>
              </a:gdLst>
              <a:ahLst/>
              <a:cxnLst>
                <a:cxn ang="0">
                  <a:pos x="connsiteX0" y="connsiteY0"/>
                </a:cxn>
                <a:cxn ang="0">
                  <a:pos x="connsiteX1" y="connsiteY1"/>
                </a:cxn>
              </a:cxnLst>
              <a:rect l="l" t="t" r="r" b="b"/>
              <a:pathLst>
                <a:path w="53911" h="9525">
                  <a:moveTo>
                    <a:pt x="0" y="0"/>
                  </a:moveTo>
                  <a:lnTo>
                    <a:pt x="53911"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6" name="Freeform: Shape 325">
              <a:extLst>
                <a:ext uri="{FF2B5EF4-FFF2-40B4-BE49-F238E27FC236}">
                  <a16:creationId xmlns:a16="http://schemas.microsoft.com/office/drawing/2014/main" id="{5B18E333-032A-AEF2-8998-6EE8994E3948}"/>
                </a:ext>
              </a:extLst>
            </p:cNvPr>
            <p:cNvSpPr/>
            <p:nvPr/>
          </p:nvSpPr>
          <p:spPr>
            <a:xfrm>
              <a:off x="2382174" y="2228243"/>
              <a:ext cx="9525" cy="53911"/>
            </a:xfrm>
            <a:custGeom>
              <a:avLst/>
              <a:gdLst>
                <a:gd name="connsiteX0" fmla="*/ 0 w 9525"/>
                <a:gd name="connsiteY0" fmla="*/ 0 h 53911"/>
                <a:gd name="connsiteX1" fmla="*/ 0 w 9525"/>
                <a:gd name="connsiteY1" fmla="*/ 53912 h 53911"/>
              </a:gdLst>
              <a:ahLst/>
              <a:cxnLst>
                <a:cxn ang="0">
                  <a:pos x="connsiteX0" y="connsiteY0"/>
                </a:cxn>
                <a:cxn ang="0">
                  <a:pos x="connsiteX1" y="connsiteY1"/>
                </a:cxn>
              </a:cxnLst>
              <a:rect l="l" t="t" r="r" b="b"/>
              <a:pathLst>
                <a:path w="9525" h="53911">
                  <a:moveTo>
                    <a:pt x="0" y="0"/>
                  </a:moveTo>
                  <a:lnTo>
                    <a:pt x="0" y="53912"/>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7" name="Freeform: Shape 326">
              <a:extLst>
                <a:ext uri="{FF2B5EF4-FFF2-40B4-BE49-F238E27FC236}">
                  <a16:creationId xmlns:a16="http://schemas.microsoft.com/office/drawing/2014/main" id="{4A88C9E5-5A46-9A25-F320-3950B8FD67D5}"/>
                </a:ext>
              </a:extLst>
            </p:cNvPr>
            <p:cNvSpPr/>
            <p:nvPr/>
          </p:nvSpPr>
          <p:spPr>
            <a:xfrm>
              <a:off x="2214058" y="2118324"/>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8" name="Freeform: Shape 327">
              <a:extLst>
                <a:ext uri="{FF2B5EF4-FFF2-40B4-BE49-F238E27FC236}">
                  <a16:creationId xmlns:a16="http://schemas.microsoft.com/office/drawing/2014/main" id="{9BC77721-22D7-5D65-5011-BAA9BDF43CD0}"/>
                </a:ext>
              </a:extLst>
            </p:cNvPr>
            <p:cNvSpPr/>
            <p:nvPr/>
          </p:nvSpPr>
          <p:spPr>
            <a:xfrm>
              <a:off x="5233197" y="3149596"/>
              <a:ext cx="53816" cy="9525"/>
            </a:xfrm>
            <a:custGeom>
              <a:avLst/>
              <a:gdLst>
                <a:gd name="connsiteX0" fmla="*/ 0 w 53816"/>
                <a:gd name="connsiteY0" fmla="*/ 0 h 9525"/>
                <a:gd name="connsiteX1" fmla="*/ 53816 w 53816"/>
                <a:gd name="connsiteY1" fmla="*/ 0 h 9525"/>
              </a:gdLst>
              <a:ahLst/>
              <a:cxnLst>
                <a:cxn ang="0">
                  <a:pos x="connsiteX0" y="connsiteY0"/>
                </a:cxn>
                <a:cxn ang="0">
                  <a:pos x="connsiteX1" y="connsiteY1"/>
                </a:cxn>
              </a:cxnLst>
              <a:rect l="l" t="t" r="r" b="b"/>
              <a:pathLst>
                <a:path w="53816" h="9525">
                  <a:moveTo>
                    <a:pt x="0" y="0"/>
                  </a:moveTo>
                  <a:lnTo>
                    <a:pt x="53816"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9" name="Freeform: Shape 328">
              <a:extLst>
                <a:ext uri="{FF2B5EF4-FFF2-40B4-BE49-F238E27FC236}">
                  <a16:creationId xmlns:a16="http://schemas.microsoft.com/office/drawing/2014/main" id="{6D6EA49B-A8AB-244C-87DD-0AB4C8E23A1C}"/>
                </a:ext>
              </a:extLst>
            </p:cNvPr>
            <p:cNvSpPr/>
            <p:nvPr/>
          </p:nvSpPr>
          <p:spPr>
            <a:xfrm>
              <a:off x="5246247" y="3217986"/>
              <a:ext cx="53911" cy="9525"/>
            </a:xfrm>
            <a:custGeom>
              <a:avLst/>
              <a:gdLst>
                <a:gd name="connsiteX0" fmla="*/ 0 w 53911"/>
                <a:gd name="connsiteY0" fmla="*/ 0 h 9525"/>
                <a:gd name="connsiteX1" fmla="*/ 53912 w 53911"/>
                <a:gd name="connsiteY1" fmla="*/ 0 h 9525"/>
              </a:gdLst>
              <a:ahLst/>
              <a:cxnLst>
                <a:cxn ang="0">
                  <a:pos x="connsiteX0" y="connsiteY0"/>
                </a:cxn>
                <a:cxn ang="0">
                  <a:pos x="connsiteX1" y="connsiteY1"/>
                </a:cxn>
              </a:cxnLst>
              <a:rect l="l" t="t" r="r" b="b"/>
              <a:pathLst>
                <a:path w="53911" h="9525">
                  <a:moveTo>
                    <a:pt x="0" y="0"/>
                  </a:moveTo>
                  <a:lnTo>
                    <a:pt x="53912"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0" name="Freeform: Shape 329">
              <a:extLst>
                <a:ext uri="{FF2B5EF4-FFF2-40B4-BE49-F238E27FC236}">
                  <a16:creationId xmlns:a16="http://schemas.microsoft.com/office/drawing/2014/main" id="{03BCEDAA-B49E-9FEA-1983-E50A7BA940BF}"/>
                </a:ext>
              </a:extLst>
            </p:cNvPr>
            <p:cNvSpPr/>
            <p:nvPr/>
          </p:nvSpPr>
          <p:spPr>
            <a:xfrm>
              <a:off x="5246247" y="3304663"/>
              <a:ext cx="53911" cy="9525"/>
            </a:xfrm>
            <a:custGeom>
              <a:avLst/>
              <a:gdLst>
                <a:gd name="connsiteX0" fmla="*/ 0 w 53911"/>
                <a:gd name="connsiteY0" fmla="*/ 0 h 9525"/>
                <a:gd name="connsiteX1" fmla="*/ 53912 w 53911"/>
                <a:gd name="connsiteY1" fmla="*/ 0 h 9525"/>
              </a:gdLst>
              <a:ahLst/>
              <a:cxnLst>
                <a:cxn ang="0">
                  <a:pos x="connsiteX0" y="connsiteY0"/>
                </a:cxn>
                <a:cxn ang="0">
                  <a:pos x="connsiteX1" y="connsiteY1"/>
                </a:cxn>
              </a:cxnLst>
              <a:rect l="l" t="t" r="r" b="b"/>
              <a:pathLst>
                <a:path w="53911" h="9525">
                  <a:moveTo>
                    <a:pt x="0" y="0"/>
                  </a:moveTo>
                  <a:lnTo>
                    <a:pt x="53912" y="0"/>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1" name="Freeform: Shape 330">
              <a:extLst>
                <a:ext uri="{FF2B5EF4-FFF2-40B4-BE49-F238E27FC236}">
                  <a16:creationId xmlns:a16="http://schemas.microsoft.com/office/drawing/2014/main" id="{84F91E70-1646-8DE3-B887-5A09819637BB}"/>
                </a:ext>
              </a:extLst>
            </p:cNvPr>
            <p:cNvSpPr/>
            <p:nvPr/>
          </p:nvSpPr>
          <p:spPr>
            <a:xfrm>
              <a:off x="5276822" y="3277707"/>
              <a:ext cx="9525" cy="53911"/>
            </a:xfrm>
            <a:custGeom>
              <a:avLst/>
              <a:gdLst>
                <a:gd name="connsiteX0" fmla="*/ 0 w 9525"/>
                <a:gd name="connsiteY0" fmla="*/ 0 h 53911"/>
                <a:gd name="connsiteX1" fmla="*/ 0 w 9525"/>
                <a:gd name="connsiteY1" fmla="*/ 53911 h 53911"/>
              </a:gdLst>
              <a:ahLst/>
              <a:cxnLst>
                <a:cxn ang="0">
                  <a:pos x="connsiteX0" y="connsiteY0"/>
                </a:cxn>
                <a:cxn ang="0">
                  <a:pos x="connsiteX1" y="connsiteY1"/>
                </a:cxn>
              </a:cxnLst>
              <a:rect l="l" t="t" r="r" b="b"/>
              <a:pathLst>
                <a:path w="9525" h="53911">
                  <a:moveTo>
                    <a:pt x="0" y="0"/>
                  </a:moveTo>
                  <a:lnTo>
                    <a:pt x="0" y="53911"/>
                  </a:lnTo>
                </a:path>
              </a:pathLst>
            </a:custGeom>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32" name="Group 331">
            <a:extLst>
              <a:ext uri="{FF2B5EF4-FFF2-40B4-BE49-F238E27FC236}">
                <a16:creationId xmlns:a16="http://schemas.microsoft.com/office/drawing/2014/main" id="{A41F5481-9F7A-7967-7946-7CCDA424F42A}"/>
              </a:ext>
            </a:extLst>
          </p:cNvPr>
          <p:cNvGrpSpPr/>
          <p:nvPr/>
        </p:nvGrpSpPr>
        <p:grpSpPr>
          <a:xfrm>
            <a:off x="1345344" y="1687114"/>
            <a:ext cx="5528494" cy="2708345"/>
            <a:chOff x="1122878" y="1731493"/>
            <a:chExt cx="4131579" cy="1656360"/>
          </a:xfrm>
        </p:grpSpPr>
        <p:sp>
          <p:nvSpPr>
            <p:cNvPr id="333" name="Freeform: Shape 332">
              <a:extLst>
                <a:ext uri="{FF2B5EF4-FFF2-40B4-BE49-F238E27FC236}">
                  <a16:creationId xmlns:a16="http://schemas.microsoft.com/office/drawing/2014/main" id="{568EC7CC-EE01-9CED-8BC8-1B8E08CCA66A}"/>
                </a:ext>
              </a:extLst>
            </p:cNvPr>
            <p:cNvSpPr/>
            <p:nvPr/>
          </p:nvSpPr>
          <p:spPr>
            <a:xfrm>
              <a:off x="1122878" y="1731493"/>
              <a:ext cx="4131579" cy="1656360"/>
            </a:xfrm>
            <a:custGeom>
              <a:avLst/>
              <a:gdLst>
                <a:gd name="connsiteX0" fmla="*/ 0 w 3507581"/>
                <a:gd name="connsiteY0" fmla="*/ 0 h 1507045"/>
                <a:gd name="connsiteX1" fmla="*/ 33814 w 3507581"/>
                <a:gd name="connsiteY1" fmla="*/ 0 h 1507045"/>
                <a:gd name="connsiteX2" fmla="*/ 33814 w 3507581"/>
                <a:gd name="connsiteY2" fmla="*/ 12002 h 1507045"/>
                <a:gd name="connsiteX3" fmla="*/ 43625 w 3507581"/>
                <a:gd name="connsiteY3" fmla="*/ 12002 h 1507045"/>
                <a:gd name="connsiteX4" fmla="*/ 86297 w 3507581"/>
                <a:gd name="connsiteY4" fmla="*/ 12002 h 1507045"/>
                <a:gd name="connsiteX5" fmla="*/ 86297 w 3507581"/>
                <a:gd name="connsiteY5" fmla="*/ 27241 h 1507045"/>
                <a:gd name="connsiteX6" fmla="*/ 117920 w 3507581"/>
                <a:gd name="connsiteY6" fmla="*/ 27241 h 1507045"/>
                <a:gd name="connsiteX7" fmla="*/ 117920 w 3507581"/>
                <a:gd name="connsiteY7" fmla="*/ 40386 h 1507045"/>
                <a:gd name="connsiteX8" fmla="*/ 163830 w 3507581"/>
                <a:gd name="connsiteY8" fmla="*/ 40386 h 1507045"/>
                <a:gd name="connsiteX9" fmla="*/ 163830 w 3507581"/>
                <a:gd name="connsiteY9" fmla="*/ 53530 h 1507045"/>
                <a:gd name="connsiteX10" fmla="*/ 221647 w 3507581"/>
                <a:gd name="connsiteY10" fmla="*/ 53530 h 1507045"/>
                <a:gd name="connsiteX11" fmla="*/ 221647 w 3507581"/>
                <a:gd name="connsiteY11" fmla="*/ 62198 h 1507045"/>
                <a:gd name="connsiteX12" fmla="*/ 263176 w 3507581"/>
                <a:gd name="connsiteY12" fmla="*/ 62198 h 1507045"/>
                <a:gd name="connsiteX13" fmla="*/ 263176 w 3507581"/>
                <a:gd name="connsiteY13" fmla="*/ 69914 h 1507045"/>
                <a:gd name="connsiteX14" fmla="*/ 307943 w 3507581"/>
                <a:gd name="connsiteY14" fmla="*/ 69914 h 1507045"/>
                <a:gd name="connsiteX15" fmla="*/ 307943 w 3507581"/>
                <a:gd name="connsiteY15" fmla="*/ 79724 h 1507045"/>
                <a:gd name="connsiteX16" fmla="*/ 339566 w 3507581"/>
                <a:gd name="connsiteY16" fmla="*/ 79724 h 1507045"/>
                <a:gd name="connsiteX17" fmla="*/ 461867 w 3507581"/>
                <a:gd name="connsiteY17" fmla="*/ 79724 h 1507045"/>
                <a:gd name="connsiteX18" fmla="*/ 461867 w 3507581"/>
                <a:gd name="connsiteY18" fmla="*/ 91726 h 1507045"/>
                <a:gd name="connsiteX19" fmla="*/ 492443 w 3507581"/>
                <a:gd name="connsiteY19" fmla="*/ 91726 h 1507045"/>
                <a:gd name="connsiteX20" fmla="*/ 492443 w 3507581"/>
                <a:gd name="connsiteY20" fmla="*/ 97155 h 1507045"/>
                <a:gd name="connsiteX21" fmla="*/ 531781 w 3507581"/>
                <a:gd name="connsiteY21" fmla="*/ 97155 h 1507045"/>
                <a:gd name="connsiteX22" fmla="*/ 531781 w 3507581"/>
                <a:gd name="connsiteY22" fmla="*/ 105918 h 1507045"/>
                <a:gd name="connsiteX23" fmla="*/ 561308 w 3507581"/>
                <a:gd name="connsiteY23" fmla="*/ 105918 h 1507045"/>
                <a:gd name="connsiteX24" fmla="*/ 561308 w 3507581"/>
                <a:gd name="connsiteY24" fmla="*/ 117919 h 1507045"/>
                <a:gd name="connsiteX25" fmla="*/ 585311 w 3507581"/>
                <a:gd name="connsiteY25" fmla="*/ 117919 h 1507045"/>
                <a:gd name="connsiteX26" fmla="*/ 585311 w 3507581"/>
                <a:gd name="connsiteY26" fmla="*/ 124492 h 1507045"/>
                <a:gd name="connsiteX27" fmla="*/ 607124 w 3507581"/>
                <a:gd name="connsiteY27" fmla="*/ 124492 h 1507045"/>
                <a:gd name="connsiteX28" fmla="*/ 607124 w 3507581"/>
                <a:gd name="connsiteY28" fmla="*/ 139732 h 1507045"/>
                <a:gd name="connsiteX29" fmla="*/ 646462 w 3507581"/>
                <a:gd name="connsiteY29" fmla="*/ 139732 h 1507045"/>
                <a:gd name="connsiteX30" fmla="*/ 646462 w 3507581"/>
                <a:gd name="connsiteY30" fmla="*/ 149638 h 1507045"/>
                <a:gd name="connsiteX31" fmla="*/ 752380 w 3507581"/>
                <a:gd name="connsiteY31" fmla="*/ 149638 h 1507045"/>
                <a:gd name="connsiteX32" fmla="*/ 752380 w 3507581"/>
                <a:gd name="connsiteY32" fmla="*/ 156115 h 1507045"/>
                <a:gd name="connsiteX33" fmla="*/ 758952 w 3507581"/>
                <a:gd name="connsiteY33" fmla="*/ 156115 h 1507045"/>
                <a:gd name="connsiteX34" fmla="*/ 758952 w 3507581"/>
                <a:gd name="connsiteY34" fmla="*/ 162687 h 1507045"/>
                <a:gd name="connsiteX35" fmla="*/ 853916 w 3507581"/>
                <a:gd name="connsiteY35" fmla="*/ 162687 h 1507045"/>
                <a:gd name="connsiteX36" fmla="*/ 853916 w 3507581"/>
                <a:gd name="connsiteY36" fmla="*/ 172498 h 1507045"/>
                <a:gd name="connsiteX37" fmla="*/ 879062 w 3507581"/>
                <a:gd name="connsiteY37" fmla="*/ 172498 h 1507045"/>
                <a:gd name="connsiteX38" fmla="*/ 879062 w 3507581"/>
                <a:gd name="connsiteY38" fmla="*/ 187833 h 1507045"/>
                <a:gd name="connsiteX39" fmla="*/ 899827 w 3507581"/>
                <a:gd name="connsiteY39" fmla="*/ 187833 h 1507045"/>
                <a:gd name="connsiteX40" fmla="*/ 899827 w 3507581"/>
                <a:gd name="connsiteY40" fmla="*/ 215075 h 1507045"/>
                <a:gd name="connsiteX41" fmla="*/ 1054894 w 3507581"/>
                <a:gd name="connsiteY41" fmla="*/ 215075 h 1507045"/>
                <a:gd name="connsiteX42" fmla="*/ 1054894 w 3507581"/>
                <a:gd name="connsiteY42" fmla="*/ 224981 h 1507045"/>
                <a:gd name="connsiteX43" fmla="*/ 1147667 w 3507581"/>
                <a:gd name="connsiteY43" fmla="*/ 224981 h 1507045"/>
                <a:gd name="connsiteX44" fmla="*/ 1147667 w 3507581"/>
                <a:gd name="connsiteY44" fmla="*/ 230410 h 1507045"/>
                <a:gd name="connsiteX45" fmla="*/ 1157573 w 3507581"/>
                <a:gd name="connsiteY45" fmla="*/ 230410 h 1507045"/>
                <a:gd name="connsiteX46" fmla="*/ 1157573 w 3507581"/>
                <a:gd name="connsiteY46" fmla="*/ 240221 h 1507045"/>
                <a:gd name="connsiteX47" fmla="*/ 1169575 w 3507581"/>
                <a:gd name="connsiteY47" fmla="*/ 240221 h 1507045"/>
                <a:gd name="connsiteX48" fmla="*/ 1169575 w 3507581"/>
                <a:gd name="connsiteY48" fmla="*/ 251174 h 1507045"/>
                <a:gd name="connsiteX49" fmla="*/ 1177195 w 3507581"/>
                <a:gd name="connsiteY49" fmla="*/ 251174 h 1507045"/>
                <a:gd name="connsiteX50" fmla="*/ 1177195 w 3507581"/>
                <a:gd name="connsiteY50" fmla="*/ 265367 h 1507045"/>
                <a:gd name="connsiteX51" fmla="*/ 1184815 w 3507581"/>
                <a:gd name="connsiteY51" fmla="*/ 265367 h 1507045"/>
                <a:gd name="connsiteX52" fmla="*/ 1184815 w 3507581"/>
                <a:gd name="connsiteY52" fmla="*/ 274130 h 1507045"/>
                <a:gd name="connsiteX53" fmla="*/ 1191387 w 3507581"/>
                <a:gd name="connsiteY53" fmla="*/ 274130 h 1507045"/>
                <a:gd name="connsiteX54" fmla="*/ 1191387 w 3507581"/>
                <a:gd name="connsiteY54" fmla="*/ 282797 h 1507045"/>
                <a:gd name="connsiteX55" fmla="*/ 1197959 w 3507581"/>
                <a:gd name="connsiteY55" fmla="*/ 282797 h 1507045"/>
                <a:gd name="connsiteX56" fmla="*/ 1197959 w 3507581"/>
                <a:gd name="connsiteY56" fmla="*/ 289370 h 1507045"/>
                <a:gd name="connsiteX57" fmla="*/ 1205579 w 3507581"/>
                <a:gd name="connsiteY57" fmla="*/ 289370 h 1507045"/>
                <a:gd name="connsiteX58" fmla="*/ 1205579 w 3507581"/>
                <a:gd name="connsiteY58" fmla="*/ 296990 h 1507045"/>
                <a:gd name="connsiteX59" fmla="*/ 1236155 w 3507581"/>
                <a:gd name="connsiteY59" fmla="*/ 296990 h 1507045"/>
                <a:gd name="connsiteX60" fmla="*/ 1236155 w 3507581"/>
                <a:gd name="connsiteY60" fmla="*/ 308991 h 1507045"/>
                <a:gd name="connsiteX61" fmla="*/ 1323499 w 3507581"/>
                <a:gd name="connsiteY61" fmla="*/ 308991 h 1507045"/>
                <a:gd name="connsiteX62" fmla="*/ 1323499 w 3507581"/>
                <a:gd name="connsiteY62" fmla="*/ 318897 h 1507045"/>
                <a:gd name="connsiteX63" fmla="*/ 1357408 w 3507581"/>
                <a:gd name="connsiteY63" fmla="*/ 318897 h 1507045"/>
                <a:gd name="connsiteX64" fmla="*/ 1380363 w 3507581"/>
                <a:gd name="connsiteY64" fmla="*/ 318897 h 1507045"/>
                <a:gd name="connsiteX65" fmla="*/ 1380363 w 3507581"/>
                <a:gd name="connsiteY65" fmla="*/ 333089 h 1507045"/>
                <a:gd name="connsiteX66" fmla="*/ 1394555 w 3507581"/>
                <a:gd name="connsiteY66" fmla="*/ 333089 h 1507045"/>
                <a:gd name="connsiteX67" fmla="*/ 1394555 w 3507581"/>
                <a:gd name="connsiteY67" fmla="*/ 339566 h 1507045"/>
                <a:gd name="connsiteX68" fmla="*/ 1413034 w 3507581"/>
                <a:gd name="connsiteY68" fmla="*/ 339566 h 1507045"/>
                <a:gd name="connsiteX69" fmla="*/ 1413034 w 3507581"/>
                <a:gd name="connsiteY69" fmla="*/ 349472 h 1507045"/>
                <a:gd name="connsiteX70" fmla="*/ 1432751 w 3507581"/>
                <a:gd name="connsiteY70" fmla="*/ 349472 h 1507045"/>
                <a:gd name="connsiteX71" fmla="*/ 1432751 w 3507581"/>
                <a:gd name="connsiteY71" fmla="*/ 355949 h 1507045"/>
                <a:gd name="connsiteX72" fmla="*/ 1442561 w 3507581"/>
                <a:gd name="connsiteY72" fmla="*/ 355949 h 1507045"/>
                <a:gd name="connsiteX73" fmla="*/ 1442561 w 3507581"/>
                <a:gd name="connsiteY73" fmla="*/ 381095 h 1507045"/>
                <a:gd name="connsiteX74" fmla="*/ 1493901 w 3507581"/>
                <a:gd name="connsiteY74" fmla="*/ 381095 h 1507045"/>
                <a:gd name="connsiteX75" fmla="*/ 1493901 w 3507581"/>
                <a:gd name="connsiteY75" fmla="*/ 389858 h 1507045"/>
                <a:gd name="connsiteX76" fmla="*/ 1599819 w 3507581"/>
                <a:gd name="connsiteY76" fmla="*/ 389858 h 1507045"/>
                <a:gd name="connsiteX77" fmla="*/ 1599819 w 3507581"/>
                <a:gd name="connsiteY77" fmla="*/ 398621 h 1507045"/>
                <a:gd name="connsiteX78" fmla="*/ 1610773 w 3507581"/>
                <a:gd name="connsiteY78" fmla="*/ 398621 h 1507045"/>
                <a:gd name="connsiteX79" fmla="*/ 1610773 w 3507581"/>
                <a:gd name="connsiteY79" fmla="*/ 405098 h 1507045"/>
                <a:gd name="connsiteX80" fmla="*/ 1624965 w 3507581"/>
                <a:gd name="connsiteY80" fmla="*/ 405098 h 1507045"/>
                <a:gd name="connsiteX81" fmla="*/ 1624965 w 3507581"/>
                <a:gd name="connsiteY81" fmla="*/ 412814 h 1507045"/>
                <a:gd name="connsiteX82" fmla="*/ 1660970 w 3507581"/>
                <a:gd name="connsiteY82" fmla="*/ 412814 h 1507045"/>
                <a:gd name="connsiteX83" fmla="*/ 1735265 w 3507581"/>
                <a:gd name="connsiteY83" fmla="*/ 412814 h 1507045"/>
                <a:gd name="connsiteX84" fmla="*/ 1735265 w 3507581"/>
                <a:gd name="connsiteY84" fmla="*/ 435673 h 1507045"/>
                <a:gd name="connsiteX85" fmla="*/ 1761458 w 3507581"/>
                <a:gd name="connsiteY85" fmla="*/ 435673 h 1507045"/>
                <a:gd name="connsiteX86" fmla="*/ 1761458 w 3507581"/>
                <a:gd name="connsiteY86" fmla="*/ 442246 h 1507045"/>
                <a:gd name="connsiteX87" fmla="*/ 1920907 w 3507581"/>
                <a:gd name="connsiteY87" fmla="*/ 442246 h 1507045"/>
                <a:gd name="connsiteX88" fmla="*/ 1920907 w 3507581"/>
                <a:gd name="connsiteY88" fmla="*/ 456438 h 1507045"/>
                <a:gd name="connsiteX89" fmla="*/ 2011490 w 3507581"/>
                <a:gd name="connsiteY89" fmla="*/ 456438 h 1507045"/>
                <a:gd name="connsiteX90" fmla="*/ 2011490 w 3507581"/>
                <a:gd name="connsiteY90" fmla="*/ 469583 h 1507045"/>
                <a:gd name="connsiteX91" fmla="*/ 2022443 w 3507581"/>
                <a:gd name="connsiteY91" fmla="*/ 469583 h 1507045"/>
                <a:gd name="connsiteX92" fmla="*/ 2022443 w 3507581"/>
                <a:gd name="connsiteY92" fmla="*/ 482632 h 1507045"/>
                <a:gd name="connsiteX93" fmla="*/ 2032254 w 3507581"/>
                <a:gd name="connsiteY93" fmla="*/ 482632 h 1507045"/>
                <a:gd name="connsiteX94" fmla="*/ 2032254 w 3507581"/>
                <a:gd name="connsiteY94" fmla="*/ 494633 h 1507045"/>
                <a:gd name="connsiteX95" fmla="*/ 2045399 w 3507581"/>
                <a:gd name="connsiteY95" fmla="*/ 494633 h 1507045"/>
                <a:gd name="connsiteX96" fmla="*/ 2045399 w 3507581"/>
                <a:gd name="connsiteY96" fmla="*/ 512159 h 1507045"/>
                <a:gd name="connsiteX97" fmla="*/ 2059591 w 3507581"/>
                <a:gd name="connsiteY97" fmla="*/ 512159 h 1507045"/>
                <a:gd name="connsiteX98" fmla="*/ 2059591 w 3507581"/>
                <a:gd name="connsiteY98" fmla="*/ 540544 h 1507045"/>
                <a:gd name="connsiteX99" fmla="*/ 2210276 w 3507581"/>
                <a:gd name="connsiteY99" fmla="*/ 540544 h 1507045"/>
                <a:gd name="connsiteX100" fmla="*/ 2210276 w 3507581"/>
                <a:gd name="connsiteY100" fmla="*/ 552545 h 1507045"/>
                <a:gd name="connsiteX101" fmla="*/ 2310765 w 3507581"/>
                <a:gd name="connsiteY101" fmla="*/ 552545 h 1507045"/>
                <a:gd name="connsiteX102" fmla="*/ 2310765 w 3507581"/>
                <a:gd name="connsiteY102" fmla="*/ 567881 h 1507045"/>
                <a:gd name="connsiteX103" fmla="*/ 2324957 w 3507581"/>
                <a:gd name="connsiteY103" fmla="*/ 567881 h 1507045"/>
                <a:gd name="connsiteX104" fmla="*/ 2324957 w 3507581"/>
                <a:gd name="connsiteY104" fmla="*/ 584264 h 1507045"/>
                <a:gd name="connsiteX105" fmla="*/ 2334768 w 3507581"/>
                <a:gd name="connsiteY105" fmla="*/ 584264 h 1507045"/>
                <a:gd name="connsiteX106" fmla="*/ 2334768 w 3507581"/>
                <a:gd name="connsiteY106" fmla="*/ 606076 h 1507045"/>
                <a:gd name="connsiteX107" fmla="*/ 2347817 w 3507581"/>
                <a:gd name="connsiteY107" fmla="*/ 606076 h 1507045"/>
                <a:gd name="connsiteX108" fmla="*/ 2347817 w 3507581"/>
                <a:gd name="connsiteY108" fmla="*/ 646462 h 1507045"/>
                <a:gd name="connsiteX109" fmla="*/ 2507266 w 3507581"/>
                <a:gd name="connsiteY109" fmla="*/ 646462 h 1507045"/>
                <a:gd name="connsiteX110" fmla="*/ 2593562 w 3507581"/>
                <a:gd name="connsiteY110" fmla="*/ 646462 h 1507045"/>
                <a:gd name="connsiteX111" fmla="*/ 2593562 w 3507581"/>
                <a:gd name="connsiteY111" fmla="*/ 725138 h 1507045"/>
                <a:gd name="connsiteX112" fmla="*/ 2638330 w 3507581"/>
                <a:gd name="connsiteY112" fmla="*/ 725138 h 1507045"/>
                <a:gd name="connsiteX113" fmla="*/ 2638330 w 3507581"/>
                <a:gd name="connsiteY113" fmla="*/ 744760 h 1507045"/>
                <a:gd name="connsiteX114" fmla="*/ 2682050 w 3507581"/>
                <a:gd name="connsiteY114" fmla="*/ 744760 h 1507045"/>
                <a:gd name="connsiteX115" fmla="*/ 2682050 w 3507581"/>
                <a:gd name="connsiteY115" fmla="*/ 760000 h 1507045"/>
                <a:gd name="connsiteX116" fmla="*/ 2732246 w 3507581"/>
                <a:gd name="connsiteY116" fmla="*/ 760000 h 1507045"/>
                <a:gd name="connsiteX117" fmla="*/ 2732246 w 3507581"/>
                <a:gd name="connsiteY117" fmla="*/ 777526 h 1507045"/>
                <a:gd name="connsiteX118" fmla="*/ 2882932 w 3507581"/>
                <a:gd name="connsiteY118" fmla="*/ 777526 h 1507045"/>
                <a:gd name="connsiteX119" fmla="*/ 2882932 w 3507581"/>
                <a:gd name="connsiteY119" fmla="*/ 794957 h 1507045"/>
                <a:gd name="connsiteX120" fmla="*/ 2897124 w 3507581"/>
                <a:gd name="connsiteY120" fmla="*/ 794957 h 1507045"/>
                <a:gd name="connsiteX121" fmla="*/ 2897124 w 3507581"/>
                <a:gd name="connsiteY121" fmla="*/ 817912 h 1507045"/>
                <a:gd name="connsiteX122" fmla="*/ 2911316 w 3507581"/>
                <a:gd name="connsiteY122" fmla="*/ 817912 h 1507045"/>
                <a:gd name="connsiteX123" fmla="*/ 2911316 w 3507581"/>
                <a:gd name="connsiteY123" fmla="*/ 837533 h 1507045"/>
                <a:gd name="connsiteX124" fmla="*/ 2927699 w 3507581"/>
                <a:gd name="connsiteY124" fmla="*/ 837533 h 1507045"/>
                <a:gd name="connsiteX125" fmla="*/ 2927699 w 3507581"/>
                <a:gd name="connsiteY125" fmla="*/ 864870 h 1507045"/>
                <a:gd name="connsiteX126" fmla="*/ 3210592 w 3507581"/>
                <a:gd name="connsiteY126" fmla="*/ 864870 h 1507045"/>
                <a:gd name="connsiteX127" fmla="*/ 3210592 w 3507581"/>
                <a:gd name="connsiteY127" fmla="*/ 970788 h 1507045"/>
                <a:gd name="connsiteX128" fmla="*/ 3507581 w 3507581"/>
                <a:gd name="connsiteY128" fmla="*/ 970788 h 1507045"/>
                <a:gd name="connsiteX129" fmla="*/ 3507581 w 3507581"/>
                <a:gd name="connsiteY129" fmla="*/ 1507046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3507581" h="1507045">
                  <a:moveTo>
                    <a:pt x="0" y="0"/>
                  </a:moveTo>
                  <a:lnTo>
                    <a:pt x="33814" y="0"/>
                  </a:lnTo>
                  <a:lnTo>
                    <a:pt x="33814" y="12002"/>
                  </a:lnTo>
                  <a:lnTo>
                    <a:pt x="43625" y="12002"/>
                  </a:lnTo>
                  <a:lnTo>
                    <a:pt x="86297" y="12002"/>
                  </a:lnTo>
                  <a:lnTo>
                    <a:pt x="86297" y="27241"/>
                  </a:lnTo>
                  <a:lnTo>
                    <a:pt x="117920" y="27241"/>
                  </a:lnTo>
                  <a:lnTo>
                    <a:pt x="117920" y="40386"/>
                  </a:lnTo>
                  <a:lnTo>
                    <a:pt x="163830" y="40386"/>
                  </a:lnTo>
                  <a:lnTo>
                    <a:pt x="163830" y="53530"/>
                  </a:lnTo>
                  <a:lnTo>
                    <a:pt x="221647" y="53530"/>
                  </a:lnTo>
                  <a:lnTo>
                    <a:pt x="221647" y="62198"/>
                  </a:lnTo>
                  <a:lnTo>
                    <a:pt x="263176" y="62198"/>
                  </a:lnTo>
                  <a:lnTo>
                    <a:pt x="263176" y="69914"/>
                  </a:lnTo>
                  <a:lnTo>
                    <a:pt x="307943" y="69914"/>
                  </a:lnTo>
                  <a:lnTo>
                    <a:pt x="307943" y="79724"/>
                  </a:lnTo>
                  <a:lnTo>
                    <a:pt x="339566" y="79724"/>
                  </a:lnTo>
                  <a:lnTo>
                    <a:pt x="461867" y="79724"/>
                  </a:lnTo>
                  <a:lnTo>
                    <a:pt x="461867" y="91726"/>
                  </a:lnTo>
                  <a:lnTo>
                    <a:pt x="492443" y="91726"/>
                  </a:lnTo>
                  <a:lnTo>
                    <a:pt x="492443" y="97155"/>
                  </a:lnTo>
                  <a:lnTo>
                    <a:pt x="531781" y="97155"/>
                  </a:lnTo>
                  <a:lnTo>
                    <a:pt x="531781" y="105918"/>
                  </a:lnTo>
                  <a:lnTo>
                    <a:pt x="561308" y="105918"/>
                  </a:lnTo>
                  <a:lnTo>
                    <a:pt x="561308" y="117919"/>
                  </a:lnTo>
                  <a:lnTo>
                    <a:pt x="585311" y="117919"/>
                  </a:lnTo>
                  <a:lnTo>
                    <a:pt x="585311" y="124492"/>
                  </a:lnTo>
                  <a:lnTo>
                    <a:pt x="607124" y="124492"/>
                  </a:lnTo>
                  <a:lnTo>
                    <a:pt x="607124" y="139732"/>
                  </a:lnTo>
                  <a:lnTo>
                    <a:pt x="646462" y="139732"/>
                  </a:lnTo>
                  <a:lnTo>
                    <a:pt x="646462" y="149638"/>
                  </a:lnTo>
                  <a:lnTo>
                    <a:pt x="752380" y="149638"/>
                  </a:lnTo>
                  <a:lnTo>
                    <a:pt x="752380" y="156115"/>
                  </a:lnTo>
                  <a:lnTo>
                    <a:pt x="758952" y="156115"/>
                  </a:lnTo>
                  <a:lnTo>
                    <a:pt x="758952" y="162687"/>
                  </a:lnTo>
                  <a:lnTo>
                    <a:pt x="853916" y="162687"/>
                  </a:lnTo>
                  <a:lnTo>
                    <a:pt x="853916" y="172498"/>
                  </a:lnTo>
                  <a:lnTo>
                    <a:pt x="879062" y="172498"/>
                  </a:lnTo>
                  <a:lnTo>
                    <a:pt x="879062" y="187833"/>
                  </a:lnTo>
                  <a:lnTo>
                    <a:pt x="899827" y="187833"/>
                  </a:lnTo>
                  <a:lnTo>
                    <a:pt x="899827" y="215075"/>
                  </a:lnTo>
                  <a:lnTo>
                    <a:pt x="1054894" y="215075"/>
                  </a:lnTo>
                  <a:lnTo>
                    <a:pt x="1054894" y="224981"/>
                  </a:lnTo>
                  <a:lnTo>
                    <a:pt x="1147667" y="224981"/>
                  </a:lnTo>
                  <a:lnTo>
                    <a:pt x="1147667" y="230410"/>
                  </a:lnTo>
                  <a:lnTo>
                    <a:pt x="1157573" y="230410"/>
                  </a:lnTo>
                  <a:lnTo>
                    <a:pt x="1157573" y="240221"/>
                  </a:lnTo>
                  <a:lnTo>
                    <a:pt x="1169575" y="240221"/>
                  </a:lnTo>
                  <a:lnTo>
                    <a:pt x="1169575" y="251174"/>
                  </a:lnTo>
                  <a:lnTo>
                    <a:pt x="1177195" y="251174"/>
                  </a:lnTo>
                  <a:lnTo>
                    <a:pt x="1177195" y="265367"/>
                  </a:lnTo>
                  <a:lnTo>
                    <a:pt x="1184815" y="265367"/>
                  </a:lnTo>
                  <a:lnTo>
                    <a:pt x="1184815" y="274130"/>
                  </a:lnTo>
                  <a:lnTo>
                    <a:pt x="1191387" y="274130"/>
                  </a:lnTo>
                  <a:lnTo>
                    <a:pt x="1191387" y="282797"/>
                  </a:lnTo>
                  <a:lnTo>
                    <a:pt x="1197959" y="282797"/>
                  </a:lnTo>
                  <a:lnTo>
                    <a:pt x="1197959" y="289370"/>
                  </a:lnTo>
                  <a:lnTo>
                    <a:pt x="1205579" y="289370"/>
                  </a:lnTo>
                  <a:lnTo>
                    <a:pt x="1205579" y="296990"/>
                  </a:lnTo>
                  <a:lnTo>
                    <a:pt x="1236155" y="296990"/>
                  </a:lnTo>
                  <a:lnTo>
                    <a:pt x="1236155" y="308991"/>
                  </a:lnTo>
                  <a:lnTo>
                    <a:pt x="1323499" y="308991"/>
                  </a:lnTo>
                  <a:lnTo>
                    <a:pt x="1323499" y="318897"/>
                  </a:lnTo>
                  <a:lnTo>
                    <a:pt x="1357408" y="318897"/>
                  </a:lnTo>
                  <a:lnTo>
                    <a:pt x="1380363" y="318897"/>
                  </a:lnTo>
                  <a:lnTo>
                    <a:pt x="1380363" y="333089"/>
                  </a:lnTo>
                  <a:lnTo>
                    <a:pt x="1394555" y="333089"/>
                  </a:lnTo>
                  <a:lnTo>
                    <a:pt x="1394555" y="339566"/>
                  </a:lnTo>
                  <a:lnTo>
                    <a:pt x="1413034" y="339566"/>
                  </a:lnTo>
                  <a:lnTo>
                    <a:pt x="1413034" y="349472"/>
                  </a:lnTo>
                  <a:lnTo>
                    <a:pt x="1432751" y="349472"/>
                  </a:lnTo>
                  <a:lnTo>
                    <a:pt x="1432751" y="355949"/>
                  </a:lnTo>
                  <a:lnTo>
                    <a:pt x="1442561" y="355949"/>
                  </a:lnTo>
                  <a:lnTo>
                    <a:pt x="1442561" y="381095"/>
                  </a:lnTo>
                  <a:lnTo>
                    <a:pt x="1493901" y="381095"/>
                  </a:lnTo>
                  <a:lnTo>
                    <a:pt x="1493901" y="389858"/>
                  </a:lnTo>
                  <a:lnTo>
                    <a:pt x="1599819" y="389858"/>
                  </a:lnTo>
                  <a:lnTo>
                    <a:pt x="1599819" y="398621"/>
                  </a:lnTo>
                  <a:lnTo>
                    <a:pt x="1610773" y="398621"/>
                  </a:lnTo>
                  <a:lnTo>
                    <a:pt x="1610773" y="405098"/>
                  </a:lnTo>
                  <a:lnTo>
                    <a:pt x="1624965" y="405098"/>
                  </a:lnTo>
                  <a:lnTo>
                    <a:pt x="1624965" y="412814"/>
                  </a:lnTo>
                  <a:lnTo>
                    <a:pt x="1660970" y="412814"/>
                  </a:lnTo>
                  <a:lnTo>
                    <a:pt x="1735265" y="412814"/>
                  </a:lnTo>
                  <a:lnTo>
                    <a:pt x="1735265" y="435673"/>
                  </a:lnTo>
                  <a:lnTo>
                    <a:pt x="1761458" y="435673"/>
                  </a:lnTo>
                  <a:lnTo>
                    <a:pt x="1761458" y="442246"/>
                  </a:lnTo>
                  <a:lnTo>
                    <a:pt x="1920907" y="442246"/>
                  </a:lnTo>
                  <a:lnTo>
                    <a:pt x="1920907" y="456438"/>
                  </a:lnTo>
                  <a:lnTo>
                    <a:pt x="2011490" y="456438"/>
                  </a:lnTo>
                  <a:lnTo>
                    <a:pt x="2011490" y="469583"/>
                  </a:lnTo>
                  <a:lnTo>
                    <a:pt x="2022443" y="469583"/>
                  </a:lnTo>
                  <a:lnTo>
                    <a:pt x="2022443" y="482632"/>
                  </a:lnTo>
                  <a:lnTo>
                    <a:pt x="2032254" y="482632"/>
                  </a:lnTo>
                  <a:lnTo>
                    <a:pt x="2032254" y="494633"/>
                  </a:lnTo>
                  <a:lnTo>
                    <a:pt x="2045399" y="494633"/>
                  </a:lnTo>
                  <a:lnTo>
                    <a:pt x="2045399" y="512159"/>
                  </a:lnTo>
                  <a:lnTo>
                    <a:pt x="2059591" y="512159"/>
                  </a:lnTo>
                  <a:lnTo>
                    <a:pt x="2059591" y="540544"/>
                  </a:lnTo>
                  <a:lnTo>
                    <a:pt x="2210276" y="540544"/>
                  </a:lnTo>
                  <a:lnTo>
                    <a:pt x="2210276" y="552545"/>
                  </a:lnTo>
                  <a:lnTo>
                    <a:pt x="2310765" y="552545"/>
                  </a:lnTo>
                  <a:lnTo>
                    <a:pt x="2310765" y="567881"/>
                  </a:lnTo>
                  <a:lnTo>
                    <a:pt x="2324957" y="567881"/>
                  </a:lnTo>
                  <a:lnTo>
                    <a:pt x="2324957" y="584264"/>
                  </a:lnTo>
                  <a:lnTo>
                    <a:pt x="2334768" y="584264"/>
                  </a:lnTo>
                  <a:lnTo>
                    <a:pt x="2334768" y="606076"/>
                  </a:lnTo>
                  <a:lnTo>
                    <a:pt x="2347817" y="606076"/>
                  </a:lnTo>
                  <a:lnTo>
                    <a:pt x="2347817" y="646462"/>
                  </a:lnTo>
                  <a:lnTo>
                    <a:pt x="2507266" y="646462"/>
                  </a:lnTo>
                  <a:lnTo>
                    <a:pt x="2593562" y="646462"/>
                  </a:lnTo>
                  <a:lnTo>
                    <a:pt x="2593562" y="725138"/>
                  </a:lnTo>
                  <a:lnTo>
                    <a:pt x="2638330" y="725138"/>
                  </a:lnTo>
                  <a:lnTo>
                    <a:pt x="2638330" y="744760"/>
                  </a:lnTo>
                  <a:lnTo>
                    <a:pt x="2682050" y="744760"/>
                  </a:lnTo>
                  <a:lnTo>
                    <a:pt x="2682050" y="760000"/>
                  </a:lnTo>
                  <a:lnTo>
                    <a:pt x="2732246" y="760000"/>
                  </a:lnTo>
                  <a:lnTo>
                    <a:pt x="2732246" y="777526"/>
                  </a:lnTo>
                  <a:lnTo>
                    <a:pt x="2882932" y="777526"/>
                  </a:lnTo>
                  <a:lnTo>
                    <a:pt x="2882932" y="794957"/>
                  </a:lnTo>
                  <a:lnTo>
                    <a:pt x="2897124" y="794957"/>
                  </a:lnTo>
                  <a:lnTo>
                    <a:pt x="2897124" y="817912"/>
                  </a:lnTo>
                  <a:lnTo>
                    <a:pt x="2911316" y="817912"/>
                  </a:lnTo>
                  <a:lnTo>
                    <a:pt x="2911316" y="837533"/>
                  </a:lnTo>
                  <a:lnTo>
                    <a:pt x="2927699" y="837533"/>
                  </a:lnTo>
                  <a:lnTo>
                    <a:pt x="2927699" y="864870"/>
                  </a:lnTo>
                  <a:lnTo>
                    <a:pt x="3210592" y="864870"/>
                  </a:lnTo>
                  <a:lnTo>
                    <a:pt x="3210592" y="970788"/>
                  </a:lnTo>
                  <a:lnTo>
                    <a:pt x="3507581" y="970788"/>
                  </a:lnTo>
                  <a:lnTo>
                    <a:pt x="3507581" y="1507046"/>
                  </a:lnTo>
                </a:path>
              </a:pathLst>
            </a:custGeom>
            <a:noFill/>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4" name="Freeform: Shape 333">
              <a:extLst>
                <a:ext uri="{FF2B5EF4-FFF2-40B4-BE49-F238E27FC236}">
                  <a16:creationId xmlns:a16="http://schemas.microsoft.com/office/drawing/2014/main" id="{26A55483-9C9A-B748-146E-4EF2B64EAC3C}"/>
                </a:ext>
              </a:extLst>
            </p:cNvPr>
            <p:cNvSpPr/>
            <p:nvPr/>
          </p:nvSpPr>
          <p:spPr>
            <a:xfrm>
              <a:off x="5223604" y="2764861"/>
              <a:ext cx="11219" cy="62394"/>
            </a:xfrm>
            <a:custGeom>
              <a:avLst/>
              <a:gdLst>
                <a:gd name="connsiteX0" fmla="*/ 0 w 9525"/>
                <a:gd name="connsiteY0" fmla="*/ 0 h 56769"/>
                <a:gd name="connsiteX1" fmla="*/ 0 w 9525"/>
                <a:gd name="connsiteY1" fmla="*/ 56769 h 56769"/>
              </a:gdLst>
              <a:ahLst/>
              <a:cxnLst>
                <a:cxn ang="0">
                  <a:pos x="connsiteX0" y="connsiteY0"/>
                </a:cxn>
                <a:cxn ang="0">
                  <a:pos x="connsiteX1" y="connsiteY1"/>
                </a:cxn>
              </a:cxnLst>
              <a:rect l="l" t="t" r="r" b="b"/>
              <a:pathLst>
                <a:path w="9525" h="56769">
                  <a:moveTo>
                    <a:pt x="0" y="0"/>
                  </a:moveTo>
                  <a:lnTo>
                    <a:pt x="0" y="56769"/>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5" name="Freeform: Shape 334">
              <a:extLst>
                <a:ext uri="{FF2B5EF4-FFF2-40B4-BE49-F238E27FC236}">
                  <a16:creationId xmlns:a16="http://schemas.microsoft.com/office/drawing/2014/main" id="{F9B761A1-A273-3193-AD35-D1F6F2001ABC}"/>
                </a:ext>
              </a:extLst>
            </p:cNvPr>
            <p:cNvSpPr/>
            <p:nvPr/>
          </p:nvSpPr>
          <p:spPr>
            <a:xfrm>
              <a:off x="4904634" y="2764861"/>
              <a:ext cx="11219" cy="62394"/>
            </a:xfrm>
            <a:custGeom>
              <a:avLst/>
              <a:gdLst>
                <a:gd name="connsiteX0" fmla="*/ 0 w 9525"/>
                <a:gd name="connsiteY0" fmla="*/ 0 h 56769"/>
                <a:gd name="connsiteX1" fmla="*/ 0 w 9525"/>
                <a:gd name="connsiteY1" fmla="*/ 56769 h 56769"/>
              </a:gdLst>
              <a:ahLst/>
              <a:cxnLst>
                <a:cxn ang="0">
                  <a:pos x="connsiteX0" y="connsiteY0"/>
                </a:cxn>
                <a:cxn ang="0">
                  <a:pos x="connsiteX1" y="connsiteY1"/>
                </a:cxn>
              </a:cxnLst>
              <a:rect l="l" t="t" r="r" b="b"/>
              <a:pathLst>
                <a:path w="9525" h="56769">
                  <a:moveTo>
                    <a:pt x="0" y="0"/>
                  </a:moveTo>
                  <a:lnTo>
                    <a:pt x="0" y="56769"/>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6" name="Freeform: Shape 335">
              <a:extLst>
                <a:ext uri="{FF2B5EF4-FFF2-40B4-BE49-F238E27FC236}">
                  <a16:creationId xmlns:a16="http://schemas.microsoft.com/office/drawing/2014/main" id="{1ACC4AA3-ACCC-71E1-8721-15C5147E8D80}"/>
                </a:ext>
              </a:extLst>
            </p:cNvPr>
            <p:cNvSpPr/>
            <p:nvPr/>
          </p:nvSpPr>
          <p:spPr>
            <a:xfrm>
              <a:off x="4859644" y="2646041"/>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7" name="Freeform: Shape 336">
              <a:extLst>
                <a:ext uri="{FF2B5EF4-FFF2-40B4-BE49-F238E27FC236}">
                  <a16:creationId xmlns:a16="http://schemas.microsoft.com/office/drawing/2014/main" id="{B956688D-559B-DE96-2BD6-1BFBD707069B}"/>
                </a:ext>
              </a:extLst>
            </p:cNvPr>
            <p:cNvSpPr/>
            <p:nvPr/>
          </p:nvSpPr>
          <p:spPr>
            <a:xfrm>
              <a:off x="4869854" y="2646041"/>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8" name="Freeform: Shape 337">
              <a:extLst>
                <a:ext uri="{FF2B5EF4-FFF2-40B4-BE49-F238E27FC236}">
                  <a16:creationId xmlns:a16="http://schemas.microsoft.com/office/drawing/2014/main" id="{ADE4D95B-5C7F-6BAA-1C3D-53B47EC81F96}"/>
                </a:ext>
              </a:extLst>
            </p:cNvPr>
            <p:cNvSpPr/>
            <p:nvPr/>
          </p:nvSpPr>
          <p:spPr>
            <a:xfrm>
              <a:off x="4881410" y="2646041"/>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9" name="Freeform: Shape 338">
              <a:extLst>
                <a:ext uri="{FF2B5EF4-FFF2-40B4-BE49-F238E27FC236}">
                  <a16:creationId xmlns:a16="http://schemas.microsoft.com/office/drawing/2014/main" id="{5B5416A7-6B32-8C93-CC66-B17CF209040B}"/>
                </a:ext>
              </a:extLst>
            </p:cNvPr>
            <p:cNvSpPr/>
            <p:nvPr/>
          </p:nvSpPr>
          <p:spPr>
            <a:xfrm>
              <a:off x="4893079" y="2646041"/>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0" name="Freeform: Shape 339">
              <a:extLst>
                <a:ext uri="{FF2B5EF4-FFF2-40B4-BE49-F238E27FC236}">
                  <a16:creationId xmlns:a16="http://schemas.microsoft.com/office/drawing/2014/main" id="{63B8B2E9-E03C-3AE7-136F-CBA9E744956D}"/>
                </a:ext>
              </a:extLst>
            </p:cNvPr>
            <p:cNvSpPr/>
            <p:nvPr/>
          </p:nvSpPr>
          <p:spPr>
            <a:xfrm>
              <a:off x="4904634" y="2646041"/>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1" name="Freeform: Shape 340">
              <a:extLst>
                <a:ext uri="{FF2B5EF4-FFF2-40B4-BE49-F238E27FC236}">
                  <a16:creationId xmlns:a16="http://schemas.microsoft.com/office/drawing/2014/main" id="{81B5936A-5E37-B1EA-AFB7-D318B2DD08E8}"/>
                </a:ext>
              </a:extLst>
            </p:cNvPr>
            <p:cNvSpPr/>
            <p:nvPr/>
          </p:nvSpPr>
          <p:spPr>
            <a:xfrm>
              <a:off x="4772132" y="2646041"/>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2" name="Freeform: Shape 341">
              <a:extLst>
                <a:ext uri="{FF2B5EF4-FFF2-40B4-BE49-F238E27FC236}">
                  <a16:creationId xmlns:a16="http://schemas.microsoft.com/office/drawing/2014/main" id="{8CF20AC5-B8E7-ADBF-33B9-1AF0B66D7678}"/>
                </a:ext>
              </a:extLst>
            </p:cNvPr>
            <p:cNvSpPr/>
            <p:nvPr/>
          </p:nvSpPr>
          <p:spPr>
            <a:xfrm>
              <a:off x="4571415" y="2646041"/>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 name="Freeform: Shape 342">
              <a:extLst>
                <a:ext uri="{FF2B5EF4-FFF2-40B4-BE49-F238E27FC236}">
                  <a16:creationId xmlns:a16="http://schemas.microsoft.com/office/drawing/2014/main" id="{98A10AC2-4776-9553-FDAF-771BE1C8386B}"/>
                </a:ext>
              </a:extLst>
            </p:cNvPr>
            <p:cNvSpPr/>
            <p:nvPr/>
          </p:nvSpPr>
          <p:spPr>
            <a:xfrm>
              <a:off x="4562440" y="2619660"/>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 name="Freeform: Shape 343">
              <a:extLst>
                <a:ext uri="{FF2B5EF4-FFF2-40B4-BE49-F238E27FC236}">
                  <a16:creationId xmlns:a16="http://schemas.microsoft.com/office/drawing/2014/main" id="{AAD1B245-B2BB-C4C3-8A54-6A8C6D9593DD}"/>
                </a:ext>
              </a:extLst>
            </p:cNvPr>
            <p:cNvSpPr/>
            <p:nvPr/>
          </p:nvSpPr>
          <p:spPr>
            <a:xfrm>
              <a:off x="4552118" y="2619660"/>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 name="Freeform: Shape 344">
              <a:extLst>
                <a:ext uri="{FF2B5EF4-FFF2-40B4-BE49-F238E27FC236}">
                  <a16:creationId xmlns:a16="http://schemas.microsoft.com/office/drawing/2014/main" id="{3FF2A9A9-006B-4B8F-6F8A-544CB3BDACEE}"/>
                </a:ext>
              </a:extLst>
            </p:cNvPr>
            <p:cNvSpPr/>
            <p:nvPr/>
          </p:nvSpPr>
          <p:spPr>
            <a:xfrm>
              <a:off x="4539327" y="2587206"/>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 name="Freeform: Shape 345">
              <a:extLst>
                <a:ext uri="{FF2B5EF4-FFF2-40B4-BE49-F238E27FC236}">
                  <a16:creationId xmlns:a16="http://schemas.microsoft.com/office/drawing/2014/main" id="{3F2D88C0-1E3C-A86C-1B4C-60A58FE014C6}"/>
                </a:ext>
              </a:extLst>
            </p:cNvPr>
            <p:cNvSpPr/>
            <p:nvPr/>
          </p:nvSpPr>
          <p:spPr>
            <a:xfrm>
              <a:off x="4526425" y="2587206"/>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 name="Freeform: Shape 346">
              <a:extLst>
                <a:ext uri="{FF2B5EF4-FFF2-40B4-BE49-F238E27FC236}">
                  <a16:creationId xmlns:a16="http://schemas.microsoft.com/office/drawing/2014/main" id="{EC5F5A10-7654-B760-F094-935AEF361316}"/>
                </a:ext>
              </a:extLst>
            </p:cNvPr>
            <p:cNvSpPr/>
            <p:nvPr/>
          </p:nvSpPr>
          <p:spPr>
            <a:xfrm>
              <a:off x="4518683" y="2553602"/>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 name="Freeform: Shape 347">
              <a:extLst>
                <a:ext uri="{FF2B5EF4-FFF2-40B4-BE49-F238E27FC236}">
                  <a16:creationId xmlns:a16="http://schemas.microsoft.com/office/drawing/2014/main" id="{F9EA35A3-1877-5A32-57EF-D7FEBBFDD71A}"/>
                </a:ext>
              </a:extLst>
            </p:cNvPr>
            <p:cNvSpPr/>
            <p:nvPr/>
          </p:nvSpPr>
          <p:spPr>
            <a:xfrm>
              <a:off x="4266582" y="2515182"/>
              <a:ext cx="11219" cy="67313"/>
            </a:xfrm>
            <a:custGeom>
              <a:avLst/>
              <a:gdLst>
                <a:gd name="connsiteX0" fmla="*/ 0 w 9525"/>
                <a:gd name="connsiteY0" fmla="*/ 0 h 61245"/>
                <a:gd name="connsiteX1" fmla="*/ 0 w 9525"/>
                <a:gd name="connsiteY1" fmla="*/ 61246 h 61245"/>
              </a:gdLst>
              <a:ahLst/>
              <a:cxnLst>
                <a:cxn ang="0">
                  <a:pos x="connsiteX0" y="connsiteY0"/>
                </a:cxn>
                <a:cxn ang="0">
                  <a:pos x="connsiteX1" y="connsiteY1"/>
                </a:cxn>
              </a:cxnLst>
              <a:rect l="l" t="t" r="r" b="b"/>
              <a:pathLst>
                <a:path w="9525" h="61245">
                  <a:moveTo>
                    <a:pt x="0" y="0"/>
                  </a:moveTo>
                  <a:lnTo>
                    <a:pt x="0" y="61246"/>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 name="Freeform: Shape 348">
              <a:extLst>
                <a:ext uri="{FF2B5EF4-FFF2-40B4-BE49-F238E27FC236}">
                  <a16:creationId xmlns:a16="http://schemas.microsoft.com/office/drawing/2014/main" id="{1CFCF1E3-3903-0810-51D2-C485C8D1ED40}"/>
                </a:ext>
              </a:extLst>
            </p:cNvPr>
            <p:cNvSpPr/>
            <p:nvPr/>
          </p:nvSpPr>
          <p:spPr>
            <a:xfrm>
              <a:off x="4247284" y="2515182"/>
              <a:ext cx="11219" cy="67313"/>
            </a:xfrm>
            <a:custGeom>
              <a:avLst/>
              <a:gdLst>
                <a:gd name="connsiteX0" fmla="*/ 0 w 9525"/>
                <a:gd name="connsiteY0" fmla="*/ 0 h 61245"/>
                <a:gd name="connsiteX1" fmla="*/ 0 w 9525"/>
                <a:gd name="connsiteY1" fmla="*/ 61246 h 61245"/>
              </a:gdLst>
              <a:ahLst/>
              <a:cxnLst>
                <a:cxn ang="0">
                  <a:pos x="connsiteX0" y="connsiteY0"/>
                </a:cxn>
                <a:cxn ang="0">
                  <a:pos x="connsiteX1" y="connsiteY1"/>
                </a:cxn>
              </a:cxnLst>
              <a:rect l="l" t="t" r="r" b="b"/>
              <a:pathLst>
                <a:path w="9525" h="61245">
                  <a:moveTo>
                    <a:pt x="0" y="0"/>
                  </a:moveTo>
                  <a:lnTo>
                    <a:pt x="0" y="61246"/>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 name="Freeform: Shape 349">
              <a:extLst>
                <a:ext uri="{FF2B5EF4-FFF2-40B4-BE49-F238E27FC236}">
                  <a16:creationId xmlns:a16="http://schemas.microsoft.com/office/drawing/2014/main" id="{18EB19E1-3DAD-BCAB-1354-FDCDB3E86F88}"/>
                </a:ext>
              </a:extLst>
            </p:cNvPr>
            <p:cNvSpPr/>
            <p:nvPr/>
          </p:nvSpPr>
          <p:spPr>
            <a:xfrm>
              <a:off x="4233147" y="2515182"/>
              <a:ext cx="11219" cy="67313"/>
            </a:xfrm>
            <a:custGeom>
              <a:avLst/>
              <a:gdLst>
                <a:gd name="connsiteX0" fmla="*/ 0 w 9525"/>
                <a:gd name="connsiteY0" fmla="*/ 0 h 61245"/>
                <a:gd name="connsiteX1" fmla="*/ 0 w 9525"/>
                <a:gd name="connsiteY1" fmla="*/ 61246 h 61245"/>
              </a:gdLst>
              <a:ahLst/>
              <a:cxnLst>
                <a:cxn ang="0">
                  <a:pos x="connsiteX0" y="connsiteY0"/>
                </a:cxn>
                <a:cxn ang="0">
                  <a:pos x="connsiteX1" y="connsiteY1"/>
                </a:cxn>
              </a:cxnLst>
              <a:rect l="l" t="t" r="r" b="b"/>
              <a:pathLst>
                <a:path w="9525" h="61245">
                  <a:moveTo>
                    <a:pt x="0" y="0"/>
                  </a:moveTo>
                  <a:lnTo>
                    <a:pt x="0" y="61246"/>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 name="Freeform: Shape 350">
              <a:extLst>
                <a:ext uri="{FF2B5EF4-FFF2-40B4-BE49-F238E27FC236}">
                  <a16:creationId xmlns:a16="http://schemas.microsoft.com/office/drawing/2014/main" id="{8C304E4A-F444-ABDD-464D-233C382055E5}"/>
                </a:ext>
              </a:extLst>
            </p:cNvPr>
            <p:cNvSpPr/>
            <p:nvPr/>
          </p:nvSpPr>
          <p:spPr>
            <a:xfrm>
              <a:off x="4222825" y="2500840"/>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2" name="Freeform: Shape 351">
              <a:extLst>
                <a:ext uri="{FF2B5EF4-FFF2-40B4-BE49-F238E27FC236}">
                  <a16:creationId xmlns:a16="http://schemas.microsoft.com/office/drawing/2014/main" id="{94DBC0C3-293B-7DBF-A541-A58FF8340B24}"/>
                </a:ext>
              </a:extLst>
            </p:cNvPr>
            <p:cNvSpPr/>
            <p:nvPr/>
          </p:nvSpPr>
          <p:spPr>
            <a:xfrm>
              <a:off x="4207455" y="2500840"/>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3" name="Freeform: Shape 352">
              <a:extLst>
                <a:ext uri="{FF2B5EF4-FFF2-40B4-BE49-F238E27FC236}">
                  <a16:creationId xmlns:a16="http://schemas.microsoft.com/office/drawing/2014/main" id="{5477B265-0FEE-07F1-00A9-2E32BAA96FB9}"/>
                </a:ext>
              </a:extLst>
            </p:cNvPr>
            <p:cNvSpPr/>
            <p:nvPr/>
          </p:nvSpPr>
          <p:spPr>
            <a:xfrm>
              <a:off x="4194552" y="2486394"/>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4" name="Freeform: Shape 353">
              <a:extLst>
                <a:ext uri="{FF2B5EF4-FFF2-40B4-BE49-F238E27FC236}">
                  <a16:creationId xmlns:a16="http://schemas.microsoft.com/office/drawing/2014/main" id="{8362866A-3DB7-CDBE-5ABB-DA2559540C60}"/>
                </a:ext>
              </a:extLst>
            </p:cNvPr>
            <p:cNvSpPr/>
            <p:nvPr/>
          </p:nvSpPr>
          <p:spPr>
            <a:xfrm>
              <a:off x="4177835" y="2486394"/>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5" name="Freeform: Shape 354">
              <a:extLst>
                <a:ext uri="{FF2B5EF4-FFF2-40B4-BE49-F238E27FC236}">
                  <a16:creationId xmlns:a16="http://schemas.microsoft.com/office/drawing/2014/main" id="{445EA687-E60C-198D-2E7B-D53F09A97B0A}"/>
                </a:ext>
              </a:extLst>
            </p:cNvPr>
            <p:cNvSpPr/>
            <p:nvPr/>
          </p:nvSpPr>
          <p:spPr>
            <a:xfrm>
              <a:off x="3997763" y="2407250"/>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6" name="Freeform: Shape 355">
              <a:extLst>
                <a:ext uri="{FF2B5EF4-FFF2-40B4-BE49-F238E27FC236}">
                  <a16:creationId xmlns:a16="http://schemas.microsoft.com/office/drawing/2014/main" id="{0012EB54-53DF-AF1F-9FEA-33065EF11EEA}"/>
                </a:ext>
              </a:extLst>
            </p:cNvPr>
            <p:cNvSpPr/>
            <p:nvPr/>
          </p:nvSpPr>
          <p:spPr>
            <a:xfrm>
              <a:off x="4150797" y="2492465"/>
              <a:ext cx="72029" cy="10469"/>
            </a:xfrm>
            <a:custGeom>
              <a:avLst/>
              <a:gdLst>
                <a:gd name="connsiteX0" fmla="*/ 0 w 61150"/>
                <a:gd name="connsiteY0" fmla="*/ 0 h 9525"/>
                <a:gd name="connsiteX1" fmla="*/ 61150 w 61150"/>
                <a:gd name="connsiteY1" fmla="*/ 0 h 9525"/>
              </a:gdLst>
              <a:ahLst/>
              <a:cxnLst>
                <a:cxn ang="0">
                  <a:pos x="connsiteX0" y="connsiteY0"/>
                </a:cxn>
                <a:cxn ang="0">
                  <a:pos x="connsiteX1" y="connsiteY1"/>
                </a:cxn>
              </a:cxnLst>
              <a:rect l="l" t="t" r="r" b="b"/>
              <a:pathLst>
                <a:path w="61150" h="9525">
                  <a:moveTo>
                    <a:pt x="0" y="0"/>
                  </a:moveTo>
                  <a:lnTo>
                    <a:pt x="61150"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7" name="Freeform: Shape 356">
              <a:extLst>
                <a:ext uri="{FF2B5EF4-FFF2-40B4-BE49-F238E27FC236}">
                  <a16:creationId xmlns:a16="http://schemas.microsoft.com/office/drawing/2014/main" id="{47156700-8A62-DF94-D475-2430548AC31E}"/>
                </a:ext>
              </a:extLst>
            </p:cNvPr>
            <p:cNvSpPr/>
            <p:nvPr/>
          </p:nvSpPr>
          <p:spPr>
            <a:xfrm>
              <a:off x="4150797" y="2480007"/>
              <a:ext cx="72029" cy="10469"/>
            </a:xfrm>
            <a:custGeom>
              <a:avLst/>
              <a:gdLst>
                <a:gd name="connsiteX0" fmla="*/ 0 w 61150"/>
                <a:gd name="connsiteY0" fmla="*/ 0 h 9525"/>
                <a:gd name="connsiteX1" fmla="*/ 61150 w 61150"/>
                <a:gd name="connsiteY1" fmla="*/ 0 h 9525"/>
              </a:gdLst>
              <a:ahLst/>
              <a:cxnLst>
                <a:cxn ang="0">
                  <a:pos x="connsiteX0" y="connsiteY0"/>
                </a:cxn>
                <a:cxn ang="0">
                  <a:pos x="connsiteX1" y="connsiteY1"/>
                </a:cxn>
              </a:cxnLst>
              <a:rect l="l" t="t" r="r" b="b"/>
              <a:pathLst>
                <a:path w="61150" h="9525">
                  <a:moveTo>
                    <a:pt x="0" y="0"/>
                  </a:moveTo>
                  <a:lnTo>
                    <a:pt x="61150"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 name="Freeform: Shape 357">
              <a:extLst>
                <a:ext uri="{FF2B5EF4-FFF2-40B4-BE49-F238E27FC236}">
                  <a16:creationId xmlns:a16="http://schemas.microsoft.com/office/drawing/2014/main" id="{E828164A-1006-511B-188D-614658C29CE2}"/>
                </a:ext>
              </a:extLst>
            </p:cNvPr>
            <p:cNvSpPr/>
            <p:nvPr/>
          </p:nvSpPr>
          <p:spPr>
            <a:xfrm>
              <a:off x="3806134" y="2355638"/>
              <a:ext cx="72029" cy="10469"/>
            </a:xfrm>
            <a:custGeom>
              <a:avLst/>
              <a:gdLst>
                <a:gd name="connsiteX0" fmla="*/ 0 w 61150"/>
                <a:gd name="connsiteY0" fmla="*/ 0 h 9525"/>
                <a:gd name="connsiteX1" fmla="*/ 61150 w 61150"/>
                <a:gd name="connsiteY1" fmla="*/ 0 h 9525"/>
              </a:gdLst>
              <a:ahLst/>
              <a:cxnLst>
                <a:cxn ang="0">
                  <a:pos x="connsiteX0" y="connsiteY0"/>
                </a:cxn>
                <a:cxn ang="0">
                  <a:pos x="connsiteX1" y="connsiteY1"/>
                </a:cxn>
              </a:cxnLst>
              <a:rect l="l" t="t" r="r" b="b"/>
              <a:pathLst>
                <a:path w="61150" h="9525">
                  <a:moveTo>
                    <a:pt x="0" y="0"/>
                  </a:moveTo>
                  <a:lnTo>
                    <a:pt x="61150"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 name="Freeform: Shape 358">
              <a:extLst>
                <a:ext uri="{FF2B5EF4-FFF2-40B4-BE49-F238E27FC236}">
                  <a16:creationId xmlns:a16="http://schemas.microsoft.com/office/drawing/2014/main" id="{75D2F05A-AF9D-DA65-30DF-03069B09B25B}"/>
                </a:ext>
              </a:extLst>
            </p:cNvPr>
            <p:cNvSpPr/>
            <p:nvPr/>
          </p:nvSpPr>
          <p:spPr>
            <a:xfrm>
              <a:off x="3489631" y="2279950"/>
              <a:ext cx="72029" cy="10469"/>
            </a:xfrm>
            <a:custGeom>
              <a:avLst/>
              <a:gdLst>
                <a:gd name="connsiteX0" fmla="*/ 0 w 61150"/>
                <a:gd name="connsiteY0" fmla="*/ 0 h 9525"/>
                <a:gd name="connsiteX1" fmla="*/ 61151 w 61150"/>
                <a:gd name="connsiteY1" fmla="*/ 0 h 9525"/>
              </a:gdLst>
              <a:ahLst/>
              <a:cxnLst>
                <a:cxn ang="0">
                  <a:pos x="connsiteX0" y="connsiteY0"/>
                </a:cxn>
                <a:cxn ang="0">
                  <a:pos x="connsiteX1" y="connsiteY1"/>
                </a:cxn>
              </a:cxnLst>
              <a:rect l="l" t="t" r="r" b="b"/>
              <a:pathLst>
                <a:path w="61150" h="9525">
                  <a:moveTo>
                    <a:pt x="0" y="0"/>
                  </a:moveTo>
                  <a:lnTo>
                    <a:pt x="61151"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 name="Freeform: Shape 359">
              <a:extLst>
                <a:ext uri="{FF2B5EF4-FFF2-40B4-BE49-F238E27FC236}">
                  <a16:creationId xmlns:a16="http://schemas.microsoft.com/office/drawing/2014/main" id="{9F61AAF0-B2D6-4629-302F-629A4D6D53B2}"/>
                </a:ext>
              </a:extLst>
            </p:cNvPr>
            <p:cNvSpPr/>
            <p:nvPr/>
          </p:nvSpPr>
          <p:spPr>
            <a:xfrm>
              <a:off x="3489631" y="2268016"/>
              <a:ext cx="72029" cy="10469"/>
            </a:xfrm>
            <a:custGeom>
              <a:avLst/>
              <a:gdLst>
                <a:gd name="connsiteX0" fmla="*/ 0 w 61150"/>
                <a:gd name="connsiteY0" fmla="*/ 0 h 9525"/>
                <a:gd name="connsiteX1" fmla="*/ 61151 w 61150"/>
                <a:gd name="connsiteY1" fmla="*/ 0 h 9525"/>
              </a:gdLst>
              <a:ahLst/>
              <a:cxnLst>
                <a:cxn ang="0">
                  <a:pos x="connsiteX0" y="connsiteY0"/>
                </a:cxn>
                <a:cxn ang="0">
                  <a:pos x="connsiteX1" y="connsiteY1"/>
                </a:cxn>
              </a:cxnLst>
              <a:rect l="l" t="t" r="r" b="b"/>
              <a:pathLst>
                <a:path w="61150" h="9525">
                  <a:moveTo>
                    <a:pt x="0" y="0"/>
                  </a:moveTo>
                  <a:lnTo>
                    <a:pt x="61151"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1" name="Freeform: Shape 360">
              <a:extLst>
                <a:ext uri="{FF2B5EF4-FFF2-40B4-BE49-F238E27FC236}">
                  <a16:creationId xmlns:a16="http://schemas.microsoft.com/office/drawing/2014/main" id="{38646F56-A15A-5E9E-976C-C42E5230D9DA}"/>
                </a:ext>
              </a:extLst>
            </p:cNvPr>
            <p:cNvSpPr/>
            <p:nvPr/>
          </p:nvSpPr>
          <p:spPr>
            <a:xfrm>
              <a:off x="3479309" y="2253778"/>
              <a:ext cx="72029" cy="10469"/>
            </a:xfrm>
            <a:custGeom>
              <a:avLst/>
              <a:gdLst>
                <a:gd name="connsiteX0" fmla="*/ 0 w 61150"/>
                <a:gd name="connsiteY0" fmla="*/ 0 h 9525"/>
                <a:gd name="connsiteX1" fmla="*/ 61150 w 61150"/>
                <a:gd name="connsiteY1" fmla="*/ 0 h 9525"/>
              </a:gdLst>
              <a:ahLst/>
              <a:cxnLst>
                <a:cxn ang="0">
                  <a:pos x="connsiteX0" y="connsiteY0"/>
                </a:cxn>
                <a:cxn ang="0">
                  <a:pos x="connsiteX1" y="connsiteY1"/>
                </a:cxn>
              </a:cxnLst>
              <a:rect l="l" t="t" r="r" b="b"/>
              <a:pathLst>
                <a:path w="61150" h="9525">
                  <a:moveTo>
                    <a:pt x="0" y="0"/>
                  </a:moveTo>
                  <a:lnTo>
                    <a:pt x="61150"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 name="Freeform: Shape 361">
              <a:extLst>
                <a:ext uri="{FF2B5EF4-FFF2-40B4-BE49-F238E27FC236}">
                  <a16:creationId xmlns:a16="http://schemas.microsoft.com/office/drawing/2014/main" id="{4F3F1C67-A3AA-E2A8-BE1C-B7414E8E4C51}"/>
                </a:ext>
              </a:extLst>
            </p:cNvPr>
            <p:cNvSpPr/>
            <p:nvPr/>
          </p:nvSpPr>
          <p:spPr>
            <a:xfrm>
              <a:off x="3479309" y="2242682"/>
              <a:ext cx="72029" cy="10469"/>
            </a:xfrm>
            <a:custGeom>
              <a:avLst/>
              <a:gdLst>
                <a:gd name="connsiteX0" fmla="*/ 0 w 61150"/>
                <a:gd name="connsiteY0" fmla="*/ 0 h 9525"/>
                <a:gd name="connsiteX1" fmla="*/ 61150 w 61150"/>
                <a:gd name="connsiteY1" fmla="*/ 0 h 9525"/>
              </a:gdLst>
              <a:ahLst/>
              <a:cxnLst>
                <a:cxn ang="0">
                  <a:pos x="connsiteX0" y="connsiteY0"/>
                </a:cxn>
                <a:cxn ang="0">
                  <a:pos x="connsiteX1" y="connsiteY1"/>
                </a:cxn>
              </a:cxnLst>
              <a:rect l="l" t="t" r="r" b="b"/>
              <a:pathLst>
                <a:path w="61150" h="9525">
                  <a:moveTo>
                    <a:pt x="0" y="0"/>
                  </a:moveTo>
                  <a:lnTo>
                    <a:pt x="61150"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 name="Freeform: Shape 362">
              <a:extLst>
                <a:ext uri="{FF2B5EF4-FFF2-40B4-BE49-F238E27FC236}">
                  <a16:creationId xmlns:a16="http://schemas.microsoft.com/office/drawing/2014/main" id="{190540A3-E01A-7AE1-D527-A0CB92DE7DC9}"/>
                </a:ext>
              </a:extLst>
            </p:cNvPr>
            <p:cNvSpPr/>
            <p:nvPr/>
          </p:nvSpPr>
          <p:spPr>
            <a:xfrm>
              <a:off x="2801540" y="2137157"/>
              <a:ext cx="72029" cy="10469"/>
            </a:xfrm>
            <a:custGeom>
              <a:avLst/>
              <a:gdLst>
                <a:gd name="connsiteX0" fmla="*/ 0 w 61150"/>
                <a:gd name="connsiteY0" fmla="*/ 0 h 9525"/>
                <a:gd name="connsiteX1" fmla="*/ 61151 w 61150"/>
                <a:gd name="connsiteY1" fmla="*/ 0 h 9525"/>
              </a:gdLst>
              <a:ahLst/>
              <a:cxnLst>
                <a:cxn ang="0">
                  <a:pos x="connsiteX0" y="connsiteY0"/>
                </a:cxn>
                <a:cxn ang="0">
                  <a:pos x="connsiteX1" y="connsiteY1"/>
                </a:cxn>
              </a:cxnLst>
              <a:rect l="l" t="t" r="r" b="b"/>
              <a:pathLst>
                <a:path w="61150" h="9525">
                  <a:moveTo>
                    <a:pt x="0" y="0"/>
                  </a:moveTo>
                  <a:lnTo>
                    <a:pt x="61151"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4" name="Freeform: Shape 363">
              <a:extLst>
                <a:ext uri="{FF2B5EF4-FFF2-40B4-BE49-F238E27FC236}">
                  <a16:creationId xmlns:a16="http://schemas.microsoft.com/office/drawing/2014/main" id="{B9B0F2F6-6E57-11EE-A5FA-3B119BDB2AAD}"/>
                </a:ext>
              </a:extLst>
            </p:cNvPr>
            <p:cNvSpPr/>
            <p:nvPr/>
          </p:nvSpPr>
          <p:spPr>
            <a:xfrm>
              <a:off x="2466526" y="2006193"/>
              <a:ext cx="72029" cy="10469"/>
            </a:xfrm>
            <a:custGeom>
              <a:avLst/>
              <a:gdLst>
                <a:gd name="connsiteX0" fmla="*/ 0 w 61150"/>
                <a:gd name="connsiteY0" fmla="*/ 0 h 9525"/>
                <a:gd name="connsiteX1" fmla="*/ 61151 w 61150"/>
                <a:gd name="connsiteY1" fmla="*/ 0 h 9525"/>
              </a:gdLst>
              <a:ahLst/>
              <a:cxnLst>
                <a:cxn ang="0">
                  <a:pos x="connsiteX0" y="connsiteY0"/>
                </a:cxn>
                <a:cxn ang="0">
                  <a:pos x="connsiteX1" y="connsiteY1"/>
                </a:cxn>
              </a:cxnLst>
              <a:rect l="l" t="t" r="r" b="b"/>
              <a:pathLst>
                <a:path w="61150" h="9525">
                  <a:moveTo>
                    <a:pt x="0" y="0"/>
                  </a:moveTo>
                  <a:lnTo>
                    <a:pt x="61151"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5" name="Freeform: Shape 364">
              <a:extLst>
                <a:ext uri="{FF2B5EF4-FFF2-40B4-BE49-F238E27FC236}">
                  <a16:creationId xmlns:a16="http://schemas.microsoft.com/office/drawing/2014/main" id="{721027A6-E0E9-4842-366F-D808D8E800DE}"/>
                </a:ext>
              </a:extLst>
            </p:cNvPr>
            <p:cNvSpPr/>
            <p:nvPr/>
          </p:nvSpPr>
          <p:spPr>
            <a:xfrm>
              <a:off x="2140824" y="1967877"/>
              <a:ext cx="72029" cy="10469"/>
            </a:xfrm>
            <a:custGeom>
              <a:avLst/>
              <a:gdLst>
                <a:gd name="connsiteX0" fmla="*/ 0 w 61150"/>
                <a:gd name="connsiteY0" fmla="*/ 0 h 9525"/>
                <a:gd name="connsiteX1" fmla="*/ 61150 w 61150"/>
                <a:gd name="connsiteY1" fmla="*/ 0 h 9525"/>
              </a:gdLst>
              <a:ahLst/>
              <a:cxnLst>
                <a:cxn ang="0">
                  <a:pos x="connsiteX0" y="connsiteY0"/>
                </a:cxn>
                <a:cxn ang="0">
                  <a:pos x="connsiteX1" y="connsiteY1"/>
                </a:cxn>
              </a:cxnLst>
              <a:rect l="l" t="t" r="r" b="b"/>
              <a:pathLst>
                <a:path w="61150" h="9525">
                  <a:moveTo>
                    <a:pt x="0" y="0"/>
                  </a:moveTo>
                  <a:lnTo>
                    <a:pt x="61150"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 name="Freeform: Shape 365">
              <a:extLst>
                <a:ext uri="{FF2B5EF4-FFF2-40B4-BE49-F238E27FC236}">
                  <a16:creationId xmlns:a16="http://schemas.microsoft.com/office/drawing/2014/main" id="{DBB5F297-8438-FAAA-CEC3-51B977CC4655}"/>
                </a:ext>
              </a:extLst>
            </p:cNvPr>
            <p:cNvSpPr/>
            <p:nvPr/>
          </p:nvSpPr>
          <p:spPr>
            <a:xfrm>
              <a:off x="3516895" y="2317219"/>
              <a:ext cx="72029" cy="10469"/>
            </a:xfrm>
            <a:custGeom>
              <a:avLst/>
              <a:gdLst>
                <a:gd name="connsiteX0" fmla="*/ 0 w 61150"/>
                <a:gd name="connsiteY0" fmla="*/ 0 h 9525"/>
                <a:gd name="connsiteX1" fmla="*/ 61150 w 61150"/>
                <a:gd name="connsiteY1" fmla="*/ 0 h 9525"/>
              </a:gdLst>
              <a:ahLst/>
              <a:cxnLst>
                <a:cxn ang="0">
                  <a:pos x="connsiteX0" y="connsiteY0"/>
                </a:cxn>
                <a:cxn ang="0">
                  <a:pos x="connsiteX1" y="connsiteY1"/>
                </a:cxn>
              </a:cxnLst>
              <a:rect l="l" t="t" r="r" b="b"/>
              <a:pathLst>
                <a:path w="61150" h="9525">
                  <a:moveTo>
                    <a:pt x="0" y="0"/>
                  </a:moveTo>
                  <a:lnTo>
                    <a:pt x="61150"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 name="Freeform: Shape 366">
              <a:extLst>
                <a:ext uri="{FF2B5EF4-FFF2-40B4-BE49-F238E27FC236}">
                  <a16:creationId xmlns:a16="http://schemas.microsoft.com/office/drawing/2014/main" id="{1421E168-73AB-EB9D-38AB-147EBBA09092}"/>
                </a:ext>
              </a:extLst>
            </p:cNvPr>
            <p:cNvSpPr/>
            <p:nvPr/>
          </p:nvSpPr>
          <p:spPr>
            <a:xfrm>
              <a:off x="4490410" y="2605213"/>
              <a:ext cx="72029" cy="10469"/>
            </a:xfrm>
            <a:custGeom>
              <a:avLst/>
              <a:gdLst>
                <a:gd name="connsiteX0" fmla="*/ 0 w 61150"/>
                <a:gd name="connsiteY0" fmla="*/ 0 h 9525"/>
                <a:gd name="connsiteX1" fmla="*/ 61150 w 61150"/>
                <a:gd name="connsiteY1" fmla="*/ 0 h 9525"/>
              </a:gdLst>
              <a:ahLst/>
              <a:cxnLst>
                <a:cxn ang="0">
                  <a:pos x="connsiteX0" y="connsiteY0"/>
                </a:cxn>
                <a:cxn ang="0">
                  <a:pos x="connsiteX1" y="connsiteY1"/>
                </a:cxn>
              </a:cxnLst>
              <a:rect l="l" t="t" r="r" b="b"/>
              <a:pathLst>
                <a:path w="61150" h="9525">
                  <a:moveTo>
                    <a:pt x="0" y="0"/>
                  </a:moveTo>
                  <a:lnTo>
                    <a:pt x="61150"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 name="Freeform: Shape 367">
              <a:extLst>
                <a:ext uri="{FF2B5EF4-FFF2-40B4-BE49-F238E27FC236}">
                  <a16:creationId xmlns:a16="http://schemas.microsoft.com/office/drawing/2014/main" id="{11CF66AF-0C59-AB66-318F-2DFA79D5CF3F}"/>
                </a:ext>
              </a:extLst>
            </p:cNvPr>
            <p:cNvSpPr/>
            <p:nvPr/>
          </p:nvSpPr>
          <p:spPr>
            <a:xfrm>
              <a:off x="4522610" y="2653264"/>
              <a:ext cx="72029" cy="10469"/>
            </a:xfrm>
            <a:custGeom>
              <a:avLst/>
              <a:gdLst>
                <a:gd name="connsiteX0" fmla="*/ 0 w 61150"/>
                <a:gd name="connsiteY0" fmla="*/ 0 h 9525"/>
                <a:gd name="connsiteX1" fmla="*/ 61151 w 61150"/>
                <a:gd name="connsiteY1" fmla="*/ 0 h 9525"/>
              </a:gdLst>
              <a:ahLst/>
              <a:cxnLst>
                <a:cxn ang="0">
                  <a:pos x="connsiteX0" y="connsiteY0"/>
                </a:cxn>
                <a:cxn ang="0">
                  <a:pos x="connsiteX1" y="connsiteY1"/>
                </a:cxn>
              </a:cxnLst>
              <a:rect l="l" t="t" r="r" b="b"/>
              <a:pathLst>
                <a:path w="61150" h="9525">
                  <a:moveTo>
                    <a:pt x="0" y="0"/>
                  </a:moveTo>
                  <a:lnTo>
                    <a:pt x="61151"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 name="Freeform: Shape 368">
              <a:extLst>
                <a:ext uri="{FF2B5EF4-FFF2-40B4-BE49-F238E27FC236}">
                  <a16:creationId xmlns:a16="http://schemas.microsoft.com/office/drawing/2014/main" id="{35BE6060-AED7-A652-0C62-A91444806EDA}"/>
                </a:ext>
              </a:extLst>
            </p:cNvPr>
            <p:cNvSpPr/>
            <p:nvPr/>
          </p:nvSpPr>
          <p:spPr>
            <a:xfrm>
              <a:off x="4150797" y="2505656"/>
              <a:ext cx="72029" cy="10469"/>
            </a:xfrm>
            <a:custGeom>
              <a:avLst/>
              <a:gdLst>
                <a:gd name="connsiteX0" fmla="*/ 0 w 61150"/>
                <a:gd name="connsiteY0" fmla="*/ 0 h 9525"/>
                <a:gd name="connsiteX1" fmla="*/ 61150 w 61150"/>
                <a:gd name="connsiteY1" fmla="*/ 0 h 9525"/>
              </a:gdLst>
              <a:ahLst/>
              <a:cxnLst>
                <a:cxn ang="0">
                  <a:pos x="connsiteX0" y="connsiteY0"/>
                </a:cxn>
                <a:cxn ang="0">
                  <a:pos x="connsiteX1" y="connsiteY1"/>
                </a:cxn>
              </a:cxnLst>
              <a:rect l="l" t="t" r="r" b="b"/>
              <a:pathLst>
                <a:path w="61150" h="9525">
                  <a:moveTo>
                    <a:pt x="0" y="0"/>
                  </a:moveTo>
                  <a:lnTo>
                    <a:pt x="61150" y="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 name="Freeform: Shape 369">
              <a:extLst>
                <a:ext uri="{FF2B5EF4-FFF2-40B4-BE49-F238E27FC236}">
                  <a16:creationId xmlns:a16="http://schemas.microsoft.com/office/drawing/2014/main" id="{BD723A50-A1A0-C45E-5209-104F3B484537}"/>
                </a:ext>
              </a:extLst>
            </p:cNvPr>
            <p:cNvSpPr/>
            <p:nvPr/>
          </p:nvSpPr>
          <p:spPr>
            <a:xfrm>
              <a:off x="3954006" y="2407250"/>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 name="Freeform: Shape 370">
              <a:extLst>
                <a:ext uri="{FF2B5EF4-FFF2-40B4-BE49-F238E27FC236}">
                  <a16:creationId xmlns:a16="http://schemas.microsoft.com/office/drawing/2014/main" id="{181DF72B-55C8-B948-D458-C84C74C5021B}"/>
                </a:ext>
              </a:extLst>
            </p:cNvPr>
            <p:cNvSpPr/>
            <p:nvPr/>
          </p:nvSpPr>
          <p:spPr>
            <a:xfrm>
              <a:off x="3937289" y="2407250"/>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2" name="Freeform: Shape 371">
              <a:extLst>
                <a:ext uri="{FF2B5EF4-FFF2-40B4-BE49-F238E27FC236}">
                  <a16:creationId xmlns:a16="http://schemas.microsoft.com/office/drawing/2014/main" id="{4B714989-DAA2-ED38-0B57-B0AC32FC50CF}"/>
                </a:ext>
              </a:extLst>
            </p:cNvPr>
            <p:cNvSpPr/>
            <p:nvPr/>
          </p:nvSpPr>
          <p:spPr>
            <a:xfrm>
              <a:off x="3898694" y="2397619"/>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3" name="Freeform: Shape 372">
              <a:extLst>
                <a:ext uri="{FF2B5EF4-FFF2-40B4-BE49-F238E27FC236}">
                  <a16:creationId xmlns:a16="http://schemas.microsoft.com/office/drawing/2014/main" id="{C490F563-9AAC-7633-A04E-9EF7EB96D951}"/>
                </a:ext>
              </a:extLst>
            </p:cNvPr>
            <p:cNvSpPr/>
            <p:nvPr/>
          </p:nvSpPr>
          <p:spPr>
            <a:xfrm>
              <a:off x="3881978" y="2389244"/>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4" name="Freeform: Shape 373">
              <a:extLst>
                <a:ext uri="{FF2B5EF4-FFF2-40B4-BE49-F238E27FC236}">
                  <a16:creationId xmlns:a16="http://schemas.microsoft.com/office/drawing/2014/main" id="{09235A3F-4876-EC65-FE12-72237A8C3676}"/>
                </a:ext>
              </a:extLst>
            </p:cNvPr>
            <p:cNvSpPr/>
            <p:nvPr/>
          </p:nvSpPr>
          <p:spPr>
            <a:xfrm>
              <a:off x="3873002" y="2369981"/>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5" name="Freeform: Shape 374">
              <a:extLst>
                <a:ext uri="{FF2B5EF4-FFF2-40B4-BE49-F238E27FC236}">
                  <a16:creationId xmlns:a16="http://schemas.microsoft.com/office/drawing/2014/main" id="{D8FC6DAE-7EA2-E5AA-A106-60242729C6C1}"/>
                </a:ext>
              </a:extLst>
            </p:cNvPr>
            <p:cNvSpPr/>
            <p:nvPr/>
          </p:nvSpPr>
          <p:spPr>
            <a:xfrm>
              <a:off x="3861446" y="2361606"/>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6" name="Freeform: Shape 375">
              <a:extLst>
                <a:ext uri="{FF2B5EF4-FFF2-40B4-BE49-F238E27FC236}">
                  <a16:creationId xmlns:a16="http://schemas.microsoft.com/office/drawing/2014/main" id="{29BFBEE4-0042-C375-E9E2-BCB1852F135E}"/>
                </a:ext>
              </a:extLst>
            </p:cNvPr>
            <p:cNvSpPr/>
            <p:nvPr/>
          </p:nvSpPr>
          <p:spPr>
            <a:xfrm>
              <a:off x="3847308" y="2348415"/>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7" name="Freeform: Shape 376">
              <a:extLst>
                <a:ext uri="{FF2B5EF4-FFF2-40B4-BE49-F238E27FC236}">
                  <a16:creationId xmlns:a16="http://schemas.microsoft.com/office/drawing/2014/main" id="{1548C1CE-88FA-44C6-A7D2-738FA87C082F}"/>
                </a:ext>
              </a:extLst>
            </p:cNvPr>
            <p:cNvSpPr/>
            <p:nvPr/>
          </p:nvSpPr>
          <p:spPr>
            <a:xfrm>
              <a:off x="3831826" y="2317219"/>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8" name="Freeform: Shape 377">
              <a:extLst>
                <a:ext uri="{FF2B5EF4-FFF2-40B4-BE49-F238E27FC236}">
                  <a16:creationId xmlns:a16="http://schemas.microsoft.com/office/drawing/2014/main" id="{EA8803C1-76F4-A942-B13C-BC19DADBF70F}"/>
                </a:ext>
              </a:extLst>
            </p:cNvPr>
            <p:cNvSpPr/>
            <p:nvPr/>
          </p:nvSpPr>
          <p:spPr>
            <a:xfrm>
              <a:off x="3793231" y="2302772"/>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9" name="Freeform: Shape 378">
              <a:extLst>
                <a:ext uri="{FF2B5EF4-FFF2-40B4-BE49-F238E27FC236}">
                  <a16:creationId xmlns:a16="http://schemas.microsoft.com/office/drawing/2014/main" id="{6ECB1ABA-367D-60C2-74FC-B0163563A6D4}"/>
                </a:ext>
              </a:extLst>
            </p:cNvPr>
            <p:cNvSpPr/>
            <p:nvPr/>
          </p:nvSpPr>
          <p:spPr>
            <a:xfrm>
              <a:off x="3570748" y="2294397"/>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0" name="Freeform: Shape 379">
              <a:extLst>
                <a:ext uri="{FF2B5EF4-FFF2-40B4-BE49-F238E27FC236}">
                  <a16:creationId xmlns:a16="http://schemas.microsoft.com/office/drawing/2014/main" id="{80D58773-4BC5-9D01-C5CB-48391CDB14D0}"/>
                </a:ext>
              </a:extLst>
            </p:cNvPr>
            <p:cNvSpPr/>
            <p:nvPr/>
          </p:nvSpPr>
          <p:spPr>
            <a:xfrm>
              <a:off x="3551451" y="2294397"/>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1" name="Freeform: Shape 380">
              <a:extLst>
                <a:ext uri="{FF2B5EF4-FFF2-40B4-BE49-F238E27FC236}">
                  <a16:creationId xmlns:a16="http://schemas.microsoft.com/office/drawing/2014/main" id="{868C12F0-A8C6-E19F-77BA-C464A4BE668D}"/>
                </a:ext>
              </a:extLst>
            </p:cNvPr>
            <p:cNvSpPr/>
            <p:nvPr/>
          </p:nvSpPr>
          <p:spPr>
            <a:xfrm>
              <a:off x="3199832" y="2181753"/>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2" name="Freeform: Shape 381">
              <a:extLst>
                <a:ext uri="{FF2B5EF4-FFF2-40B4-BE49-F238E27FC236}">
                  <a16:creationId xmlns:a16="http://schemas.microsoft.com/office/drawing/2014/main" id="{A0D77A56-C4D0-8868-0196-A8267C8F3076}"/>
                </a:ext>
              </a:extLst>
            </p:cNvPr>
            <p:cNvSpPr/>
            <p:nvPr/>
          </p:nvSpPr>
          <p:spPr>
            <a:xfrm>
              <a:off x="3159891" y="2155372"/>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3" name="Freeform: Shape 382">
              <a:extLst>
                <a:ext uri="{FF2B5EF4-FFF2-40B4-BE49-F238E27FC236}">
                  <a16:creationId xmlns:a16="http://schemas.microsoft.com/office/drawing/2014/main" id="{0117C2EF-0623-1D6C-C07C-373828EB5D2D}"/>
                </a:ext>
              </a:extLst>
            </p:cNvPr>
            <p:cNvSpPr/>
            <p:nvPr/>
          </p:nvSpPr>
          <p:spPr>
            <a:xfrm>
              <a:off x="3180198" y="2163014"/>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4" name="Freeform: Shape 383">
              <a:extLst>
                <a:ext uri="{FF2B5EF4-FFF2-40B4-BE49-F238E27FC236}">
                  <a16:creationId xmlns:a16="http://schemas.microsoft.com/office/drawing/2014/main" id="{A90CFC95-AAC3-7C4A-BDA2-5D5E31769D13}"/>
                </a:ext>
              </a:extLst>
            </p:cNvPr>
            <p:cNvSpPr/>
            <p:nvPr/>
          </p:nvSpPr>
          <p:spPr>
            <a:xfrm>
              <a:off x="3115574" y="2151918"/>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5" name="Freeform: Shape 384">
              <a:extLst>
                <a:ext uri="{FF2B5EF4-FFF2-40B4-BE49-F238E27FC236}">
                  <a16:creationId xmlns:a16="http://schemas.microsoft.com/office/drawing/2014/main" id="{5D5DAC14-B597-1BC1-6858-2B9F28EB6429}"/>
                </a:ext>
              </a:extLst>
            </p:cNvPr>
            <p:cNvSpPr/>
            <p:nvPr/>
          </p:nvSpPr>
          <p:spPr>
            <a:xfrm>
              <a:off x="2990588" y="2132027"/>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6" name="Freeform: Shape 385">
              <a:extLst>
                <a:ext uri="{FF2B5EF4-FFF2-40B4-BE49-F238E27FC236}">
                  <a16:creationId xmlns:a16="http://schemas.microsoft.com/office/drawing/2014/main" id="{489924A2-5F2F-6257-8F9B-C71BB87EAB5C}"/>
                </a:ext>
              </a:extLst>
            </p:cNvPr>
            <p:cNvSpPr/>
            <p:nvPr/>
          </p:nvSpPr>
          <p:spPr>
            <a:xfrm>
              <a:off x="2971852" y="2131189"/>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7" name="Freeform: Shape 386">
              <a:extLst>
                <a:ext uri="{FF2B5EF4-FFF2-40B4-BE49-F238E27FC236}">
                  <a16:creationId xmlns:a16="http://schemas.microsoft.com/office/drawing/2014/main" id="{CA8E77C7-0D33-3136-008B-51A63F6D630E}"/>
                </a:ext>
              </a:extLst>
            </p:cNvPr>
            <p:cNvSpPr/>
            <p:nvPr/>
          </p:nvSpPr>
          <p:spPr>
            <a:xfrm>
              <a:off x="2885124" y="2126060"/>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8" name="Freeform: Shape 387">
              <a:extLst>
                <a:ext uri="{FF2B5EF4-FFF2-40B4-BE49-F238E27FC236}">
                  <a16:creationId xmlns:a16="http://schemas.microsoft.com/office/drawing/2014/main" id="{7E5D8DE3-BE15-F5CC-4901-B190D9C1ACBA}"/>
                </a:ext>
              </a:extLst>
            </p:cNvPr>
            <p:cNvSpPr/>
            <p:nvPr/>
          </p:nvSpPr>
          <p:spPr>
            <a:xfrm>
              <a:off x="2846081" y="2119674"/>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9" name="Freeform: Shape 388">
              <a:extLst>
                <a:ext uri="{FF2B5EF4-FFF2-40B4-BE49-F238E27FC236}">
                  <a16:creationId xmlns:a16="http://schemas.microsoft.com/office/drawing/2014/main" id="{D5ACDE32-76D4-193A-5FE0-0E9C3BF9EC44}"/>
                </a:ext>
              </a:extLst>
            </p:cNvPr>
            <p:cNvSpPr/>
            <p:nvPr/>
          </p:nvSpPr>
          <p:spPr>
            <a:xfrm>
              <a:off x="2834974" y="2103552"/>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0" name="Freeform: Shape 389">
              <a:extLst>
                <a:ext uri="{FF2B5EF4-FFF2-40B4-BE49-F238E27FC236}">
                  <a16:creationId xmlns:a16="http://schemas.microsoft.com/office/drawing/2014/main" id="{A16966CA-8891-FB32-3989-45EB216E79C8}"/>
                </a:ext>
              </a:extLst>
            </p:cNvPr>
            <p:cNvSpPr/>
            <p:nvPr/>
          </p:nvSpPr>
          <p:spPr>
            <a:xfrm>
              <a:off x="2806925" y="2083033"/>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1" name="Freeform: Shape 390">
              <a:extLst>
                <a:ext uri="{FF2B5EF4-FFF2-40B4-BE49-F238E27FC236}">
                  <a16:creationId xmlns:a16="http://schemas.microsoft.com/office/drawing/2014/main" id="{42BC30E5-843A-4526-E88F-18491AFF0885}"/>
                </a:ext>
              </a:extLst>
            </p:cNvPr>
            <p:cNvSpPr/>
            <p:nvPr/>
          </p:nvSpPr>
          <p:spPr>
            <a:xfrm>
              <a:off x="2181886" y="1932283"/>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2" name="Freeform: Shape 391">
              <a:extLst>
                <a:ext uri="{FF2B5EF4-FFF2-40B4-BE49-F238E27FC236}">
                  <a16:creationId xmlns:a16="http://schemas.microsoft.com/office/drawing/2014/main" id="{76068064-7FE4-068F-D71D-064012107AEA}"/>
                </a:ext>
              </a:extLst>
            </p:cNvPr>
            <p:cNvSpPr/>
            <p:nvPr/>
          </p:nvSpPr>
          <p:spPr>
            <a:xfrm>
              <a:off x="1858765" y="1854502"/>
              <a:ext cx="11219" cy="67209"/>
            </a:xfrm>
            <a:custGeom>
              <a:avLst/>
              <a:gdLst>
                <a:gd name="connsiteX0" fmla="*/ 0 w 9525"/>
                <a:gd name="connsiteY0" fmla="*/ 0 h 61150"/>
                <a:gd name="connsiteX1" fmla="*/ 0 w 9525"/>
                <a:gd name="connsiteY1" fmla="*/ 61151 h 61150"/>
              </a:gdLst>
              <a:ahLst/>
              <a:cxnLst>
                <a:cxn ang="0">
                  <a:pos x="connsiteX0" y="connsiteY0"/>
                </a:cxn>
                <a:cxn ang="0">
                  <a:pos x="connsiteX1" y="connsiteY1"/>
                </a:cxn>
              </a:cxnLst>
              <a:rect l="l" t="t" r="r" b="b"/>
              <a:pathLst>
                <a:path w="9525" h="61150">
                  <a:moveTo>
                    <a:pt x="0" y="0"/>
                  </a:moveTo>
                  <a:lnTo>
                    <a:pt x="0" y="61151"/>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3" name="Freeform: Shape 392">
              <a:extLst>
                <a:ext uri="{FF2B5EF4-FFF2-40B4-BE49-F238E27FC236}">
                  <a16:creationId xmlns:a16="http://schemas.microsoft.com/office/drawing/2014/main" id="{1FC70607-AA6A-AFAE-DB8F-D6B72A7F5B35}"/>
                </a:ext>
              </a:extLst>
            </p:cNvPr>
            <p:cNvSpPr/>
            <p:nvPr/>
          </p:nvSpPr>
          <p:spPr>
            <a:xfrm>
              <a:off x="1808502" y="1829900"/>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4" name="Freeform: Shape 393">
              <a:extLst>
                <a:ext uri="{FF2B5EF4-FFF2-40B4-BE49-F238E27FC236}">
                  <a16:creationId xmlns:a16="http://schemas.microsoft.com/office/drawing/2014/main" id="{2654C6C0-C382-DFC3-A018-0D0E7393516C}"/>
                </a:ext>
              </a:extLst>
            </p:cNvPr>
            <p:cNvSpPr/>
            <p:nvPr/>
          </p:nvSpPr>
          <p:spPr>
            <a:xfrm>
              <a:off x="1467542" y="1777556"/>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5" name="Freeform: Shape 394">
              <a:extLst>
                <a:ext uri="{FF2B5EF4-FFF2-40B4-BE49-F238E27FC236}">
                  <a16:creationId xmlns:a16="http://schemas.microsoft.com/office/drawing/2014/main" id="{1C21213C-B08E-88BC-5A86-1517CB8A6808}"/>
                </a:ext>
              </a:extLst>
            </p:cNvPr>
            <p:cNvSpPr/>
            <p:nvPr/>
          </p:nvSpPr>
          <p:spPr>
            <a:xfrm>
              <a:off x="1456434" y="1765621"/>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6" name="Freeform: Shape 395">
              <a:extLst>
                <a:ext uri="{FF2B5EF4-FFF2-40B4-BE49-F238E27FC236}">
                  <a16:creationId xmlns:a16="http://schemas.microsoft.com/office/drawing/2014/main" id="{17802CC0-DEA0-50AC-4918-F179AA899668}"/>
                </a:ext>
              </a:extLst>
            </p:cNvPr>
            <p:cNvSpPr/>
            <p:nvPr/>
          </p:nvSpPr>
          <p:spPr>
            <a:xfrm>
              <a:off x="3525646" y="2225408"/>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7" name="Freeform: Shape 396">
              <a:extLst>
                <a:ext uri="{FF2B5EF4-FFF2-40B4-BE49-F238E27FC236}">
                  <a16:creationId xmlns:a16="http://schemas.microsoft.com/office/drawing/2014/main" id="{56E63016-8ADE-1489-CEA5-B547F3D8244B}"/>
                </a:ext>
              </a:extLst>
            </p:cNvPr>
            <p:cNvSpPr/>
            <p:nvPr/>
          </p:nvSpPr>
          <p:spPr>
            <a:xfrm>
              <a:off x="3511958" y="2225408"/>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8" name="Freeform: Shape 397">
              <a:extLst>
                <a:ext uri="{FF2B5EF4-FFF2-40B4-BE49-F238E27FC236}">
                  <a16:creationId xmlns:a16="http://schemas.microsoft.com/office/drawing/2014/main" id="{8C362AE0-3EBE-EEE9-4DCE-6696620C9B32}"/>
                </a:ext>
              </a:extLst>
            </p:cNvPr>
            <p:cNvSpPr/>
            <p:nvPr/>
          </p:nvSpPr>
          <p:spPr>
            <a:xfrm>
              <a:off x="3497485" y="2208658"/>
              <a:ext cx="11219" cy="67209"/>
            </a:xfrm>
            <a:custGeom>
              <a:avLst/>
              <a:gdLst>
                <a:gd name="connsiteX0" fmla="*/ 0 w 9525"/>
                <a:gd name="connsiteY0" fmla="*/ 0 h 61150"/>
                <a:gd name="connsiteX1" fmla="*/ 0 w 9525"/>
                <a:gd name="connsiteY1" fmla="*/ 61150 h 61150"/>
              </a:gdLst>
              <a:ahLst/>
              <a:cxnLst>
                <a:cxn ang="0">
                  <a:pos x="connsiteX0" y="connsiteY0"/>
                </a:cxn>
                <a:cxn ang="0">
                  <a:pos x="connsiteX1" y="connsiteY1"/>
                </a:cxn>
              </a:cxnLst>
              <a:rect l="l" t="t" r="r" b="b"/>
              <a:pathLst>
                <a:path w="9525" h="61150">
                  <a:moveTo>
                    <a:pt x="0" y="0"/>
                  </a:moveTo>
                  <a:lnTo>
                    <a:pt x="0" y="61150"/>
                  </a:lnTo>
                </a:path>
              </a:pathLst>
            </a:custGeom>
            <a:ln w="1270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cxnSp>
        <p:nvCxnSpPr>
          <p:cNvPr id="399" name="Straight Connector 398">
            <a:extLst>
              <a:ext uri="{FF2B5EF4-FFF2-40B4-BE49-F238E27FC236}">
                <a16:creationId xmlns:a16="http://schemas.microsoft.com/office/drawing/2014/main" id="{E312CBBF-E656-A201-0283-A66D2ACE50F6}"/>
              </a:ext>
            </a:extLst>
          </p:cNvPr>
          <p:cNvCxnSpPr>
            <a:cxnSpLocks/>
          </p:cNvCxnSpPr>
          <p:nvPr/>
        </p:nvCxnSpPr>
        <p:spPr>
          <a:xfrm>
            <a:off x="3331071" y="2043451"/>
            <a:ext cx="0" cy="2354570"/>
          </a:xfrm>
          <a:prstGeom prst="line">
            <a:avLst/>
          </a:prstGeom>
          <a:ln w="12700" cap="rnd">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CFEA80FE-884D-1433-EB85-08D2F49D43F1}"/>
              </a:ext>
            </a:extLst>
          </p:cNvPr>
          <p:cNvCxnSpPr>
            <a:cxnSpLocks/>
          </p:cNvCxnSpPr>
          <p:nvPr/>
        </p:nvCxnSpPr>
        <p:spPr>
          <a:xfrm>
            <a:off x="5334713" y="2654319"/>
            <a:ext cx="0" cy="1765929"/>
          </a:xfrm>
          <a:prstGeom prst="line">
            <a:avLst/>
          </a:prstGeom>
          <a:ln w="12700" cap="rnd">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03" name="Group 402">
            <a:extLst>
              <a:ext uri="{FF2B5EF4-FFF2-40B4-BE49-F238E27FC236}">
                <a16:creationId xmlns:a16="http://schemas.microsoft.com/office/drawing/2014/main" id="{471B602C-4AA4-367F-2A2E-909EEABC4ECF}"/>
              </a:ext>
            </a:extLst>
          </p:cNvPr>
          <p:cNvGrpSpPr/>
          <p:nvPr/>
        </p:nvGrpSpPr>
        <p:grpSpPr>
          <a:xfrm>
            <a:off x="1696019" y="4398014"/>
            <a:ext cx="263214" cy="295261"/>
            <a:chOff x="1380990" y="3392656"/>
            <a:chExt cx="196706" cy="180575"/>
          </a:xfrm>
        </p:grpSpPr>
        <p:sp>
          <p:nvSpPr>
            <p:cNvPr id="404" name="TextBox 403">
              <a:extLst>
                <a:ext uri="{FF2B5EF4-FFF2-40B4-BE49-F238E27FC236}">
                  <a16:creationId xmlns:a16="http://schemas.microsoft.com/office/drawing/2014/main" id="{7371D460-35DE-EF7A-B290-57ADE8CA9C23}"/>
                </a:ext>
              </a:extLst>
            </p:cNvPr>
            <p:cNvSpPr txBox="1"/>
            <p:nvPr/>
          </p:nvSpPr>
          <p:spPr>
            <a:xfrm>
              <a:off x="1380990" y="3413236"/>
              <a:ext cx="196706" cy="15999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a:t>
              </a:r>
            </a:p>
          </p:txBody>
        </p:sp>
        <p:cxnSp>
          <p:nvCxnSpPr>
            <p:cNvPr id="405" name="Straight Connector 404">
              <a:extLst>
                <a:ext uri="{FF2B5EF4-FFF2-40B4-BE49-F238E27FC236}">
                  <a16:creationId xmlns:a16="http://schemas.microsoft.com/office/drawing/2014/main" id="{BFA2380F-ABEA-0043-113C-14A53070C151}"/>
                </a:ext>
              </a:extLst>
            </p:cNvPr>
            <p:cNvCxnSpPr>
              <a:cxnSpLocks/>
            </p:cNvCxnSpPr>
            <p:nvPr/>
          </p:nvCxnSpPr>
          <p:spPr>
            <a:xfrm>
              <a:off x="1479343" y="3392656"/>
              <a:ext cx="1" cy="584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3" name="Table 8">
            <a:extLst>
              <a:ext uri="{FF2B5EF4-FFF2-40B4-BE49-F238E27FC236}">
                <a16:creationId xmlns:a16="http://schemas.microsoft.com/office/drawing/2014/main" id="{0000E0FA-5F34-8B30-A77B-4D4F9957946A}"/>
              </a:ext>
            </a:extLst>
          </p:cNvPr>
          <p:cNvGraphicFramePr>
            <a:graphicFrameLocks noGrp="1"/>
          </p:cNvGraphicFramePr>
          <p:nvPr/>
        </p:nvGraphicFramePr>
        <p:xfrm>
          <a:off x="7621150" y="2677893"/>
          <a:ext cx="3924000" cy="1188720"/>
        </p:xfrm>
        <a:graphic>
          <a:graphicData uri="http://schemas.openxmlformats.org/drawingml/2006/table">
            <a:tbl>
              <a:tblPr firstRow="1">
                <a:effectLst/>
              </a:tblPr>
              <a:tblGrid>
                <a:gridCol w="1260000">
                  <a:extLst>
                    <a:ext uri="{9D8B030D-6E8A-4147-A177-3AD203B41FA5}">
                      <a16:colId xmlns:a16="http://schemas.microsoft.com/office/drawing/2014/main" val="3609005308"/>
                    </a:ext>
                  </a:extLst>
                </a:gridCol>
                <a:gridCol w="1008000">
                  <a:extLst>
                    <a:ext uri="{9D8B030D-6E8A-4147-A177-3AD203B41FA5}">
                      <a16:colId xmlns:a16="http://schemas.microsoft.com/office/drawing/2014/main" val="3388733588"/>
                    </a:ext>
                  </a:extLst>
                </a:gridCol>
                <a:gridCol w="1656000">
                  <a:extLst>
                    <a:ext uri="{9D8B030D-6E8A-4147-A177-3AD203B41FA5}">
                      <a16:colId xmlns:a16="http://schemas.microsoft.com/office/drawing/2014/main" val="531657196"/>
                    </a:ext>
                  </a:extLst>
                </a:gridCol>
              </a:tblGrid>
              <a:tr h="0">
                <a:tc gridSpan="3">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l"/>
                      <a:r>
                        <a:rPr lang="en-GB" sz="1200" noProof="0" dirty="0">
                          <a:solidFill>
                            <a:schemeClr val="bg1"/>
                          </a:solidFill>
                          <a:latin typeface="Arial" panose="020B0604020202020204" pitchFamily="34" charset="0"/>
                          <a:cs typeface="Arial" panose="020B0604020202020204" pitchFamily="34" charset="0"/>
                        </a:rPr>
                        <a:t>mPFS,</a:t>
                      </a:r>
                      <a:r>
                        <a:rPr lang="en-GB" sz="1200" baseline="0" noProof="0" dirty="0">
                          <a:solidFill>
                            <a:schemeClr val="bg1"/>
                          </a:solidFill>
                          <a:latin typeface="Arial" panose="020B0604020202020204" pitchFamily="34" charset="0"/>
                          <a:cs typeface="Arial" panose="020B0604020202020204" pitchFamily="34" charset="0"/>
                        </a:rPr>
                        <a:t> </a:t>
                      </a:r>
                      <a:r>
                        <a:rPr lang="en-GB" sz="1200" b="1" noProof="0" dirty="0">
                          <a:solidFill>
                            <a:schemeClr val="bg1"/>
                          </a:solidFill>
                          <a:latin typeface="Arial" panose="020B0604020202020204" pitchFamily="34" charset="0"/>
                          <a:cs typeface="Arial" panose="020B0604020202020204" pitchFamily="34" charset="0"/>
                        </a:rPr>
                        <a:t>months </a:t>
                      </a:r>
                      <a:r>
                        <a:rPr lang="en-GB" sz="1200" b="0" noProof="0" dirty="0">
                          <a:solidFill>
                            <a:schemeClr val="bg1"/>
                          </a:solidFill>
                          <a:latin typeface="Arial" panose="020B0604020202020204" pitchFamily="34" charset="0"/>
                          <a:cs typeface="Arial" panose="020B0604020202020204" pitchFamily="34" charset="0"/>
                        </a:rPr>
                        <a:t>(95% CI)</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a:endParaRPr lang="en-US" sz="1400" b="0">
                        <a:solidFill>
                          <a:schemeClr val="bg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15754074"/>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GB" sz="1200" b="1" noProof="0" dirty="0">
                          <a:solidFill>
                            <a:schemeClr val="bg1"/>
                          </a:solidFill>
                          <a:latin typeface="Arial" panose="020B0604020202020204" pitchFamily="34" charset="0"/>
                          <a:cs typeface="Arial" panose="020B0604020202020204" pitchFamily="34" charset="0"/>
                        </a:rPr>
                        <a:t>Osimertinib + ChT</a:t>
                      </a:r>
                    </a:p>
                  </a:txBody>
                  <a:tcPr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rgbClr val="000000"/>
                          </a:solidFill>
                          <a:latin typeface="Arial" panose="020B0604020202020204" pitchFamily="34" charset="0"/>
                          <a:cs typeface="Arial" panose="020B0604020202020204" pitchFamily="34" charset="0"/>
                        </a:rPr>
                        <a:t>25.5</a:t>
                      </a:r>
                      <a:r>
                        <a:rPr lang="en-GB" sz="1200" noProof="0" dirty="0">
                          <a:solidFill>
                            <a:srgbClr val="000000"/>
                          </a:solidFill>
                          <a:latin typeface="Arial" panose="020B0604020202020204" pitchFamily="34" charset="0"/>
                          <a:cs typeface="Arial" panose="020B0604020202020204" pitchFamily="34" charset="0"/>
                        </a:rPr>
                        <a:t> </a:t>
                      </a:r>
                      <a:br>
                        <a:rPr lang="en-GB" sz="1200" noProof="0" dirty="0">
                          <a:solidFill>
                            <a:srgbClr val="000000"/>
                          </a:solidFill>
                          <a:latin typeface="Arial" panose="020B0604020202020204" pitchFamily="34" charset="0"/>
                          <a:cs typeface="Arial" panose="020B0604020202020204" pitchFamily="34" charset="0"/>
                        </a:rPr>
                      </a:br>
                      <a:r>
                        <a:rPr lang="en-GB" sz="1200" noProof="0" dirty="0">
                          <a:solidFill>
                            <a:srgbClr val="000000"/>
                          </a:solidFill>
                          <a:latin typeface="Arial" panose="020B0604020202020204" pitchFamily="34" charset="0"/>
                          <a:cs typeface="Arial" panose="020B0604020202020204" pitchFamily="34" charset="0"/>
                        </a:rPr>
                        <a:t>(24.7–N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kern="1200" noProof="0" dirty="0">
                          <a:solidFill>
                            <a:srgbClr val="000000"/>
                          </a:solidFill>
                          <a:latin typeface="Arial" panose="020B0604020202020204" pitchFamily="34" charset="0"/>
                          <a:ea typeface="+mn-ea"/>
                          <a:cs typeface="Arial" panose="020B0604020202020204" pitchFamily="34" charset="0"/>
                        </a:rPr>
                        <a:t>HR, 0.62 </a:t>
                      </a:r>
                      <a:r>
                        <a:rPr lang="en-GB" sz="1200" i="0" kern="1200" noProof="0" dirty="0">
                          <a:solidFill>
                            <a:srgbClr val="000000"/>
                          </a:solidFill>
                          <a:latin typeface="Arial" panose="020B0604020202020204" pitchFamily="34" charset="0"/>
                          <a:ea typeface="+mn-ea"/>
                          <a:cs typeface="Arial" panose="020B0604020202020204" pitchFamily="34" charset="0"/>
                        </a:rPr>
                        <a:t>(95% CI, 0.49</a:t>
                      </a:r>
                      <a:r>
                        <a:rPr lang="en-GB" sz="1200" i="0" noProof="0" dirty="0">
                          <a:solidFill>
                            <a:srgbClr val="000000"/>
                          </a:solidFill>
                          <a:latin typeface="Arial" panose="020B0604020202020204" pitchFamily="34" charset="0"/>
                          <a:cs typeface="Arial" panose="020B0604020202020204" pitchFamily="34" charset="0"/>
                        </a:rPr>
                        <a:t>–</a:t>
                      </a:r>
                      <a:r>
                        <a:rPr lang="en-GB" sz="1200" i="0" kern="1200" noProof="0" dirty="0">
                          <a:solidFill>
                            <a:srgbClr val="000000"/>
                          </a:solidFill>
                          <a:latin typeface="Arial" panose="020B0604020202020204" pitchFamily="34" charset="0"/>
                          <a:ea typeface="+mn-ea"/>
                          <a:cs typeface="Arial" panose="020B0604020202020204" pitchFamily="34" charset="0"/>
                        </a:rPr>
                        <a:t>0.79)</a:t>
                      </a:r>
                      <a:r>
                        <a:rPr lang="en-GB" sz="1200" b="1" i="0" kern="1200" noProof="0" dirty="0">
                          <a:solidFill>
                            <a:srgbClr val="000000"/>
                          </a:solidFill>
                          <a:latin typeface="Arial" panose="020B0604020202020204" pitchFamily="34" charset="0"/>
                          <a:ea typeface="+mn-ea"/>
                          <a:cs typeface="Arial" panose="020B0604020202020204" pitchFamily="34" charset="0"/>
                        </a:rPr>
                        <a:t>;</a:t>
                      </a:r>
                      <a:r>
                        <a:rPr lang="en-GB" sz="1200" i="0" kern="1200" noProof="0" dirty="0">
                          <a:solidFill>
                            <a:srgbClr val="000000"/>
                          </a:solidFill>
                          <a:latin typeface="Arial" panose="020B0604020202020204" pitchFamily="34" charset="0"/>
                          <a:ea typeface="+mn-ea"/>
                          <a:cs typeface="Arial" panose="020B0604020202020204" pitchFamily="34" charset="0"/>
                        </a:rPr>
                        <a:t> </a:t>
                      </a:r>
                      <a:r>
                        <a:rPr lang="en-GB" sz="1200" b="1" i="0" kern="1200" noProof="0" dirty="0">
                          <a:solidFill>
                            <a:srgbClr val="000000"/>
                          </a:solidFill>
                          <a:latin typeface="Arial" panose="020B0604020202020204" pitchFamily="34" charset="0"/>
                          <a:ea typeface="+mn-ea"/>
                          <a:cs typeface="Arial" panose="020B0604020202020204" pitchFamily="34" charset="0"/>
                        </a:rPr>
                        <a:t>p&lt;0.001 </a:t>
                      </a:r>
                    </a:p>
                  </a:txBody>
                  <a:tcPr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6F5F4"/>
                    </a:solidFill>
                  </a:tcPr>
                </a:tc>
                <a:extLst>
                  <a:ext uri="{0D108BD9-81ED-4DB2-BD59-A6C34878D82A}">
                    <a16:rowId xmlns:a16="http://schemas.microsoft.com/office/drawing/2014/main" val="1300018867"/>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GB" sz="1200" b="1" noProof="0" dirty="0">
                          <a:solidFill>
                            <a:schemeClr val="bg1"/>
                          </a:solidFill>
                          <a:latin typeface="Arial" panose="020B0604020202020204" pitchFamily="34" charset="0"/>
                          <a:cs typeface="Arial" panose="020B0604020202020204" pitchFamily="34" charset="0"/>
                        </a:rPr>
                        <a:t>Osimertinib</a:t>
                      </a:r>
                    </a:p>
                  </a:txBody>
                  <a:tcPr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rgbClr val="000000"/>
                          </a:solidFill>
                          <a:latin typeface="Arial" panose="020B0604020202020204" pitchFamily="34" charset="0"/>
                          <a:cs typeface="Arial" panose="020B0604020202020204" pitchFamily="34" charset="0"/>
                        </a:rPr>
                        <a:t>16.7 </a:t>
                      </a:r>
                      <a:br>
                        <a:rPr lang="en-GB" sz="1200" b="1" noProof="0" dirty="0">
                          <a:solidFill>
                            <a:srgbClr val="000000"/>
                          </a:solidFill>
                          <a:latin typeface="Arial" panose="020B0604020202020204" pitchFamily="34" charset="0"/>
                          <a:cs typeface="Arial" panose="020B0604020202020204" pitchFamily="34" charset="0"/>
                        </a:rPr>
                      </a:br>
                      <a:r>
                        <a:rPr lang="en-GB" sz="1200" noProof="0" dirty="0">
                          <a:solidFill>
                            <a:srgbClr val="000000"/>
                          </a:solidFill>
                          <a:latin typeface="Arial" panose="020B0604020202020204" pitchFamily="34" charset="0"/>
                          <a:cs typeface="Arial" panose="020B0604020202020204" pitchFamily="34" charset="0"/>
                        </a:rPr>
                        <a:t>(14.1–2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pPr algn="ctr"/>
                      <a:endParaRPr lang="en-US" sz="140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914406"/>
                  </a:ext>
                </a:extLst>
              </a:tr>
            </a:tbl>
          </a:graphicData>
        </a:graphic>
      </p:graphicFrame>
      <p:grpSp>
        <p:nvGrpSpPr>
          <p:cNvPr id="14" name="Group 13">
            <a:extLst>
              <a:ext uri="{FF2B5EF4-FFF2-40B4-BE49-F238E27FC236}">
                <a16:creationId xmlns:a16="http://schemas.microsoft.com/office/drawing/2014/main" id="{28C2065B-358B-CEC8-ADCA-02E9848CB5BB}"/>
              </a:ext>
            </a:extLst>
          </p:cNvPr>
          <p:cNvGrpSpPr/>
          <p:nvPr/>
        </p:nvGrpSpPr>
        <p:grpSpPr>
          <a:xfrm>
            <a:off x="3266503" y="1843812"/>
            <a:ext cx="561372" cy="307777"/>
            <a:chOff x="2269991" y="2315169"/>
            <a:chExt cx="561372" cy="307777"/>
          </a:xfrm>
        </p:grpSpPr>
        <p:sp>
          <p:nvSpPr>
            <p:cNvPr id="15" name="Freeform: Shape 14">
              <a:extLst>
                <a:ext uri="{FF2B5EF4-FFF2-40B4-BE49-F238E27FC236}">
                  <a16:creationId xmlns:a16="http://schemas.microsoft.com/office/drawing/2014/main" id="{99B90D40-FCDE-75EF-B9FA-A1C0B4594C9B}"/>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87757820-56AE-1889-C86C-03204F41B8E3}"/>
                </a:ext>
              </a:extLst>
            </p:cNvPr>
            <p:cNvSpPr txBox="1"/>
            <p:nvPr/>
          </p:nvSpPr>
          <p:spPr>
            <a:xfrm flipH="1">
              <a:off x="2269991" y="2315169"/>
              <a:ext cx="561372"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80%</a:t>
              </a:r>
            </a:p>
          </p:txBody>
        </p:sp>
      </p:grpSp>
      <p:grpSp>
        <p:nvGrpSpPr>
          <p:cNvPr id="17" name="Group 16">
            <a:extLst>
              <a:ext uri="{FF2B5EF4-FFF2-40B4-BE49-F238E27FC236}">
                <a16:creationId xmlns:a16="http://schemas.microsoft.com/office/drawing/2014/main" id="{5CD0F6D8-2A4C-3FC2-9617-4A92791F4246}"/>
              </a:ext>
            </a:extLst>
          </p:cNvPr>
          <p:cNvGrpSpPr/>
          <p:nvPr/>
        </p:nvGrpSpPr>
        <p:grpSpPr>
          <a:xfrm>
            <a:off x="2855950" y="2657457"/>
            <a:ext cx="554960" cy="307777"/>
            <a:chOff x="2276341" y="2308819"/>
            <a:chExt cx="554960" cy="307777"/>
          </a:xfrm>
        </p:grpSpPr>
        <p:sp>
          <p:nvSpPr>
            <p:cNvPr id="18" name="Freeform: Shape 17">
              <a:extLst>
                <a:ext uri="{FF2B5EF4-FFF2-40B4-BE49-F238E27FC236}">
                  <a16:creationId xmlns:a16="http://schemas.microsoft.com/office/drawing/2014/main" id="{0D2A2A62-C4C3-E4A6-D352-9657E23E6D95}"/>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00E8366A-09FC-EDA7-ABB2-EA790715E232}"/>
                </a:ext>
              </a:extLst>
            </p:cNvPr>
            <p:cNvSpPr txBox="1"/>
            <p:nvPr/>
          </p:nvSpPr>
          <p:spPr>
            <a:xfrm flipH="1">
              <a:off x="2276341" y="2308819"/>
              <a:ext cx="554960"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66%</a:t>
              </a:r>
            </a:p>
          </p:txBody>
        </p:sp>
      </p:grpSp>
      <p:grpSp>
        <p:nvGrpSpPr>
          <p:cNvPr id="20" name="Group 19">
            <a:extLst>
              <a:ext uri="{FF2B5EF4-FFF2-40B4-BE49-F238E27FC236}">
                <a16:creationId xmlns:a16="http://schemas.microsoft.com/office/drawing/2014/main" id="{28D65519-3F8B-E04F-C8E8-1C24980E8A22}"/>
              </a:ext>
            </a:extLst>
          </p:cNvPr>
          <p:cNvGrpSpPr/>
          <p:nvPr/>
        </p:nvGrpSpPr>
        <p:grpSpPr>
          <a:xfrm>
            <a:off x="5266665" y="2456858"/>
            <a:ext cx="542136" cy="307777"/>
            <a:chOff x="2269991" y="2315169"/>
            <a:chExt cx="542136" cy="307777"/>
          </a:xfrm>
        </p:grpSpPr>
        <p:sp>
          <p:nvSpPr>
            <p:cNvPr id="21" name="Freeform: Shape 20">
              <a:extLst>
                <a:ext uri="{FF2B5EF4-FFF2-40B4-BE49-F238E27FC236}">
                  <a16:creationId xmlns:a16="http://schemas.microsoft.com/office/drawing/2014/main" id="{64C493AB-2DD5-1035-000F-D8FD9C24328B}"/>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1A40CBF0-916E-0F79-1F22-FD200E5D6161}"/>
                </a:ext>
              </a:extLst>
            </p:cNvPr>
            <p:cNvSpPr txBox="1"/>
            <p:nvPr/>
          </p:nvSpPr>
          <p:spPr>
            <a:xfrm flipH="1">
              <a:off x="2269991" y="2315169"/>
              <a:ext cx="542136"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7%</a:t>
              </a:r>
            </a:p>
          </p:txBody>
        </p:sp>
      </p:grpSp>
      <p:grpSp>
        <p:nvGrpSpPr>
          <p:cNvPr id="23" name="Group 22">
            <a:extLst>
              <a:ext uri="{FF2B5EF4-FFF2-40B4-BE49-F238E27FC236}">
                <a16:creationId xmlns:a16="http://schemas.microsoft.com/office/drawing/2014/main" id="{34B35B61-0F9A-051D-83DC-FCC52D554377}"/>
              </a:ext>
            </a:extLst>
          </p:cNvPr>
          <p:cNvGrpSpPr/>
          <p:nvPr/>
        </p:nvGrpSpPr>
        <p:grpSpPr>
          <a:xfrm>
            <a:off x="4856917" y="3338274"/>
            <a:ext cx="543739" cy="307777"/>
            <a:chOff x="2276341" y="2308819"/>
            <a:chExt cx="543739" cy="307777"/>
          </a:xfrm>
        </p:grpSpPr>
        <p:sp>
          <p:nvSpPr>
            <p:cNvPr id="24" name="Freeform: Shape 23">
              <a:extLst>
                <a:ext uri="{FF2B5EF4-FFF2-40B4-BE49-F238E27FC236}">
                  <a16:creationId xmlns:a16="http://schemas.microsoft.com/office/drawing/2014/main" id="{0A1007D8-BE3E-FDF1-6FA2-4CFFF8E868F5}"/>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A675B463-24E4-C814-E45B-A6A58B0DB51C}"/>
                </a:ext>
              </a:extLst>
            </p:cNvPr>
            <p:cNvSpPr txBox="1"/>
            <p:nvPr/>
          </p:nvSpPr>
          <p:spPr>
            <a:xfrm flipH="1">
              <a:off x="2276341" y="2308819"/>
              <a:ext cx="543739"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1%</a:t>
              </a:r>
            </a:p>
          </p:txBody>
        </p:sp>
      </p:grpSp>
      <p:grpSp>
        <p:nvGrpSpPr>
          <p:cNvPr id="26" name="Group 25">
            <a:extLst>
              <a:ext uri="{FF2B5EF4-FFF2-40B4-BE49-F238E27FC236}">
                <a16:creationId xmlns:a16="http://schemas.microsoft.com/office/drawing/2014/main" id="{E4B40C14-6D99-402C-41A3-714D2609FED9}"/>
              </a:ext>
            </a:extLst>
          </p:cNvPr>
          <p:cNvGrpSpPr/>
          <p:nvPr/>
        </p:nvGrpSpPr>
        <p:grpSpPr>
          <a:xfrm>
            <a:off x="5631630" y="1632039"/>
            <a:ext cx="1695487" cy="481327"/>
            <a:chOff x="4000639" y="1628827"/>
            <a:chExt cx="1695487" cy="481327"/>
          </a:xfrm>
        </p:grpSpPr>
        <p:sp>
          <p:nvSpPr>
            <p:cNvPr id="27" name="Rectangle 26">
              <a:extLst>
                <a:ext uri="{FF2B5EF4-FFF2-40B4-BE49-F238E27FC236}">
                  <a16:creationId xmlns:a16="http://schemas.microsoft.com/office/drawing/2014/main" id="{DEAFB526-D8A6-76BC-66FD-4784B3073BC9}"/>
                </a:ext>
              </a:extLst>
            </p:cNvPr>
            <p:cNvSpPr/>
            <p:nvPr/>
          </p:nvSpPr>
          <p:spPr>
            <a:xfrm>
              <a:off x="4000639" y="1708897"/>
              <a:ext cx="129052" cy="11685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7BEF7D6D-E037-5CF7-DF05-30A37A2540E1}"/>
                </a:ext>
              </a:extLst>
            </p:cNvPr>
            <p:cNvSpPr/>
            <p:nvPr/>
          </p:nvSpPr>
          <p:spPr>
            <a:xfrm>
              <a:off x="4000639" y="1913225"/>
              <a:ext cx="129052" cy="116859"/>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45940D68-F558-B4AB-90A3-999E53D48FC8}"/>
                </a:ext>
              </a:extLst>
            </p:cNvPr>
            <p:cNvSpPr txBox="1"/>
            <p:nvPr/>
          </p:nvSpPr>
          <p:spPr>
            <a:xfrm>
              <a:off x="4080286" y="1628827"/>
              <a:ext cx="1615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simertinib + ChT</a:t>
              </a:r>
            </a:p>
          </p:txBody>
        </p:sp>
        <p:sp>
          <p:nvSpPr>
            <p:cNvPr id="30" name="TextBox 29">
              <a:extLst>
                <a:ext uri="{FF2B5EF4-FFF2-40B4-BE49-F238E27FC236}">
                  <a16:creationId xmlns:a16="http://schemas.microsoft.com/office/drawing/2014/main" id="{7DF15A37-2039-15CC-8DE4-478F5588B61F}"/>
                </a:ext>
              </a:extLst>
            </p:cNvPr>
            <p:cNvSpPr txBox="1"/>
            <p:nvPr/>
          </p:nvSpPr>
          <p:spPr>
            <a:xfrm>
              <a:off x="4079654" y="1833155"/>
              <a:ext cx="137641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31" name="TextBox 30">
            <a:extLst>
              <a:ext uri="{FF2B5EF4-FFF2-40B4-BE49-F238E27FC236}">
                <a16:creationId xmlns:a16="http://schemas.microsoft.com/office/drawing/2014/main" id="{FF06D0B1-9BCB-7A74-F7EA-48BA9D17DB6B}"/>
              </a:ext>
            </a:extLst>
          </p:cNvPr>
          <p:cNvSpPr txBox="1"/>
          <p:nvPr/>
        </p:nvSpPr>
        <p:spPr>
          <a:xfrm>
            <a:off x="1421403" y="3519847"/>
            <a:ext cx="1226078" cy="80791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n follow-up: </a:t>
            </a:r>
            <a:b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05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Osimertinib + ChT 19.5 months </a:t>
            </a:r>
            <a:r>
              <a:rPr kumimoji="0" lang="en-GB" sz="105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Osimertinib </a:t>
            </a:r>
            <a:br>
              <a:rPr kumimoji="0" lang="en-GB" sz="105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br>
            <a:r>
              <a:rPr kumimoji="0" lang="en-GB" sz="105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16.5 months</a:t>
            </a:r>
          </a:p>
        </p:txBody>
      </p:sp>
      <p:sp>
        <p:nvSpPr>
          <p:cNvPr id="32" name="TextBox 31">
            <a:extLst>
              <a:ext uri="{FF2B5EF4-FFF2-40B4-BE49-F238E27FC236}">
                <a16:creationId xmlns:a16="http://schemas.microsoft.com/office/drawing/2014/main" id="{F53B6747-80A9-A435-F263-F8CB310C776E}"/>
              </a:ext>
            </a:extLst>
          </p:cNvPr>
          <p:cNvSpPr txBox="1"/>
          <p:nvPr/>
        </p:nvSpPr>
        <p:spPr>
          <a:xfrm>
            <a:off x="968769" y="4827475"/>
            <a:ext cx="12260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at risk:</a:t>
            </a:r>
          </a:p>
        </p:txBody>
      </p:sp>
      <p:sp>
        <p:nvSpPr>
          <p:cNvPr id="33" name="Rectangle 32">
            <a:extLst>
              <a:ext uri="{FF2B5EF4-FFF2-40B4-BE49-F238E27FC236}">
                <a16:creationId xmlns:a16="http://schemas.microsoft.com/office/drawing/2014/main" id="{52E06A74-4F60-A16A-22AF-698B3119CCB9}"/>
              </a:ext>
            </a:extLst>
          </p:cNvPr>
          <p:cNvSpPr/>
          <p:nvPr/>
        </p:nvSpPr>
        <p:spPr>
          <a:xfrm>
            <a:off x="1066794" y="5053339"/>
            <a:ext cx="108000" cy="10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18297F81-E59D-0BCE-A476-FA6A8CDFE92E}"/>
              </a:ext>
            </a:extLst>
          </p:cNvPr>
          <p:cNvSpPr/>
          <p:nvPr/>
        </p:nvSpPr>
        <p:spPr>
          <a:xfrm>
            <a:off x="1066259" y="5206198"/>
            <a:ext cx="108000" cy="10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 name="Graphic 12">
            <a:extLst>
              <a:ext uri="{FF2B5EF4-FFF2-40B4-BE49-F238E27FC236}">
                <a16:creationId xmlns:a16="http://schemas.microsoft.com/office/drawing/2014/main" id="{9D9DC0BF-AD1F-583F-E4AC-870CA0CA19D0}"/>
              </a:ext>
            </a:extLst>
          </p:cNvPr>
          <p:cNvSpPr/>
          <p:nvPr/>
        </p:nvSpPr>
        <p:spPr>
          <a:xfrm>
            <a:off x="1338823" y="1677335"/>
            <a:ext cx="5537360" cy="2107726"/>
          </a:xfrm>
          <a:custGeom>
            <a:avLst/>
            <a:gdLst>
              <a:gd name="connsiteX0" fmla="*/ 1815989 w 5559217"/>
              <a:gd name="connsiteY0" fmla="*/ 423398 h 2095778"/>
              <a:gd name="connsiteX1" fmla="*/ 1827916 w 5559217"/>
              <a:gd name="connsiteY1" fmla="*/ 423398 h 2095778"/>
              <a:gd name="connsiteX2" fmla="*/ 1827916 w 5559217"/>
              <a:gd name="connsiteY2" fmla="*/ 442071 h 2095778"/>
              <a:gd name="connsiteX3" fmla="*/ 1852551 w 5559217"/>
              <a:gd name="connsiteY3" fmla="*/ 442071 h 2095778"/>
              <a:gd name="connsiteX4" fmla="*/ 1852551 w 5559217"/>
              <a:gd name="connsiteY4" fmla="*/ 462991 h 2095778"/>
              <a:gd name="connsiteX5" fmla="*/ 1860763 w 5559217"/>
              <a:gd name="connsiteY5" fmla="*/ 462991 h 2095778"/>
              <a:gd name="connsiteX6" fmla="*/ 1860763 w 5559217"/>
              <a:gd name="connsiteY6" fmla="*/ 481663 h 2095778"/>
              <a:gd name="connsiteX7" fmla="*/ 1872690 w 5559217"/>
              <a:gd name="connsiteY7" fmla="*/ 481663 h 2095778"/>
              <a:gd name="connsiteX8" fmla="*/ 1872690 w 5559217"/>
              <a:gd name="connsiteY8" fmla="*/ 501118 h 2095778"/>
              <a:gd name="connsiteX9" fmla="*/ 1888429 w 5559217"/>
              <a:gd name="connsiteY9" fmla="*/ 501118 h 2095778"/>
              <a:gd name="connsiteX10" fmla="*/ 1888429 w 5559217"/>
              <a:gd name="connsiteY10" fmla="*/ 518323 h 2095778"/>
              <a:gd name="connsiteX11" fmla="*/ 1898108 w 5559217"/>
              <a:gd name="connsiteY11" fmla="*/ 518323 h 2095778"/>
              <a:gd name="connsiteX12" fmla="*/ 1898108 w 5559217"/>
              <a:gd name="connsiteY12" fmla="*/ 532499 h 2095778"/>
              <a:gd name="connsiteX13" fmla="*/ 1915313 w 5559217"/>
              <a:gd name="connsiteY13" fmla="*/ 532499 h 2095778"/>
              <a:gd name="connsiteX14" fmla="*/ 1915313 w 5559217"/>
              <a:gd name="connsiteY14" fmla="*/ 542959 h 2095778"/>
              <a:gd name="connsiteX15" fmla="*/ 1960869 w 5559217"/>
              <a:gd name="connsiteY15" fmla="*/ 542959 h 2095778"/>
              <a:gd name="connsiteX16" fmla="*/ 1960869 w 5559217"/>
              <a:gd name="connsiteY16" fmla="*/ 560849 h 2095778"/>
              <a:gd name="connsiteX17" fmla="*/ 2101350 w 5559217"/>
              <a:gd name="connsiteY17" fmla="*/ 560849 h 2095778"/>
              <a:gd name="connsiteX18" fmla="*/ 2101350 w 5559217"/>
              <a:gd name="connsiteY18" fmla="*/ 580303 h 2095778"/>
              <a:gd name="connsiteX19" fmla="*/ 2189530 w 5559217"/>
              <a:gd name="connsiteY19" fmla="*/ 580303 h 2095778"/>
              <a:gd name="connsiteX20" fmla="*/ 2189530 w 5559217"/>
              <a:gd name="connsiteY20" fmla="*/ 610902 h 2095778"/>
              <a:gd name="connsiteX21" fmla="*/ 2208202 w 5559217"/>
              <a:gd name="connsiteY21" fmla="*/ 610902 h 2095778"/>
              <a:gd name="connsiteX22" fmla="*/ 2208202 w 5559217"/>
              <a:gd name="connsiteY22" fmla="*/ 617648 h 2095778"/>
              <a:gd name="connsiteX23" fmla="*/ 2236553 w 5559217"/>
              <a:gd name="connsiteY23" fmla="*/ 617648 h 2095778"/>
              <a:gd name="connsiteX24" fmla="*/ 2236553 w 5559217"/>
              <a:gd name="connsiteY24" fmla="*/ 639350 h 2095778"/>
              <a:gd name="connsiteX25" fmla="*/ 2267151 w 5559217"/>
              <a:gd name="connsiteY25" fmla="*/ 639350 h 2095778"/>
              <a:gd name="connsiteX26" fmla="*/ 2267151 w 5559217"/>
              <a:gd name="connsiteY26" fmla="*/ 648344 h 2095778"/>
              <a:gd name="connsiteX27" fmla="*/ 2288072 w 5559217"/>
              <a:gd name="connsiteY27" fmla="*/ 648344 h 2095778"/>
              <a:gd name="connsiteX28" fmla="*/ 2288072 w 5559217"/>
              <a:gd name="connsiteY28" fmla="*/ 677477 h 2095778"/>
              <a:gd name="connsiteX29" fmla="*/ 2312023 w 5559217"/>
              <a:gd name="connsiteY29" fmla="*/ 677477 h 2095778"/>
              <a:gd name="connsiteX30" fmla="*/ 2312023 w 5559217"/>
              <a:gd name="connsiteY30" fmla="*/ 699179 h 2095778"/>
              <a:gd name="connsiteX31" fmla="*/ 2374003 w 5559217"/>
              <a:gd name="connsiteY31" fmla="*/ 699179 h 2095778"/>
              <a:gd name="connsiteX32" fmla="*/ 2374003 w 5559217"/>
              <a:gd name="connsiteY32" fmla="*/ 715603 h 2095778"/>
              <a:gd name="connsiteX33" fmla="*/ 2538435 w 5559217"/>
              <a:gd name="connsiteY33" fmla="*/ 715603 h 2095778"/>
              <a:gd name="connsiteX34" fmla="*/ 2538435 w 5559217"/>
              <a:gd name="connsiteY34" fmla="*/ 726845 h 2095778"/>
              <a:gd name="connsiteX35" fmla="*/ 2551926 w 5559217"/>
              <a:gd name="connsiteY35" fmla="*/ 726845 h 2095778"/>
              <a:gd name="connsiteX36" fmla="*/ 2551926 w 5559217"/>
              <a:gd name="connsiteY36" fmla="*/ 736524 h 2095778"/>
              <a:gd name="connsiteX37" fmla="*/ 2578810 w 5559217"/>
              <a:gd name="connsiteY37" fmla="*/ 736524 h 2095778"/>
              <a:gd name="connsiteX38" fmla="*/ 2578810 w 5559217"/>
              <a:gd name="connsiteY38" fmla="*/ 747766 h 2095778"/>
              <a:gd name="connsiteX39" fmla="*/ 2752920 w 5559217"/>
              <a:gd name="connsiteY39" fmla="*/ 747766 h 2095778"/>
              <a:gd name="connsiteX40" fmla="*/ 2752920 w 5559217"/>
              <a:gd name="connsiteY40" fmla="*/ 795571 h 2095778"/>
              <a:gd name="connsiteX41" fmla="*/ 2798477 w 5559217"/>
              <a:gd name="connsiteY41" fmla="*/ 795571 h 2095778"/>
              <a:gd name="connsiteX42" fmla="*/ 2798477 w 5559217"/>
              <a:gd name="connsiteY42" fmla="*/ 803000 h 2095778"/>
              <a:gd name="connsiteX43" fmla="*/ 3043561 w 5559217"/>
              <a:gd name="connsiteY43" fmla="*/ 803000 h 2095778"/>
              <a:gd name="connsiteX44" fmla="*/ 3043561 w 5559217"/>
              <a:gd name="connsiteY44" fmla="*/ 830666 h 2095778"/>
              <a:gd name="connsiteX45" fmla="*/ 3196751 w 5559217"/>
              <a:gd name="connsiteY45" fmla="*/ 830666 h 2095778"/>
              <a:gd name="connsiteX46" fmla="*/ 3196751 w 5559217"/>
              <a:gd name="connsiteY46" fmla="*/ 861265 h 2095778"/>
              <a:gd name="connsiteX47" fmla="*/ 3214641 w 5559217"/>
              <a:gd name="connsiteY47" fmla="*/ 861265 h 2095778"/>
              <a:gd name="connsiteX48" fmla="*/ 3214641 w 5559217"/>
              <a:gd name="connsiteY48" fmla="*/ 891180 h 2095778"/>
              <a:gd name="connsiteX49" fmla="*/ 3237028 w 5559217"/>
              <a:gd name="connsiteY49" fmla="*/ 891180 h 2095778"/>
              <a:gd name="connsiteX50" fmla="*/ 3237028 w 5559217"/>
              <a:gd name="connsiteY50" fmla="*/ 910634 h 2095778"/>
              <a:gd name="connsiteX51" fmla="*/ 3246706 w 5559217"/>
              <a:gd name="connsiteY51" fmla="*/ 910634 h 2095778"/>
              <a:gd name="connsiteX52" fmla="*/ 3246706 w 5559217"/>
              <a:gd name="connsiteY52" fmla="*/ 930088 h 2095778"/>
              <a:gd name="connsiteX53" fmla="*/ 3264596 w 5559217"/>
              <a:gd name="connsiteY53" fmla="*/ 930088 h 2095778"/>
              <a:gd name="connsiteX54" fmla="*/ 3264596 w 5559217"/>
              <a:gd name="connsiteY54" fmla="*/ 973396 h 2095778"/>
              <a:gd name="connsiteX55" fmla="*/ 3504499 w 5559217"/>
              <a:gd name="connsiteY55" fmla="*/ 973396 h 2095778"/>
              <a:gd name="connsiteX56" fmla="*/ 3504499 w 5559217"/>
              <a:gd name="connsiteY56" fmla="*/ 997347 h 2095778"/>
              <a:gd name="connsiteX57" fmla="*/ 3666683 w 5559217"/>
              <a:gd name="connsiteY57" fmla="*/ 997347 h 2095778"/>
              <a:gd name="connsiteX58" fmla="*/ 3666683 w 5559217"/>
              <a:gd name="connsiteY58" fmla="*/ 1031759 h 2095778"/>
              <a:gd name="connsiteX59" fmla="*/ 3684573 w 5559217"/>
              <a:gd name="connsiteY59" fmla="*/ 1031759 h 2095778"/>
              <a:gd name="connsiteX60" fmla="*/ 3684573 w 5559217"/>
              <a:gd name="connsiteY60" fmla="*/ 1059425 h 2095778"/>
              <a:gd name="connsiteX61" fmla="*/ 3704712 w 5559217"/>
              <a:gd name="connsiteY61" fmla="*/ 1059425 h 2095778"/>
              <a:gd name="connsiteX62" fmla="*/ 3704712 w 5559217"/>
              <a:gd name="connsiteY62" fmla="*/ 1164810 h 2095778"/>
              <a:gd name="connsiteX63" fmla="*/ 3724850 w 5559217"/>
              <a:gd name="connsiteY63" fmla="*/ 1164810 h 2095778"/>
              <a:gd name="connsiteX64" fmla="*/ 3724850 w 5559217"/>
              <a:gd name="connsiteY64" fmla="*/ 1175270 h 2095778"/>
              <a:gd name="connsiteX65" fmla="*/ 4111882 w 5559217"/>
              <a:gd name="connsiteY65" fmla="*/ 1175270 h 2095778"/>
              <a:gd name="connsiteX66" fmla="*/ 4111882 w 5559217"/>
              <a:gd name="connsiteY66" fmla="*/ 1314285 h 2095778"/>
              <a:gd name="connsiteX67" fmla="*/ 4184322 w 5559217"/>
              <a:gd name="connsiteY67" fmla="*/ 1314285 h 2095778"/>
              <a:gd name="connsiteX68" fmla="*/ 4184322 w 5559217"/>
              <a:gd name="connsiteY68" fmla="*/ 1349381 h 2095778"/>
              <a:gd name="connsiteX69" fmla="*/ 4249332 w 5559217"/>
              <a:gd name="connsiteY69" fmla="*/ 1349381 h 2095778"/>
              <a:gd name="connsiteX70" fmla="*/ 4249332 w 5559217"/>
              <a:gd name="connsiteY70" fmla="*/ 1377047 h 2095778"/>
              <a:gd name="connsiteX71" fmla="*/ 4338294 w 5559217"/>
              <a:gd name="connsiteY71" fmla="*/ 1377047 h 2095778"/>
              <a:gd name="connsiteX72" fmla="*/ 4338294 w 5559217"/>
              <a:gd name="connsiteY72" fmla="*/ 1411459 h 2095778"/>
              <a:gd name="connsiteX73" fmla="*/ 4569203 w 5559217"/>
              <a:gd name="connsiteY73" fmla="*/ 1411459 h 2095778"/>
              <a:gd name="connsiteX74" fmla="*/ 4569203 w 5559217"/>
              <a:gd name="connsiteY74" fmla="*/ 1441373 h 2095778"/>
              <a:gd name="connsiteX75" fmla="*/ 4592372 w 5559217"/>
              <a:gd name="connsiteY75" fmla="*/ 1441373 h 2095778"/>
              <a:gd name="connsiteX76" fmla="*/ 4592372 w 5559217"/>
              <a:gd name="connsiteY76" fmla="*/ 1516062 h 2095778"/>
              <a:gd name="connsiteX77" fmla="*/ 4644674 w 5559217"/>
              <a:gd name="connsiteY77" fmla="*/ 1516062 h 2095778"/>
              <a:gd name="connsiteX78" fmla="*/ 4644674 w 5559217"/>
              <a:gd name="connsiteY78" fmla="*/ 1567581 h 2095778"/>
              <a:gd name="connsiteX79" fmla="*/ 5093001 w 5559217"/>
              <a:gd name="connsiteY79" fmla="*/ 1567581 h 2095778"/>
              <a:gd name="connsiteX80" fmla="*/ 5093001 w 5559217"/>
              <a:gd name="connsiteY80" fmla="*/ 1761146 h 2095778"/>
              <a:gd name="connsiteX81" fmla="*/ 5559218 w 5559217"/>
              <a:gd name="connsiteY81" fmla="*/ 1761146 h 2095778"/>
              <a:gd name="connsiteX82" fmla="*/ 5559218 w 5559217"/>
              <a:gd name="connsiteY82" fmla="*/ 2095778 h 2095778"/>
              <a:gd name="connsiteX83" fmla="*/ 5068854 w 5559217"/>
              <a:gd name="connsiteY83" fmla="*/ 2095778 h 2095778"/>
              <a:gd name="connsiteX84" fmla="*/ 5068854 w 5559217"/>
              <a:gd name="connsiteY84" fmla="*/ 1828112 h 2095778"/>
              <a:gd name="connsiteX85" fmla="*/ 5058492 w 5559217"/>
              <a:gd name="connsiteY85" fmla="*/ 1828112 h 2095778"/>
              <a:gd name="connsiteX86" fmla="*/ 5058492 w 5559217"/>
              <a:gd name="connsiteY86" fmla="*/ 1761146 h 2095778"/>
              <a:gd name="connsiteX87" fmla="*/ 4740478 w 5559217"/>
              <a:gd name="connsiteY87" fmla="*/ 1761146 h 2095778"/>
              <a:gd name="connsiteX88" fmla="*/ 4740478 w 5559217"/>
              <a:gd name="connsiteY88" fmla="*/ 1724584 h 2095778"/>
              <a:gd name="connsiteX89" fmla="*/ 4579272 w 5559217"/>
              <a:gd name="connsiteY89" fmla="*/ 1724584 h 2095778"/>
              <a:gd name="connsiteX90" fmla="*/ 4579272 w 5559217"/>
              <a:gd name="connsiteY90" fmla="*/ 1665439 h 2095778"/>
              <a:gd name="connsiteX91" fmla="*/ 4162228 w 5559217"/>
              <a:gd name="connsiteY91" fmla="*/ 1665439 h 2095778"/>
              <a:gd name="connsiteX92" fmla="*/ 4162228 w 5559217"/>
              <a:gd name="connsiteY92" fmla="*/ 1631418 h 2095778"/>
              <a:gd name="connsiteX93" fmla="*/ 4110513 w 5559217"/>
              <a:gd name="connsiteY93" fmla="*/ 1631418 h 2095778"/>
              <a:gd name="connsiteX94" fmla="*/ 4110513 w 5559217"/>
              <a:gd name="connsiteY94" fmla="*/ 1584103 h 2095778"/>
              <a:gd name="connsiteX95" fmla="*/ 3722993 w 5559217"/>
              <a:gd name="connsiteY95" fmla="*/ 1584103 h 2095778"/>
              <a:gd name="connsiteX96" fmla="*/ 3722993 w 5559217"/>
              <a:gd name="connsiteY96" fmla="*/ 1547149 h 2095778"/>
              <a:gd name="connsiteX97" fmla="*/ 3687408 w 5559217"/>
              <a:gd name="connsiteY97" fmla="*/ 1547149 h 2095778"/>
              <a:gd name="connsiteX98" fmla="*/ 3687408 w 5559217"/>
              <a:gd name="connsiteY98" fmla="*/ 1532388 h 2095778"/>
              <a:gd name="connsiteX99" fmla="*/ 3665314 w 5559217"/>
              <a:gd name="connsiteY99" fmla="*/ 1532388 h 2095778"/>
              <a:gd name="connsiteX100" fmla="*/ 3665314 w 5559217"/>
              <a:gd name="connsiteY100" fmla="*/ 1508730 h 2095778"/>
              <a:gd name="connsiteX101" fmla="*/ 3545558 w 5559217"/>
              <a:gd name="connsiteY101" fmla="*/ 1508730 h 2095778"/>
              <a:gd name="connsiteX102" fmla="*/ 3545558 w 5559217"/>
              <a:gd name="connsiteY102" fmla="*/ 1496901 h 2095778"/>
              <a:gd name="connsiteX103" fmla="*/ 3501175 w 5559217"/>
              <a:gd name="connsiteY103" fmla="*/ 1496901 h 2095778"/>
              <a:gd name="connsiteX104" fmla="*/ 3501175 w 5559217"/>
              <a:gd name="connsiteY104" fmla="*/ 1486538 h 2095778"/>
              <a:gd name="connsiteX105" fmla="*/ 3436067 w 5559217"/>
              <a:gd name="connsiteY105" fmla="*/ 1486538 h 2095778"/>
              <a:gd name="connsiteX106" fmla="*/ 3436067 w 5559217"/>
              <a:gd name="connsiteY106" fmla="*/ 1473243 h 2095778"/>
              <a:gd name="connsiteX107" fmla="*/ 3370959 w 5559217"/>
              <a:gd name="connsiteY107" fmla="*/ 1473243 h 2095778"/>
              <a:gd name="connsiteX108" fmla="*/ 3370959 w 5559217"/>
              <a:gd name="connsiteY108" fmla="*/ 1455451 h 2095778"/>
              <a:gd name="connsiteX109" fmla="*/ 3229012 w 5559217"/>
              <a:gd name="connsiteY109" fmla="*/ 1455451 h 2095778"/>
              <a:gd name="connsiteX110" fmla="*/ 3229012 w 5559217"/>
              <a:gd name="connsiteY110" fmla="*/ 1422896 h 2095778"/>
              <a:gd name="connsiteX111" fmla="*/ 3203887 w 5559217"/>
              <a:gd name="connsiteY111" fmla="*/ 1422896 h 2095778"/>
              <a:gd name="connsiteX112" fmla="*/ 3203887 w 5559217"/>
              <a:gd name="connsiteY112" fmla="*/ 1397772 h 2095778"/>
              <a:gd name="connsiteX113" fmla="*/ 3181696 w 5559217"/>
              <a:gd name="connsiteY113" fmla="*/ 1397772 h 2095778"/>
              <a:gd name="connsiteX114" fmla="*/ 3181696 w 5559217"/>
              <a:gd name="connsiteY114" fmla="*/ 1379980 h 2095778"/>
              <a:gd name="connsiteX115" fmla="*/ 2810501 w 5559217"/>
              <a:gd name="connsiteY115" fmla="*/ 1379980 h 2095778"/>
              <a:gd name="connsiteX116" fmla="*/ 2810501 w 5559217"/>
              <a:gd name="connsiteY116" fmla="*/ 1348892 h 2095778"/>
              <a:gd name="connsiteX117" fmla="*/ 2772082 w 5559217"/>
              <a:gd name="connsiteY117" fmla="*/ 1348892 h 2095778"/>
              <a:gd name="connsiteX118" fmla="*/ 2772082 w 5559217"/>
              <a:gd name="connsiteY118" fmla="*/ 1274986 h 2095778"/>
              <a:gd name="connsiteX119" fmla="*/ 2740994 w 5559217"/>
              <a:gd name="connsiteY119" fmla="*/ 1274986 h 2095778"/>
              <a:gd name="connsiteX120" fmla="*/ 2740994 w 5559217"/>
              <a:gd name="connsiteY120" fmla="*/ 1233535 h 2095778"/>
              <a:gd name="connsiteX121" fmla="*/ 2551731 w 5559217"/>
              <a:gd name="connsiteY121" fmla="*/ 1233535 h 2095778"/>
              <a:gd name="connsiteX122" fmla="*/ 2551731 w 5559217"/>
              <a:gd name="connsiteY122" fmla="*/ 1212810 h 2095778"/>
              <a:gd name="connsiteX123" fmla="*/ 2529539 w 5559217"/>
              <a:gd name="connsiteY123" fmla="*/ 1212810 h 2095778"/>
              <a:gd name="connsiteX124" fmla="*/ 2529539 w 5559217"/>
              <a:gd name="connsiteY124" fmla="*/ 1196582 h 2095778"/>
              <a:gd name="connsiteX125" fmla="*/ 2353571 w 5559217"/>
              <a:gd name="connsiteY125" fmla="*/ 1196582 h 2095778"/>
              <a:gd name="connsiteX126" fmla="*/ 2353571 w 5559217"/>
              <a:gd name="connsiteY126" fmla="*/ 1180354 h 2095778"/>
              <a:gd name="connsiteX127" fmla="*/ 2337343 w 5559217"/>
              <a:gd name="connsiteY127" fmla="*/ 1180354 h 2095778"/>
              <a:gd name="connsiteX128" fmla="*/ 2337343 w 5559217"/>
              <a:gd name="connsiteY128" fmla="*/ 1153763 h 2095778"/>
              <a:gd name="connsiteX129" fmla="*/ 2300390 w 5559217"/>
              <a:gd name="connsiteY129" fmla="*/ 1153763 h 2095778"/>
              <a:gd name="connsiteX130" fmla="*/ 2300390 w 5559217"/>
              <a:gd name="connsiteY130" fmla="*/ 1076826 h 2095778"/>
              <a:gd name="connsiteX131" fmla="*/ 2282597 w 5559217"/>
              <a:gd name="connsiteY131" fmla="*/ 1076826 h 2095778"/>
              <a:gd name="connsiteX132" fmla="*/ 2282597 w 5559217"/>
              <a:gd name="connsiteY132" fmla="*/ 998423 h 2095778"/>
              <a:gd name="connsiteX133" fmla="*/ 2239681 w 5559217"/>
              <a:gd name="connsiteY133" fmla="*/ 998423 h 2095778"/>
              <a:gd name="connsiteX134" fmla="*/ 2239681 w 5559217"/>
              <a:gd name="connsiteY134" fmla="*/ 961469 h 2095778"/>
              <a:gd name="connsiteX135" fmla="*/ 2184935 w 5559217"/>
              <a:gd name="connsiteY135" fmla="*/ 961469 h 2095778"/>
              <a:gd name="connsiteX136" fmla="*/ 2184935 w 5559217"/>
              <a:gd name="connsiteY136" fmla="*/ 951107 h 2095778"/>
              <a:gd name="connsiteX137" fmla="*/ 2153847 w 5559217"/>
              <a:gd name="connsiteY137" fmla="*/ 951107 h 2095778"/>
              <a:gd name="connsiteX138" fmla="*/ 2153847 w 5559217"/>
              <a:gd name="connsiteY138" fmla="*/ 940744 h 2095778"/>
              <a:gd name="connsiteX139" fmla="*/ 2034091 w 5559217"/>
              <a:gd name="connsiteY139" fmla="*/ 940744 h 2095778"/>
              <a:gd name="connsiteX140" fmla="*/ 2034091 w 5559217"/>
              <a:gd name="connsiteY140" fmla="*/ 930382 h 2095778"/>
              <a:gd name="connsiteX141" fmla="*/ 1912772 w 5559217"/>
              <a:gd name="connsiteY141" fmla="*/ 930382 h 2095778"/>
              <a:gd name="connsiteX142" fmla="*/ 1912772 w 5559217"/>
              <a:gd name="connsiteY142" fmla="*/ 915620 h 2095778"/>
              <a:gd name="connsiteX143" fmla="*/ 1861056 w 5559217"/>
              <a:gd name="connsiteY143" fmla="*/ 915620 h 2095778"/>
              <a:gd name="connsiteX144" fmla="*/ 1861056 w 5559217"/>
              <a:gd name="connsiteY144" fmla="*/ 902325 h 2095778"/>
              <a:gd name="connsiteX145" fmla="*/ 1832999 w 5559217"/>
              <a:gd name="connsiteY145" fmla="*/ 902325 h 2095778"/>
              <a:gd name="connsiteX146" fmla="*/ 1832999 w 5559217"/>
              <a:gd name="connsiteY146" fmla="*/ 758911 h 2095778"/>
              <a:gd name="connsiteX147" fmla="*/ 1804942 w 5559217"/>
              <a:gd name="connsiteY147" fmla="*/ 758911 h 2095778"/>
              <a:gd name="connsiteX148" fmla="*/ 1804942 w 5559217"/>
              <a:gd name="connsiteY148" fmla="*/ 733786 h 2095778"/>
              <a:gd name="connsiteX149" fmla="*/ 1731036 w 5559217"/>
              <a:gd name="connsiteY149" fmla="*/ 733786 h 2095778"/>
              <a:gd name="connsiteX150" fmla="*/ 1731036 w 5559217"/>
              <a:gd name="connsiteY150" fmla="*/ 724890 h 2095778"/>
              <a:gd name="connsiteX151" fmla="*/ 1634938 w 5559217"/>
              <a:gd name="connsiteY151" fmla="*/ 724890 h 2095778"/>
              <a:gd name="connsiteX152" fmla="*/ 1634938 w 5559217"/>
              <a:gd name="connsiteY152" fmla="*/ 701232 h 2095778"/>
              <a:gd name="connsiteX153" fmla="*/ 1581658 w 5559217"/>
              <a:gd name="connsiteY153" fmla="*/ 701232 h 2095778"/>
              <a:gd name="connsiteX154" fmla="*/ 1581658 w 5559217"/>
              <a:gd name="connsiteY154" fmla="*/ 674642 h 2095778"/>
              <a:gd name="connsiteX155" fmla="*/ 1417519 w 5559217"/>
              <a:gd name="connsiteY155" fmla="*/ 674642 h 2095778"/>
              <a:gd name="connsiteX156" fmla="*/ 1417519 w 5559217"/>
              <a:gd name="connsiteY156" fmla="*/ 664279 h 2095778"/>
              <a:gd name="connsiteX157" fmla="*/ 1396794 w 5559217"/>
              <a:gd name="connsiteY157" fmla="*/ 664279 h 2095778"/>
              <a:gd name="connsiteX158" fmla="*/ 1396794 w 5559217"/>
              <a:gd name="connsiteY158" fmla="*/ 636222 h 2095778"/>
              <a:gd name="connsiteX159" fmla="*/ 1383499 w 5559217"/>
              <a:gd name="connsiteY159" fmla="*/ 636222 h 2095778"/>
              <a:gd name="connsiteX160" fmla="*/ 1383499 w 5559217"/>
              <a:gd name="connsiteY160" fmla="*/ 581476 h 2095778"/>
              <a:gd name="connsiteX161" fmla="*/ 1364240 w 5559217"/>
              <a:gd name="connsiteY161" fmla="*/ 581476 h 2095778"/>
              <a:gd name="connsiteX162" fmla="*/ 1364240 w 5559217"/>
              <a:gd name="connsiteY162" fmla="*/ 495741 h 2095778"/>
              <a:gd name="connsiteX163" fmla="*/ 1346448 w 5559217"/>
              <a:gd name="connsiteY163" fmla="*/ 495741 h 2095778"/>
              <a:gd name="connsiteX164" fmla="*/ 1346448 w 5559217"/>
              <a:gd name="connsiteY164" fmla="*/ 480979 h 2095778"/>
              <a:gd name="connsiteX165" fmla="*/ 1337552 w 5559217"/>
              <a:gd name="connsiteY165" fmla="*/ 472083 h 2095778"/>
              <a:gd name="connsiteX166" fmla="*/ 1149755 w 5559217"/>
              <a:gd name="connsiteY166" fmla="*/ 472083 h 2095778"/>
              <a:gd name="connsiteX167" fmla="*/ 1149755 w 5559217"/>
              <a:gd name="connsiteY167" fmla="*/ 457321 h 2095778"/>
              <a:gd name="connsiteX168" fmla="*/ 1046227 w 5559217"/>
              <a:gd name="connsiteY168" fmla="*/ 457321 h 2095778"/>
              <a:gd name="connsiteX169" fmla="*/ 1046227 w 5559217"/>
              <a:gd name="connsiteY169" fmla="*/ 444026 h 2095778"/>
              <a:gd name="connsiteX170" fmla="*/ 976720 w 5559217"/>
              <a:gd name="connsiteY170" fmla="*/ 444026 h 2095778"/>
              <a:gd name="connsiteX171" fmla="*/ 976720 w 5559217"/>
              <a:gd name="connsiteY171" fmla="*/ 435130 h 2095778"/>
              <a:gd name="connsiteX172" fmla="*/ 953062 w 5559217"/>
              <a:gd name="connsiteY172" fmla="*/ 435130 h 2095778"/>
              <a:gd name="connsiteX173" fmla="*/ 953062 w 5559217"/>
              <a:gd name="connsiteY173" fmla="*/ 423790 h 2095778"/>
              <a:gd name="connsiteX174" fmla="*/ 927937 w 5559217"/>
              <a:gd name="connsiteY174" fmla="*/ 423790 h 2095778"/>
              <a:gd name="connsiteX175" fmla="*/ 927937 w 5559217"/>
              <a:gd name="connsiteY175" fmla="*/ 353793 h 2095778"/>
              <a:gd name="connsiteX176" fmla="*/ 914642 w 5559217"/>
              <a:gd name="connsiteY176" fmla="*/ 353793 h 2095778"/>
              <a:gd name="connsiteX177" fmla="*/ 914642 w 5559217"/>
              <a:gd name="connsiteY177" fmla="*/ 328669 h 2095778"/>
              <a:gd name="connsiteX178" fmla="*/ 889518 w 5559217"/>
              <a:gd name="connsiteY178" fmla="*/ 328669 h 2095778"/>
              <a:gd name="connsiteX179" fmla="*/ 889518 w 5559217"/>
              <a:gd name="connsiteY179" fmla="*/ 303545 h 2095778"/>
              <a:gd name="connsiteX180" fmla="*/ 812581 w 5559217"/>
              <a:gd name="connsiteY180" fmla="*/ 303545 h 2095778"/>
              <a:gd name="connsiteX181" fmla="*/ 812581 w 5559217"/>
              <a:gd name="connsiteY181" fmla="*/ 296115 h 2095778"/>
              <a:gd name="connsiteX182" fmla="*/ 679432 w 5559217"/>
              <a:gd name="connsiteY182" fmla="*/ 296115 h 2095778"/>
              <a:gd name="connsiteX183" fmla="*/ 679432 w 5559217"/>
              <a:gd name="connsiteY183" fmla="*/ 275390 h 2095778"/>
              <a:gd name="connsiteX184" fmla="*/ 593696 w 5559217"/>
              <a:gd name="connsiteY184" fmla="*/ 275390 h 2095778"/>
              <a:gd name="connsiteX185" fmla="*/ 593696 w 5559217"/>
              <a:gd name="connsiteY185" fmla="*/ 254665 h 2095778"/>
              <a:gd name="connsiteX186" fmla="*/ 484205 w 5559217"/>
              <a:gd name="connsiteY186" fmla="*/ 254665 h 2095778"/>
              <a:gd name="connsiteX187" fmla="*/ 484205 w 5559217"/>
              <a:gd name="connsiteY187" fmla="*/ 235406 h 2095778"/>
              <a:gd name="connsiteX188" fmla="*/ 464946 w 5559217"/>
              <a:gd name="connsiteY188" fmla="*/ 235406 h 2095778"/>
              <a:gd name="connsiteX189" fmla="*/ 464946 w 5559217"/>
              <a:gd name="connsiteY189" fmla="*/ 219178 h 2095778"/>
              <a:gd name="connsiteX190" fmla="*/ 433859 w 5559217"/>
              <a:gd name="connsiteY190" fmla="*/ 219178 h 2095778"/>
              <a:gd name="connsiteX191" fmla="*/ 433859 w 5559217"/>
              <a:gd name="connsiteY191" fmla="*/ 165899 h 2095778"/>
              <a:gd name="connsiteX192" fmla="*/ 420563 w 5559217"/>
              <a:gd name="connsiteY192" fmla="*/ 165899 h 2095778"/>
              <a:gd name="connsiteX193" fmla="*/ 420563 w 5559217"/>
              <a:gd name="connsiteY193" fmla="*/ 155536 h 2095778"/>
              <a:gd name="connsiteX194" fmla="*/ 388009 w 5559217"/>
              <a:gd name="connsiteY194" fmla="*/ 155536 h 2095778"/>
              <a:gd name="connsiteX195" fmla="*/ 388009 w 5559217"/>
              <a:gd name="connsiteY195" fmla="*/ 146640 h 2095778"/>
              <a:gd name="connsiteX196" fmla="*/ 349590 w 5559217"/>
              <a:gd name="connsiteY196" fmla="*/ 146640 h 2095778"/>
              <a:gd name="connsiteX197" fmla="*/ 349590 w 5559217"/>
              <a:gd name="connsiteY197" fmla="*/ 128848 h 2095778"/>
              <a:gd name="connsiteX198" fmla="*/ 327398 w 5559217"/>
              <a:gd name="connsiteY198" fmla="*/ 128848 h 2095778"/>
              <a:gd name="connsiteX199" fmla="*/ 327398 w 5559217"/>
              <a:gd name="connsiteY199" fmla="*/ 118485 h 2095778"/>
              <a:gd name="connsiteX200" fmla="*/ 262290 w 5559217"/>
              <a:gd name="connsiteY200" fmla="*/ 118485 h 2095778"/>
              <a:gd name="connsiteX201" fmla="*/ 262290 w 5559217"/>
              <a:gd name="connsiteY201" fmla="*/ 85931 h 2095778"/>
              <a:gd name="connsiteX202" fmla="*/ 189850 w 5559217"/>
              <a:gd name="connsiteY202" fmla="*/ 85931 h 2095778"/>
              <a:gd name="connsiteX203" fmla="*/ 189850 w 5559217"/>
              <a:gd name="connsiteY203" fmla="*/ 54843 h 2095778"/>
              <a:gd name="connsiteX204" fmla="*/ 133638 w 5559217"/>
              <a:gd name="connsiteY204" fmla="*/ 54843 h 2095778"/>
              <a:gd name="connsiteX205" fmla="*/ 133638 w 5559217"/>
              <a:gd name="connsiteY205" fmla="*/ 41548 h 2095778"/>
              <a:gd name="connsiteX206" fmla="*/ 112913 w 5559217"/>
              <a:gd name="connsiteY206" fmla="*/ 41548 h 2095778"/>
              <a:gd name="connsiteX207" fmla="*/ 112913 w 5559217"/>
              <a:gd name="connsiteY207" fmla="*/ 26884 h 2095778"/>
              <a:gd name="connsiteX208" fmla="*/ 49271 w 5559217"/>
              <a:gd name="connsiteY208" fmla="*/ 26884 h 2095778"/>
              <a:gd name="connsiteX209" fmla="*/ 49271 w 5559217"/>
              <a:gd name="connsiteY209" fmla="*/ 0 h 2095778"/>
              <a:gd name="connsiteX210" fmla="*/ 0 w 5559217"/>
              <a:gd name="connsiteY210" fmla="*/ 0 h 2095778"/>
              <a:gd name="connsiteX211" fmla="*/ 49271 w 5559217"/>
              <a:gd name="connsiteY211" fmla="*/ 0 h 2095778"/>
              <a:gd name="connsiteX212" fmla="*/ 49271 w 5559217"/>
              <a:gd name="connsiteY212" fmla="*/ 26884 h 2095778"/>
              <a:gd name="connsiteX213" fmla="*/ 170298 w 5559217"/>
              <a:gd name="connsiteY213" fmla="*/ 26884 h 2095778"/>
              <a:gd name="connsiteX214" fmla="*/ 170298 w 5559217"/>
              <a:gd name="connsiteY214" fmla="*/ 40375 h 2095778"/>
              <a:gd name="connsiteX215" fmla="*/ 228563 w 5559217"/>
              <a:gd name="connsiteY215" fmla="*/ 40375 h 2095778"/>
              <a:gd name="connsiteX216" fmla="*/ 228563 w 5559217"/>
              <a:gd name="connsiteY216" fmla="*/ 78501 h 2095778"/>
              <a:gd name="connsiteX217" fmla="*/ 259944 w 5559217"/>
              <a:gd name="connsiteY217" fmla="*/ 78501 h 2095778"/>
              <a:gd name="connsiteX218" fmla="*/ 259944 w 5559217"/>
              <a:gd name="connsiteY218" fmla="*/ 98640 h 2095778"/>
              <a:gd name="connsiteX219" fmla="*/ 356335 w 5559217"/>
              <a:gd name="connsiteY219" fmla="*/ 98640 h 2095778"/>
              <a:gd name="connsiteX220" fmla="*/ 356335 w 5559217"/>
              <a:gd name="connsiteY220" fmla="*/ 118778 h 2095778"/>
              <a:gd name="connsiteX221" fmla="*/ 416848 w 5559217"/>
              <a:gd name="connsiteY221" fmla="*/ 118778 h 2095778"/>
              <a:gd name="connsiteX222" fmla="*/ 416848 w 5559217"/>
              <a:gd name="connsiteY222" fmla="*/ 130021 h 2095778"/>
              <a:gd name="connsiteX223" fmla="*/ 486356 w 5559217"/>
              <a:gd name="connsiteY223" fmla="*/ 130021 h 2095778"/>
              <a:gd name="connsiteX224" fmla="*/ 486356 w 5559217"/>
              <a:gd name="connsiteY224" fmla="*/ 143512 h 2095778"/>
              <a:gd name="connsiteX225" fmla="*/ 730658 w 5559217"/>
              <a:gd name="connsiteY225" fmla="*/ 143512 h 2095778"/>
              <a:gd name="connsiteX226" fmla="*/ 730658 w 5559217"/>
              <a:gd name="connsiteY226" fmla="*/ 172644 h 2095778"/>
              <a:gd name="connsiteX227" fmla="*/ 836043 w 5559217"/>
              <a:gd name="connsiteY227" fmla="*/ 172644 h 2095778"/>
              <a:gd name="connsiteX228" fmla="*/ 836043 w 5559217"/>
              <a:gd name="connsiteY228" fmla="*/ 201777 h 2095778"/>
              <a:gd name="connsiteX229" fmla="*/ 883164 w 5559217"/>
              <a:gd name="connsiteY229" fmla="*/ 201777 h 2095778"/>
              <a:gd name="connsiteX230" fmla="*/ 883164 w 5559217"/>
              <a:gd name="connsiteY230" fmla="*/ 215267 h 2095778"/>
              <a:gd name="connsiteX231" fmla="*/ 925787 w 5559217"/>
              <a:gd name="connsiteY231" fmla="*/ 215267 h 2095778"/>
              <a:gd name="connsiteX232" fmla="*/ 925787 w 5559217"/>
              <a:gd name="connsiteY232" fmla="*/ 231007 h 2095778"/>
              <a:gd name="connsiteX233" fmla="*/ 959416 w 5559217"/>
              <a:gd name="connsiteY233" fmla="*/ 231007 h 2095778"/>
              <a:gd name="connsiteX234" fmla="*/ 959416 w 5559217"/>
              <a:gd name="connsiteY234" fmla="*/ 255642 h 2095778"/>
              <a:gd name="connsiteX235" fmla="*/ 1026675 w 5559217"/>
              <a:gd name="connsiteY235" fmla="*/ 255642 h 2095778"/>
              <a:gd name="connsiteX236" fmla="*/ 1026675 w 5559217"/>
              <a:gd name="connsiteY236" fmla="*/ 278029 h 2095778"/>
              <a:gd name="connsiteX237" fmla="*/ 1192574 w 5559217"/>
              <a:gd name="connsiteY237" fmla="*/ 278029 h 2095778"/>
              <a:gd name="connsiteX238" fmla="*/ 1192574 w 5559217"/>
              <a:gd name="connsiteY238" fmla="*/ 291520 h 2095778"/>
              <a:gd name="connsiteX239" fmla="*/ 1347230 w 5559217"/>
              <a:gd name="connsiteY239" fmla="*/ 291520 h 2095778"/>
              <a:gd name="connsiteX240" fmla="*/ 1347230 w 5559217"/>
              <a:gd name="connsiteY240" fmla="*/ 318404 h 2095778"/>
              <a:gd name="connsiteX241" fmla="*/ 1394350 w 5559217"/>
              <a:gd name="connsiteY241" fmla="*/ 318404 h 2095778"/>
              <a:gd name="connsiteX242" fmla="*/ 1394350 w 5559217"/>
              <a:gd name="connsiteY242" fmla="*/ 343040 h 2095778"/>
              <a:gd name="connsiteX243" fmla="*/ 1416737 w 5559217"/>
              <a:gd name="connsiteY243" fmla="*/ 343040 h 2095778"/>
              <a:gd name="connsiteX244" fmla="*/ 1416737 w 5559217"/>
              <a:gd name="connsiteY244" fmla="*/ 396808 h 2095778"/>
              <a:gd name="connsiteX245" fmla="*/ 1672282 w 5559217"/>
              <a:gd name="connsiteY245" fmla="*/ 396808 h 2095778"/>
              <a:gd name="connsiteX246" fmla="*/ 1672282 w 5559217"/>
              <a:gd name="connsiteY246" fmla="*/ 410299 h 2095778"/>
              <a:gd name="connsiteX247" fmla="*/ 1815794 w 5559217"/>
              <a:gd name="connsiteY247" fmla="*/ 410299 h 2095778"/>
              <a:gd name="connsiteX0" fmla="*/ 1815989 w 5559218"/>
              <a:gd name="connsiteY0" fmla="*/ 423398 h 2095778"/>
              <a:gd name="connsiteX1" fmla="*/ 1827916 w 5559218"/>
              <a:gd name="connsiteY1" fmla="*/ 423398 h 2095778"/>
              <a:gd name="connsiteX2" fmla="*/ 1827916 w 5559218"/>
              <a:gd name="connsiteY2" fmla="*/ 442071 h 2095778"/>
              <a:gd name="connsiteX3" fmla="*/ 1852551 w 5559218"/>
              <a:gd name="connsiteY3" fmla="*/ 442071 h 2095778"/>
              <a:gd name="connsiteX4" fmla="*/ 1852551 w 5559218"/>
              <a:gd name="connsiteY4" fmla="*/ 462991 h 2095778"/>
              <a:gd name="connsiteX5" fmla="*/ 1860763 w 5559218"/>
              <a:gd name="connsiteY5" fmla="*/ 462991 h 2095778"/>
              <a:gd name="connsiteX6" fmla="*/ 1860763 w 5559218"/>
              <a:gd name="connsiteY6" fmla="*/ 481663 h 2095778"/>
              <a:gd name="connsiteX7" fmla="*/ 1872690 w 5559218"/>
              <a:gd name="connsiteY7" fmla="*/ 481663 h 2095778"/>
              <a:gd name="connsiteX8" fmla="*/ 1872690 w 5559218"/>
              <a:gd name="connsiteY8" fmla="*/ 501118 h 2095778"/>
              <a:gd name="connsiteX9" fmla="*/ 1888429 w 5559218"/>
              <a:gd name="connsiteY9" fmla="*/ 501118 h 2095778"/>
              <a:gd name="connsiteX10" fmla="*/ 1888429 w 5559218"/>
              <a:gd name="connsiteY10" fmla="*/ 518323 h 2095778"/>
              <a:gd name="connsiteX11" fmla="*/ 1898108 w 5559218"/>
              <a:gd name="connsiteY11" fmla="*/ 518323 h 2095778"/>
              <a:gd name="connsiteX12" fmla="*/ 1898108 w 5559218"/>
              <a:gd name="connsiteY12" fmla="*/ 532499 h 2095778"/>
              <a:gd name="connsiteX13" fmla="*/ 1915313 w 5559218"/>
              <a:gd name="connsiteY13" fmla="*/ 532499 h 2095778"/>
              <a:gd name="connsiteX14" fmla="*/ 1915313 w 5559218"/>
              <a:gd name="connsiteY14" fmla="*/ 542959 h 2095778"/>
              <a:gd name="connsiteX15" fmla="*/ 1960869 w 5559218"/>
              <a:gd name="connsiteY15" fmla="*/ 542959 h 2095778"/>
              <a:gd name="connsiteX16" fmla="*/ 1960869 w 5559218"/>
              <a:gd name="connsiteY16" fmla="*/ 560849 h 2095778"/>
              <a:gd name="connsiteX17" fmla="*/ 2101350 w 5559218"/>
              <a:gd name="connsiteY17" fmla="*/ 560849 h 2095778"/>
              <a:gd name="connsiteX18" fmla="*/ 2101350 w 5559218"/>
              <a:gd name="connsiteY18" fmla="*/ 580303 h 2095778"/>
              <a:gd name="connsiteX19" fmla="*/ 2189530 w 5559218"/>
              <a:gd name="connsiteY19" fmla="*/ 580303 h 2095778"/>
              <a:gd name="connsiteX20" fmla="*/ 2189530 w 5559218"/>
              <a:gd name="connsiteY20" fmla="*/ 610902 h 2095778"/>
              <a:gd name="connsiteX21" fmla="*/ 2208202 w 5559218"/>
              <a:gd name="connsiteY21" fmla="*/ 610902 h 2095778"/>
              <a:gd name="connsiteX22" fmla="*/ 2208202 w 5559218"/>
              <a:gd name="connsiteY22" fmla="*/ 617648 h 2095778"/>
              <a:gd name="connsiteX23" fmla="*/ 2236553 w 5559218"/>
              <a:gd name="connsiteY23" fmla="*/ 617648 h 2095778"/>
              <a:gd name="connsiteX24" fmla="*/ 2236553 w 5559218"/>
              <a:gd name="connsiteY24" fmla="*/ 639350 h 2095778"/>
              <a:gd name="connsiteX25" fmla="*/ 2267151 w 5559218"/>
              <a:gd name="connsiteY25" fmla="*/ 639350 h 2095778"/>
              <a:gd name="connsiteX26" fmla="*/ 2267151 w 5559218"/>
              <a:gd name="connsiteY26" fmla="*/ 648344 h 2095778"/>
              <a:gd name="connsiteX27" fmla="*/ 2288072 w 5559218"/>
              <a:gd name="connsiteY27" fmla="*/ 648344 h 2095778"/>
              <a:gd name="connsiteX28" fmla="*/ 2288072 w 5559218"/>
              <a:gd name="connsiteY28" fmla="*/ 677477 h 2095778"/>
              <a:gd name="connsiteX29" fmla="*/ 2312023 w 5559218"/>
              <a:gd name="connsiteY29" fmla="*/ 677477 h 2095778"/>
              <a:gd name="connsiteX30" fmla="*/ 2312023 w 5559218"/>
              <a:gd name="connsiteY30" fmla="*/ 699179 h 2095778"/>
              <a:gd name="connsiteX31" fmla="*/ 2374003 w 5559218"/>
              <a:gd name="connsiteY31" fmla="*/ 699179 h 2095778"/>
              <a:gd name="connsiteX32" fmla="*/ 2374003 w 5559218"/>
              <a:gd name="connsiteY32" fmla="*/ 715603 h 2095778"/>
              <a:gd name="connsiteX33" fmla="*/ 2538435 w 5559218"/>
              <a:gd name="connsiteY33" fmla="*/ 715603 h 2095778"/>
              <a:gd name="connsiteX34" fmla="*/ 2538435 w 5559218"/>
              <a:gd name="connsiteY34" fmla="*/ 726845 h 2095778"/>
              <a:gd name="connsiteX35" fmla="*/ 2551926 w 5559218"/>
              <a:gd name="connsiteY35" fmla="*/ 726845 h 2095778"/>
              <a:gd name="connsiteX36" fmla="*/ 2551926 w 5559218"/>
              <a:gd name="connsiteY36" fmla="*/ 736524 h 2095778"/>
              <a:gd name="connsiteX37" fmla="*/ 2578810 w 5559218"/>
              <a:gd name="connsiteY37" fmla="*/ 736524 h 2095778"/>
              <a:gd name="connsiteX38" fmla="*/ 2578810 w 5559218"/>
              <a:gd name="connsiteY38" fmla="*/ 747766 h 2095778"/>
              <a:gd name="connsiteX39" fmla="*/ 2752920 w 5559218"/>
              <a:gd name="connsiteY39" fmla="*/ 747766 h 2095778"/>
              <a:gd name="connsiteX40" fmla="*/ 2752920 w 5559218"/>
              <a:gd name="connsiteY40" fmla="*/ 795571 h 2095778"/>
              <a:gd name="connsiteX41" fmla="*/ 2798477 w 5559218"/>
              <a:gd name="connsiteY41" fmla="*/ 795571 h 2095778"/>
              <a:gd name="connsiteX42" fmla="*/ 2798477 w 5559218"/>
              <a:gd name="connsiteY42" fmla="*/ 803000 h 2095778"/>
              <a:gd name="connsiteX43" fmla="*/ 3043561 w 5559218"/>
              <a:gd name="connsiteY43" fmla="*/ 803000 h 2095778"/>
              <a:gd name="connsiteX44" fmla="*/ 3043561 w 5559218"/>
              <a:gd name="connsiteY44" fmla="*/ 830666 h 2095778"/>
              <a:gd name="connsiteX45" fmla="*/ 3196751 w 5559218"/>
              <a:gd name="connsiteY45" fmla="*/ 830666 h 2095778"/>
              <a:gd name="connsiteX46" fmla="*/ 3196751 w 5559218"/>
              <a:gd name="connsiteY46" fmla="*/ 861265 h 2095778"/>
              <a:gd name="connsiteX47" fmla="*/ 3214641 w 5559218"/>
              <a:gd name="connsiteY47" fmla="*/ 861265 h 2095778"/>
              <a:gd name="connsiteX48" fmla="*/ 3214641 w 5559218"/>
              <a:gd name="connsiteY48" fmla="*/ 891180 h 2095778"/>
              <a:gd name="connsiteX49" fmla="*/ 3237028 w 5559218"/>
              <a:gd name="connsiteY49" fmla="*/ 891180 h 2095778"/>
              <a:gd name="connsiteX50" fmla="*/ 3237028 w 5559218"/>
              <a:gd name="connsiteY50" fmla="*/ 910634 h 2095778"/>
              <a:gd name="connsiteX51" fmla="*/ 3246706 w 5559218"/>
              <a:gd name="connsiteY51" fmla="*/ 910634 h 2095778"/>
              <a:gd name="connsiteX52" fmla="*/ 3246706 w 5559218"/>
              <a:gd name="connsiteY52" fmla="*/ 930088 h 2095778"/>
              <a:gd name="connsiteX53" fmla="*/ 3264596 w 5559218"/>
              <a:gd name="connsiteY53" fmla="*/ 930088 h 2095778"/>
              <a:gd name="connsiteX54" fmla="*/ 3264596 w 5559218"/>
              <a:gd name="connsiteY54" fmla="*/ 973396 h 2095778"/>
              <a:gd name="connsiteX55" fmla="*/ 3504499 w 5559218"/>
              <a:gd name="connsiteY55" fmla="*/ 973396 h 2095778"/>
              <a:gd name="connsiteX56" fmla="*/ 3504499 w 5559218"/>
              <a:gd name="connsiteY56" fmla="*/ 997347 h 2095778"/>
              <a:gd name="connsiteX57" fmla="*/ 3666683 w 5559218"/>
              <a:gd name="connsiteY57" fmla="*/ 997347 h 2095778"/>
              <a:gd name="connsiteX58" fmla="*/ 3666683 w 5559218"/>
              <a:gd name="connsiteY58" fmla="*/ 1031759 h 2095778"/>
              <a:gd name="connsiteX59" fmla="*/ 3684573 w 5559218"/>
              <a:gd name="connsiteY59" fmla="*/ 1031759 h 2095778"/>
              <a:gd name="connsiteX60" fmla="*/ 3684573 w 5559218"/>
              <a:gd name="connsiteY60" fmla="*/ 1059425 h 2095778"/>
              <a:gd name="connsiteX61" fmla="*/ 3704712 w 5559218"/>
              <a:gd name="connsiteY61" fmla="*/ 1059425 h 2095778"/>
              <a:gd name="connsiteX62" fmla="*/ 3704712 w 5559218"/>
              <a:gd name="connsiteY62" fmla="*/ 1164810 h 2095778"/>
              <a:gd name="connsiteX63" fmla="*/ 3724850 w 5559218"/>
              <a:gd name="connsiteY63" fmla="*/ 1164810 h 2095778"/>
              <a:gd name="connsiteX64" fmla="*/ 3724850 w 5559218"/>
              <a:gd name="connsiteY64" fmla="*/ 1175270 h 2095778"/>
              <a:gd name="connsiteX65" fmla="*/ 4111882 w 5559218"/>
              <a:gd name="connsiteY65" fmla="*/ 1175270 h 2095778"/>
              <a:gd name="connsiteX66" fmla="*/ 4111882 w 5559218"/>
              <a:gd name="connsiteY66" fmla="*/ 1314285 h 2095778"/>
              <a:gd name="connsiteX67" fmla="*/ 4184322 w 5559218"/>
              <a:gd name="connsiteY67" fmla="*/ 1314285 h 2095778"/>
              <a:gd name="connsiteX68" fmla="*/ 4184322 w 5559218"/>
              <a:gd name="connsiteY68" fmla="*/ 1349381 h 2095778"/>
              <a:gd name="connsiteX69" fmla="*/ 4249332 w 5559218"/>
              <a:gd name="connsiteY69" fmla="*/ 1349381 h 2095778"/>
              <a:gd name="connsiteX70" fmla="*/ 4249332 w 5559218"/>
              <a:gd name="connsiteY70" fmla="*/ 1377047 h 2095778"/>
              <a:gd name="connsiteX71" fmla="*/ 4338294 w 5559218"/>
              <a:gd name="connsiteY71" fmla="*/ 1377047 h 2095778"/>
              <a:gd name="connsiteX72" fmla="*/ 4338294 w 5559218"/>
              <a:gd name="connsiteY72" fmla="*/ 1411459 h 2095778"/>
              <a:gd name="connsiteX73" fmla="*/ 4569203 w 5559218"/>
              <a:gd name="connsiteY73" fmla="*/ 1411459 h 2095778"/>
              <a:gd name="connsiteX74" fmla="*/ 4569203 w 5559218"/>
              <a:gd name="connsiteY74" fmla="*/ 1441373 h 2095778"/>
              <a:gd name="connsiteX75" fmla="*/ 4592372 w 5559218"/>
              <a:gd name="connsiteY75" fmla="*/ 1441373 h 2095778"/>
              <a:gd name="connsiteX76" fmla="*/ 4592372 w 5559218"/>
              <a:gd name="connsiteY76" fmla="*/ 1516062 h 2095778"/>
              <a:gd name="connsiteX77" fmla="*/ 4644674 w 5559218"/>
              <a:gd name="connsiteY77" fmla="*/ 1516062 h 2095778"/>
              <a:gd name="connsiteX78" fmla="*/ 4644674 w 5559218"/>
              <a:gd name="connsiteY78" fmla="*/ 1567581 h 2095778"/>
              <a:gd name="connsiteX79" fmla="*/ 5093001 w 5559218"/>
              <a:gd name="connsiteY79" fmla="*/ 1567581 h 2095778"/>
              <a:gd name="connsiteX80" fmla="*/ 5093001 w 5559218"/>
              <a:gd name="connsiteY80" fmla="*/ 1744615 h 2095778"/>
              <a:gd name="connsiteX81" fmla="*/ 5559218 w 5559218"/>
              <a:gd name="connsiteY81" fmla="*/ 1761146 h 2095778"/>
              <a:gd name="connsiteX82" fmla="*/ 5559218 w 5559218"/>
              <a:gd name="connsiteY82" fmla="*/ 2095778 h 2095778"/>
              <a:gd name="connsiteX83" fmla="*/ 5068854 w 5559218"/>
              <a:gd name="connsiteY83" fmla="*/ 2095778 h 2095778"/>
              <a:gd name="connsiteX84" fmla="*/ 5068854 w 5559218"/>
              <a:gd name="connsiteY84" fmla="*/ 1828112 h 2095778"/>
              <a:gd name="connsiteX85" fmla="*/ 5058492 w 5559218"/>
              <a:gd name="connsiteY85" fmla="*/ 1828112 h 2095778"/>
              <a:gd name="connsiteX86" fmla="*/ 5058492 w 5559218"/>
              <a:gd name="connsiteY86" fmla="*/ 1761146 h 2095778"/>
              <a:gd name="connsiteX87" fmla="*/ 4740478 w 5559218"/>
              <a:gd name="connsiteY87" fmla="*/ 1761146 h 2095778"/>
              <a:gd name="connsiteX88" fmla="*/ 4740478 w 5559218"/>
              <a:gd name="connsiteY88" fmla="*/ 1724584 h 2095778"/>
              <a:gd name="connsiteX89" fmla="*/ 4579272 w 5559218"/>
              <a:gd name="connsiteY89" fmla="*/ 1724584 h 2095778"/>
              <a:gd name="connsiteX90" fmla="*/ 4579272 w 5559218"/>
              <a:gd name="connsiteY90" fmla="*/ 1665439 h 2095778"/>
              <a:gd name="connsiteX91" fmla="*/ 4162228 w 5559218"/>
              <a:gd name="connsiteY91" fmla="*/ 1665439 h 2095778"/>
              <a:gd name="connsiteX92" fmla="*/ 4162228 w 5559218"/>
              <a:gd name="connsiteY92" fmla="*/ 1631418 h 2095778"/>
              <a:gd name="connsiteX93" fmla="*/ 4110513 w 5559218"/>
              <a:gd name="connsiteY93" fmla="*/ 1631418 h 2095778"/>
              <a:gd name="connsiteX94" fmla="*/ 4110513 w 5559218"/>
              <a:gd name="connsiteY94" fmla="*/ 1584103 h 2095778"/>
              <a:gd name="connsiteX95" fmla="*/ 3722993 w 5559218"/>
              <a:gd name="connsiteY95" fmla="*/ 1584103 h 2095778"/>
              <a:gd name="connsiteX96" fmla="*/ 3722993 w 5559218"/>
              <a:gd name="connsiteY96" fmla="*/ 1547149 h 2095778"/>
              <a:gd name="connsiteX97" fmla="*/ 3687408 w 5559218"/>
              <a:gd name="connsiteY97" fmla="*/ 1547149 h 2095778"/>
              <a:gd name="connsiteX98" fmla="*/ 3687408 w 5559218"/>
              <a:gd name="connsiteY98" fmla="*/ 1532388 h 2095778"/>
              <a:gd name="connsiteX99" fmla="*/ 3665314 w 5559218"/>
              <a:gd name="connsiteY99" fmla="*/ 1532388 h 2095778"/>
              <a:gd name="connsiteX100" fmla="*/ 3665314 w 5559218"/>
              <a:gd name="connsiteY100" fmla="*/ 1508730 h 2095778"/>
              <a:gd name="connsiteX101" fmla="*/ 3545558 w 5559218"/>
              <a:gd name="connsiteY101" fmla="*/ 1508730 h 2095778"/>
              <a:gd name="connsiteX102" fmla="*/ 3545558 w 5559218"/>
              <a:gd name="connsiteY102" fmla="*/ 1496901 h 2095778"/>
              <a:gd name="connsiteX103" fmla="*/ 3501175 w 5559218"/>
              <a:gd name="connsiteY103" fmla="*/ 1496901 h 2095778"/>
              <a:gd name="connsiteX104" fmla="*/ 3501175 w 5559218"/>
              <a:gd name="connsiteY104" fmla="*/ 1486538 h 2095778"/>
              <a:gd name="connsiteX105" fmla="*/ 3436067 w 5559218"/>
              <a:gd name="connsiteY105" fmla="*/ 1486538 h 2095778"/>
              <a:gd name="connsiteX106" fmla="*/ 3436067 w 5559218"/>
              <a:gd name="connsiteY106" fmla="*/ 1473243 h 2095778"/>
              <a:gd name="connsiteX107" fmla="*/ 3370959 w 5559218"/>
              <a:gd name="connsiteY107" fmla="*/ 1473243 h 2095778"/>
              <a:gd name="connsiteX108" fmla="*/ 3370959 w 5559218"/>
              <a:gd name="connsiteY108" fmla="*/ 1455451 h 2095778"/>
              <a:gd name="connsiteX109" fmla="*/ 3229012 w 5559218"/>
              <a:gd name="connsiteY109" fmla="*/ 1455451 h 2095778"/>
              <a:gd name="connsiteX110" fmla="*/ 3229012 w 5559218"/>
              <a:gd name="connsiteY110" fmla="*/ 1422896 h 2095778"/>
              <a:gd name="connsiteX111" fmla="*/ 3203887 w 5559218"/>
              <a:gd name="connsiteY111" fmla="*/ 1422896 h 2095778"/>
              <a:gd name="connsiteX112" fmla="*/ 3203887 w 5559218"/>
              <a:gd name="connsiteY112" fmla="*/ 1397772 h 2095778"/>
              <a:gd name="connsiteX113" fmla="*/ 3181696 w 5559218"/>
              <a:gd name="connsiteY113" fmla="*/ 1397772 h 2095778"/>
              <a:gd name="connsiteX114" fmla="*/ 3181696 w 5559218"/>
              <a:gd name="connsiteY114" fmla="*/ 1379980 h 2095778"/>
              <a:gd name="connsiteX115" fmla="*/ 2810501 w 5559218"/>
              <a:gd name="connsiteY115" fmla="*/ 1379980 h 2095778"/>
              <a:gd name="connsiteX116" fmla="*/ 2810501 w 5559218"/>
              <a:gd name="connsiteY116" fmla="*/ 1348892 h 2095778"/>
              <a:gd name="connsiteX117" fmla="*/ 2772082 w 5559218"/>
              <a:gd name="connsiteY117" fmla="*/ 1348892 h 2095778"/>
              <a:gd name="connsiteX118" fmla="*/ 2772082 w 5559218"/>
              <a:gd name="connsiteY118" fmla="*/ 1274986 h 2095778"/>
              <a:gd name="connsiteX119" fmla="*/ 2740994 w 5559218"/>
              <a:gd name="connsiteY119" fmla="*/ 1274986 h 2095778"/>
              <a:gd name="connsiteX120" fmla="*/ 2740994 w 5559218"/>
              <a:gd name="connsiteY120" fmla="*/ 1233535 h 2095778"/>
              <a:gd name="connsiteX121" fmla="*/ 2551731 w 5559218"/>
              <a:gd name="connsiteY121" fmla="*/ 1233535 h 2095778"/>
              <a:gd name="connsiteX122" fmla="*/ 2551731 w 5559218"/>
              <a:gd name="connsiteY122" fmla="*/ 1212810 h 2095778"/>
              <a:gd name="connsiteX123" fmla="*/ 2529539 w 5559218"/>
              <a:gd name="connsiteY123" fmla="*/ 1212810 h 2095778"/>
              <a:gd name="connsiteX124" fmla="*/ 2529539 w 5559218"/>
              <a:gd name="connsiteY124" fmla="*/ 1196582 h 2095778"/>
              <a:gd name="connsiteX125" fmla="*/ 2353571 w 5559218"/>
              <a:gd name="connsiteY125" fmla="*/ 1196582 h 2095778"/>
              <a:gd name="connsiteX126" fmla="*/ 2353571 w 5559218"/>
              <a:gd name="connsiteY126" fmla="*/ 1180354 h 2095778"/>
              <a:gd name="connsiteX127" fmla="*/ 2337343 w 5559218"/>
              <a:gd name="connsiteY127" fmla="*/ 1180354 h 2095778"/>
              <a:gd name="connsiteX128" fmla="*/ 2337343 w 5559218"/>
              <a:gd name="connsiteY128" fmla="*/ 1153763 h 2095778"/>
              <a:gd name="connsiteX129" fmla="*/ 2300390 w 5559218"/>
              <a:gd name="connsiteY129" fmla="*/ 1153763 h 2095778"/>
              <a:gd name="connsiteX130" fmla="*/ 2300390 w 5559218"/>
              <a:gd name="connsiteY130" fmla="*/ 1076826 h 2095778"/>
              <a:gd name="connsiteX131" fmla="*/ 2282597 w 5559218"/>
              <a:gd name="connsiteY131" fmla="*/ 1076826 h 2095778"/>
              <a:gd name="connsiteX132" fmla="*/ 2282597 w 5559218"/>
              <a:gd name="connsiteY132" fmla="*/ 998423 h 2095778"/>
              <a:gd name="connsiteX133" fmla="*/ 2239681 w 5559218"/>
              <a:gd name="connsiteY133" fmla="*/ 998423 h 2095778"/>
              <a:gd name="connsiteX134" fmla="*/ 2239681 w 5559218"/>
              <a:gd name="connsiteY134" fmla="*/ 961469 h 2095778"/>
              <a:gd name="connsiteX135" fmla="*/ 2184935 w 5559218"/>
              <a:gd name="connsiteY135" fmla="*/ 961469 h 2095778"/>
              <a:gd name="connsiteX136" fmla="*/ 2184935 w 5559218"/>
              <a:gd name="connsiteY136" fmla="*/ 951107 h 2095778"/>
              <a:gd name="connsiteX137" fmla="*/ 2153847 w 5559218"/>
              <a:gd name="connsiteY137" fmla="*/ 951107 h 2095778"/>
              <a:gd name="connsiteX138" fmla="*/ 2153847 w 5559218"/>
              <a:gd name="connsiteY138" fmla="*/ 940744 h 2095778"/>
              <a:gd name="connsiteX139" fmla="*/ 2034091 w 5559218"/>
              <a:gd name="connsiteY139" fmla="*/ 940744 h 2095778"/>
              <a:gd name="connsiteX140" fmla="*/ 2034091 w 5559218"/>
              <a:gd name="connsiteY140" fmla="*/ 930382 h 2095778"/>
              <a:gd name="connsiteX141" fmla="*/ 1912772 w 5559218"/>
              <a:gd name="connsiteY141" fmla="*/ 930382 h 2095778"/>
              <a:gd name="connsiteX142" fmla="*/ 1912772 w 5559218"/>
              <a:gd name="connsiteY142" fmla="*/ 915620 h 2095778"/>
              <a:gd name="connsiteX143" fmla="*/ 1861056 w 5559218"/>
              <a:gd name="connsiteY143" fmla="*/ 915620 h 2095778"/>
              <a:gd name="connsiteX144" fmla="*/ 1861056 w 5559218"/>
              <a:gd name="connsiteY144" fmla="*/ 902325 h 2095778"/>
              <a:gd name="connsiteX145" fmla="*/ 1832999 w 5559218"/>
              <a:gd name="connsiteY145" fmla="*/ 902325 h 2095778"/>
              <a:gd name="connsiteX146" fmla="*/ 1832999 w 5559218"/>
              <a:gd name="connsiteY146" fmla="*/ 758911 h 2095778"/>
              <a:gd name="connsiteX147" fmla="*/ 1804942 w 5559218"/>
              <a:gd name="connsiteY147" fmla="*/ 758911 h 2095778"/>
              <a:gd name="connsiteX148" fmla="*/ 1804942 w 5559218"/>
              <a:gd name="connsiteY148" fmla="*/ 733786 h 2095778"/>
              <a:gd name="connsiteX149" fmla="*/ 1731036 w 5559218"/>
              <a:gd name="connsiteY149" fmla="*/ 733786 h 2095778"/>
              <a:gd name="connsiteX150" fmla="*/ 1731036 w 5559218"/>
              <a:gd name="connsiteY150" fmla="*/ 724890 h 2095778"/>
              <a:gd name="connsiteX151" fmla="*/ 1634938 w 5559218"/>
              <a:gd name="connsiteY151" fmla="*/ 724890 h 2095778"/>
              <a:gd name="connsiteX152" fmla="*/ 1634938 w 5559218"/>
              <a:gd name="connsiteY152" fmla="*/ 701232 h 2095778"/>
              <a:gd name="connsiteX153" fmla="*/ 1581658 w 5559218"/>
              <a:gd name="connsiteY153" fmla="*/ 701232 h 2095778"/>
              <a:gd name="connsiteX154" fmla="*/ 1581658 w 5559218"/>
              <a:gd name="connsiteY154" fmla="*/ 674642 h 2095778"/>
              <a:gd name="connsiteX155" fmla="*/ 1417519 w 5559218"/>
              <a:gd name="connsiteY155" fmla="*/ 674642 h 2095778"/>
              <a:gd name="connsiteX156" fmla="*/ 1417519 w 5559218"/>
              <a:gd name="connsiteY156" fmla="*/ 664279 h 2095778"/>
              <a:gd name="connsiteX157" fmla="*/ 1396794 w 5559218"/>
              <a:gd name="connsiteY157" fmla="*/ 664279 h 2095778"/>
              <a:gd name="connsiteX158" fmla="*/ 1396794 w 5559218"/>
              <a:gd name="connsiteY158" fmla="*/ 636222 h 2095778"/>
              <a:gd name="connsiteX159" fmla="*/ 1383499 w 5559218"/>
              <a:gd name="connsiteY159" fmla="*/ 636222 h 2095778"/>
              <a:gd name="connsiteX160" fmla="*/ 1383499 w 5559218"/>
              <a:gd name="connsiteY160" fmla="*/ 581476 h 2095778"/>
              <a:gd name="connsiteX161" fmla="*/ 1364240 w 5559218"/>
              <a:gd name="connsiteY161" fmla="*/ 581476 h 2095778"/>
              <a:gd name="connsiteX162" fmla="*/ 1364240 w 5559218"/>
              <a:gd name="connsiteY162" fmla="*/ 495741 h 2095778"/>
              <a:gd name="connsiteX163" fmla="*/ 1346448 w 5559218"/>
              <a:gd name="connsiteY163" fmla="*/ 495741 h 2095778"/>
              <a:gd name="connsiteX164" fmla="*/ 1346448 w 5559218"/>
              <a:gd name="connsiteY164" fmla="*/ 480979 h 2095778"/>
              <a:gd name="connsiteX165" fmla="*/ 1337552 w 5559218"/>
              <a:gd name="connsiteY165" fmla="*/ 472083 h 2095778"/>
              <a:gd name="connsiteX166" fmla="*/ 1149755 w 5559218"/>
              <a:gd name="connsiteY166" fmla="*/ 472083 h 2095778"/>
              <a:gd name="connsiteX167" fmla="*/ 1149755 w 5559218"/>
              <a:gd name="connsiteY167" fmla="*/ 457321 h 2095778"/>
              <a:gd name="connsiteX168" fmla="*/ 1046227 w 5559218"/>
              <a:gd name="connsiteY168" fmla="*/ 457321 h 2095778"/>
              <a:gd name="connsiteX169" fmla="*/ 1046227 w 5559218"/>
              <a:gd name="connsiteY169" fmla="*/ 444026 h 2095778"/>
              <a:gd name="connsiteX170" fmla="*/ 976720 w 5559218"/>
              <a:gd name="connsiteY170" fmla="*/ 444026 h 2095778"/>
              <a:gd name="connsiteX171" fmla="*/ 976720 w 5559218"/>
              <a:gd name="connsiteY171" fmla="*/ 435130 h 2095778"/>
              <a:gd name="connsiteX172" fmla="*/ 953062 w 5559218"/>
              <a:gd name="connsiteY172" fmla="*/ 435130 h 2095778"/>
              <a:gd name="connsiteX173" fmla="*/ 953062 w 5559218"/>
              <a:gd name="connsiteY173" fmla="*/ 423790 h 2095778"/>
              <a:gd name="connsiteX174" fmla="*/ 927937 w 5559218"/>
              <a:gd name="connsiteY174" fmla="*/ 423790 h 2095778"/>
              <a:gd name="connsiteX175" fmla="*/ 927937 w 5559218"/>
              <a:gd name="connsiteY175" fmla="*/ 353793 h 2095778"/>
              <a:gd name="connsiteX176" fmla="*/ 914642 w 5559218"/>
              <a:gd name="connsiteY176" fmla="*/ 353793 h 2095778"/>
              <a:gd name="connsiteX177" fmla="*/ 914642 w 5559218"/>
              <a:gd name="connsiteY177" fmla="*/ 328669 h 2095778"/>
              <a:gd name="connsiteX178" fmla="*/ 889518 w 5559218"/>
              <a:gd name="connsiteY178" fmla="*/ 328669 h 2095778"/>
              <a:gd name="connsiteX179" fmla="*/ 889518 w 5559218"/>
              <a:gd name="connsiteY179" fmla="*/ 303545 h 2095778"/>
              <a:gd name="connsiteX180" fmla="*/ 812581 w 5559218"/>
              <a:gd name="connsiteY180" fmla="*/ 303545 h 2095778"/>
              <a:gd name="connsiteX181" fmla="*/ 812581 w 5559218"/>
              <a:gd name="connsiteY181" fmla="*/ 296115 h 2095778"/>
              <a:gd name="connsiteX182" fmla="*/ 679432 w 5559218"/>
              <a:gd name="connsiteY182" fmla="*/ 296115 h 2095778"/>
              <a:gd name="connsiteX183" fmla="*/ 679432 w 5559218"/>
              <a:gd name="connsiteY183" fmla="*/ 275390 h 2095778"/>
              <a:gd name="connsiteX184" fmla="*/ 593696 w 5559218"/>
              <a:gd name="connsiteY184" fmla="*/ 275390 h 2095778"/>
              <a:gd name="connsiteX185" fmla="*/ 593696 w 5559218"/>
              <a:gd name="connsiteY185" fmla="*/ 254665 h 2095778"/>
              <a:gd name="connsiteX186" fmla="*/ 484205 w 5559218"/>
              <a:gd name="connsiteY186" fmla="*/ 254665 h 2095778"/>
              <a:gd name="connsiteX187" fmla="*/ 484205 w 5559218"/>
              <a:gd name="connsiteY187" fmla="*/ 235406 h 2095778"/>
              <a:gd name="connsiteX188" fmla="*/ 464946 w 5559218"/>
              <a:gd name="connsiteY188" fmla="*/ 235406 h 2095778"/>
              <a:gd name="connsiteX189" fmla="*/ 464946 w 5559218"/>
              <a:gd name="connsiteY189" fmla="*/ 219178 h 2095778"/>
              <a:gd name="connsiteX190" fmla="*/ 433859 w 5559218"/>
              <a:gd name="connsiteY190" fmla="*/ 219178 h 2095778"/>
              <a:gd name="connsiteX191" fmla="*/ 433859 w 5559218"/>
              <a:gd name="connsiteY191" fmla="*/ 165899 h 2095778"/>
              <a:gd name="connsiteX192" fmla="*/ 420563 w 5559218"/>
              <a:gd name="connsiteY192" fmla="*/ 165899 h 2095778"/>
              <a:gd name="connsiteX193" fmla="*/ 420563 w 5559218"/>
              <a:gd name="connsiteY193" fmla="*/ 155536 h 2095778"/>
              <a:gd name="connsiteX194" fmla="*/ 388009 w 5559218"/>
              <a:gd name="connsiteY194" fmla="*/ 155536 h 2095778"/>
              <a:gd name="connsiteX195" fmla="*/ 388009 w 5559218"/>
              <a:gd name="connsiteY195" fmla="*/ 146640 h 2095778"/>
              <a:gd name="connsiteX196" fmla="*/ 349590 w 5559218"/>
              <a:gd name="connsiteY196" fmla="*/ 146640 h 2095778"/>
              <a:gd name="connsiteX197" fmla="*/ 349590 w 5559218"/>
              <a:gd name="connsiteY197" fmla="*/ 128848 h 2095778"/>
              <a:gd name="connsiteX198" fmla="*/ 327398 w 5559218"/>
              <a:gd name="connsiteY198" fmla="*/ 128848 h 2095778"/>
              <a:gd name="connsiteX199" fmla="*/ 327398 w 5559218"/>
              <a:gd name="connsiteY199" fmla="*/ 118485 h 2095778"/>
              <a:gd name="connsiteX200" fmla="*/ 262290 w 5559218"/>
              <a:gd name="connsiteY200" fmla="*/ 118485 h 2095778"/>
              <a:gd name="connsiteX201" fmla="*/ 262290 w 5559218"/>
              <a:gd name="connsiteY201" fmla="*/ 85931 h 2095778"/>
              <a:gd name="connsiteX202" fmla="*/ 189850 w 5559218"/>
              <a:gd name="connsiteY202" fmla="*/ 85931 h 2095778"/>
              <a:gd name="connsiteX203" fmla="*/ 189850 w 5559218"/>
              <a:gd name="connsiteY203" fmla="*/ 54843 h 2095778"/>
              <a:gd name="connsiteX204" fmla="*/ 133638 w 5559218"/>
              <a:gd name="connsiteY204" fmla="*/ 54843 h 2095778"/>
              <a:gd name="connsiteX205" fmla="*/ 133638 w 5559218"/>
              <a:gd name="connsiteY205" fmla="*/ 41548 h 2095778"/>
              <a:gd name="connsiteX206" fmla="*/ 112913 w 5559218"/>
              <a:gd name="connsiteY206" fmla="*/ 41548 h 2095778"/>
              <a:gd name="connsiteX207" fmla="*/ 112913 w 5559218"/>
              <a:gd name="connsiteY207" fmla="*/ 26884 h 2095778"/>
              <a:gd name="connsiteX208" fmla="*/ 49271 w 5559218"/>
              <a:gd name="connsiteY208" fmla="*/ 26884 h 2095778"/>
              <a:gd name="connsiteX209" fmla="*/ 49271 w 5559218"/>
              <a:gd name="connsiteY209" fmla="*/ 0 h 2095778"/>
              <a:gd name="connsiteX210" fmla="*/ 0 w 5559218"/>
              <a:gd name="connsiteY210" fmla="*/ 0 h 2095778"/>
              <a:gd name="connsiteX211" fmla="*/ 49271 w 5559218"/>
              <a:gd name="connsiteY211" fmla="*/ 0 h 2095778"/>
              <a:gd name="connsiteX212" fmla="*/ 49271 w 5559218"/>
              <a:gd name="connsiteY212" fmla="*/ 26884 h 2095778"/>
              <a:gd name="connsiteX213" fmla="*/ 170298 w 5559218"/>
              <a:gd name="connsiteY213" fmla="*/ 26884 h 2095778"/>
              <a:gd name="connsiteX214" fmla="*/ 170298 w 5559218"/>
              <a:gd name="connsiteY214" fmla="*/ 40375 h 2095778"/>
              <a:gd name="connsiteX215" fmla="*/ 228563 w 5559218"/>
              <a:gd name="connsiteY215" fmla="*/ 40375 h 2095778"/>
              <a:gd name="connsiteX216" fmla="*/ 228563 w 5559218"/>
              <a:gd name="connsiteY216" fmla="*/ 78501 h 2095778"/>
              <a:gd name="connsiteX217" fmla="*/ 259944 w 5559218"/>
              <a:gd name="connsiteY217" fmla="*/ 78501 h 2095778"/>
              <a:gd name="connsiteX218" fmla="*/ 259944 w 5559218"/>
              <a:gd name="connsiteY218" fmla="*/ 98640 h 2095778"/>
              <a:gd name="connsiteX219" fmla="*/ 356335 w 5559218"/>
              <a:gd name="connsiteY219" fmla="*/ 98640 h 2095778"/>
              <a:gd name="connsiteX220" fmla="*/ 356335 w 5559218"/>
              <a:gd name="connsiteY220" fmla="*/ 118778 h 2095778"/>
              <a:gd name="connsiteX221" fmla="*/ 416848 w 5559218"/>
              <a:gd name="connsiteY221" fmla="*/ 118778 h 2095778"/>
              <a:gd name="connsiteX222" fmla="*/ 416848 w 5559218"/>
              <a:gd name="connsiteY222" fmla="*/ 130021 h 2095778"/>
              <a:gd name="connsiteX223" fmla="*/ 486356 w 5559218"/>
              <a:gd name="connsiteY223" fmla="*/ 130021 h 2095778"/>
              <a:gd name="connsiteX224" fmla="*/ 486356 w 5559218"/>
              <a:gd name="connsiteY224" fmla="*/ 143512 h 2095778"/>
              <a:gd name="connsiteX225" fmla="*/ 730658 w 5559218"/>
              <a:gd name="connsiteY225" fmla="*/ 143512 h 2095778"/>
              <a:gd name="connsiteX226" fmla="*/ 730658 w 5559218"/>
              <a:gd name="connsiteY226" fmla="*/ 172644 h 2095778"/>
              <a:gd name="connsiteX227" fmla="*/ 836043 w 5559218"/>
              <a:gd name="connsiteY227" fmla="*/ 172644 h 2095778"/>
              <a:gd name="connsiteX228" fmla="*/ 836043 w 5559218"/>
              <a:gd name="connsiteY228" fmla="*/ 201777 h 2095778"/>
              <a:gd name="connsiteX229" fmla="*/ 883164 w 5559218"/>
              <a:gd name="connsiteY229" fmla="*/ 201777 h 2095778"/>
              <a:gd name="connsiteX230" fmla="*/ 883164 w 5559218"/>
              <a:gd name="connsiteY230" fmla="*/ 215267 h 2095778"/>
              <a:gd name="connsiteX231" fmla="*/ 925787 w 5559218"/>
              <a:gd name="connsiteY231" fmla="*/ 215267 h 2095778"/>
              <a:gd name="connsiteX232" fmla="*/ 925787 w 5559218"/>
              <a:gd name="connsiteY232" fmla="*/ 231007 h 2095778"/>
              <a:gd name="connsiteX233" fmla="*/ 959416 w 5559218"/>
              <a:gd name="connsiteY233" fmla="*/ 231007 h 2095778"/>
              <a:gd name="connsiteX234" fmla="*/ 959416 w 5559218"/>
              <a:gd name="connsiteY234" fmla="*/ 255642 h 2095778"/>
              <a:gd name="connsiteX235" fmla="*/ 1026675 w 5559218"/>
              <a:gd name="connsiteY235" fmla="*/ 255642 h 2095778"/>
              <a:gd name="connsiteX236" fmla="*/ 1026675 w 5559218"/>
              <a:gd name="connsiteY236" fmla="*/ 278029 h 2095778"/>
              <a:gd name="connsiteX237" fmla="*/ 1192574 w 5559218"/>
              <a:gd name="connsiteY237" fmla="*/ 278029 h 2095778"/>
              <a:gd name="connsiteX238" fmla="*/ 1192574 w 5559218"/>
              <a:gd name="connsiteY238" fmla="*/ 291520 h 2095778"/>
              <a:gd name="connsiteX239" fmla="*/ 1347230 w 5559218"/>
              <a:gd name="connsiteY239" fmla="*/ 291520 h 2095778"/>
              <a:gd name="connsiteX240" fmla="*/ 1347230 w 5559218"/>
              <a:gd name="connsiteY240" fmla="*/ 318404 h 2095778"/>
              <a:gd name="connsiteX241" fmla="*/ 1394350 w 5559218"/>
              <a:gd name="connsiteY241" fmla="*/ 318404 h 2095778"/>
              <a:gd name="connsiteX242" fmla="*/ 1394350 w 5559218"/>
              <a:gd name="connsiteY242" fmla="*/ 343040 h 2095778"/>
              <a:gd name="connsiteX243" fmla="*/ 1416737 w 5559218"/>
              <a:gd name="connsiteY243" fmla="*/ 343040 h 2095778"/>
              <a:gd name="connsiteX244" fmla="*/ 1416737 w 5559218"/>
              <a:gd name="connsiteY244" fmla="*/ 396808 h 2095778"/>
              <a:gd name="connsiteX245" fmla="*/ 1672282 w 5559218"/>
              <a:gd name="connsiteY245" fmla="*/ 396808 h 2095778"/>
              <a:gd name="connsiteX246" fmla="*/ 1672282 w 5559218"/>
              <a:gd name="connsiteY246" fmla="*/ 410299 h 2095778"/>
              <a:gd name="connsiteX247" fmla="*/ 1815794 w 5559218"/>
              <a:gd name="connsiteY247" fmla="*/ 410299 h 2095778"/>
              <a:gd name="connsiteX0" fmla="*/ 1815989 w 5563394"/>
              <a:gd name="connsiteY0" fmla="*/ 423398 h 2095778"/>
              <a:gd name="connsiteX1" fmla="*/ 1827916 w 5563394"/>
              <a:gd name="connsiteY1" fmla="*/ 423398 h 2095778"/>
              <a:gd name="connsiteX2" fmla="*/ 1827916 w 5563394"/>
              <a:gd name="connsiteY2" fmla="*/ 442071 h 2095778"/>
              <a:gd name="connsiteX3" fmla="*/ 1852551 w 5563394"/>
              <a:gd name="connsiteY3" fmla="*/ 442071 h 2095778"/>
              <a:gd name="connsiteX4" fmla="*/ 1852551 w 5563394"/>
              <a:gd name="connsiteY4" fmla="*/ 462991 h 2095778"/>
              <a:gd name="connsiteX5" fmla="*/ 1860763 w 5563394"/>
              <a:gd name="connsiteY5" fmla="*/ 462991 h 2095778"/>
              <a:gd name="connsiteX6" fmla="*/ 1860763 w 5563394"/>
              <a:gd name="connsiteY6" fmla="*/ 481663 h 2095778"/>
              <a:gd name="connsiteX7" fmla="*/ 1872690 w 5563394"/>
              <a:gd name="connsiteY7" fmla="*/ 481663 h 2095778"/>
              <a:gd name="connsiteX8" fmla="*/ 1872690 w 5563394"/>
              <a:gd name="connsiteY8" fmla="*/ 501118 h 2095778"/>
              <a:gd name="connsiteX9" fmla="*/ 1888429 w 5563394"/>
              <a:gd name="connsiteY9" fmla="*/ 501118 h 2095778"/>
              <a:gd name="connsiteX10" fmla="*/ 1888429 w 5563394"/>
              <a:gd name="connsiteY10" fmla="*/ 518323 h 2095778"/>
              <a:gd name="connsiteX11" fmla="*/ 1898108 w 5563394"/>
              <a:gd name="connsiteY11" fmla="*/ 518323 h 2095778"/>
              <a:gd name="connsiteX12" fmla="*/ 1898108 w 5563394"/>
              <a:gd name="connsiteY12" fmla="*/ 532499 h 2095778"/>
              <a:gd name="connsiteX13" fmla="*/ 1915313 w 5563394"/>
              <a:gd name="connsiteY13" fmla="*/ 532499 h 2095778"/>
              <a:gd name="connsiteX14" fmla="*/ 1915313 w 5563394"/>
              <a:gd name="connsiteY14" fmla="*/ 542959 h 2095778"/>
              <a:gd name="connsiteX15" fmla="*/ 1960869 w 5563394"/>
              <a:gd name="connsiteY15" fmla="*/ 542959 h 2095778"/>
              <a:gd name="connsiteX16" fmla="*/ 1960869 w 5563394"/>
              <a:gd name="connsiteY16" fmla="*/ 560849 h 2095778"/>
              <a:gd name="connsiteX17" fmla="*/ 2101350 w 5563394"/>
              <a:gd name="connsiteY17" fmla="*/ 560849 h 2095778"/>
              <a:gd name="connsiteX18" fmla="*/ 2101350 w 5563394"/>
              <a:gd name="connsiteY18" fmla="*/ 580303 h 2095778"/>
              <a:gd name="connsiteX19" fmla="*/ 2189530 w 5563394"/>
              <a:gd name="connsiteY19" fmla="*/ 580303 h 2095778"/>
              <a:gd name="connsiteX20" fmla="*/ 2189530 w 5563394"/>
              <a:gd name="connsiteY20" fmla="*/ 610902 h 2095778"/>
              <a:gd name="connsiteX21" fmla="*/ 2208202 w 5563394"/>
              <a:gd name="connsiteY21" fmla="*/ 610902 h 2095778"/>
              <a:gd name="connsiteX22" fmla="*/ 2208202 w 5563394"/>
              <a:gd name="connsiteY22" fmla="*/ 617648 h 2095778"/>
              <a:gd name="connsiteX23" fmla="*/ 2236553 w 5563394"/>
              <a:gd name="connsiteY23" fmla="*/ 617648 h 2095778"/>
              <a:gd name="connsiteX24" fmla="*/ 2236553 w 5563394"/>
              <a:gd name="connsiteY24" fmla="*/ 639350 h 2095778"/>
              <a:gd name="connsiteX25" fmla="*/ 2267151 w 5563394"/>
              <a:gd name="connsiteY25" fmla="*/ 639350 h 2095778"/>
              <a:gd name="connsiteX26" fmla="*/ 2267151 w 5563394"/>
              <a:gd name="connsiteY26" fmla="*/ 648344 h 2095778"/>
              <a:gd name="connsiteX27" fmla="*/ 2288072 w 5563394"/>
              <a:gd name="connsiteY27" fmla="*/ 648344 h 2095778"/>
              <a:gd name="connsiteX28" fmla="*/ 2288072 w 5563394"/>
              <a:gd name="connsiteY28" fmla="*/ 677477 h 2095778"/>
              <a:gd name="connsiteX29" fmla="*/ 2312023 w 5563394"/>
              <a:gd name="connsiteY29" fmla="*/ 677477 h 2095778"/>
              <a:gd name="connsiteX30" fmla="*/ 2312023 w 5563394"/>
              <a:gd name="connsiteY30" fmla="*/ 699179 h 2095778"/>
              <a:gd name="connsiteX31" fmla="*/ 2374003 w 5563394"/>
              <a:gd name="connsiteY31" fmla="*/ 699179 h 2095778"/>
              <a:gd name="connsiteX32" fmla="*/ 2374003 w 5563394"/>
              <a:gd name="connsiteY32" fmla="*/ 715603 h 2095778"/>
              <a:gd name="connsiteX33" fmla="*/ 2538435 w 5563394"/>
              <a:gd name="connsiteY33" fmla="*/ 715603 h 2095778"/>
              <a:gd name="connsiteX34" fmla="*/ 2538435 w 5563394"/>
              <a:gd name="connsiteY34" fmla="*/ 726845 h 2095778"/>
              <a:gd name="connsiteX35" fmla="*/ 2551926 w 5563394"/>
              <a:gd name="connsiteY35" fmla="*/ 726845 h 2095778"/>
              <a:gd name="connsiteX36" fmla="*/ 2551926 w 5563394"/>
              <a:gd name="connsiteY36" fmla="*/ 736524 h 2095778"/>
              <a:gd name="connsiteX37" fmla="*/ 2578810 w 5563394"/>
              <a:gd name="connsiteY37" fmla="*/ 736524 h 2095778"/>
              <a:gd name="connsiteX38" fmla="*/ 2578810 w 5563394"/>
              <a:gd name="connsiteY38" fmla="*/ 747766 h 2095778"/>
              <a:gd name="connsiteX39" fmla="*/ 2752920 w 5563394"/>
              <a:gd name="connsiteY39" fmla="*/ 747766 h 2095778"/>
              <a:gd name="connsiteX40" fmla="*/ 2752920 w 5563394"/>
              <a:gd name="connsiteY40" fmla="*/ 795571 h 2095778"/>
              <a:gd name="connsiteX41" fmla="*/ 2798477 w 5563394"/>
              <a:gd name="connsiteY41" fmla="*/ 795571 h 2095778"/>
              <a:gd name="connsiteX42" fmla="*/ 2798477 w 5563394"/>
              <a:gd name="connsiteY42" fmla="*/ 803000 h 2095778"/>
              <a:gd name="connsiteX43" fmla="*/ 3043561 w 5563394"/>
              <a:gd name="connsiteY43" fmla="*/ 803000 h 2095778"/>
              <a:gd name="connsiteX44" fmla="*/ 3043561 w 5563394"/>
              <a:gd name="connsiteY44" fmla="*/ 830666 h 2095778"/>
              <a:gd name="connsiteX45" fmla="*/ 3196751 w 5563394"/>
              <a:gd name="connsiteY45" fmla="*/ 830666 h 2095778"/>
              <a:gd name="connsiteX46" fmla="*/ 3196751 w 5563394"/>
              <a:gd name="connsiteY46" fmla="*/ 861265 h 2095778"/>
              <a:gd name="connsiteX47" fmla="*/ 3214641 w 5563394"/>
              <a:gd name="connsiteY47" fmla="*/ 861265 h 2095778"/>
              <a:gd name="connsiteX48" fmla="*/ 3214641 w 5563394"/>
              <a:gd name="connsiteY48" fmla="*/ 891180 h 2095778"/>
              <a:gd name="connsiteX49" fmla="*/ 3237028 w 5563394"/>
              <a:gd name="connsiteY49" fmla="*/ 891180 h 2095778"/>
              <a:gd name="connsiteX50" fmla="*/ 3237028 w 5563394"/>
              <a:gd name="connsiteY50" fmla="*/ 910634 h 2095778"/>
              <a:gd name="connsiteX51" fmla="*/ 3246706 w 5563394"/>
              <a:gd name="connsiteY51" fmla="*/ 910634 h 2095778"/>
              <a:gd name="connsiteX52" fmla="*/ 3246706 w 5563394"/>
              <a:gd name="connsiteY52" fmla="*/ 930088 h 2095778"/>
              <a:gd name="connsiteX53" fmla="*/ 3264596 w 5563394"/>
              <a:gd name="connsiteY53" fmla="*/ 930088 h 2095778"/>
              <a:gd name="connsiteX54" fmla="*/ 3264596 w 5563394"/>
              <a:gd name="connsiteY54" fmla="*/ 973396 h 2095778"/>
              <a:gd name="connsiteX55" fmla="*/ 3504499 w 5563394"/>
              <a:gd name="connsiteY55" fmla="*/ 973396 h 2095778"/>
              <a:gd name="connsiteX56" fmla="*/ 3504499 w 5563394"/>
              <a:gd name="connsiteY56" fmla="*/ 997347 h 2095778"/>
              <a:gd name="connsiteX57" fmla="*/ 3666683 w 5563394"/>
              <a:gd name="connsiteY57" fmla="*/ 997347 h 2095778"/>
              <a:gd name="connsiteX58" fmla="*/ 3666683 w 5563394"/>
              <a:gd name="connsiteY58" fmla="*/ 1031759 h 2095778"/>
              <a:gd name="connsiteX59" fmla="*/ 3684573 w 5563394"/>
              <a:gd name="connsiteY59" fmla="*/ 1031759 h 2095778"/>
              <a:gd name="connsiteX60" fmla="*/ 3684573 w 5563394"/>
              <a:gd name="connsiteY60" fmla="*/ 1059425 h 2095778"/>
              <a:gd name="connsiteX61" fmla="*/ 3704712 w 5563394"/>
              <a:gd name="connsiteY61" fmla="*/ 1059425 h 2095778"/>
              <a:gd name="connsiteX62" fmla="*/ 3704712 w 5563394"/>
              <a:gd name="connsiteY62" fmla="*/ 1164810 h 2095778"/>
              <a:gd name="connsiteX63" fmla="*/ 3724850 w 5563394"/>
              <a:gd name="connsiteY63" fmla="*/ 1164810 h 2095778"/>
              <a:gd name="connsiteX64" fmla="*/ 3724850 w 5563394"/>
              <a:gd name="connsiteY64" fmla="*/ 1175270 h 2095778"/>
              <a:gd name="connsiteX65" fmla="*/ 4111882 w 5563394"/>
              <a:gd name="connsiteY65" fmla="*/ 1175270 h 2095778"/>
              <a:gd name="connsiteX66" fmla="*/ 4111882 w 5563394"/>
              <a:gd name="connsiteY66" fmla="*/ 1314285 h 2095778"/>
              <a:gd name="connsiteX67" fmla="*/ 4184322 w 5563394"/>
              <a:gd name="connsiteY67" fmla="*/ 1314285 h 2095778"/>
              <a:gd name="connsiteX68" fmla="*/ 4184322 w 5563394"/>
              <a:gd name="connsiteY68" fmla="*/ 1349381 h 2095778"/>
              <a:gd name="connsiteX69" fmla="*/ 4249332 w 5563394"/>
              <a:gd name="connsiteY69" fmla="*/ 1349381 h 2095778"/>
              <a:gd name="connsiteX70" fmla="*/ 4249332 w 5563394"/>
              <a:gd name="connsiteY70" fmla="*/ 1377047 h 2095778"/>
              <a:gd name="connsiteX71" fmla="*/ 4338294 w 5563394"/>
              <a:gd name="connsiteY71" fmla="*/ 1377047 h 2095778"/>
              <a:gd name="connsiteX72" fmla="*/ 4338294 w 5563394"/>
              <a:gd name="connsiteY72" fmla="*/ 1411459 h 2095778"/>
              <a:gd name="connsiteX73" fmla="*/ 4569203 w 5563394"/>
              <a:gd name="connsiteY73" fmla="*/ 1411459 h 2095778"/>
              <a:gd name="connsiteX74" fmla="*/ 4569203 w 5563394"/>
              <a:gd name="connsiteY74" fmla="*/ 1441373 h 2095778"/>
              <a:gd name="connsiteX75" fmla="*/ 4592372 w 5563394"/>
              <a:gd name="connsiteY75" fmla="*/ 1441373 h 2095778"/>
              <a:gd name="connsiteX76" fmla="*/ 4592372 w 5563394"/>
              <a:gd name="connsiteY76" fmla="*/ 1516062 h 2095778"/>
              <a:gd name="connsiteX77" fmla="*/ 4644674 w 5563394"/>
              <a:gd name="connsiteY77" fmla="*/ 1516062 h 2095778"/>
              <a:gd name="connsiteX78" fmla="*/ 4644674 w 5563394"/>
              <a:gd name="connsiteY78" fmla="*/ 1567581 h 2095778"/>
              <a:gd name="connsiteX79" fmla="*/ 5093001 w 5563394"/>
              <a:gd name="connsiteY79" fmla="*/ 1567581 h 2095778"/>
              <a:gd name="connsiteX80" fmla="*/ 5093001 w 5563394"/>
              <a:gd name="connsiteY80" fmla="*/ 1744615 h 2095778"/>
              <a:gd name="connsiteX81" fmla="*/ 5563394 w 5563394"/>
              <a:gd name="connsiteY81" fmla="*/ 1748747 h 2095778"/>
              <a:gd name="connsiteX82" fmla="*/ 5559218 w 5563394"/>
              <a:gd name="connsiteY82" fmla="*/ 2095778 h 2095778"/>
              <a:gd name="connsiteX83" fmla="*/ 5068854 w 5563394"/>
              <a:gd name="connsiteY83" fmla="*/ 2095778 h 2095778"/>
              <a:gd name="connsiteX84" fmla="*/ 5068854 w 5563394"/>
              <a:gd name="connsiteY84" fmla="*/ 1828112 h 2095778"/>
              <a:gd name="connsiteX85" fmla="*/ 5058492 w 5563394"/>
              <a:gd name="connsiteY85" fmla="*/ 1828112 h 2095778"/>
              <a:gd name="connsiteX86" fmla="*/ 5058492 w 5563394"/>
              <a:gd name="connsiteY86" fmla="*/ 1761146 h 2095778"/>
              <a:gd name="connsiteX87" fmla="*/ 4740478 w 5563394"/>
              <a:gd name="connsiteY87" fmla="*/ 1761146 h 2095778"/>
              <a:gd name="connsiteX88" fmla="*/ 4740478 w 5563394"/>
              <a:gd name="connsiteY88" fmla="*/ 1724584 h 2095778"/>
              <a:gd name="connsiteX89" fmla="*/ 4579272 w 5563394"/>
              <a:gd name="connsiteY89" fmla="*/ 1724584 h 2095778"/>
              <a:gd name="connsiteX90" fmla="*/ 4579272 w 5563394"/>
              <a:gd name="connsiteY90" fmla="*/ 1665439 h 2095778"/>
              <a:gd name="connsiteX91" fmla="*/ 4162228 w 5563394"/>
              <a:gd name="connsiteY91" fmla="*/ 1665439 h 2095778"/>
              <a:gd name="connsiteX92" fmla="*/ 4162228 w 5563394"/>
              <a:gd name="connsiteY92" fmla="*/ 1631418 h 2095778"/>
              <a:gd name="connsiteX93" fmla="*/ 4110513 w 5563394"/>
              <a:gd name="connsiteY93" fmla="*/ 1631418 h 2095778"/>
              <a:gd name="connsiteX94" fmla="*/ 4110513 w 5563394"/>
              <a:gd name="connsiteY94" fmla="*/ 1584103 h 2095778"/>
              <a:gd name="connsiteX95" fmla="*/ 3722993 w 5563394"/>
              <a:gd name="connsiteY95" fmla="*/ 1584103 h 2095778"/>
              <a:gd name="connsiteX96" fmla="*/ 3722993 w 5563394"/>
              <a:gd name="connsiteY96" fmla="*/ 1547149 h 2095778"/>
              <a:gd name="connsiteX97" fmla="*/ 3687408 w 5563394"/>
              <a:gd name="connsiteY97" fmla="*/ 1547149 h 2095778"/>
              <a:gd name="connsiteX98" fmla="*/ 3687408 w 5563394"/>
              <a:gd name="connsiteY98" fmla="*/ 1532388 h 2095778"/>
              <a:gd name="connsiteX99" fmla="*/ 3665314 w 5563394"/>
              <a:gd name="connsiteY99" fmla="*/ 1532388 h 2095778"/>
              <a:gd name="connsiteX100" fmla="*/ 3665314 w 5563394"/>
              <a:gd name="connsiteY100" fmla="*/ 1508730 h 2095778"/>
              <a:gd name="connsiteX101" fmla="*/ 3545558 w 5563394"/>
              <a:gd name="connsiteY101" fmla="*/ 1508730 h 2095778"/>
              <a:gd name="connsiteX102" fmla="*/ 3545558 w 5563394"/>
              <a:gd name="connsiteY102" fmla="*/ 1496901 h 2095778"/>
              <a:gd name="connsiteX103" fmla="*/ 3501175 w 5563394"/>
              <a:gd name="connsiteY103" fmla="*/ 1496901 h 2095778"/>
              <a:gd name="connsiteX104" fmla="*/ 3501175 w 5563394"/>
              <a:gd name="connsiteY104" fmla="*/ 1486538 h 2095778"/>
              <a:gd name="connsiteX105" fmla="*/ 3436067 w 5563394"/>
              <a:gd name="connsiteY105" fmla="*/ 1486538 h 2095778"/>
              <a:gd name="connsiteX106" fmla="*/ 3436067 w 5563394"/>
              <a:gd name="connsiteY106" fmla="*/ 1473243 h 2095778"/>
              <a:gd name="connsiteX107" fmla="*/ 3370959 w 5563394"/>
              <a:gd name="connsiteY107" fmla="*/ 1473243 h 2095778"/>
              <a:gd name="connsiteX108" fmla="*/ 3370959 w 5563394"/>
              <a:gd name="connsiteY108" fmla="*/ 1455451 h 2095778"/>
              <a:gd name="connsiteX109" fmla="*/ 3229012 w 5563394"/>
              <a:gd name="connsiteY109" fmla="*/ 1455451 h 2095778"/>
              <a:gd name="connsiteX110" fmla="*/ 3229012 w 5563394"/>
              <a:gd name="connsiteY110" fmla="*/ 1422896 h 2095778"/>
              <a:gd name="connsiteX111" fmla="*/ 3203887 w 5563394"/>
              <a:gd name="connsiteY111" fmla="*/ 1422896 h 2095778"/>
              <a:gd name="connsiteX112" fmla="*/ 3203887 w 5563394"/>
              <a:gd name="connsiteY112" fmla="*/ 1397772 h 2095778"/>
              <a:gd name="connsiteX113" fmla="*/ 3181696 w 5563394"/>
              <a:gd name="connsiteY113" fmla="*/ 1397772 h 2095778"/>
              <a:gd name="connsiteX114" fmla="*/ 3181696 w 5563394"/>
              <a:gd name="connsiteY114" fmla="*/ 1379980 h 2095778"/>
              <a:gd name="connsiteX115" fmla="*/ 2810501 w 5563394"/>
              <a:gd name="connsiteY115" fmla="*/ 1379980 h 2095778"/>
              <a:gd name="connsiteX116" fmla="*/ 2810501 w 5563394"/>
              <a:gd name="connsiteY116" fmla="*/ 1348892 h 2095778"/>
              <a:gd name="connsiteX117" fmla="*/ 2772082 w 5563394"/>
              <a:gd name="connsiteY117" fmla="*/ 1348892 h 2095778"/>
              <a:gd name="connsiteX118" fmla="*/ 2772082 w 5563394"/>
              <a:gd name="connsiteY118" fmla="*/ 1274986 h 2095778"/>
              <a:gd name="connsiteX119" fmla="*/ 2740994 w 5563394"/>
              <a:gd name="connsiteY119" fmla="*/ 1274986 h 2095778"/>
              <a:gd name="connsiteX120" fmla="*/ 2740994 w 5563394"/>
              <a:gd name="connsiteY120" fmla="*/ 1233535 h 2095778"/>
              <a:gd name="connsiteX121" fmla="*/ 2551731 w 5563394"/>
              <a:gd name="connsiteY121" fmla="*/ 1233535 h 2095778"/>
              <a:gd name="connsiteX122" fmla="*/ 2551731 w 5563394"/>
              <a:gd name="connsiteY122" fmla="*/ 1212810 h 2095778"/>
              <a:gd name="connsiteX123" fmla="*/ 2529539 w 5563394"/>
              <a:gd name="connsiteY123" fmla="*/ 1212810 h 2095778"/>
              <a:gd name="connsiteX124" fmla="*/ 2529539 w 5563394"/>
              <a:gd name="connsiteY124" fmla="*/ 1196582 h 2095778"/>
              <a:gd name="connsiteX125" fmla="*/ 2353571 w 5563394"/>
              <a:gd name="connsiteY125" fmla="*/ 1196582 h 2095778"/>
              <a:gd name="connsiteX126" fmla="*/ 2353571 w 5563394"/>
              <a:gd name="connsiteY126" fmla="*/ 1180354 h 2095778"/>
              <a:gd name="connsiteX127" fmla="*/ 2337343 w 5563394"/>
              <a:gd name="connsiteY127" fmla="*/ 1180354 h 2095778"/>
              <a:gd name="connsiteX128" fmla="*/ 2337343 w 5563394"/>
              <a:gd name="connsiteY128" fmla="*/ 1153763 h 2095778"/>
              <a:gd name="connsiteX129" fmla="*/ 2300390 w 5563394"/>
              <a:gd name="connsiteY129" fmla="*/ 1153763 h 2095778"/>
              <a:gd name="connsiteX130" fmla="*/ 2300390 w 5563394"/>
              <a:gd name="connsiteY130" fmla="*/ 1076826 h 2095778"/>
              <a:gd name="connsiteX131" fmla="*/ 2282597 w 5563394"/>
              <a:gd name="connsiteY131" fmla="*/ 1076826 h 2095778"/>
              <a:gd name="connsiteX132" fmla="*/ 2282597 w 5563394"/>
              <a:gd name="connsiteY132" fmla="*/ 998423 h 2095778"/>
              <a:gd name="connsiteX133" fmla="*/ 2239681 w 5563394"/>
              <a:gd name="connsiteY133" fmla="*/ 998423 h 2095778"/>
              <a:gd name="connsiteX134" fmla="*/ 2239681 w 5563394"/>
              <a:gd name="connsiteY134" fmla="*/ 961469 h 2095778"/>
              <a:gd name="connsiteX135" fmla="*/ 2184935 w 5563394"/>
              <a:gd name="connsiteY135" fmla="*/ 961469 h 2095778"/>
              <a:gd name="connsiteX136" fmla="*/ 2184935 w 5563394"/>
              <a:gd name="connsiteY136" fmla="*/ 951107 h 2095778"/>
              <a:gd name="connsiteX137" fmla="*/ 2153847 w 5563394"/>
              <a:gd name="connsiteY137" fmla="*/ 951107 h 2095778"/>
              <a:gd name="connsiteX138" fmla="*/ 2153847 w 5563394"/>
              <a:gd name="connsiteY138" fmla="*/ 940744 h 2095778"/>
              <a:gd name="connsiteX139" fmla="*/ 2034091 w 5563394"/>
              <a:gd name="connsiteY139" fmla="*/ 940744 h 2095778"/>
              <a:gd name="connsiteX140" fmla="*/ 2034091 w 5563394"/>
              <a:gd name="connsiteY140" fmla="*/ 930382 h 2095778"/>
              <a:gd name="connsiteX141" fmla="*/ 1912772 w 5563394"/>
              <a:gd name="connsiteY141" fmla="*/ 930382 h 2095778"/>
              <a:gd name="connsiteX142" fmla="*/ 1912772 w 5563394"/>
              <a:gd name="connsiteY142" fmla="*/ 915620 h 2095778"/>
              <a:gd name="connsiteX143" fmla="*/ 1861056 w 5563394"/>
              <a:gd name="connsiteY143" fmla="*/ 915620 h 2095778"/>
              <a:gd name="connsiteX144" fmla="*/ 1861056 w 5563394"/>
              <a:gd name="connsiteY144" fmla="*/ 902325 h 2095778"/>
              <a:gd name="connsiteX145" fmla="*/ 1832999 w 5563394"/>
              <a:gd name="connsiteY145" fmla="*/ 902325 h 2095778"/>
              <a:gd name="connsiteX146" fmla="*/ 1832999 w 5563394"/>
              <a:gd name="connsiteY146" fmla="*/ 758911 h 2095778"/>
              <a:gd name="connsiteX147" fmla="*/ 1804942 w 5563394"/>
              <a:gd name="connsiteY147" fmla="*/ 758911 h 2095778"/>
              <a:gd name="connsiteX148" fmla="*/ 1804942 w 5563394"/>
              <a:gd name="connsiteY148" fmla="*/ 733786 h 2095778"/>
              <a:gd name="connsiteX149" fmla="*/ 1731036 w 5563394"/>
              <a:gd name="connsiteY149" fmla="*/ 733786 h 2095778"/>
              <a:gd name="connsiteX150" fmla="*/ 1731036 w 5563394"/>
              <a:gd name="connsiteY150" fmla="*/ 724890 h 2095778"/>
              <a:gd name="connsiteX151" fmla="*/ 1634938 w 5563394"/>
              <a:gd name="connsiteY151" fmla="*/ 724890 h 2095778"/>
              <a:gd name="connsiteX152" fmla="*/ 1634938 w 5563394"/>
              <a:gd name="connsiteY152" fmla="*/ 701232 h 2095778"/>
              <a:gd name="connsiteX153" fmla="*/ 1581658 w 5563394"/>
              <a:gd name="connsiteY153" fmla="*/ 701232 h 2095778"/>
              <a:gd name="connsiteX154" fmla="*/ 1581658 w 5563394"/>
              <a:gd name="connsiteY154" fmla="*/ 674642 h 2095778"/>
              <a:gd name="connsiteX155" fmla="*/ 1417519 w 5563394"/>
              <a:gd name="connsiteY155" fmla="*/ 674642 h 2095778"/>
              <a:gd name="connsiteX156" fmla="*/ 1417519 w 5563394"/>
              <a:gd name="connsiteY156" fmla="*/ 664279 h 2095778"/>
              <a:gd name="connsiteX157" fmla="*/ 1396794 w 5563394"/>
              <a:gd name="connsiteY157" fmla="*/ 664279 h 2095778"/>
              <a:gd name="connsiteX158" fmla="*/ 1396794 w 5563394"/>
              <a:gd name="connsiteY158" fmla="*/ 636222 h 2095778"/>
              <a:gd name="connsiteX159" fmla="*/ 1383499 w 5563394"/>
              <a:gd name="connsiteY159" fmla="*/ 636222 h 2095778"/>
              <a:gd name="connsiteX160" fmla="*/ 1383499 w 5563394"/>
              <a:gd name="connsiteY160" fmla="*/ 581476 h 2095778"/>
              <a:gd name="connsiteX161" fmla="*/ 1364240 w 5563394"/>
              <a:gd name="connsiteY161" fmla="*/ 581476 h 2095778"/>
              <a:gd name="connsiteX162" fmla="*/ 1364240 w 5563394"/>
              <a:gd name="connsiteY162" fmla="*/ 495741 h 2095778"/>
              <a:gd name="connsiteX163" fmla="*/ 1346448 w 5563394"/>
              <a:gd name="connsiteY163" fmla="*/ 495741 h 2095778"/>
              <a:gd name="connsiteX164" fmla="*/ 1346448 w 5563394"/>
              <a:gd name="connsiteY164" fmla="*/ 480979 h 2095778"/>
              <a:gd name="connsiteX165" fmla="*/ 1337552 w 5563394"/>
              <a:gd name="connsiteY165" fmla="*/ 472083 h 2095778"/>
              <a:gd name="connsiteX166" fmla="*/ 1149755 w 5563394"/>
              <a:gd name="connsiteY166" fmla="*/ 472083 h 2095778"/>
              <a:gd name="connsiteX167" fmla="*/ 1149755 w 5563394"/>
              <a:gd name="connsiteY167" fmla="*/ 457321 h 2095778"/>
              <a:gd name="connsiteX168" fmla="*/ 1046227 w 5563394"/>
              <a:gd name="connsiteY168" fmla="*/ 457321 h 2095778"/>
              <a:gd name="connsiteX169" fmla="*/ 1046227 w 5563394"/>
              <a:gd name="connsiteY169" fmla="*/ 444026 h 2095778"/>
              <a:gd name="connsiteX170" fmla="*/ 976720 w 5563394"/>
              <a:gd name="connsiteY170" fmla="*/ 444026 h 2095778"/>
              <a:gd name="connsiteX171" fmla="*/ 976720 w 5563394"/>
              <a:gd name="connsiteY171" fmla="*/ 435130 h 2095778"/>
              <a:gd name="connsiteX172" fmla="*/ 953062 w 5563394"/>
              <a:gd name="connsiteY172" fmla="*/ 435130 h 2095778"/>
              <a:gd name="connsiteX173" fmla="*/ 953062 w 5563394"/>
              <a:gd name="connsiteY173" fmla="*/ 423790 h 2095778"/>
              <a:gd name="connsiteX174" fmla="*/ 927937 w 5563394"/>
              <a:gd name="connsiteY174" fmla="*/ 423790 h 2095778"/>
              <a:gd name="connsiteX175" fmla="*/ 927937 w 5563394"/>
              <a:gd name="connsiteY175" fmla="*/ 353793 h 2095778"/>
              <a:gd name="connsiteX176" fmla="*/ 914642 w 5563394"/>
              <a:gd name="connsiteY176" fmla="*/ 353793 h 2095778"/>
              <a:gd name="connsiteX177" fmla="*/ 914642 w 5563394"/>
              <a:gd name="connsiteY177" fmla="*/ 328669 h 2095778"/>
              <a:gd name="connsiteX178" fmla="*/ 889518 w 5563394"/>
              <a:gd name="connsiteY178" fmla="*/ 328669 h 2095778"/>
              <a:gd name="connsiteX179" fmla="*/ 889518 w 5563394"/>
              <a:gd name="connsiteY179" fmla="*/ 303545 h 2095778"/>
              <a:gd name="connsiteX180" fmla="*/ 812581 w 5563394"/>
              <a:gd name="connsiteY180" fmla="*/ 303545 h 2095778"/>
              <a:gd name="connsiteX181" fmla="*/ 812581 w 5563394"/>
              <a:gd name="connsiteY181" fmla="*/ 296115 h 2095778"/>
              <a:gd name="connsiteX182" fmla="*/ 679432 w 5563394"/>
              <a:gd name="connsiteY182" fmla="*/ 296115 h 2095778"/>
              <a:gd name="connsiteX183" fmla="*/ 679432 w 5563394"/>
              <a:gd name="connsiteY183" fmla="*/ 275390 h 2095778"/>
              <a:gd name="connsiteX184" fmla="*/ 593696 w 5563394"/>
              <a:gd name="connsiteY184" fmla="*/ 275390 h 2095778"/>
              <a:gd name="connsiteX185" fmla="*/ 593696 w 5563394"/>
              <a:gd name="connsiteY185" fmla="*/ 254665 h 2095778"/>
              <a:gd name="connsiteX186" fmla="*/ 484205 w 5563394"/>
              <a:gd name="connsiteY186" fmla="*/ 254665 h 2095778"/>
              <a:gd name="connsiteX187" fmla="*/ 484205 w 5563394"/>
              <a:gd name="connsiteY187" fmla="*/ 235406 h 2095778"/>
              <a:gd name="connsiteX188" fmla="*/ 464946 w 5563394"/>
              <a:gd name="connsiteY188" fmla="*/ 235406 h 2095778"/>
              <a:gd name="connsiteX189" fmla="*/ 464946 w 5563394"/>
              <a:gd name="connsiteY189" fmla="*/ 219178 h 2095778"/>
              <a:gd name="connsiteX190" fmla="*/ 433859 w 5563394"/>
              <a:gd name="connsiteY190" fmla="*/ 219178 h 2095778"/>
              <a:gd name="connsiteX191" fmla="*/ 433859 w 5563394"/>
              <a:gd name="connsiteY191" fmla="*/ 165899 h 2095778"/>
              <a:gd name="connsiteX192" fmla="*/ 420563 w 5563394"/>
              <a:gd name="connsiteY192" fmla="*/ 165899 h 2095778"/>
              <a:gd name="connsiteX193" fmla="*/ 420563 w 5563394"/>
              <a:gd name="connsiteY193" fmla="*/ 155536 h 2095778"/>
              <a:gd name="connsiteX194" fmla="*/ 388009 w 5563394"/>
              <a:gd name="connsiteY194" fmla="*/ 155536 h 2095778"/>
              <a:gd name="connsiteX195" fmla="*/ 388009 w 5563394"/>
              <a:gd name="connsiteY195" fmla="*/ 146640 h 2095778"/>
              <a:gd name="connsiteX196" fmla="*/ 349590 w 5563394"/>
              <a:gd name="connsiteY196" fmla="*/ 146640 h 2095778"/>
              <a:gd name="connsiteX197" fmla="*/ 349590 w 5563394"/>
              <a:gd name="connsiteY197" fmla="*/ 128848 h 2095778"/>
              <a:gd name="connsiteX198" fmla="*/ 327398 w 5563394"/>
              <a:gd name="connsiteY198" fmla="*/ 128848 h 2095778"/>
              <a:gd name="connsiteX199" fmla="*/ 327398 w 5563394"/>
              <a:gd name="connsiteY199" fmla="*/ 118485 h 2095778"/>
              <a:gd name="connsiteX200" fmla="*/ 262290 w 5563394"/>
              <a:gd name="connsiteY200" fmla="*/ 118485 h 2095778"/>
              <a:gd name="connsiteX201" fmla="*/ 262290 w 5563394"/>
              <a:gd name="connsiteY201" fmla="*/ 85931 h 2095778"/>
              <a:gd name="connsiteX202" fmla="*/ 189850 w 5563394"/>
              <a:gd name="connsiteY202" fmla="*/ 85931 h 2095778"/>
              <a:gd name="connsiteX203" fmla="*/ 189850 w 5563394"/>
              <a:gd name="connsiteY203" fmla="*/ 54843 h 2095778"/>
              <a:gd name="connsiteX204" fmla="*/ 133638 w 5563394"/>
              <a:gd name="connsiteY204" fmla="*/ 54843 h 2095778"/>
              <a:gd name="connsiteX205" fmla="*/ 133638 w 5563394"/>
              <a:gd name="connsiteY205" fmla="*/ 41548 h 2095778"/>
              <a:gd name="connsiteX206" fmla="*/ 112913 w 5563394"/>
              <a:gd name="connsiteY206" fmla="*/ 41548 h 2095778"/>
              <a:gd name="connsiteX207" fmla="*/ 112913 w 5563394"/>
              <a:gd name="connsiteY207" fmla="*/ 26884 h 2095778"/>
              <a:gd name="connsiteX208" fmla="*/ 49271 w 5563394"/>
              <a:gd name="connsiteY208" fmla="*/ 26884 h 2095778"/>
              <a:gd name="connsiteX209" fmla="*/ 49271 w 5563394"/>
              <a:gd name="connsiteY209" fmla="*/ 0 h 2095778"/>
              <a:gd name="connsiteX210" fmla="*/ 0 w 5563394"/>
              <a:gd name="connsiteY210" fmla="*/ 0 h 2095778"/>
              <a:gd name="connsiteX211" fmla="*/ 49271 w 5563394"/>
              <a:gd name="connsiteY211" fmla="*/ 0 h 2095778"/>
              <a:gd name="connsiteX212" fmla="*/ 49271 w 5563394"/>
              <a:gd name="connsiteY212" fmla="*/ 26884 h 2095778"/>
              <a:gd name="connsiteX213" fmla="*/ 170298 w 5563394"/>
              <a:gd name="connsiteY213" fmla="*/ 26884 h 2095778"/>
              <a:gd name="connsiteX214" fmla="*/ 170298 w 5563394"/>
              <a:gd name="connsiteY214" fmla="*/ 40375 h 2095778"/>
              <a:gd name="connsiteX215" fmla="*/ 228563 w 5563394"/>
              <a:gd name="connsiteY215" fmla="*/ 40375 h 2095778"/>
              <a:gd name="connsiteX216" fmla="*/ 228563 w 5563394"/>
              <a:gd name="connsiteY216" fmla="*/ 78501 h 2095778"/>
              <a:gd name="connsiteX217" fmla="*/ 259944 w 5563394"/>
              <a:gd name="connsiteY217" fmla="*/ 78501 h 2095778"/>
              <a:gd name="connsiteX218" fmla="*/ 259944 w 5563394"/>
              <a:gd name="connsiteY218" fmla="*/ 98640 h 2095778"/>
              <a:gd name="connsiteX219" fmla="*/ 356335 w 5563394"/>
              <a:gd name="connsiteY219" fmla="*/ 98640 h 2095778"/>
              <a:gd name="connsiteX220" fmla="*/ 356335 w 5563394"/>
              <a:gd name="connsiteY220" fmla="*/ 118778 h 2095778"/>
              <a:gd name="connsiteX221" fmla="*/ 416848 w 5563394"/>
              <a:gd name="connsiteY221" fmla="*/ 118778 h 2095778"/>
              <a:gd name="connsiteX222" fmla="*/ 416848 w 5563394"/>
              <a:gd name="connsiteY222" fmla="*/ 130021 h 2095778"/>
              <a:gd name="connsiteX223" fmla="*/ 486356 w 5563394"/>
              <a:gd name="connsiteY223" fmla="*/ 130021 h 2095778"/>
              <a:gd name="connsiteX224" fmla="*/ 486356 w 5563394"/>
              <a:gd name="connsiteY224" fmla="*/ 143512 h 2095778"/>
              <a:gd name="connsiteX225" fmla="*/ 730658 w 5563394"/>
              <a:gd name="connsiteY225" fmla="*/ 143512 h 2095778"/>
              <a:gd name="connsiteX226" fmla="*/ 730658 w 5563394"/>
              <a:gd name="connsiteY226" fmla="*/ 172644 h 2095778"/>
              <a:gd name="connsiteX227" fmla="*/ 836043 w 5563394"/>
              <a:gd name="connsiteY227" fmla="*/ 172644 h 2095778"/>
              <a:gd name="connsiteX228" fmla="*/ 836043 w 5563394"/>
              <a:gd name="connsiteY228" fmla="*/ 201777 h 2095778"/>
              <a:gd name="connsiteX229" fmla="*/ 883164 w 5563394"/>
              <a:gd name="connsiteY229" fmla="*/ 201777 h 2095778"/>
              <a:gd name="connsiteX230" fmla="*/ 883164 w 5563394"/>
              <a:gd name="connsiteY230" fmla="*/ 215267 h 2095778"/>
              <a:gd name="connsiteX231" fmla="*/ 925787 w 5563394"/>
              <a:gd name="connsiteY231" fmla="*/ 215267 h 2095778"/>
              <a:gd name="connsiteX232" fmla="*/ 925787 w 5563394"/>
              <a:gd name="connsiteY232" fmla="*/ 231007 h 2095778"/>
              <a:gd name="connsiteX233" fmla="*/ 959416 w 5563394"/>
              <a:gd name="connsiteY233" fmla="*/ 231007 h 2095778"/>
              <a:gd name="connsiteX234" fmla="*/ 959416 w 5563394"/>
              <a:gd name="connsiteY234" fmla="*/ 255642 h 2095778"/>
              <a:gd name="connsiteX235" fmla="*/ 1026675 w 5563394"/>
              <a:gd name="connsiteY235" fmla="*/ 255642 h 2095778"/>
              <a:gd name="connsiteX236" fmla="*/ 1026675 w 5563394"/>
              <a:gd name="connsiteY236" fmla="*/ 278029 h 2095778"/>
              <a:gd name="connsiteX237" fmla="*/ 1192574 w 5563394"/>
              <a:gd name="connsiteY237" fmla="*/ 278029 h 2095778"/>
              <a:gd name="connsiteX238" fmla="*/ 1192574 w 5563394"/>
              <a:gd name="connsiteY238" fmla="*/ 291520 h 2095778"/>
              <a:gd name="connsiteX239" fmla="*/ 1347230 w 5563394"/>
              <a:gd name="connsiteY239" fmla="*/ 291520 h 2095778"/>
              <a:gd name="connsiteX240" fmla="*/ 1347230 w 5563394"/>
              <a:gd name="connsiteY240" fmla="*/ 318404 h 2095778"/>
              <a:gd name="connsiteX241" fmla="*/ 1394350 w 5563394"/>
              <a:gd name="connsiteY241" fmla="*/ 318404 h 2095778"/>
              <a:gd name="connsiteX242" fmla="*/ 1394350 w 5563394"/>
              <a:gd name="connsiteY242" fmla="*/ 343040 h 2095778"/>
              <a:gd name="connsiteX243" fmla="*/ 1416737 w 5563394"/>
              <a:gd name="connsiteY243" fmla="*/ 343040 h 2095778"/>
              <a:gd name="connsiteX244" fmla="*/ 1416737 w 5563394"/>
              <a:gd name="connsiteY244" fmla="*/ 396808 h 2095778"/>
              <a:gd name="connsiteX245" fmla="*/ 1672282 w 5563394"/>
              <a:gd name="connsiteY245" fmla="*/ 396808 h 2095778"/>
              <a:gd name="connsiteX246" fmla="*/ 1672282 w 5563394"/>
              <a:gd name="connsiteY246" fmla="*/ 410299 h 2095778"/>
              <a:gd name="connsiteX247" fmla="*/ 1815794 w 5563394"/>
              <a:gd name="connsiteY247" fmla="*/ 410299 h 2095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5563394" h="2095778">
                <a:moveTo>
                  <a:pt x="1815989" y="423398"/>
                </a:moveTo>
                <a:lnTo>
                  <a:pt x="1827916" y="423398"/>
                </a:lnTo>
                <a:lnTo>
                  <a:pt x="1827916" y="442071"/>
                </a:lnTo>
                <a:lnTo>
                  <a:pt x="1852551" y="442071"/>
                </a:lnTo>
                <a:lnTo>
                  <a:pt x="1852551" y="462991"/>
                </a:lnTo>
                <a:lnTo>
                  <a:pt x="1860763" y="462991"/>
                </a:lnTo>
                <a:lnTo>
                  <a:pt x="1860763" y="481663"/>
                </a:lnTo>
                <a:lnTo>
                  <a:pt x="1872690" y="481663"/>
                </a:lnTo>
                <a:lnTo>
                  <a:pt x="1872690" y="501118"/>
                </a:lnTo>
                <a:lnTo>
                  <a:pt x="1888429" y="501118"/>
                </a:lnTo>
                <a:lnTo>
                  <a:pt x="1888429" y="518323"/>
                </a:lnTo>
                <a:lnTo>
                  <a:pt x="1898108" y="518323"/>
                </a:lnTo>
                <a:lnTo>
                  <a:pt x="1898108" y="532499"/>
                </a:lnTo>
                <a:lnTo>
                  <a:pt x="1915313" y="532499"/>
                </a:lnTo>
                <a:lnTo>
                  <a:pt x="1915313" y="542959"/>
                </a:lnTo>
                <a:lnTo>
                  <a:pt x="1960869" y="542959"/>
                </a:lnTo>
                <a:lnTo>
                  <a:pt x="1960869" y="560849"/>
                </a:lnTo>
                <a:lnTo>
                  <a:pt x="2101350" y="560849"/>
                </a:lnTo>
                <a:lnTo>
                  <a:pt x="2101350" y="580303"/>
                </a:lnTo>
                <a:lnTo>
                  <a:pt x="2189530" y="580303"/>
                </a:lnTo>
                <a:lnTo>
                  <a:pt x="2189530" y="610902"/>
                </a:lnTo>
                <a:lnTo>
                  <a:pt x="2208202" y="610902"/>
                </a:lnTo>
                <a:lnTo>
                  <a:pt x="2208202" y="617648"/>
                </a:lnTo>
                <a:lnTo>
                  <a:pt x="2236553" y="617648"/>
                </a:lnTo>
                <a:lnTo>
                  <a:pt x="2236553" y="639350"/>
                </a:lnTo>
                <a:lnTo>
                  <a:pt x="2267151" y="639350"/>
                </a:lnTo>
                <a:lnTo>
                  <a:pt x="2267151" y="648344"/>
                </a:lnTo>
                <a:lnTo>
                  <a:pt x="2288072" y="648344"/>
                </a:lnTo>
                <a:lnTo>
                  <a:pt x="2288072" y="677477"/>
                </a:lnTo>
                <a:lnTo>
                  <a:pt x="2312023" y="677477"/>
                </a:lnTo>
                <a:lnTo>
                  <a:pt x="2312023" y="699179"/>
                </a:lnTo>
                <a:lnTo>
                  <a:pt x="2374003" y="699179"/>
                </a:lnTo>
                <a:lnTo>
                  <a:pt x="2374003" y="715603"/>
                </a:lnTo>
                <a:lnTo>
                  <a:pt x="2538435" y="715603"/>
                </a:lnTo>
                <a:lnTo>
                  <a:pt x="2538435" y="726845"/>
                </a:lnTo>
                <a:lnTo>
                  <a:pt x="2551926" y="726845"/>
                </a:lnTo>
                <a:lnTo>
                  <a:pt x="2551926" y="736524"/>
                </a:lnTo>
                <a:lnTo>
                  <a:pt x="2578810" y="736524"/>
                </a:lnTo>
                <a:cubicBezTo>
                  <a:pt x="2578810" y="736524"/>
                  <a:pt x="2575779" y="747766"/>
                  <a:pt x="2578810" y="747766"/>
                </a:cubicBezTo>
                <a:lnTo>
                  <a:pt x="2752920" y="747766"/>
                </a:lnTo>
                <a:lnTo>
                  <a:pt x="2752920" y="795571"/>
                </a:lnTo>
                <a:lnTo>
                  <a:pt x="2798477" y="795571"/>
                </a:lnTo>
                <a:lnTo>
                  <a:pt x="2798477" y="803000"/>
                </a:lnTo>
                <a:lnTo>
                  <a:pt x="3043561" y="803000"/>
                </a:lnTo>
                <a:lnTo>
                  <a:pt x="3043561" y="830666"/>
                </a:lnTo>
                <a:lnTo>
                  <a:pt x="3196751" y="830666"/>
                </a:lnTo>
                <a:lnTo>
                  <a:pt x="3196751" y="861265"/>
                </a:lnTo>
                <a:lnTo>
                  <a:pt x="3214641" y="861265"/>
                </a:lnTo>
                <a:lnTo>
                  <a:pt x="3214641" y="891180"/>
                </a:lnTo>
                <a:lnTo>
                  <a:pt x="3237028" y="891180"/>
                </a:lnTo>
                <a:lnTo>
                  <a:pt x="3237028" y="910634"/>
                </a:lnTo>
                <a:lnTo>
                  <a:pt x="3246706" y="910634"/>
                </a:lnTo>
                <a:lnTo>
                  <a:pt x="3246706" y="930088"/>
                </a:lnTo>
                <a:lnTo>
                  <a:pt x="3264596" y="930088"/>
                </a:lnTo>
                <a:lnTo>
                  <a:pt x="3264596" y="973396"/>
                </a:lnTo>
                <a:lnTo>
                  <a:pt x="3504499" y="973396"/>
                </a:lnTo>
                <a:lnTo>
                  <a:pt x="3504499" y="997347"/>
                </a:lnTo>
                <a:lnTo>
                  <a:pt x="3666683" y="997347"/>
                </a:lnTo>
                <a:lnTo>
                  <a:pt x="3666683" y="1031759"/>
                </a:lnTo>
                <a:lnTo>
                  <a:pt x="3684573" y="1031759"/>
                </a:lnTo>
                <a:lnTo>
                  <a:pt x="3684573" y="1059425"/>
                </a:lnTo>
                <a:lnTo>
                  <a:pt x="3704712" y="1059425"/>
                </a:lnTo>
                <a:lnTo>
                  <a:pt x="3704712" y="1164810"/>
                </a:lnTo>
                <a:lnTo>
                  <a:pt x="3724850" y="1164810"/>
                </a:lnTo>
                <a:lnTo>
                  <a:pt x="3724850" y="1175270"/>
                </a:lnTo>
                <a:lnTo>
                  <a:pt x="4111882" y="1175270"/>
                </a:lnTo>
                <a:lnTo>
                  <a:pt x="4111882" y="1314285"/>
                </a:lnTo>
                <a:lnTo>
                  <a:pt x="4184322" y="1314285"/>
                </a:lnTo>
                <a:lnTo>
                  <a:pt x="4184322" y="1349381"/>
                </a:lnTo>
                <a:lnTo>
                  <a:pt x="4249332" y="1349381"/>
                </a:lnTo>
                <a:lnTo>
                  <a:pt x="4249332" y="1377047"/>
                </a:lnTo>
                <a:lnTo>
                  <a:pt x="4338294" y="1377047"/>
                </a:lnTo>
                <a:lnTo>
                  <a:pt x="4338294" y="1411459"/>
                </a:lnTo>
                <a:lnTo>
                  <a:pt x="4569203" y="1411459"/>
                </a:lnTo>
                <a:lnTo>
                  <a:pt x="4569203" y="1441373"/>
                </a:lnTo>
                <a:lnTo>
                  <a:pt x="4592372" y="1441373"/>
                </a:lnTo>
                <a:lnTo>
                  <a:pt x="4592372" y="1516062"/>
                </a:lnTo>
                <a:lnTo>
                  <a:pt x="4644674" y="1516062"/>
                </a:lnTo>
                <a:lnTo>
                  <a:pt x="4644674" y="1567581"/>
                </a:lnTo>
                <a:lnTo>
                  <a:pt x="5093001" y="1567581"/>
                </a:lnTo>
                <a:lnTo>
                  <a:pt x="5093001" y="1744615"/>
                </a:lnTo>
                <a:lnTo>
                  <a:pt x="5563394" y="1748747"/>
                </a:lnTo>
                <a:lnTo>
                  <a:pt x="5559218" y="2095778"/>
                </a:lnTo>
                <a:lnTo>
                  <a:pt x="5068854" y="2095778"/>
                </a:lnTo>
                <a:lnTo>
                  <a:pt x="5068854" y="1828112"/>
                </a:lnTo>
                <a:lnTo>
                  <a:pt x="5058492" y="1828112"/>
                </a:lnTo>
                <a:lnTo>
                  <a:pt x="5058492" y="1761146"/>
                </a:lnTo>
                <a:lnTo>
                  <a:pt x="4740478" y="1761146"/>
                </a:lnTo>
                <a:lnTo>
                  <a:pt x="4740478" y="1724584"/>
                </a:lnTo>
                <a:lnTo>
                  <a:pt x="4579272" y="1724584"/>
                </a:lnTo>
                <a:lnTo>
                  <a:pt x="4579272" y="1665439"/>
                </a:lnTo>
                <a:lnTo>
                  <a:pt x="4162228" y="1665439"/>
                </a:lnTo>
                <a:lnTo>
                  <a:pt x="4162228" y="1631418"/>
                </a:lnTo>
                <a:lnTo>
                  <a:pt x="4110513" y="1631418"/>
                </a:lnTo>
                <a:lnTo>
                  <a:pt x="4110513" y="1584103"/>
                </a:lnTo>
                <a:lnTo>
                  <a:pt x="3722993" y="1584103"/>
                </a:lnTo>
                <a:lnTo>
                  <a:pt x="3722993" y="1547149"/>
                </a:lnTo>
                <a:lnTo>
                  <a:pt x="3687408" y="1547149"/>
                </a:lnTo>
                <a:lnTo>
                  <a:pt x="3687408" y="1532388"/>
                </a:lnTo>
                <a:lnTo>
                  <a:pt x="3665314" y="1532388"/>
                </a:lnTo>
                <a:lnTo>
                  <a:pt x="3665314" y="1508730"/>
                </a:lnTo>
                <a:lnTo>
                  <a:pt x="3545558" y="1508730"/>
                </a:lnTo>
                <a:lnTo>
                  <a:pt x="3545558" y="1496901"/>
                </a:lnTo>
                <a:lnTo>
                  <a:pt x="3501175" y="1496901"/>
                </a:lnTo>
                <a:lnTo>
                  <a:pt x="3501175" y="1486538"/>
                </a:lnTo>
                <a:lnTo>
                  <a:pt x="3436067" y="1486538"/>
                </a:lnTo>
                <a:lnTo>
                  <a:pt x="3436067" y="1473243"/>
                </a:lnTo>
                <a:lnTo>
                  <a:pt x="3370959" y="1473243"/>
                </a:lnTo>
                <a:lnTo>
                  <a:pt x="3370959" y="1455451"/>
                </a:lnTo>
                <a:lnTo>
                  <a:pt x="3229012" y="1455451"/>
                </a:lnTo>
                <a:lnTo>
                  <a:pt x="3229012" y="1422896"/>
                </a:lnTo>
                <a:lnTo>
                  <a:pt x="3203887" y="1422896"/>
                </a:lnTo>
                <a:lnTo>
                  <a:pt x="3203887" y="1397772"/>
                </a:lnTo>
                <a:lnTo>
                  <a:pt x="3181696" y="1397772"/>
                </a:lnTo>
                <a:lnTo>
                  <a:pt x="3181696" y="1379980"/>
                </a:lnTo>
                <a:lnTo>
                  <a:pt x="2810501" y="1379980"/>
                </a:lnTo>
                <a:lnTo>
                  <a:pt x="2810501" y="1348892"/>
                </a:lnTo>
                <a:lnTo>
                  <a:pt x="2772082" y="1348892"/>
                </a:lnTo>
                <a:lnTo>
                  <a:pt x="2772082" y="1274986"/>
                </a:lnTo>
                <a:lnTo>
                  <a:pt x="2740994" y="1274986"/>
                </a:lnTo>
                <a:lnTo>
                  <a:pt x="2740994" y="1233535"/>
                </a:lnTo>
                <a:lnTo>
                  <a:pt x="2551731" y="1233535"/>
                </a:lnTo>
                <a:lnTo>
                  <a:pt x="2551731" y="1212810"/>
                </a:lnTo>
                <a:lnTo>
                  <a:pt x="2529539" y="1212810"/>
                </a:lnTo>
                <a:lnTo>
                  <a:pt x="2529539" y="1196582"/>
                </a:lnTo>
                <a:lnTo>
                  <a:pt x="2353571" y="1196582"/>
                </a:lnTo>
                <a:lnTo>
                  <a:pt x="2353571" y="1180354"/>
                </a:lnTo>
                <a:lnTo>
                  <a:pt x="2337343" y="1180354"/>
                </a:lnTo>
                <a:lnTo>
                  <a:pt x="2337343" y="1153763"/>
                </a:lnTo>
                <a:lnTo>
                  <a:pt x="2300390" y="1153763"/>
                </a:lnTo>
                <a:lnTo>
                  <a:pt x="2300390" y="1076826"/>
                </a:lnTo>
                <a:lnTo>
                  <a:pt x="2282597" y="1076826"/>
                </a:lnTo>
                <a:lnTo>
                  <a:pt x="2282597" y="998423"/>
                </a:lnTo>
                <a:lnTo>
                  <a:pt x="2239681" y="998423"/>
                </a:lnTo>
                <a:lnTo>
                  <a:pt x="2239681" y="961469"/>
                </a:lnTo>
                <a:lnTo>
                  <a:pt x="2184935" y="961469"/>
                </a:lnTo>
                <a:lnTo>
                  <a:pt x="2184935" y="951107"/>
                </a:lnTo>
                <a:lnTo>
                  <a:pt x="2153847" y="951107"/>
                </a:lnTo>
                <a:lnTo>
                  <a:pt x="2153847" y="940744"/>
                </a:lnTo>
                <a:lnTo>
                  <a:pt x="2034091" y="940744"/>
                </a:lnTo>
                <a:lnTo>
                  <a:pt x="2034091" y="930382"/>
                </a:lnTo>
                <a:lnTo>
                  <a:pt x="1912772" y="930382"/>
                </a:lnTo>
                <a:lnTo>
                  <a:pt x="1912772" y="915620"/>
                </a:lnTo>
                <a:lnTo>
                  <a:pt x="1861056" y="915620"/>
                </a:lnTo>
                <a:lnTo>
                  <a:pt x="1861056" y="902325"/>
                </a:lnTo>
                <a:lnTo>
                  <a:pt x="1832999" y="902325"/>
                </a:lnTo>
                <a:lnTo>
                  <a:pt x="1832999" y="758911"/>
                </a:lnTo>
                <a:lnTo>
                  <a:pt x="1804942" y="758911"/>
                </a:lnTo>
                <a:lnTo>
                  <a:pt x="1804942" y="733786"/>
                </a:lnTo>
                <a:lnTo>
                  <a:pt x="1731036" y="733786"/>
                </a:lnTo>
                <a:lnTo>
                  <a:pt x="1731036" y="724890"/>
                </a:lnTo>
                <a:lnTo>
                  <a:pt x="1634938" y="724890"/>
                </a:lnTo>
                <a:lnTo>
                  <a:pt x="1634938" y="701232"/>
                </a:lnTo>
                <a:lnTo>
                  <a:pt x="1581658" y="701232"/>
                </a:lnTo>
                <a:lnTo>
                  <a:pt x="1581658" y="674642"/>
                </a:lnTo>
                <a:lnTo>
                  <a:pt x="1417519" y="674642"/>
                </a:lnTo>
                <a:lnTo>
                  <a:pt x="1417519" y="664279"/>
                </a:lnTo>
                <a:lnTo>
                  <a:pt x="1396794" y="664279"/>
                </a:lnTo>
                <a:lnTo>
                  <a:pt x="1396794" y="636222"/>
                </a:lnTo>
                <a:lnTo>
                  <a:pt x="1383499" y="636222"/>
                </a:lnTo>
                <a:lnTo>
                  <a:pt x="1383499" y="581476"/>
                </a:lnTo>
                <a:lnTo>
                  <a:pt x="1364240" y="581476"/>
                </a:lnTo>
                <a:lnTo>
                  <a:pt x="1364240" y="495741"/>
                </a:lnTo>
                <a:lnTo>
                  <a:pt x="1346448" y="495741"/>
                </a:lnTo>
                <a:lnTo>
                  <a:pt x="1346448" y="480979"/>
                </a:lnTo>
                <a:lnTo>
                  <a:pt x="1337552" y="472083"/>
                </a:lnTo>
                <a:lnTo>
                  <a:pt x="1149755" y="472083"/>
                </a:lnTo>
                <a:lnTo>
                  <a:pt x="1149755" y="457321"/>
                </a:lnTo>
                <a:lnTo>
                  <a:pt x="1046227" y="457321"/>
                </a:lnTo>
                <a:lnTo>
                  <a:pt x="1046227" y="444026"/>
                </a:lnTo>
                <a:lnTo>
                  <a:pt x="976720" y="444026"/>
                </a:lnTo>
                <a:lnTo>
                  <a:pt x="976720" y="435130"/>
                </a:lnTo>
                <a:lnTo>
                  <a:pt x="953062" y="435130"/>
                </a:lnTo>
                <a:lnTo>
                  <a:pt x="953062" y="423790"/>
                </a:lnTo>
                <a:lnTo>
                  <a:pt x="927937" y="423790"/>
                </a:lnTo>
                <a:lnTo>
                  <a:pt x="927937" y="353793"/>
                </a:lnTo>
                <a:lnTo>
                  <a:pt x="914642" y="353793"/>
                </a:lnTo>
                <a:lnTo>
                  <a:pt x="914642" y="328669"/>
                </a:lnTo>
                <a:lnTo>
                  <a:pt x="889518" y="328669"/>
                </a:lnTo>
                <a:lnTo>
                  <a:pt x="889518" y="303545"/>
                </a:lnTo>
                <a:lnTo>
                  <a:pt x="812581" y="303545"/>
                </a:lnTo>
                <a:lnTo>
                  <a:pt x="812581" y="296115"/>
                </a:lnTo>
                <a:lnTo>
                  <a:pt x="679432" y="296115"/>
                </a:lnTo>
                <a:lnTo>
                  <a:pt x="679432" y="275390"/>
                </a:lnTo>
                <a:lnTo>
                  <a:pt x="593696" y="275390"/>
                </a:lnTo>
                <a:lnTo>
                  <a:pt x="593696" y="254665"/>
                </a:lnTo>
                <a:lnTo>
                  <a:pt x="484205" y="254665"/>
                </a:lnTo>
                <a:lnTo>
                  <a:pt x="484205" y="235406"/>
                </a:lnTo>
                <a:lnTo>
                  <a:pt x="464946" y="235406"/>
                </a:lnTo>
                <a:lnTo>
                  <a:pt x="464946" y="219178"/>
                </a:lnTo>
                <a:lnTo>
                  <a:pt x="433859" y="219178"/>
                </a:lnTo>
                <a:lnTo>
                  <a:pt x="433859" y="165899"/>
                </a:lnTo>
                <a:lnTo>
                  <a:pt x="420563" y="165899"/>
                </a:lnTo>
                <a:lnTo>
                  <a:pt x="420563" y="155536"/>
                </a:lnTo>
                <a:lnTo>
                  <a:pt x="388009" y="155536"/>
                </a:lnTo>
                <a:lnTo>
                  <a:pt x="388009" y="146640"/>
                </a:lnTo>
                <a:lnTo>
                  <a:pt x="349590" y="146640"/>
                </a:lnTo>
                <a:lnTo>
                  <a:pt x="349590" y="128848"/>
                </a:lnTo>
                <a:lnTo>
                  <a:pt x="327398" y="128848"/>
                </a:lnTo>
                <a:lnTo>
                  <a:pt x="327398" y="118485"/>
                </a:lnTo>
                <a:lnTo>
                  <a:pt x="262290" y="118485"/>
                </a:lnTo>
                <a:lnTo>
                  <a:pt x="262290" y="85931"/>
                </a:lnTo>
                <a:lnTo>
                  <a:pt x="189850" y="85931"/>
                </a:lnTo>
                <a:lnTo>
                  <a:pt x="189850" y="54843"/>
                </a:lnTo>
                <a:lnTo>
                  <a:pt x="133638" y="54843"/>
                </a:lnTo>
                <a:lnTo>
                  <a:pt x="133638" y="41548"/>
                </a:lnTo>
                <a:lnTo>
                  <a:pt x="112913" y="41548"/>
                </a:lnTo>
                <a:lnTo>
                  <a:pt x="112913" y="26884"/>
                </a:lnTo>
                <a:lnTo>
                  <a:pt x="49271" y="26884"/>
                </a:lnTo>
                <a:lnTo>
                  <a:pt x="49271" y="0"/>
                </a:lnTo>
                <a:lnTo>
                  <a:pt x="0" y="0"/>
                </a:lnTo>
                <a:lnTo>
                  <a:pt x="49271" y="0"/>
                </a:lnTo>
                <a:lnTo>
                  <a:pt x="49271" y="26884"/>
                </a:lnTo>
                <a:lnTo>
                  <a:pt x="170298" y="26884"/>
                </a:lnTo>
                <a:lnTo>
                  <a:pt x="170298" y="40375"/>
                </a:lnTo>
                <a:lnTo>
                  <a:pt x="228563" y="40375"/>
                </a:lnTo>
                <a:lnTo>
                  <a:pt x="228563" y="78501"/>
                </a:lnTo>
                <a:lnTo>
                  <a:pt x="259944" y="78501"/>
                </a:lnTo>
                <a:lnTo>
                  <a:pt x="259944" y="98640"/>
                </a:lnTo>
                <a:lnTo>
                  <a:pt x="356335" y="98640"/>
                </a:lnTo>
                <a:lnTo>
                  <a:pt x="356335" y="118778"/>
                </a:lnTo>
                <a:lnTo>
                  <a:pt x="416848" y="118778"/>
                </a:lnTo>
                <a:lnTo>
                  <a:pt x="416848" y="130021"/>
                </a:lnTo>
                <a:lnTo>
                  <a:pt x="486356" y="130021"/>
                </a:lnTo>
                <a:lnTo>
                  <a:pt x="486356" y="143512"/>
                </a:lnTo>
                <a:lnTo>
                  <a:pt x="730658" y="143512"/>
                </a:lnTo>
                <a:lnTo>
                  <a:pt x="730658" y="172644"/>
                </a:lnTo>
                <a:lnTo>
                  <a:pt x="836043" y="172644"/>
                </a:lnTo>
                <a:lnTo>
                  <a:pt x="836043" y="201777"/>
                </a:lnTo>
                <a:lnTo>
                  <a:pt x="883164" y="201777"/>
                </a:lnTo>
                <a:lnTo>
                  <a:pt x="883164" y="215267"/>
                </a:lnTo>
                <a:lnTo>
                  <a:pt x="925787" y="215267"/>
                </a:lnTo>
                <a:lnTo>
                  <a:pt x="925787" y="231007"/>
                </a:lnTo>
                <a:lnTo>
                  <a:pt x="959416" y="231007"/>
                </a:lnTo>
                <a:lnTo>
                  <a:pt x="959416" y="255642"/>
                </a:lnTo>
                <a:lnTo>
                  <a:pt x="1026675" y="255642"/>
                </a:lnTo>
                <a:lnTo>
                  <a:pt x="1026675" y="278029"/>
                </a:lnTo>
                <a:lnTo>
                  <a:pt x="1192574" y="278029"/>
                </a:lnTo>
                <a:lnTo>
                  <a:pt x="1192574" y="291520"/>
                </a:lnTo>
                <a:lnTo>
                  <a:pt x="1347230" y="291520"/>
                </a:lnTo>
                <a:lnTo>
                  <a:pt x="1347230" y="318404"/>
                </a:lnTo>
                <a:lnTo>
                  <a:pt x="1394350" y="318404"/>
                </a:lnTo>
                <a:lnTo>
                  <a:pt x="1394350" y="343040"/>
                </a:lnTo>
                <a:lnTo>
                  <a:pt x="1416737" y="343040"/>
                </a:lnTo>
                <a:lnTo>
                  <a:pt x="1416737" y="396808"/>
                </a:lnTo>
                <a:lnTo>
                  <a:pt x="1672282" y="396808"/>
                </a:lnTo>
                <a:lnTo>
                  <a:pt x="1672282" y="410299"/>
                </a:lnTo>
                <a:lnTo>
                  <a:pt x="1815794" y="410299"/>
                </a:lnTo>
              </a:path>
            </a:pathLst>
          </a:custGeom>
          <a:gradFill flip="none" rotWithShape="1">
            <a:gsLst>
              <a:gs pos="0">
                <a:schemeClr val="accent6">
                  <a:alpha val="61000"/>
                </a:schemeClr>
              </a:gs>
              <a:gs pos="88000">
                <a:schemeClr val="accent4">
                  <a:alpha val="21000"/>
                </a:schemeClr>
              </a:gs>
            </a:gsLst>
            <a:lin ang="10800000" scaled="1"/>
            <a:tileRect/>
          </a:gradFill>
          <a:ln w="97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480777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004CD-47E3-650D-A180-A516EE85C503}"/>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F5A2AA74-CC88-5D05-F419-985F45E6232D}"/>
              </a:ext>
            </a:extLst>
          </p:cNvPr>
          <p:cNvGrpSpPr/>
          <p:nvPr/>
        </p:nvGrpSpPr>
        <p:grpSpPr>
          <a:xfrm>
            <a:off x="0" y="5446545"/>
            <a:ext cx="11755482" cy="1026586"/>
            <a:chOff x="-1" y="5183761"/>
            <a:chExt cx="11755482" cy="1026586"/>
          </a:xfrm>
        </p:grpSpPr>
        <p:sp>
          <p:nvSpPr>
            <p:cNvPr id="7" name="Rectangle 6">
              <a:extLst>
                <a:ext uri="{FF2B5EF4-FFF2-40B4-BE49-F238E27FC236}">
                  <a16:creationId xmlns:a16="http://schemas.microsoft.com/office/drawing/2014/main" id="{839F59E8-1545-AC1D-7913-E8C125E1EF94}"/>
                </a:ext>
              </a:extLst>
            </p:cNvPr>
            <p:cNvSpPr/>
            <p:nvPr/>
          </p:nvSpPr>
          <p:spPr>
            <a:xfrm>
              <a:off x="296883" y="5325052"/>
              <a:ext cx="11458598" cy="720000"/>
            </a:xfrm>
            <a:prstGeom prst="rect">
              <a:avLst/>
            </a:prstGeom>
            <a:gradFill flip="none" rotWithShape="1">
              <a:gsLst>
                <a:gs pos="8000">
                  <a:schemeClr val="bg1"/>
                </a:gs>
                <a:gs pos="0">
                  <a:schemeClr val="accent1"/>
                </a:gs>
                <a:gs pos="90000">
                  <a:schemeClr val="bg1"/>
                </a:gs>
                <a:gs pos="99000">
                  <a:schemeClr val="accent1"/>
                </a:gs>
              </a:gsLst>
              <a:lin ang="0" scaled="1"/>
              <a:tileRect/>
            </a:gra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8" name="Group 7">
              <a:extLst>
                <a:ext uri="{FF2B5EF4-FFF2-40B4-BE49-F238E27FC236}">
                  <a16:creationId xmlns:a16="http://schemas.microsoft.com/office/drawing/2014/main" id="{912D54DC-C6DE-EC48-8838-64A41312AB22}"/>
                </a:ext>
              </a:extLst>
            </p:cNvPr>
            <p:cNvGrpSpPr/>
            <p:nvPr/>
          </p:nvGrpSpPr>
          <p:grpSpPr>
            <a:xfrm>
              <a:off x="-1" y="5183761"/>
              <a:ext cx="425473" cy="1026586"/>
              <a:chOff x="0" y="5282896"/>
              <a:chExt cx="436762" cy="1241728"/>
            </a:xfrm>
          </p:grpSpPr>
          <p:sp>
            <p:nvSpPr>
              <p:cNvPr id="31" name="Freeform 14">
                <a:extLst>
                  <a:ext uri="{FF2B5EF4-FFF2-40B4-BE49-F238E27FC236}">
                    <a16:creationId xmlns:a16="http://schemas.microsoft.com/office/drawing/2014/main" id="{2848B475-8E97-01A5-B913-865AE7777BF6}"/>
                  </a:ext>
                </a:extLst>
              </p:cNvPr>
              <p:cNvSpPr>
                <a:spLocks/>
              </p:cNvSpPr>
              <p:nvPr/>
            </p:nvSpPr>
            <p:spPr bwMode="auto">
              <a:xfrm>
                <a:off x="17982" y="5313808"/>
                <a:ext cx="393085" cy="1197236"/>
              </a:xfrm>
              <a:custGeom>
                <a:avLst/>
                <a:gdLst>
                  <a:gd name="T0" fmla="*/ 153 w 153"/>
                  <a:gd name="T1" fmla="*/ 0 h 1032"/>
                  <a:gd name="T2" fmla="*/ 150 w 153"/>
                  <a:gd name="T3" fmla="*/ 1032 h 1032"/>
                  <a:gd name="T4" fmla="*/ 0 w 153"/>
                  <a:gd name="T5" fmla="*/ 1032 h 1032"/>
                  <a:gd name="T6" fmla="*/ 0 w 153"/>
                  <a:gd name="T7" fmla="*/ 0 h 1032"/>
                  <a:gd name="T8" fmla="*/ 153 w 153"/>
                  <a:gd name="T9" fmla="*/ 0 h 1032"/>
                </a:gdLst>
                <a:ahLst/>
                <a:cxnLst>
                  <a:cxn ang="0">
                    <a:pos x="T0" y="T1"/>
                  </a:cxn>
                  <a:cxn ang="0">
                    <a:pos x="T2" y="T3"/>
                  </a:cxn>
                  <a:cxn ang="0">
                    <a:pos x="T4" y="T5"/>
                  </a:cxn>
                  <a:cxn ang="0">
                    <a:pos x="T6" y="T7"/>
                  </a:cxn>
                  <a:cxn ang="0">
                    <a:pos x="T8" y="T9"/>
                  </a:cxn>
                </a:cxnLst>
                <a:rect l="0" t="0" r="r" b="b"/>
                <a:pathLst>
                  <a:path w="153" h="1032">
                    <a:moveTo>
                      <a:pt x="153" y="0"/>
                    </a:moveTo>
                    <a:lnTo>
                      <a:pt x="150" y="1032"/>
                    </a:lnTo>
                    <a:lnTo>
                      <a:pt x="0" y="1032"/>
                    </a:lnTo>
                    <a:lnTo>
                      <a:pt x="0" y="0"/>
                    </a:lnTo>
                    <a:lnTo>
                      <a:pt x="153" y="0"/>
                    </a:lnTo>
                    <a:close/>
                  </a:path>
                </a:pathLst>
              </a:custGeom>
              <a:gradFill flip="none" rotWithShape="1">
                <a:gsLst>
                  <a:gs pos="0">
                    <a:sysClr val="window" lastClr="FFFFFF">
                      <a:alpha val="0"/>
                    </a:sysClr>
                  </a:gs>
                  <a:gs pos="50000">
                    <a:sysClr val="window" lastClr="FFFFFF"/>
                  </a:gs>
                  <a:gs pos="100000">
                    <a:sysClr val="window" lastClr="FFFFFF">
                      <a:alpha val="0"/>
                    </a:sysClr>
                  </a:gs>
                </a:gsLst>
                <a:lin ang="5400000" scaled="0"/>
                <a:tileRect/>
              </a:gradFill>
              <a:ln w="12700" cap="flat" cmpd="sng" algn="ctr">
                <a:noFill/>
                <a:prstDash val="solid"/>
                <a:miter lim="800000"/>
              </a:ln>
              <a:effectLst>
                <a:outerShdw blurRad="101600" dist="88900" sx="95000" sy="95000" algn="tl" rotWithShape="0">
                  <a:prstClr val="black">
                    <a:alpha val="5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Rectangle 31">
                <a:extLst>
                  <a:ext uri="{FF2B5EF4-FFF2-40B4-BE49-F238E27FC236}">
                    <a16:creationId xmlns:a16="http://schemas.microsoft.com/office/drawing/2014/main" id="{D4534209-4BD1-E79E-47F5-56A296FDC4D1}"/>
                  </a:ext>
                </a:extLst>
              </p:cNvPr>
              <p:cNvSpPr/>
              <p:nvPr/>
            </p:nvSpPr>
            <p:spPr>
              <a:xfrm>
                <a:off x="0" y="5282896"/>
                <a:ext cx="436762" cy="1241728"/>
              </a:xfrm>
              <a:prstGeom prst="rect">
                <a:avLst/>
              </a:prstGeom>
              <a:solidFill>
                <a:srgbClr val="F6F5F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9" name="Picture 2" descr="Data Icon 2500462">
              <a:extLst>
                <a:ext uri="{FF2B5EF4-FFF2-40B4-BE49-F238E27FC236}">
                  <a16:creationId xmlns:a16="http://schemas.microsoft.com/office/drawing/2014/main" id="{1AFFCC7E-0AC7-8D28-4D64-2E3588DFE8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05187" y="5231799"/>
              <a:ext cx="891266" cy="89126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9DB5B026-C35A-A674-ED75-449D008AB7F8}"/>
                </a:ext>
              </a:extLst>
            </p:cNvPr>
            <p:cNvSpPr txBox="1"/>
            <p:nvPr/>
          </p:nvSpPr>
          <p:spPr>
            <a:xfrm>
              <a:off x="1163729" y="5370939"/>
              <a:ext cx="963006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L osimertinib + ChT demonstrated improved mPFS across </a:t>
              </a:r>
              <a:b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st subgroups vs osimertinib monotherapy</a:t>
              </a:r>
              <a:r>
                <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4</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0" name="Rectangle 9">
            <a:extLst>
              <a:ext uri="{FF2B5EF4-FFF2-40B4-BE49-F238E27FC236}">
                <a16:creationId xmlns:a16="http://schemas.microsoft.com/office/drawing/2014/main" id="{1B0A7C61-0B90-430F-A0E8-76F601AC3E56}"/>
              </a:ext>
            </a:extLst>
          </p:cNvPr>
          <p:cNvSpPr/>
          <p:nvPr/>
        </p:nvSpPr>
        <p:spPr>
          <a:xfrm>
            <a:off x="447511" y="1000819"/>
            <a:ext cx="11301463" cy="4458361"/>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7FCE9E69-BBCC-C825-FB30-9AD30A99DEAB}"/>
              </a:ext>
            </a:extLst>
          </p:cNvPr>
          <p:cNvSpPr>
            <a:spLocks noGrp="1"/>
          </p:cNvSpPr>
          <p:nvPr>
            <p:ph type="title"/>
          </p:nvPr>
        </p:nvSpPr>
        <p:spPr/>
        <p:txBody>
          <a:bodyPr/>
          <a:lstStyle/>
          <a:p>
            <a:r>
              <a:rPr lang="en-GB" dirty="0"/>
              <a:t>Osimertinib + ChT: PFS across subgroups </a:t>
            </a:r>
          </a:p>
        </p:txBody>
      </p:sp>
      <p:sp>
        <p:nvSpPr>
          <p:cNvPr id="4" name="Text Placeholder 3">
            <a:extLst>
              <a:ext uri="{FF2B5EF4-FFF2-40B4-BE49-F238E27FC236}">
                <a16:creationId xmlns:a16="http://schemas.microsoft.com/office/drawing/2014/main" id="{D9EB370C-4651-1447-71C5-76F8374445C1}"/>
              </a:ext>
            </a:extLst>
          </p:cNvPr>
          <p:cNvSpPr>
            <a:spLocks noGrp="1"/>
          </p:cNvSpPr>
          <p:nvPr>
            <p:ph type="body" sz="quarter" idx="13"/>
          </p:nvPr>
        </p:nvSpPr>
        <p:spPr>
          <a:xfrm>
            <a:off x="3921125" y="6383939"/>
            <a:ext cx="7837785" cy="371518"/>
          </a:xfrm>
        </p:spPr>
        <p:txBody>
          <a:bodyPr/>
          <a:lstStyle/>
          <a:p>
            <a:r>
              <a:rPr lang="en-GB" dirty="0"/>
              <a:t>*Exploratory analysis; </a:t>
            </a:r>
            <a:r>
              <a:rPr lang="en-GB" baseline="30000" dirty="0"/>
              <a:t>†</a:t>
            </a:r>
            <a:r>
              <a:rPr lang="en-GB" dirty="0"/>
              <a:t>Post-hoc analysis; </a:t>
            </a:r>
            <a:r>
              <a:rPr lang="en-GB" baseline="30000" dirty="0"/>
              <a:t>‡</a:t>
            </a:r>
            <a:r>
              <a:rPr lang="en-GB" dirty="0"/>
              <a:t>HR not calculated where there were &lt;20 events across both treatment arms; </a:t>
            </a:r>
            <a:r>
              <a:rPr lang="en-GB" baseline="30000" dirty="0"/>
              <a:t>§</a:t>
            </a:r>
            <a:r>
              <a:rPr lang="en-GB" dirty="0"/>
              <a:t>TP53 alterations excluded variants with unknown oncogenic significance.</a:t>
            </a:r>
          </a:p>
          <a:p>
            <a:r>
              <a:rPr lang="en-GB" dirty="0"/>
              <a:t>1L, first-line; ChT, chemotherapy; ctDNA, circulating tumour DNA; EGFRm, EGFR-mutant; HR, hazard ratio; mPFS, median PFS; NC, not calculable; NR, not reached; TP53, tumour protein 53.</a:t>
            </a:r>
          </a:p>
        </p:txBody>
      </p:sp>
      <p:sp>
        <p:nvSpPr>
          <p:cNvPr id="5" name="Text Placeholder 4">
            <a:extLst>
              <a:ext uri="{FF2B5EF4-FFF2-40B4-BE49-F238E27FC236}">
                <a16:creationId xmlns:a16="http://schemas.microsoft.com/office/drawing/2014/main" id="{682479A3-5948-8DAE-C923-72D6682EA14F}"/>
              </a:ext>
            </a:extLst>
          </p:cNvPr>
          <p:cNvSpPr>
            <a:spLocks noGrp="1"/>
          </p:cNvSpPr>
          <p:nvPr>
            <p:ph type="body" sz="quarter" idx="15"/>
          </p:nvPr>
        </p:nvSpPr>
        <p:spPr>
          <a:xfrm>
            <a:off x="442912" y="6524625"/>
            <a:ext cx="3090863" cy="230832"/>
          </a:xfrm>
        </p:spPr>
        <p:txBody>
          <a:bodyPr/>
          <a:lstStyle/>
          <a:p>
            <a:r>
              <a:rPr lang="en-GB" dirty="0"/>
              <a:t>1. Planchard D, et al. </a:t>
            </a:r>
            <a:r>
              <a:rPr lang="en-GB" i="1" dirty="0"/>
              <a:t>N Engl J Med</a:t>
            </a:r>
            <a:r>
              <a:rPr lang="en-GB" dirty="0"/>
              <a:t>. 2023;389:1935–48; 2. Valdiviezo N, et al. Presented at WCLC 2024: MA12.04; 3. Yang JCH, et al. Presented at WCLC 2024: MA12.03; 4. Jänne PA, et al. Presented at AACR 2024: CT017.</a:t>
            </a:r>
          </a:p>
        </p:txBody>
      </p:sp>
      <p:sp>
        <p:nvSpPr>
          <p:cNvPr id="11" name="TextBox 10">
            <a:extLst>
              <a:ext uri="{FF2B5EF4-FFF2-40B4-BE49-F238E27FC236}">
                <a16:creationId xmlns:a16="http://schemas.microsoft.com/office/drawing/2014/main" id="{97CDD2A8-A1EC-4EEF-4BCA-DA6A9FF721F0}"/>
              </a:ext>
            </a:extLst>
          </p:cNvPr>
          <p:cNvSpPr txBox="1"/>
          <p:nvPr/>
        </p:nvSpPr>
        <p:spPr>
          <a:xfrm>
            <a:off x="447511" y="1000820"/>
            <a:ext cx="11303776" cy="355276"/>
          </a:xfrm>
          <a:prstGeom prst="rect">
            <a:avLst/>
          </a:prstGeom>
          <a:gradFill>
            <a:gsLst>
              <a:gs pos="0">
                <a:schemeClr val="accent6"/>
              </a:gs>
              <a:gs pos="100000">
                <a:schemeClr val="accent6"/>
              </a:gs>
              <a:gs pos="93000">
                <a:schemeClr val="accent4"/>
              </a:gs>
              <a:gs pos="7000">
                <a:schemeClr val="accent4"/>
              </a:gs>
            </a:gsLst>
            <a:lin ang="0" scaled="1"/>
          </a:gradFill>
        </p:spPr>
        <p:txBody>
          <a:bodyPr wrap="square" lIns="108000" tIns="54000" rIns="108000" bIns="54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PFS </a:t>
            </a: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nths)</a:t>
            </a: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cross subgroups at baseline</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4</a:t>
            </a:r>
          </a:p>
        </p:txBody>
      </p:sp>
      <p:graphicFrame>
        <p:nvGraphicFramePr>
          <p:cNvPr id="12" name="Chart 11">
            <a:extLst>
              <a:ext uri="{FF2B5EF4-FFF2-40B4-BE49-F238E27FC236}">
                <a16:creationId xmlns:a16="http://schemas.microsoft.com/office/drawing/2014/main" id="{92EF7A56-8C59-F5DE-9515-92D61052BF50}"/>
              </a:ext>
            </a:extLst>
          </p:cNvPr>
          <p:cNvGraphicFramePr/>
          <p:nvPr/>
        </p:nvGraphicFramePr>
        <p:xfrm>
          <a:off x="476642" y="1756048"/>
          <a:ext cx="11311399" cy="2541520"/>
        </p:xfrm>
        <a:graphic>
          <a:graphicData uri="http://schemas.openxmlformats.org/drawingml/2006/chart">
            <c:chart xmlns:c="http://schemas.openxmlformats.org/drawingml/2006/chart" xmlns:r="http://schemas.openxmlformats.org/officeDocument/2006/relationships" r:id="rId3"/>
          </a:graphicData>
        </a:graphic>
      </p:graphicFrame>
      <p:cxnSp>
        <p:nvCxnSpPr>
          <p:cNvPr id="13" name="Straight Connector 12">
            <a:extLst>
              <a:ext uri="{FF2B5EF4-FFF2-40B4-BE49-F238E27FC236}">
                <a16:creationId xmlns:a16="http://schemas.microsoft.com/office/drawing/2014/main" id="{5055C8F4-A3D6-0A3E-C4D3-D828F98259C1}"/>
              </a:ext>
            </a:extLst>
          </p:cNvPr>
          <p:cNvCxnSpPr>
            <a:cxnSpLocks/>
          </p:cNvCxnSpPr>
          <p:nvPr/>
        </p:nvCxnSpPr>
        <p:spPr>
          <a:xfrm>
            <a:off x="688983" y="4159555"/>
            <a:ext cx="10908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68703EE-E006-7FD8-DDCA-B458D41E0995}"/>
              </a:ext>
            </a:extLst>
          </p:cNvPr>
          <p:cNvSpPr txBox="1"/>
          <p:nvPr/>
        </p:nvSpPr>
        <p:spPr>
          <a:xfrm>
            <a:off x="1993123" y="4230322"/>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With</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istory of brain metastases (n=226)*</a:t>
            </a:r>
          </a:p>
        </p:txBody>
      </p:sp>
      <p:sp>
        <p:nvSpPr>
          <p:cNvPr id="15" name="TextBox 14">
            <a:extLst>
              <a:ext uri="{FF2B5EF4-FFF2-40B4-BE49-F238E27FC236}">
                <a16:creationId xmlns:a16="http://schemas.microsoft.com/office/drawing/2014/main" id="{BA622E09-873B-5ED0-7ED4-7A56BADD2096}"/>
              </a:ext>
            </a:extLst>
          </p:cNvPr>
          <p:cNvSpPr txBox="1"/>
          <p:nvPr/>
        </p:nvSpPr>
        <p:spPr>
          <a:xfrm>
            <a:off x="4749673" y="4230322"/>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With</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ver</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etastas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109)</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35CE559E-91B0-3D6A-DAD4-C8697DEE1232}"/>
              </a:ext>
            </a:extLst>
          </p:cNvPr>
          <p:cNvSpPr txBox="1"/>
          <p:nvPr/>
        </p:nvSpPr>
        <p:spPr>
          <a:xfrm>
            <a:off x="8902871" y="4230322"/>
            <a:ext cx="1409772"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6CB643"/>
                </a:solidFill>
                <a:effectLst/>
                <a:uLnTx/>
                <a:uFillTx/>
                <a:latin typeface="Arial" panose="020B0604020202020204" pitchFamily="34" charset="0"/>
                <a:ea typeface="+mn-ea"/>
                <a:cs typeface="Arial" panose="020B0604020202020204" pitchFamily="34" charset="0"/>
              </a:rPr>
              <a:t>Without</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etectable</a:t>
            </a:r>
            <a:b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 ctD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113)*</a:t>
            </a:r>
          </a:p>
        </p:txBody>
      </p:sp>
      <p:sp>
        <p:nvSpPr>
          <p:cNvPr id="17" name="TextBox 16">
            <a:extLst>
              <a:ext uri="{FF2B5EF4-FFF2-40B4-BE49-F238E27FC236}">
                <a16:creationId xmlns:a16="http://schemas.microsoft.com/office/drawing/2014/main" id="{28D0A5A7-BFB2-5000-E660-77FE2518A753}"/>
              </a:ext>
            </a:extLst>
          </p:cNvPr>
          <p:cNvSpPr txBox="1"/>
          <p:nvPr/>
        </p:nvSpPr>
        <p:spPr>
          <a:xfrm>
            <a:off x="10232571" y="4230322"/>
            <a:ext cx="1468463"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With</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tectable</a:t>
            </a:r>
            <a:b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 ctD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308)*</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Right Bracket 21">
            <a:extLst>
              <a:ext uri="{FF2B5EF4-FFF2-40B4-BE49-F238E27FC236}">
                <a16:creationId xmlns:a16="http://schemas.microsoft.com/office/drawing/2014/main" id="{4F4CA5E2-E8A3-D59E-2CF5-66159B02B99C}"/>
              </a:ext>
            </a:extLst>
          </p:cNvPr>
          <p:cNvSpPr/>
          <p:nvPr/>
        </p:nvSpPr>
        <p:spPr>
          <a:xfrm rot="16200000">
            <a:off x="8180710" y="1854743"/>
            <a:ext cx="66525" cy="438098"/>
          </a:xfrm>
          <a:prstGeom prst="rightBracket">
            <a:avLst>
              <a:gd name="adj" fmla="val 0"/>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7EC27AA3-5DFF-D78C-0E56-86AF8D80F567}"/>
              </a:ext>
            </a:extLst>
          </p:cNvPr>
          <p:cNvSpPr txBox="1"/>
          <p:nvPr/>
        </p:nvSpPr>
        <p:spPr>
          <a:xfrm>
            <a:off x="7852978" y="1790166"/>
            <a:ext cx="723275"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57</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4" name="Connector: Elbow 23">
            <a:extLst>
              <a:ext uri="{FF2B5EF4-FFF2-40B4-BE49-F238E27FC236}">
                <a16:creationId xmlns:a16="http://schemas.microsoft.com/office/drawing/2014/main" id="{A1EA11CE-32C1-AE27-00B0-FB19365ED0AA}"/>
              </a:ext>
            </a:extLst>
          </p:cNvPr>
          <p:cNvCxnSpPr>
            <a:cxnSpLocks/>
          </p:cNvCxnSpPr>
          <p:nvPr/>
        </p:nvCxnSpPr>
        <p:spPr>
          <a:xfrm rot="16200000" flipH="1">
            <a:off x="2313036" y="2433686"/>
            <a:ext cx="718269" cy="423051"/>
          </a:xfrm>
          <a:prstGeom prst="bentConnector3">
            <a:avLst>
              <a:gd name="adj1" fmla="val -16637"/>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99C12CB-3E40-A57B-F05B-E7F5DB2625D7}"/>
              </a:ext>
            </a:extLst>
          </p:cNvPr>
          <p:cNvSpPr txBox="1"/>
          <p:nvPr/>
        </p:nvSpPr>
        <p:spPr>
          <a:xfrm>
            <a:off x="2305702" y="1913572"/>
            <a:ext cx="726481"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47</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6" name="Connector: Elbow 25">
            <a:extLst>
              <a:ext uri="{FF2B5EF4-FFF2-40B4-BE49-F238E27FC236}">
                <a16:creationId xmlns:a16="http://schemas.microsoft.com/office/drawing/2014/main" id="{5D67CC3A-1E7A-5238-A4B6-44F6166BC1D1}"/>
              </a:ext>
            </a:extLst>
          </p:cNvPr>
          <p:cNvCxnSpPr>
            <a:cxnSpLocks/>
          </p:cNvCxnSpPr>
          <p:nvPr/>
        </p:nvCxnSpPr>
        <p:spPr>
          <a:xfrm rot="16200000" flipH="1">
            <a:off x="5177631" y="2711974"/>
            <a:ext cx="565255" cy="380901"/>
          </a:xfrm>
          <a:prstGeom prst="bentConnector3">
            <a:avLst>
              <a:gd name="adj1" fmla="val -16139"/>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A033669-0406-1FA7-1D2D-C673360E13A5}"/>
              </a:ext>
            </a:extLst>
          </p:cNvPr>
          <p:cNvSpPr txBox="1"/>
          <p:nvPr/>
        </p:nvSpPr>
        <p:spPr>
          <a:xfrm>
            <a:off x="5094613" y="2282127"/>
            <a:ext cx="731290"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66</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8" name="Connector: Elbow 27">
            <a:extLst>
              <a:ext uri="{FF2B5EF4-FFF2-40B4-BE49-F238E27FC236}">
                <a16:creationId xmlns:a16="http://schemas.microsoft.com/office/drawing/2014/main" id="{20D5F2A2-B3DB-B166-1A8D-EC615B9FD421}"/>
              </a:ext>
            </a:extLst>
          </p:cNvPr>
          <p:cNvCxnSpPr>
            <a:cxnSpLocks/>
          </p:cNvCxnSpPr>
          <p:nvPr/>
        </p:nvCxnSpPr>
        <p:spPr>
          <a:xfrm rot="16200000" flipH="1">
            <a:off x="10600059" y="2449121"/>
            <a:ext cx="694216" cy="401163"/>
          </a:xfrm>
          <a:prstGeom prst="bentConnector3">
            <a:avLst>
              <a:gd name="adj1" fmla="val -14144"/>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5CF82FAF-FB01-7745-AB6D-C489477818B6}"/>
              </a:ext>
            </a:extLst>
          </p:cNvPr>
          <p:cNvSpPr txBox="1"/>
          <p:nvPr/>
        </p:nvSpPr>
        <p:spPr>
          <a:xfrm>
            <a:off x="10579117" y="1959046"/>
            <a:ext cx="736099"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60</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53B1BDD1-410A-EB1D-4310-DD37262852FA}"/>
              </a:ext>
            </a:extLst>
          </p:cNvPr>
          <p:cNvSpPr txBox="1"/>
          <p:nvPr/>
        </p:nvSpPr>
        <p:spPr>
          <a:xfrm>
            <a:off x="602749" y="4238422"/>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6CB643"/>
                </a:solidFill>
                <a:effectLst/>
                <a:uLnTx/>
                <a:uFillTx/>
                <a:latin typeface="Arial" panose="020B0604020202020204" pitchFamily="34" charset="0"/>
                <a:ea typeface="+mn-ea"/>
                <a:cs typeface="Arial" panose="020B0604020202020204" pitchFamily="34" charset="0"/>
              </a:rPr>
              <a:t>Without</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istory of brain metastases (n=331)*</a:t>
            </a:r>
          </a:p>
        </p:txBody>
      </p:sp>
      <p:cxnSp>
        <p:nvCxnSpPr>
          <p:cNvPr id="46" name="Connector: Elbow 45">
            <a:extLst>
              <a:ext uri="{FF2B5EF4-FFF2-40B4-BE49-F238E27FC236}">
                <a16:creationId xmlns:a16="http://schemas.microsoft.com/office/drawing/2014/main" id="{82A1E4F1-5CCD-2DF1-F5CF-8162A48963FB}"/>
              </a:ext>
            </a:extLst>
          </p:cNvPr>
          <p:cNvCxnSpPr>
            <a:cxnSpLocks/>
          </p:cNvCxnSpPr>
          <p:nvPr/>
        </p:nvCxnSpPr>
        <p:spPr>
          <a:xfrm rot="16200000" flipH="1">
            <a:off x="1057691" y="2095434"/>
            <a:ext cx="452943" cy="414321"/>
          </a:xfrm>
          <a:prstGeom prst="bentConnector3">
            <a:avLst>
              <a:gd name="adj1" fmla="val -20467"/>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955BC599-3C43-5062-C671-D53157F5B13A}"/>
              </a:ext>
            </a:extLst>
          </p:cNvPr>
          <p:cNvSpPr txBox="1"/>
          <p:nvPr/>
        </p:nvSpPr>
        <p:spPr>
          <a:xfrm>
            <a:off x="914312" y="1731442"/>
            <a:ext cx="723276"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75</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50" name="Connector: Elbow 49">
            <a:extLst>
              <a:ext uri="{FF2B5EF4-FFF2-40B4-BE49-F238E27FC236}">
                <a16:creationId xmlns:a16="http://schemas.microsoft.com/office/drawing/2014/main" id="{382C4633-7AF5-2444-BDD8-A9205E28EBD5}"/>
              </a:ext>
            </a:extLst>
          </p:cNvPr>
          <p:cNvCxnSpPr>
            <a:cxnSpLocks/>
          </p:cNvCxnSpPr>
          <p:nvPr/>
        </p:nvCxnSpPr>
        <p:spPr>
          <a:xfrm rot="16200000" flipH="1">
            <a:off x="3787801" y="2171740"/>
            <a:ext cx="542289" cy="404656"/>
          </a:xfrm>
          <a:prstGeom prst="bentConnector3">
            <a:avLst>
              <a:gd name="adj1" fmla="val -16745"/>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A72FE175-F064-B50B-0C0F-42DDE63DADEE}"/>
              </a:ext>
            </a:extLst>
          </p:cNvPr>
          <p:cNvSpPr txBox="1"/>
          <p:nvPr/>
        </p:nvSpPr>
        <p:spPr>
          <a:xfrm>
            <a:off x="3700297" y="1758714"/>
            <a:ext cx="729687"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63</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3" name="TextBox 62">
            <a:extLst>
              <a:ext uri="{FF2B5EF4-FFF2-40B4-BE49-F238E27FC236}">
                <a16:creationId xmlns:a16="http://schemas.microsoft.com/office/drawing/2014/main" id="{6F3A9606-F6C6-33D4-F656-7F42103B6F5D}"/>
              </a:ext>
            </a:extLst>
          </p:cNvPr>
          <p:cNvSpPr txBox="1"/>
          <p:nvPr/>
        </p:nvSpPr>
        <p:spPr>
          <a:xfrm>
            <a:off x="3359319" y="4227557"/>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6CB643"/>
                </a:solidFill>
                <a:effectLst/>
                <a:uLnTx/>
                <a:uFillTx/>
                <a:latin typeface="Arial" panose="020B0604020202020204" pitchFamily="34" charset="0"/>
                <a:ea typeface="+mn-ea"/>
                <a:cs typeface="Arial" panose="020B0604020202020204" pitchFamily="34" charset="0"/>
              </a:rPr>
              <a:t>Without</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iver metastas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448)</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64" name="Right Bracket 63">
            <a:extLst>
              <a:ext uri="{FF2B5EF4-FFF2-40B4-BE49-F238E27FC236}">
                <a16:creationId xmlns:a16="http://schemas.microsoft.com/office/drawing/2014/main" id="{73D511DF-5799-0222-9508-1A7C3868E30D}"/>
              </a:ext>
            </a:extLst>
          </p:cNvPr>
          <p:cNvSpPr/>
          <p:nvPr/>
        </p:nvSpPr>
        <p:spPr>
          <a:xfrm rot="16200000">
            <a:off x="6783957" y="3660661"/>
            <a:ext cx="66525" cy="391129"/>
          </a:xfrm>
          <a:prstGeom prst="rightBracket">
            <a:avLst>
              <a:gd name="adj" fmla="val 0"/>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B16A013F-B98B-BDA2-438C-B0EAD7A3E9CA}"/>
              </a:ext>
            </a:extLst>
          </p:cNvPr>
          <p:cNvSpPr txBox="1"/>
          <p:nvPr/>
        </p:nvSpPr>
        <p:spPr>
          <a:xfrm>
            <a:off x="6484717" y="3572808"/>
            <a:ext cx="699229"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NC</a:t>
            </a:r>
            <a:r>
              <a:rPr kumimoji="0" lang="en-GB" sz="105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GB" sz="105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7" name="TextBox 66">
            <a:extLst>
              <a:ext uri="{FF2B5EF4-FFF2-40B4-BE49-F238E27FC236}">
                <a16:creationId xmlns:a16="http://schemas.microsoft.com/office/drawing/2014/main" id="{345754D0-DA50-8553-CFB0-E1269D8F7503}"/>
              </a:ext>
            </a:extLst>
          </p:cNvPr>
          <p:cNvSpPr txBox="1"/>
          <p:nvPr/>
        </p:nvSpPr>
        <p:spPr>
          <a:xfrm>
            <a:off x="9242913" y="1448565"/>
            <a:ext cx="729687"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93</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 name="TextBox 97">
            <a:extLst>
              <a:ext uri="{FF2B5EF4-FFF2-40B4-BE49-F238E27FC236}">
                <a16:creationId xmlns:a16="http://schemas.microsoft.com/office/drawing/2014/main" id="{7DBFCD74-4DCE-7E00-2800-F548EF4B11F9}"/>
              </a:ext>
            </a:extLst>
          </p:cNvPr>
          <p:cNvSpPr txBox="1"/>
          <p:nvPr/>
        </p:nvSpPr>
        <p:spPr>
          <a:xfrm>
            <a:off x="7529526" y="4236173"/>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With</a:t>
            </a:r>
            <a:r>
              <a:rPr kumimoji="0" lang="en-GB"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P53</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b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utations</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79)*</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99" name="TextBox 98">
            <a:extLst>
              <a:ext uri="{FF2B5EF4-FFF2-40B4-BE49-F238E27FC236}">
                <a16:creationId xmlns:a16="http://schemas.microsoft.com/office/drawing/2014/main" id="{DAFD9AF0-1C65-D2DD-21BA-8B7F5E725B5E}"/>
              </a:ext>
            </a:extLst>
          </p:cNvPr>
          <p:cNvSpPr txBox="1"/>
          <p:nvPr/>
        </p:nvSpPr>
        <p:spPr>
          <a:xfrm>
            <a:off x="6131967" y="4234691"/>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6CB643"/>
                </a:solidFill>
                <a:effectLst/>
                <a:uLnTx/>
                <a:uFillTx/>
                <a:latin typeface="Arial" panose="020B0604020202020204" pitchFamily="34" charset="0"/>
                <a:ea typeface="+mn-ea"/>
                <a:cs typeface="Arial" panose="020B0604020202020204" pitchFamily="34" charset="0"/>
              </a:rPr>
              <a:t>Without</a:t>
            </a:r>
            <a:r>
              <a:rPr kumimoji="0" lang="en-GB"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P53</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utations </a:t>
            </a:r>
            <a:b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62)*</a:t>
            </a:r>
          </a:p>
        </p:txBody>
      </p:sp>
      <p:pic>
        <p:nvPicPr>
          <p:cNvPr id="3" name="Graphic 2">
            <a:extLst>
              <a:ext uri="{FF2B5EF4-FFF2-40B4-BE49-F238E27FC236}">
                <a16:creationId xmlns:a16="http://schemas.microsoft.com/office/drawing/2014/main" id="{1B4E9809-E37A-C020-BE2A-728E9C0825B8}"/>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1111268" y="4916621"/>
            <a:ext cx="345790" cy="355496"/>
          </a:xfrm>
          <a:prstGeom prst="rect">
            <a:avLst/>
          </a:prstGeom>
        </p:spPr>
      </p:pic>
      <p:pic>
        <p:nvPicPr>
          <p:cNvPr id="55" name="Graphic 54">
            <a:extLst>
              <a:ext uri="{FF2B5EF4-FFF2-40B4-BE49-F238E27FC236}">
                <a16:creationId xmlns:a16="http://schemas.microsoft.com/office/drawing/2014/main" id="{FC6452EA-4C97-A0F8-B7F8-A09BEC73ECB9}"/>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1032163" y="4847182"/>
            <a:ext cx="504000" cy="504000"/>
          </a:xfrm>
          <a:prstGeom prst="rect">
            <a:avLst/>
          </a:prstGeom>
        </p:spPr>
      </p:pic>
      <p:pic>
        <p:nvPicPr>
          <p:cNvPr id="56" name="Graphic 55">
            <a:extLst>
              <a:ext uri="{FF2B5EF4-FFF2-40B4-BE49-F238E27FC236}">
                <a16:creationId xmlns:a16="http://schemas.microsoft.com/office/drawing/2014/main" id="{1B2D81DB-53F0-EFFA-46D9-E2A82BDC78A0}"/>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2460643" y="4910777"/>
            <a:ext cx="345790" cy="355496"/>
          </a:xfrm>
          <a:prstGeom prst="rect">
            <a:avLst/>
          </a:prstGeom>
        </p:spPr>
      </p:pic>
      <p:pic>
        <p:nvPicPr>
          <p:cNvPr id="58" name="Graphic 57">
            <a:extLst>
              <a:ext uri="{FF2B5EF4-FFF2-40B4-BE49-F238E27FC236}">
                <a16:creationId xmlns:a16="http://schemas.microsoft.com/office/drawing/2014/main" id="{1B40D76C-F534-682B-296B-48AA2E79F825}"/>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2262633" y="4724225"/>
            <a:ext cx="756000" cy="756000"/>
          </a:xfrm>
          <a:prstGeom prst="rect">
            <a:avLst/>
          </a:prstGeom>
        </p:spPr>
      </p:pic>
      <p:pic>
        <p:nvPicPr>
          <p:cNvPr id="59" name="Graphic 58">
            <a:extLst>
              <a:ext uri="{FF2B5EF4-FFF2-40B4-BE49-F238E27FC236}">
                <a16:creationId xmlns:a16="http://schemas.microsoft.com/office/drawing/2014/main" id="{9737CA18-CB68-C8AF-D6A9-59A244C4777A}"/>
              </a:ext>
            </a:extLst>
          </p:cNvPr>
          <p:cNvPicPr>
            <a:picLocks/>
          </p:cNvPicPr>
          <p:nvPr/>
        </p:nvPicPr>
        <p:blipFill>
          <a:blip>
            <a:extLst>
              <a:ext uri="{96DAC541-7B7A-43D3-8B79-37D633B846F1}">
                <asvg:svgBlip xmlns:asvg="http://schemas.microsoft.com/office/drawing/2016/SVG/main" r:embed="rId7"/>
              </a:ext>
            </a:extLst>
          </a:blip>
          <a:stretch>
            <a:fillRect/>
          </a:stretch>
        </p:blipFill>
        <p:spPr>
          <a:xfrm>
            <a:off x="3842207" y="4920641"/>
            <a:ext cx="360000" cy="360000"/>
          </a:xfrm>
          <a:prstGeom prst="rect">
            <a:avLst/>
          </a:prstGeom>
        </p:spPr>
      </p:pic>
      <p:pic>
        <p:nvPicPr>
          <p:cNvPr id="60" name="Graphic 59">
            <a:extLst>
              <a:ext uri="{FF2B5EF4-FFF2-40B4-BE49-F238E27FC236}">
                <a16:creationId xmlns:a16="http://schemas.microsoft.com/office/drawing/2014/main" id="{9C45E74C-4D43-9DD6-B88A-C7E38A16DA49}"/>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3757273" y="4847182"/>
            <a:ext cx="504000" cy="504000"/>
          </a:xfrm>
          <a:prstGeom prst="rect">
            <a:avLst/>
          </a:prstGeom>
        </p:spPr>
      </p:pic>
      <p:pic>
        <p:nvPicPr>
          <p:cNvPr id="61" name="Graphic 60">
            <a:extLst>
              <a:ext uri="{FF2B5EF4-FFF2-40B4-BE49-F238E27FC236}">
                <a16:creationId xmlns:a16="http://schemas.microsoft.com/office/drawing/2014/main" id="{1E54A81E-C986-1C43-F1EC-E8637BDCA750}"/>
              </a:ext>
            </a:extLst>
          </p:cNvPr>
          <p:cNvPicPr>
            <a:picLocks/>
          </p:cNvPicPr>
          <p:nvPr/>
        </p:nvPicPr>
        <p:blipFill>
          <a:blip>
            <a:extLst>
              <a:ext uri="{96DAC541-7B7A-43D3-8B79-37D633B846F1}">
                <asvg:svgBlip xmlns:asvg="http://schemas.microsoft.com/office/drawing/2016/SVG/main" r:embed="rId7"/>
              </a:ext>
            </a:extLst>
          </a:blip>
          <a:stretch>
            <a:fillRect/>
          </a:stretch>
        </p:blipFill>
        <p:spPr>
          <a:xfrm>
            <a:off x="5252472" y="4927955"/>
            <a:ext cx="360000" cy="360000"/>
          </a:xfrm>
          <a:prstGeom prst="rect">
            <a:avLst/>
          </a:prstGeom>
        </p:spPr>
      </p:pic>
      <p:pic>
        <p:nvPicPr>
          <p:cNvPr id="62" name="Graphic 61">
            <a:extLst>
              <a:ext uri="{FF2B5EF4-FFF2-40B4-BE49-F238E27FC236}">
                <a16:creationId xmlns:a16="http://schemas.microsoft.com/office/drawing/2014/main" id="{FBAA86F4-3169-AAE6-4A70-D9C1F7EBB3FA}"/>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5049818" y="4724225"/>
            <a:ext cx="756000" cy="756000"/>
          </a:xfrm>
          <a:prstGeom prst="rect">
            <a:avLst/>
          </a:prstGeom>
        </p:spPr>
      </p:pic>
      <p:pic>
        <p:nvPicPr>
          <p:cNvPr id="66" name="Graphic 65">
            <a:extLst>
              <a:ext uri="{FF2B5EF4-FFF2-40B4-BE49-F238E27FC236}">
                <a16:creationId xmlns:a16="http://schemas.microsoft.com/office/drawing/2014/main" id="{B6E40942-1908-30EE-D2EB-631B9843CBA7}"/>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6655857" y="4927527"/>
            <a:ext cx="303859" cy="341020"/>
          </a:xfrm>
          <a:prstGeom prst="rect">
            <a:avLst/>
          </a:prstGeom>
        </p:spPr>
      </p:pic>
      <p:pic>
        <p:nvPicPr>
          <p:cNvPr id="68" name="Graphic 67">
            <a:extLst>
              <a:ext uri="{FF2B5EF4-FFF2-40B4-BE49-F238E27FC236}">
                <a16:creationId xmlns:a16="http://schemas.microsoft.com/office/drawing/2014/main" id="{364CB4C3-CA04-5090-AFE6-5C6659DF96C3}"/>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6555752" y="4847182"/>
            <a:ext cx="504000" cy="504000"/>
          </a:xfrm>
          <a:prstGeom prst="rect">
            <a:avLst/>
          </a:prstGeom>
        </p:spPr>
      </p:pic>
      <p:pic>
        <p:nvPicPr>
          <p:cNvPr id="69" name="Graphic 68">
            <a:extLst>
              <a:ext uri="{FF2B5EF4-FFF2-40B4-BE49-F238E27FC236}">
                <a16:creationId xmlns:a16="http://schemas.microsoft.com/office/drawing/2014/main" id="{3A811793-3DD0-7331-8533-0993A0ECC753}"/>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8046324" y="4922764"/>
            <a:ext cx="303859" cy="341020"/>
          </a:xfrm>
          <a:prstGeom prst="rect">
            <a:avLst/>
          </a:prstGeom>
        </p:spPr>
      </p:pic>
      <p:pic>
        <p:nvPicPr>
          <p:cNvPr id="71" name="Graphic 70">
            <a:extLst>
              <a:ext uri="{FF2B5EF4-FFF2-40B4-BE49-F238E27FC236}">
                <a16:creationId xmlns:a16="http://schemas.microsoft.com/office/drawing/2014/main" id="{A685D99C-A0D9-1F2A-5FC7-7E3F7C82DBB7}"/>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7820253" y="4724225"/>
            <a:ext cx="756000" cy="756000"/>
          </a:xfrm>
          <a:prstGeom prst="rect">
            <a:avLst/>
          </a:prstGeom>
        </p:spPr>
      </p:pic>
      <p:pic>
        <p:nvPicPr>
          <p:cNvPr id="72" name="Graphic 71">
            <a:extLst>
              <a:ext uri="{FF2B5EF4-FFF2-40B4-BE49-F238E27FC236}">
                <a16:creationId xmlns:a16="http://schemas.microsoft.com/office/drawing/2014/main" id="{BC44314C-1846-4F94-C23C-72E90CA3B3BF}"/>
              </a:ext>
            </a:extLst>
          </p:cNvPr>
          <p:cNvPicPr>
            <a:picLocks/>
          </p:cNvPicPr>
          <p:nvPr/>
        </p:nvPicPr>
        <p:blipFill>
          <a:blip>
            <a:extLst>
              <a:ext uri="{96DAC541-7B7A-43D3-8B79-37D633B846F1}">
                <asvg:svgBlip xmlns:asvg="http://schemas.microsoft.com/office/drawing/2016/SVG/main" r:embed="rId9"/>
              </a:ext>
            </a:extLst>
          </a:blip>
          <a:stretch>
            <a:fillRect/>
          </a:stretch>
        </p:blipFill>
        <p:spPr>
          <a:xfrm>
            <a:off x="9436273" y="4938695"/>
            <a:ext cx="324000" cy="324000"/>
          </a:xfrm>
          <a:prstGeom prst="rect">
            <a:avLst/>
          </a:prstGeom>
        </p:spPr>
      </p:pic>
      <p:pic>
        <p:nvPicPr>
          <p:cNvPr id="73" name="Graphic 72">
            <a:extLst>
              <a:ext uri="{FF2B5EF4-FFF2-40B4-BE49-F238E27FC236}">
                <a16:creationId xmlns:a16="http://schemas.microsoft.com/office/drawing/2014/main" id="{DA8118BC-A50B-2478-E741-07F3ED9A3BC0}"/>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9336754" y="4847182"/>
            <a:ext cx="504000" cy="504000"/>
          </a:xfrm>
          <a:prstGeom prst="rect">
            <a:avLst/>
          </a:prstGeom>
        </p:spPr>
      </p:pic>
      <p:pic>
        <p:nvPicPr>
          <p:cNvPr id="74" name="Graphic 73">
            <a:extLst>
              <a:ext uri="{FF2B5EF4-FFF2-40B4-BE49-F238E27FC236}">
                <a16:creationId xmlns:a16="http://schemas.microsoft.com/office/drawing/2014/main" id="{AA00E741-3282-8BE9-5EE6-8A76067D0BF2}"/>
              </a:ext>
            </a:extLst>
          </p:cNvPr>
          <p:cNvPicPr>
            <a:picLocks/>
          </p:cNvPicPr>
          <p:nvPr/>
        </p:nvPicPr>
        <p:blipFill>
          <a:blip>
            <a:extLst>
              <a:ext uri="{96DAC541-7B7A-43D3-8B79-37D633B846F1}">
                <asvg:svgBlip xmlns:asvg="http://schemas.microsoft.com/office/drawing/2016/SVG/main" r:embed="rId9"/>
              </a:ext>
            </a:extLst>
          </a:blip>
          <a:stretch>
            <a:fillRect/>
          </a:stretch>
        </p:blipFill>
        <p:spPr>
          <a:xfrm>
            <a:off x="10823748" y="4928116"/>
            <a:ext cx="324000" cy="324000"/>
          </a:xfrm>
          <a:prstGeom prst="rect">
            <a:avLst/>
          </a:prstGeom>
        </p:spPr>
      </p:pic>
      <p:pic>
        <p:nvPicPr>
          <p:cNvPr id="76" name="Graphic 75">
            <a:extLst>
              <a:ext uri="{FF2B5EF4-FFF2-40B4-BE49-F238E27FC236}">
                <a16:creationId xmlns:a16="http://schemas.microsoft.com/office/drawing/2014/main" id="{408580AC-1330-C0DD-8A27-15B627DEBA23}"/>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10598658" y="4724225"/>
            <a:ext cx="756000" cy="756000"/>
          </a:xfrm>
          <a:prstGeom prst="rect">
            <a:avLst/>
          </a:prstGeom>
        </p:spPr>
      </p:pic>
      <p:cxnSp>
        <p:nvCxnSpPr>
          <p:cNvPr id="107" name="Straight Connector 106">
            <a:extLst>
              <a:ext uri="{FF2B5EF4-FFF2-40B4-BE49-F238E27FC236}">
                <a16:creationId xmlns:a16="http://schemas.microsoft.com/office/drawing/2014/main" id="{6BD6FEDE-67B4-805B-C1E3-9A8B0CAD1E2D}"/>
              </a:ext>
            </a:extLst>
          </p:cNvPr>
          <p:cNvCxnSpPr>
            <a:cxnSpLocks/>
          </p:cNvCxnSpPr>
          <p:nvPr/>
        </p:nvCxnSpPr>
        <p:spPr>
          <a:xfrm>
            <a:off x="9796467" y="1694406"/>
            <a:ext cx="0" cy="216000"/>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09" name="Right Bracket 108">
            <a:extLst>
              <a:ext uri="{FF2B5EF4-FFF2-40B4-BE49-F238E27FC236}">
                <a16:creationId xmlns:a16="http://schemas.microsoft.com/office/drawing/2014/main" id="{331C8174-B1A7-A241-FA89-1F06D554701F}"/>
              </a:ext>
            </a:extLst>
          </p:cNvPr>
          <p:cNvSpPr/>
          <p:nvPr/>
        </p:nvSpPr>
        <p:spPr>
          <a:xfrm rot="16200000">
            <a:off x="9565142" y="1529607"/>
            <a:ext cx="66525" cy="396124"/>
          </a:xfrm>
          <a:prstGeom prst="rightBracket">
            <a:avLst>
              <a:gd name="adj" fmla="val 0"/>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20" name="Group 119">
            <a:extLst>
              <a:ext uri="{FF2B5EF4-FFF2-40B4-BE49-F238E27FC236}">
                <a16:creationId xmlns:a16="http://schemas.microsoft.com/office/drawing/2014/main" id="{04732B90-8FCC-82D9-17AF-DB3C47056E3E}"/>
              </a:ext>
            </a:extLst>
          </p:cNvPr>
          <p:cNvGrpSpPr/>
          <p:nvPr/>
        </p:nvGrpSpPr>
        <p:grpSpPr>
          <a:xfrm>
            <a:off x="657770" y="1418966"/>
            <a:ext cx="2965738" cy="279871"/>
            <a:chOff x="5317297" y="1508741"/>
            <a:chExt cx="2965738" cy="279871"/>
          </a:xfrm>
        </p:grpSpPr>
        <p:sp>
          <p:nvSpPr>
            <p:cNvPr id="116" name="Rectangle 115">
              <a:extLst>
                <a:ext uri="{FF2B5EF4-FFF2-40B4-BE49-F238E27FC236}">
                  <a16:creationId xmlns:a16="http://schemas.microsoft.com/office/drawing/2014/main" id="{1EB2FEAA-9FF7-C3D3-69A5-2A33A595AD63}"/>
                </a:ext>
              </a:extLst>
            </p:cNvPr>
            <p:cNvSpPr/>
            <p:nvPr/>
          </p:nvSpPr>
          <p:spPr>
            <a:xfrm>
              <a:off x="5317297" y="1591683"/>
              <a:ext cx="129052" cy="11685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 name="Rectangle 116">
              <a:extLst>
                <a:ext uri="{FF2B5EF4-FFF2-40B4-BE49-F238E27FC236}">
                  <a16:creationId xmlns:a16="http://schemas.microsoft.com/office/drawing/2014/main" id="{ADD688D0-4836-292F-FDDC-EA2ECE2AD904}"/>
                </a:ext>
              </a:extLst>
            </p:cNvPr>
            <p:cNvSpPr/>
            <p:nvPr/>
          </p:nvSpPr>
          <p:spPr>
            <a:xfrm>
              <a:off x="6827602" y="1588811"/>
              <a:ext cx="129052" cy="116859"/>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 name="TextBox 117">
              <a:extLst>
                <a:ext uri="{FF2B5EF4-FFF2-40B4-BE49-F238E27FC236}">
                  <a16:creationId xmlns:a16="http://schemas.microsoft.com/office/drawing/2014/main" id="{4767BD6A-3960-B450-4761-F44905FE0EC7}"/>
                </a:ext>
              </a:extLst>
            </p:cNvPr>
            <p:cNvSpPr txBox="1"/>
            <p:nvPr/>
          </p:nvSpPr>
          <p:spPr>
            <a:xfrm>
              <a:off x="5396944" y="1511613"/>
              <a:ext cx="1615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 + </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hT</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 name="TextBox 118">
              <a:extLst>
                <a:ext uri="{FF2B5EF4-FFF2-40B4-BE49-F238E27FC236}">
                  <a16:creationId xmlns:a16="http://schemas.microsoft.com/office/drawing/2014/main" id="{2BBBE1B6-B27B-DC14-90B2-E7DB53EC1DA1}"/>
                </a:ext>
              </a:extLst>
            </p:cNvPr>
            <p:cNvSpPr txBox="1"/>
            <p:nvPr/>
          </p:nvSpPr>
          <p:spPr>
            <a:xfrm>
              <a:off x="6906617" y="1508741"/>
              <a:ext cx="137641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8" name="Rectangle: Rounded Corners 17">
            <a:extLst>
              <a:ext uri="{FF2B5EF4-FFF2-40B4-BE49-F238E27FC236}">
                <a16:creationId xmlns:a16="http://schemas.microsoft.com/office/drawing/2014/main" id="{37E7A73C-67B7-5AE7-C554-0F673C506278}"/>
              </a:ext>
            </a:extLst>
          </p:cNvPr>
          <p:cNvSpPr/>
          <p:nvPr/>
        </p:nvSpPr>
        <p:spPr>
          <a:xfrm>
            <a:off x="10118785" y="203659"/>
            <a:ext cx="1551426"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LAURA2</a:t>
            </a:r>
          </a:p>
        </p:txBody>
      </p:sp>
      <p:grpSp>
        <p:nvGrpSpPr>
          <p:cNvPr id="19" name="Group 18">
            <a:extLst>
              <a:ext uri="{FF2B5EF4-FFF2-40B4-BE49-F238E27FC236}">
                <a16:creationId xmlns:a16="http://schemas.microsoft.com/office/drawing/2014/main" id="{61C02F34-5D6E-377C-4ABC-49602A64C167}"/>
              </a:ext>
            </a:extLst>
          </p:cNvPr>
          <p:cNvGrpSpPr/>
          <p:nvPr/>
        </p:nvGrpSpPr>
        <p:grpSpPr>
          <a:xfrm>
            <a:off x="11442807" y="48345"/>
            <a:ext cx="645342" cy="645342"/>
            <a:chOff x="11442807" y="48345"/>
            <a:chExt cx="645342" cy="645342"/>
          </a:xfrm>
        </p:grpSpPr>
        <p:sp>
          <p:nvSpPr>
            <p:cNvPr id="20" name="Oval 19">
              <a:extLst>
                <a:ext uri="{FF2B5EF4-FFF2-40B4-BE49-F238E27FC236}">
                  <a16:creationId xmlns:a16="http://schemas.microsoft.com/office/drawing/2014/main" id="{8CF75E7D-09EB-DEE1-496B-EE19F2D68402}"/>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21" name="Graphic 20" descr="Signal outline">
              <a:extLst>
                <a:ext uri="{FF2B5EF4-FFF2-40B4-BE49-F238E27FC236}">
                  <a16:creationId xmlns:a16="http://schemas.microsoft.com/office/drawing/2014/main" id="{60432A07-CA02-7BEA-7AC9-BCBCC66E95BB}"/>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1492045" y="96048"/>
              <a:ext cx="506740" cy="506740"/>
            </a:xfrm>
            <a:prstGeom prst="rect">
              <a:avLst/>
            </a:prstGeom>
          </p:spPr>
        </p:pic>
      </p:grpSp>
    </p:spTree>
    <p:extLst>
      <p:ext uri="{BB962C8B-B14F-4D97-AF65-F5344CB8AC3E}">
        <p14:creationId xmlns:p14="http://schemas.microsoft.com/office/powerpoint/2010/main" val="42768033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F97A0-2A4D-49A1-70F9-DE336F139DC4}"/>
            </a:ext>
          </a:extLst>
        </p:cNvPr>
        <p:cNvGrpSpPr/>
        <p:nvPr/>
      </p:nvGrpSpPr>
      <p:grpSpPr>
        <a:xfrm>
          <a:off x="0" y="0"/>
          <a:ext cx="0" cy="0"/>
          <a:chOff x="0" y="0"/>
          <a:chExt cx="0" cy="0"/>
        </a:xfrm>
      </p:grpSpPr>
      <p:grpSp>
        <p:nvGrpSpPr>
          <p:cNvPr id="13" name="Group 12">
            <a:extLst>
              <a:ext uri="{FF2B5EF4-FFF2-40B4-BE49-F238E27FC236}">
                <a16:creationId xmlns:a16="http://schemas.microsoft.com/office/drawing/2014/main" id="{869A56AA-4917-DA4D-657C-4C1A6B5BC426}"/>
              </a:ext>
            </a:extLst>
          </p:cNvPr>
          <p:cNvGrpSpPr/>
          <p:nvPr/>
        </p:nvGrpSpPr>
        <p:grpSpPr>
          <a:xfrm>
            <a:off x="0" y="5446545"/>
            <a:ext cx="11755482" cy="1026586"/>
            <a:chOff x="-1" y="5183761"/>
            <a:chExt cx="11755482" cy="1026586"/>
          </a:xfrm>
        </p:grpSpPr>
        <p:sp>
          <p:nvSpPr>
            <p:cNvPr id="14" name="Rectangle 13">
              <a:extLst>
                <a:ext uri="{FF2B5EF4-FFF2-40B4-BE49-F238E27FC236}">
                  <a16:creationId xmlns:a16="http://schemas.microsoft.com/office/drawing/2014/main" id="{C5C1A44F-91B3-42CC-0AF9-636071EDDE03}"/>
                </a:ext>
              </a:extLst>
            </p:cNvPr>
            <p:cNvSpPr/>
            <p:nvPr/>
          </p:nvSpPr>
          <p:spPr>
            <a:xfrm>
              <a:off x="296883" y="5325052"/>
              <a:ext cx="11458598" cy="720000"/>
            </a:xfrm>
            <a:prstGeom prst="rect">
              <a:avLst/>
            </a:prstGeom>
            <a:gradFill flip="none" rotWithShape="1">
              <a:gsLst>
                <a:gs pos="8000">
                  <a:schemeClr val="bg1"/>
                </a:gs>
                <a:gs pos="0">
                  <a:schemeClr val="accent1"/>
                </a:gs>
                <a:gs pos="90000">
                  <a:schemeClr val="bg1"/>
                </a:gs>
                <a:gs pos="99000">
                  <a:schemeClr val="accent1"/>
                </a:gs>
              </a:gsLst>
              <a:lin ang="0" scaled="1"/>
              <a:tileRect/>
            </a:gra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A28D5F58-BF66-C1A9-06D6-808F0D9FE499}"/>
                </a:ext>
              </a:extLst>
            </p:cNvPr>
            <p:cNvGrpSpPr/>
            <p:nvPr/>
          </p:nvGrpSpPr>
          <p:grpSpPr>
            <a:xfrm>
              <a:off x="-1" y="5183761"/>
              <a:ext cx="425473" cy="1026586"/>
              <a:chOff x="0" y="5282896"/>
              <a:chExt cx="436762" cy="1241728"/>
            </a:xfrm>
          </p:grpSpPr>
          <p:sp>
            <p:nvSpPr>
              <p:cNvPr id="18" name="Freeform 14">
                <a:extLst>
                  <a:ext uri="{FF2B5EF4-FFF2-40B4-BE49-F238E27FC236}">
                    <a16:creationId xmlns:a16="http://schemas.microsoft.com/office/drawing/2014/main" id="{1013B592-DE45-B739-62A2-58EAC4E3483A}"/>
                  </a:ext>
                </a:extLst>
              </p:cNvPr>
              <p:cNvSpPr>
                <a:spLocks/>
              </p:cNvSpPr>
              <p:nvPr/>
            </p:nvSpPr>
            <p:spPr bwMode="auto">
              <a:xfrm>
                <a:off x="17982" y="5313808"/>
                <a:ext cx="393085" cy="1197236"/>
              </a:xfrm>
              <a:custGeom>
                <a:avLst/>
                <a:gdLst>
                  <a:gd name="T0" fmla="*/ 153 w 153"/>
                  <a:gd name="T1" fmla="*/ 0 h 1032"/>
                  <a:gd name="T2" fmla="*/ 150 w 153"/>
                  <a:gd name="T3" fmla="*/ 1032 h 1032"/>
                  <a:gd name="T4" fmla="*/ 0 w 153"/>
                  <a:gd name="T5" fmla="*/ 1032 h 1032"/>
                  <a:gd name="T6" fmla="*/ 0 w 153"/>
                  <a:gd name="T7" fmla="*/ 0 h 1032"/>
                  <a:gd name="T8" fmla="*/ 153 w 153"/>
                  <a:gd name="T9" fmla="*/ 0 h 1032"/>
                </a:gdLst>
                <a:ahLst/>
                <a:cxnLst>
                  <a:cxn ang="0">
                    <a:pos x="T0" y="T1"/>
                  </a:cxn>
                  <a:cxn ang="0">
                    <a:pos x="T2" y="T3"/>
                  </a:cxn>
                  <a:cxn ang="0">
                    <a:pos x="T4" y="T5"/>
                  </a:cxn>
                  <a:cxn ang="0">
                    <a:pos x="T6" y="T7"/>
                  </a:cxn>
                  <a:cxn ang="0">
                    <a:pos x="T8" y="T9"/>
                  </a:cxn>
                </a:cxnLst>
                <a:rect l="0" t="0" r="r" b="b"/>
                <a:pathLst>
                  <a:path w="153" h="1032">
                    <a:moveTo>
                      <a:pt x="153" y="0"/>
                    </a:moveTo>
                    <a:lnTo>
                      <a:pt x="150" y="1032"/>
                    </a:lnTo>
                    <a:lnTo>
                      <a:pt x="0" y="1032"/>
                    </a:lnTo>
                    <a:lnTo>
                      <a:pt x="0" y="0"/>
                    </a:lnTo>
                    <a:lnTo>
                      <a:pt x="153" y="0"/>
                    </a:lnTo>
                    <a:close/>
                  </a:path>
                </a:pathLst>
              </a:custGeom>
              <a:gradFill flip="none" rotWithShape="1">
                <a:gsLst>
                  <a:gs pos="0">
                    <a:sysClr val="window" lastClr="FFFFFF">
                      <a:alpha val="0"/>
                    </a:sysClr>
                  </a:gs>
                  <a:gs pos="50000">
                    <a:sysClr val="window" lastClr="FFFFFF"/>
                  </a:gs>
                  <a:gs pos="100000">
                    <a:sysClr val="window" lastClr="FFFFFF">
                      <a:alpha val="0"/>
                    </a:sysClr>
                  </a:gs>
                </a:gsLst>
                <a:lin ang="5400000" scaled="0"/>
                <a:tileRect/>
              </a:gradFill>
              <a:ln w="12700" cap="flat" cmpd="sng" algn="ctr">
                <a:noFill/>
                <a:prstDash val="solid"/>
                <a:miter lim="800000"/>
              </a:ln>
              <a:effectLst>
                <a:outerShdw blurRad="101600" dist="88900" sx="95000" sy="95000" algn="tl" rotWithShape="0">
                  <a:prstClr val="black">
                    <a:alpha val="5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1" name="Rectangle 50">
                <a:extLst>
                  <a:ext uri="{FF2B5EF4-FFF2-40B4-BE49-F238E27FC236}">
                    <a16:creationId xmlns:a16="http://schemas.microsoft.com/office/drawing/2014/main" id="{CF2119F1-25D1-B9D5-F45C-B0238D9E0379}"/>
                  </a:ext>
                </a:extLst>
              </p:cNvPr>
              <p:cNvSpPr/>
              <p:nvPr/>
            </p:nvSpPr>
            <p:spPr>
              <a:xfrm>
                <a:off x="0" y="5282896"/>
                <a:ext cx="436762" cy="1241728"/>
              </a:xfrm>
              <a:prstGeom prst="rect">
                <a:avLst/>
              </a:prstGeom>
              <a:solidFill>
                <a:srgbClr val="F6F5F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16" name="Picture 2" descr="Data Icon 2500462">
              <a:extLst>
                <a:ext uri="{FF2B5EF4-FFF2-40B4-BE49-F238E27FC236}">
                  <a16:creationId xmlns:a16="http://schemas.microsoft.com/office/drawing/2014/main" id="{DF4E1299-DD69-7A37-0319-E991F7E093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05187" y="5231799"/>
              <a:ext cx="891266" cy="89126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066B0879-FC83-0068-7F8C-9A1BBFC36B72}"/>
                </a:ext>
              </a:extLst>
            </p:cNvPr>
            <p:cNvSpPr txBox="1"/>
            <p:nvPr/>
          </p:nvSpPr>
          <p:spPr>
            <a:xfrm>
              <a:off x="1163729" y="5370939"/>
              <a:ext cx="963006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L osimertinib + ChT demonstrated a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statistically significant </a:t>
              </a:r>
              <a:b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improvement</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n OS vs osimertinib monotherapy</a:t>
              </a:r>
              <a:endPar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 name="Title 1">
            <a:extLst>
              <a:ext uri="{FF2B5EF4-FFF2-40B4-BE49-F238E27FC236}">
                <a16:creationId xmlns:a16="http://schemas.microsoft.com/office/drawing/2014/main" id="{93251AE9-C7AB-068C-DA67-706FA315880D}"/>
              </a:ext>
            </a:extLst>
          </p:cNvPr>
          <p:cNvSpPr>
            <a:spLocks noGrp="1"/>
          </p:cNvSpPr>
          <p:nvPr>
            <p:ph type="title"/>
          </p:nvPr>
        </p:nvSpPr>
        <p:spPr/>
        <p:txBody>
          <a:bodyPr/>
          <a:lstStyle/>
          <a:p>
            <a:r>
              <a:rPr lang="en-GB" noProof="0" dirty="0"/>
              <a:t>Osimertinib + ChT: Final OS</a:t>
            </a:r>
            <a:r>
              <a:rPr lang="en-GB" baseline="30000" noProof="0" dirty="0"/>
              <a:t>1,2</a:t>
            </a:r>
          </a:p>
        </p:txBody>
      </p:sp>
      <p:sp>
        <p:nvSpPr>
          <p:cNvPr id="4" name="Text Placeholder 3">
            <a:extLst>
              <a:ext uri="{FF2B5EF4-FFF2-40B4-BE49-F238E27FC236}">
                <a16:creationId xmlns:a16="http://schemas.microsoft.com/office/drawing/2014/main" id="{58FB9856-6185-F57B-8ED8-4C278FD556F6}"/>
              </a:ext>
            </a:extLst>
          </p:cNvPr>
          <p:cNvSpPr>
            <a:spLocks noGrp="1"/>
          </p:cNvSpPr>
          <p:nvPr>
            <p:ph type="body" sz="quarter" idx="13"/>
          </p:nvPr>
        </p:nvSpPr>
        <p:spPr/>
        <p:txBody>
          <a:bodyPr/>
          <a:lstStyle/>
          <a:p>
            <a:r>
              <a:rPr lang="en-GB" dirty="0"/>
              <a:t>*Tick marks indicate censored data. A 2-sided p-value of &lt;0.04953 was </a:t>
            </a:r>
            <a:br>
              <a:rPr lang="en-GB" dirty="0"/>
            </a:br>
            <a:r>
              <a:rPr lang="en-GB" dirty="0"/>
              <a:t>considered to indicate statistical significance at this final OS analysis.</a:t>
            </a:r>
          </a:p>
          <a:p>
            <a:r>
              <a:rPr lang="en-GB" dirty="0"/>
              <a:t>1L, first-line; ChT, chemotherapy; HR, hazard ratio; mOS, median OS; NC, not calculable.</a:t>
            </a:r>
          </a:p>
        </p:txBody>
      </p:sp>
      <p:sp>
        <p:nvSpPr>
          <p:cNvPr id="5" name="Text Placeholder 4">
            <a:extLst>
              <a:ext uri="{FF2B5EF4-FFF2-40B4-BE49-F238E27FC236}">
                <a16:creationId xmlns:a16="http://schemas.microsoft.com/office/drawing/2014/main" id="{7BC801C0-17F5-7676-6C8D-81B470C7CCC9}"/>
              </a:ext>
            </a:extLst>
          </p:cNvPr>
          <p:cNvSpPr>
            <a:spLocks noGrp="1"/>
          </p:cNvSpPr>
          <p:nvPr>
            <p:ph type="body" sz="quarter" idx="15"/>
          </p:nvPr>
        </p:nvSpPr>
        <p:spPr>
          <a:xfrm>
            <a:off x="442912" y="6524625"/>
            <a:ext cx="3024907" cy="230832"/>
          </a:xfrm>
        </p:spPr>
        <p:txBody>
          <a:bodyPr/>
          <a:lstStyle/>
          <a:p>
            <a:r>
              <a:rPr lang="en-GB" dirty="0"/>
              <a:t>1. Planchard D, et al. Presented at WCLC 2025: PL02.06;</a:t>
            </a:r>
            <a:br>
              <a:rPr lang="en-GB" dirty="0"/>
            </a:br>
            <a:r>
              <a:rPr lang="en-GB" dirty="0"/>
              <a:t>2. Jänne PA, et al. </a:t>
            </a:r>
            <a:r>
              <a:rPr lang="en-GB" i="1" dirty="0"/>
              <a:t>N Engl J Med</a:t>
            </a:r>
            <a:r>
              <a:rPr lang="en-GB" dirty="0"/>
              <a:t>. 2025 (</a:t>
            </a:r>
            <a:r>
              <a:rPr lang="en-GB" dirty="0" err="1"/>
              <a:t>Epub</a:t>
            </a:r>
            <a:r>
              <a:rPr lang="en-GB" dirty="0"/>
              <a:t> ahead of print).</a:t>
            </a:r>
          </a:p>
        </p:txBody>
      </p:sp>
      <p:sp>
        <p:nvSpPr>
          <p:cNvPr id="10" name="Rectangle 9">
            <a:extLst>
              <a:ext uri="{FF2B5EF4-FFF2-40B4-BE49-F238E27FC236}">
                <a16:creationId xmlns:a16="http://schemas.microsoft.com/office/drawing/2014/main" id="{4E064C46-093D-ED45-551C-51E0D5B303C9}"/>
              </a:ext>
            </a:extLst>
          </p:cNvPr>
          <p:cNvSpPr/>
          <p:nvPr/>
        </p:nvSpPr>
        <p:spPr>
          <a:xfrm>
            <a:off x="442800" y="1085108"/>
            <a:ext cx="11308272" cy="4356000"/>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6977F3A2-F1E1-3A2B-4E8F-21C56B9D83E7}"/>
              </a:ext>
            </a:extLst>
          </p:cNvPr>
          <p:cNvSpPr txBox="1"/>
          <p:nvPr/>
        </p:nvSpPr>
        <p:spPr>
          <a:xfrm>
            <a:off x="442786" y="1085108"/>
            <a:ext cx="11308491" cy="355276"/>
          </a:xfrm>
          <a:prstGeom prst="rect">
            <a:avLst/>
          </a:prstGeom>
          <a:gradFill>
            <a:gsLst>
              <a:gs pos="0">
                <a:schemeClr val="accent6"/>
              </a:gs>
              <a:gs pos="100000">
                <a:schemeClr val="accent6"/>
              </a:gs>
              <a:gs pos="93000">
                <a:schemeClr val="accent4"/>
              </a:gs>
              <a:gs pos="7000">
                <a:schemeClr val="accent4"/>
              </a:gs>
            </a:gsLst>
            <a:lin ang="0" scaled="1"/>
          </a:gradFill>
        </p:spPr>
        <p:txBody>
          <a:bodyPr wrap="square" lIns="108000" tIns="54000" rIns="108000" bIns="54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inal OS</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graphicFrame>
        <p:nvGraphicFramePr>
          <p:cNvPr id="690" name="Table 8">
            <a:extLst>
              <a:ext uri="{FF2B5EF4-FFF2-40B4-BE49-F238E27FC236}">
                <a16:creationId xmlns:a16="http://schemas.microsoft.com/office/drawing/2014/main" id="{0CDAE45E-324C-3262-0A4A-6B044424A534}"/>
              </a:ext>
            </a:extLst>
          </p:cNvPr>
          <p:cNvGraphicFramePr>
            <a:graphicFrameLocks noGrp="1"/>
          </p:cNvGraphicFramePr>
          <p:nvPr/>
        </p:nvGraphicFramePr>
        <p:xfrm>
          <a:off x="7688651" y="2832365"/>
          <a:ext cx="3924000" cy="1188720"/>
        </p:xfrm>
        <a:graphic>
          <a:graphicData uri="http://schemas.openxmlformats.org/drawingml/2006/table">
            <a:tbl>
              <a:tblPr firstRow="1">
                <a:effectLst/>
              </a:tblPr>
              <a:tblGrid>
                <a:gridCol w="1260000">
                  <a:extLst>
                    <a:ext uri="{9D8B030D-6E8A-4147-A177-3AD203B41FA5}">
                      <a16:colId xmlns:a16="http://schemas.microsoft.com/office/drawing/2014/main" val="3609005308"/>
                    </a:ext>
                  </a:extLst>
                </a:gridCol>
                <a:gridCol w="1008000">
                  <a:extLst>
                    <a:ext uri="{9D8B030D-6E8A-4147-A177-3AD203B41FA5}">
                      <a16:colId xmlns:a16="http://schemas.microsoft.com/office/drawing/2014/main" val="3388733588"/>
                    </a:ext>
                  </a:extLst>
                </a:gridCol>
                <a:gridCol w="1656000">
                  <a:extLst>
                    <a:ext uri="{9D8B030D-6E8A-4147-A177-3AD203B41FA5}">
                      <a16:colId xmlns:a16="http://schemas.microsoft.com/office/drawing/2014/main" val="531657196"/>
                    </a:ext>
                  </a:extLst>
                </a:gridCol>
              </a:tblGrid>
              <a:tr h="0">
                <a:tc gridSpan="3">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l"/>
                      <a:r>
                        <a:rPr lang="en-GB" sz="1200" noProof="0" dirty="0">
                          <a:solidFill>
                            <a:schemeClr val="bg1"/>
                          </a:solidFill>
                          <a:latin typeface="Arial" panose="020B0604020202020204" pitchFamily="34" charset="0"/>
                          <a:cs typeface="Arial" panose="020B0604020202020204" pitchFamily="34" charset="0"/>
                        </a:rPr>
                        <a:t>mOS,</a:t>
                      </a:r>
                      <a:r>
                        <a:rPr lang="en-GB" sz="1200" baseline="0" noProof="0" dirty="0">
                          <a:solidFill>
                            <a:schemeClr val="bg1"/>
                          </a:solidFill>
                          <a:latin typeface="Arial" panose="020B0604020202020204" pitchFamily="34" charset="0"/>
                          <a:cs typeface="Arial" panose="020B0604020202020204" pitchFamily="34" charset="0"/>
                        </a:rPr>
                        <a:t> </a:t>
                      </a:r>
                      <a:r>
                        <a:rPr lang="en-GB" sz="1200" b="1" noProof="0" dirty="0">
                          <a:solidFill>
                            <a:schemeClr val="bg1"/>
                          </a:solidFill>
                          <a:latin typeface="Arial" panose="020B0604020202020204" pitchFamily="34" charset="0"/>
                          <a:cs typeface="Arial" panose="020B0604020202020204" pitchFamily="34" charset="0"/>
                        </a:rPr>
                        <a:t>months </a:t>
                      </a:r>
                      <a:r>
                        <a:rPr lang="en-GB" sz="1200" b="0" noProof="0" dirty="0">
                          <a:solidFill>
                            <a:schemeClr val="bg1"/>
                          </a:solidFill>
                          <a:latin typeface="Arial" panose="020B0604020202020204" pitchFamily="34" charset="0"/>
                          <a:cs typeface="Arial" panose="020B0604020202020204" pitchFamily="34" charset="0"/>
                        </a:rPr>
                        <a:t>(95% CI)</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a:endParaRPr lang="en-US" sz="1400" b="0">
                        <a:solidFill>
                          <a:schemeClr val="bg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15754074"/>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GB" sz="1200" b="1" noProof="0" dirty="0">
                          <a:solidFill>
                            <a:schemeClr val="bg1"/>
                          </a:solidFill>
                          <a:latin typeface="Arial" panose="020B0604020202020204" pitchFamily="34" charset="0"/>
                          <a:cs typeface="Arial" panose="020B0604020202020204" pitchFamily="34" charset="0"/>
                        </a:rPr>
                        <a:t>Osimertinib + ChT</a:t>
                      </a:r>
                    </a:p>
                  </a:txBody>
                  <a:tcPr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rgbClr val="000000"/>
                          </a:solidFill>
                          <a:latin typeface="Arial" panose="020B0604020202020204" pitchFamily="34" charset="0"/>
                          <a:cs typeface="Arial" panose="020B0604020202020204" pitchFamily="34" charset="0"/>
                        </a:rPr>
                        <a:t>47.5 </a:t>
                      </a:r>
                      <a:br>
                        <a:rPr lang="en-GB" sz="1200" b="1" noProof="0" dirty="0">
                          <a:solidFill>
                            <a:srgbClr val="000000"/>
                          </a:solidFill>
                          <a:latin typeface="Arial" panose="020B0604020202020204" pitchFamily="34" charset="0"/>
                          <a:cs typeface="Arial" panose="020B0604020202020204" pitchFamily="34" charset="0"/>
                        </a:rPr>
                      </a:br>
                      <a:r>
                        <a:rPr lang="en-GB" sz="1200" b="0" noProof="0" dirty="0">
                          <a:solidFill>
                            <a:srgbClr val="000000"/>
                          </a:solidFill>
                          <a:latin typeface="Arial" panose="020B0604020202020204" pitchFamily="34" charset="0"/>
                          <a:cs typeface="Arial" panose="020B0604020202020204" pitchFamily="34" charset="0"/>
                        </a:rPr>
                        <a:t>(41.0–N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kern="1200" noProof="0" dirty="0">
                          <a:solidFill>
                            <a:srgbClr val="000000"/>
                          </a:solidFill>
                          <a:latin typeface="Arial" panose="020B0604020202020204" pitchFamily="34" charset="0"/>
                          <a:ea typeface="+mn-ea"/>
                          <a:cs typeface="Arial" panose="020B0604020202020204" pitchFamily="34" charset="0"/>
                        </a:rPr>
                        <a:t>HR, 0.77 </a:t>
                      </a:r>
                      <a:r>
                        <a:rPr lang="en-GB" sz="1200" i="0" kern="1200" noProof="0" dirty="0">
                          <a:solidFill>
                            <a:srgbClr val="000000"/>
                          </a:solidFill>
                          <a:latin typeface="Arial" panose="020B0604020202020204" pitchFamily="34" charset="0"/>
                          <a:ea typeface="+mn-ea"/>
                          <a:cs typeface="Arial" panose="020B0604020202020204" pitchFamily="34" charset="0"/>
                        </a:rPr>
                        <a:t>(95% CI, 0.61</a:t>
                      </a:r>
                      <a:r>
                        <a:rPr lang="en-GB" sz="1200" i="0" noProof="0" dirty="0">
                          <a:solidFill>
                            <a:srgbClr val="000000"/>
                          </a:solidFill>
                          <a:latin typeface="Arial" panose="020B0604020202020204" pitchFamily="34" charset="0"/>
                          <a:cs typeface="Arial" panose="020B0604020202020204" pitchFamily="34" charset="0"/>
                        </a:rPr>
                        <a:t>–</a:t>
                      </a:r>
                      <a:r>
                        <a:rPr lang="en-GB" sz="1200" i="0" kern="1200" noProof="0" dirty="0">
                          <a:solidFill>
                            <a:srgbClr val="000000"/>
                          </a:solidFill>
                          <a:latin typeface="Arial" panose="020B0604020202020204" pitchFamily="34" charset="0"/>
                          <a:ea typeface="+mn-ea"/>
                          <a:cs typeface="Arial" panose="020B0604020202020204" pitchFamily="34" charset="0"/>
                        </a:rPr>
                        <a:t>0.96)</a:t>
                      </a:r>
                      <a:r>
                        <a:rPr lang="en-GB" sz="1200" b="1" i="0" kern="1200" noProof="0" dirty="0">
                          <a:solidFill>
                            <a:srgbClr val="000000"/>
                          </a:solidFill>
                          <a:latin typeface="Arial" panose="020B0604020202020204" pitchFamily="34" charset="0"/>
                          <a:ea typeface="+mn-ea"/>
                          <a:cs typeface="Arial" panose="020B0604020202020204" pitchFamily="34" charset="0"/>
                        </a:rPr>
                        <a:t>;</a:t>
                      </a:r>
                      <a:r>
                        <a:rPr lang="en-GB" sz="1200" i="0" kern="1200" noProof="0" dirty="0">
                          <a:solidFill>
                            <a:srgbClr val="000000"/>
                          </a:solidFill>
                          <a:latin typeface="Arial" panose="020B0604020202020204" pitchFamily="34" charset="0"/>
                          <a:ea typeface="+mn-ea"/>
                          <a:cs typeface="Arial" panose="020B0604020202020204" pitchFamily="34" charset="0"/>
                        </a:rPr>
                        <a:t> </a:t>
                      </a:r>
                      <a:r>
                        <a:rPr lang="en-GB" sz="1200" b="1" i="0" kern="1200" noProof="0" dirty="0">
                          <a:solidFill>
                            <a:srgbClr val="000000"/>
                          </a:solidFill>
                          <a:latin typeface="Arial" panose="020B0604020202020204" pitchFamily="34" charset="0"/>
                          <a:ea typeface="+mn-ea"/>
                          <a:cs typeface="Arial" panose="020B0604020202020204" pitchFamily="34" charset="0"/>
                        </a:rPr>
                        <a:t>p=0.02 </a:t>
                      </a:r>
                    </a:p>
                  </a:txBody>
                  <a:tcPr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6F5F4"/>
                    </a:solidFill>
                  </a:tcPr>
                </a:tc>
                <a:extLst>
                  <a:ext uri="{0D108BD9-81ED-4DB2-BD59-A6C34878D82A}">
                    <a16:rowId xmlns:a16="http://schemas.microsoft.com/office/drawing/2014/main" val="1300018867"/>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GB" sz="1200" b="1" noProof="0" dirty="0">
                          <a:solidFill>
                            <a:schemeClr val="bg1"/>
                          </a:solidFill>
                          <a:latin typeface="Arial" panose="020B0604020202020204" pitchFamily="34" charset="0"/>
                          <a:cs typeface="Arial" panose="020B0604020202020204" pitchFamily="34" charset="0"/>
                        </a:rPr>
                        <a:t>Osimertinib</a:t>
                      </a:r>
                    </a:p>
                  </a:txBody>
                  <a:tcPr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rgbClr val="000000"/>
                          </a:solidFill>
                          <a:latin typeface="Arial" panose="020B0604020202020204" pitchFamily="34" charset="0"/>
                          <a:cs typeface="Arial" panose="020B0604020202020204" pitchFamily="34" charset="0"/>
                        </a:rPr>
                        <a:t>37.6 </a:t>
                      </a:r>
                      <a:br>
                        <a:rPr lang="en-GB" sz="1200" b="1" noProof="0" dirty="0">
                          <a:solidFill>
                            <a:srgbClr val="000000"/>
                          </a:solidFill>
                          <a:latin typeface="Arial" panose="020B0604020202020204" pitchFamily="34" charset="0"/>
                          <a:cs typeface="Arial" panose="020B0604020202020204" pitchFamily="34" charset="0"/>
                        </a:rPr>
                      </a:br>
                      <a:r>
                        <a:rPr lang="en-GB" sz="1200" b="0" noProof="0" dirty="0">
                          <a:solidFill>
                            <a:srgbClr val="000000"/>
                          </a:solidFill>
                          <a:latin typeface="Arial" panose="020B0604020202020204" pitchFamily="34" charset="0"/>
                          <a:cs typeface="Arial" panose="020B0604020202020204" pitchFamily="34" charset="0"/>
                        </a:rPr>
                        <a:t>(33.2–4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pPr algn="ctr"/>
                      <a:endParaRPr lang="en-US" sz="140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914406"/>
                  </a:ext>
                </a:extLst>
              </a:tr>
            </a:tbl>
          </a:graphicData>
        </a:graphic>
      </p:graphicFrame>
      <p:sp>
        <p:nvSpPr>
          <p:cNvPr id="955" name="TextBox 954">
            <a:extLst>
              <a:ext uri="{FF2B5EF4-FFF2-40B4-BE49-F238E27FC236}">
                <a16:creationId xmlns:a16="http://schemas.microsoft.com/office/drawing/2014/main" id="{3D8DF235-30B5-B693-A294-04D4D3DB0449}"/>
              </a:ext>
            </a:extLst>
          </p:cNvPr>
          <p:cNvSpPr txBox="1"/>
          <p:nvPr/>
        </p:nvSpPr>
        <p:spPr>
          <a:xfrm>
            <a:off x="1173101" y="3574356"/>
            <a:ext cx="1226078" cy="80791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n follow-up: </a:t>
            </a:r>
            <a:b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05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Osimertinib + ChT 51.2 months </a:t>
            </a:r>
            <a:r>
              <a:rPr kumimoji="0" lang="en-GB" sz="105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Osimertinib </a:t>
            </a:r>
            <a:br>
              <a:rPr kumimoji="0" lang="en-GB" sz="105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br>
            <a:r>
              <a:rPr kumimoji="0" lang="en-GB" sz="105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51.3 months</a:t>
            </a:r>
          </a:p>
        </p:txBody>
      </p:sp>
      <p:grpSp>
        <p:nvGrpSpPr>
          <p:cNvPr id="956" name="Group 955">
            <a:extLst>
              <a:ext uri="{FF2B5EF4-FFF2-40B4-BE49-F238E27FC236}">
                <a16:creationId xmlns:a16="http://schemas.microsoft.com/office/drawing/2014/main" id="{D06F87C9-DB26-37F9-0282-9EC4235A3EAF}"/>
              </a:ext>
            </a:extLst>
          </p:cNvPr>
          <p:cNvGrpSpPr/>
          <p:nvPr/>
        </p:nvGrpSpPr>
        <p:grpSpPr>
          <a:xfrm>
            <a:off x="996398" y="1584490"/>
            <a:ext cx="76233" cy="2864381"/>
            <a:chOff x="-670149" y="1790630"/>
            <a:chExt cx="76233" cy="2864381"/>
          </a:xfrm>
        </p:grpSpPr>
        <p:cxnSp>
          <p:nvCxnSpPr>
            <p:cNvPr id="957" name="Straight Connector 956">
              <a:extLst>
                <a:ext uri="{FF2B5EF4-FFF2-40B4-BE49-F238E27FC236}">
                  <a16:creationId xmlns:a16="http://schemas.microsoft.com/office/drawing/2014/main" id="{8870C6FC-FAC8-30BF-8FE4-3CA01728ADC2}"/>
                </a:ext>
              </a:extLst>
            </p:cNvPr>
            <p:cNvCxnSpPr>
              <a:cxnSpLocks/>
            </p:cNvCxnSpPr>
            <p:nvPr/>
          </p:nvCxnSpPr>
          <p:spPr>
            <a:xfrm>
              <a:off x="-593916" y="1790630"/>
              <a:ext cx="0" cy="2862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nvGrpSpPr>
            <p:cNvPr id="958" name="Group 957">
              <a:extLst>
                <a:ext uri="{FF2B5EF4-FFF2-40B4-BE49-F238E27FC236}">
                  <a16:creationId xmlns:a16="http://schemas.microsoft.com/office/drawing/2014/main" id="{D7CA42C7-C341-33CD-98DC-1CD8E95374E8}"/>
                </a:ext>
              </a:extLst>
            </p:cNvPr>
            <p:cNvGrpSpPr/>
            <p:nvPr/>
          </p:nvGrpSpPr>
          <p:grpSpPr>
            <a:xfrm>
              <a:off x="-670149" y="1790630"/>
              <a:ext cx="72000" cy="2864381"/>
              <a:chOff x="986367" y="1680367"/>
              <a:chExt cx="72000" cy="2864381"/>
            </a:xfrm>
          </p:grpSpPr>
          <p:cxnSp>
            <p:nvCxnSpPr>
              <p:cNvPr id="959" name="Straight Connector 958">
                <a:extLst>
                  <a:ext uri="{FF2B5EF4-FFF2-40B4-BE49-F238E27FC236}">
                    <a16:creationId xmlns:a16="http://schemas.microsoft.com/office/drawing/2014/main" id="{1AE4A073-5DB9-0830-822A-3E1C83F86431}"/>
                  </a:ext>
                </a:extLst>
              </p:cNvPr>
              <p:cNvCxnSpPr>
                <a:cxnSpLocks/>
              </p:cNvCxnSpPr>
              <p:nvPr/>
            </p:nvCxnSpPr>
            <p:spPr>
              <a:xfrm>
                <a:off x="986367" y="4544748"/>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60" name="Straight Connector 959">
                <a:extLst>
                  <a:ext uri="{FF2B5EF4-FFF2-40B4-BE49-F238E27FC236}">
                    <a16:creationId xmlns:a16="http://schemas.microsoft.com/office/drawing/2014/main" id="{F6A5D5E6-D713-72CD-E855-AF791F7969C6}"/>
                  </a:ext>
                </a:extLst>
              </p:cNvPr>
              <p:cNvCxnSpPr>
                <a:cxnSpLocks/>
              </p:cNvCxnSpPr>
              <p:nvPr/>
            </p:nvCxnSpPr>
            <p:spPr>
              <a:xfrm>
                <a:off x="986367" y="3969967"/>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61" name="Straight Connector 960">
                <a:extLst>
                  <a:ext uri="{FF2B5EF4-FFF2-40B4-BE49-F238E27FC236}">
                    <a16:creationId xmlns:a16="http://schemas.microsoft.com/office/drawing/2014/main" id="{9EAECDC5-466B-7868-B80D-93664F1A00A8}"/>
                  </a:ext>
                </a:extLst>
              </p:cNvPr>
              <p:cNvCxnSpPr>
                <a:cxnSpLocks/>
              </p:cNvCxnSpPr>
              <p:nvPr/>
            </p:nvCxnSpPr>
            <p:spPr>
              <a:xfrm>
                <a:off x="986367" y="3397567"/>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62" name="Straight Connector 961">
                <a:extLst>
                  <a:ext uri="{FF2B5EF4-FFF2-40B4-BE49-F238E27FC236}">
                    <a16:creationId xmlns:a16="http://schemas.microsoft.com/office/drawing/2014/main" id="{D8FCAE44-B8D3-055E-F16E-29BA14683E1D}"/>
                  </a:ext>
                </a:extLst>
              </p:cNvPr>
              <p:cNvCxnSpPr>
                <a:cxnSpLocks/>
              </p:cNvCxnSpPr>
              <p:nvPr/>
            </p:nvCxnSpPr>
            <p:spPr>
              <a:xfrm>
                <a:off x="986367" y="2825167"/>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63" name="Straight Connector 962">
                <a:extLst>
                  <a:ext uri="{FF2B5EF4-FFF2-40B4-BE49-F238E27FC236}">
                    <a16:creationId xmlns:a16="http://schemas.microsoft.com/office/drawing/2014/main" id="{8522F42A-C3C6-ACBC-3F91-6537B1226A43}"/>
                  </a:ext>
                </a:extLst>
              </p:cNvPr>
              <p:cNvCxnSpPr>
                <a:cxnSpLocks/>
              </p:cNvCxnSpPr>
              <p:nvPr/>
            </p:nvCxnSpPr>
            <p:spPr>
              <a:xfrm>
                <a:off x="986367" y="2252767"/>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64" name="Straight Connector 963">
                <a:extLst>
                  <a:ext uri="{FF2B5EF4-FFF2-40B4-BE49-F238E27FC236}">
                    <a16:creationId xmlns:a16="http://schemas.microsoft.com/office/drawing/2014/main" id="{82C14E92-67E7-CC10-517D-B80E79EB4055}"/>
                  </a:ext>
                </a:extLst>
              </p:cNvPr>
              <p:cNvCxnSpPr>
                <a:cxnSpLocks/>
              </p:cNvCxnSpPr>
              <p:nvPr/>
            </p:nvCxnSpPr>
            <p:spPr>
              <a:xfrm>
                <a:off x="986367" y="1680367"/>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65" name="Group 964">
            <a:extLst>
              <a:ext uri="{FF2B5EF4-FFF2-40B4-BE49-F238E27FC236}">
                <a16:creationId xmlns:a16="http://schemas.microsoft.com/office/drawing/2014/main" id="{44EE45F4-2BDE-8722-C354-0EA37E3F978E}"/>
              </a:ext>
            </a:extLst>
          </p:cNvPr>
          <p:cNvGrpSpPr/>
          <p:nvPr/>
        </p:nvGrpSpPr>
        <p:grpSpPr>
          <a:xfrm>
            <a:off x="653650" y="1479413"/>
            <a:ext cx="360000" cy="3072112"/>
            <a:chOff x="-1012897" y="1685553"/>
            <a:chExt cx="360000" cy="3072112"/>
          </a:xfrm>
        </p:grpSpPr>
        <p:sp>
          <p:nvSpPr>
            <p:cNvPr id="966" name="TextBox 965">
              <a:extLst>
                <a:ext uri="{FF2B5EF4-FFF2-40B4-BE49-F238E27FC236}">
                  <a16:creationId xmlns:a16="http://schemas.microsoft.com/office/drawing/2014/main" id="{49220A1C-0BE7-1190-7C64-937BB6AF63FF}"/>
                </a:ext>
              </a:extLst>
            </p:cNvPr>
            <p:cNvSpPr txBox="1"/>
            <p:nvPr/>
          </p:nvSpPr>
          <p:spPr>
            <a:xfrm>
              <a:off x="-1012897" y="1685553"/>
              <a:ext cx="360000" cy="216000"/>
            </a:xfrm>
            <a:prstGeom prst="rect">
              <a:avLst/>
            </a:prstGeom>
            <a:noFill/>
          </p:spPr>
          <p:txBody>
            <a:bodyPr wrap="square" lIns="36000" tIns="36000" rIns="36000" bIns="36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967" name="TextBox 966">
              <a:extLst>
                <a:ext uri="{FF2B5EF4-FFF2-40B4-BE49-F238E27FC236}">
                  <a16:creationId xmlns:a16="http://schemas.microsoft.com/office/drawing/2014/main" id="{FAAB2F02-7209-352D-0611-F92FF91C150E}"/>
                </a:ext>
              </a:extLst>
            </p:cNvPr>
            <p:cNvSpPr txBox="1"/>
            <p:nvPr/>
          </p:nvSpPr>
          <p:spPr>
            <a:xfrm>
              <a:off x="-1012897" y="2256775"/>
              <a:ext cx="360000" cy="216000"/>
            </a:xfrm>
            <a:prstGeom prst="rect">
              <a:avLst/>
            </a:prstGeom>
            <a:noFill/>
          </p:spPr>
          <p:txBody>
            <a:bodyPr wrap="square" lIns="36000" tIns="36000" rIns="36000" bIns="36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8</a:t>
              </a:r>
            </a:p>
          </p:txBody>
        </p:sp>
        <p:sp>
          <p:nvSpPr>
            <p:cNvPr id="968" name="TextBox 967">
              <a:extLst>
                <a:ext uri="{FF2B5EF4-FFF2-40B4-BE49-F238E27FC236}">
                  <a16:creationId xmlns:a16="http://schemas.microsoft.com/office/drawing/2014/main" id="{6253070B-E64C-C0D4-3C65-1351341C77A6}"/>
                </a:ext>
              </a:extLst>
            </p:cNvPr>
            <p:cNvSpPr txBox="1"/>
            <p:nvPr/>
          </p:nvSpPr>
          <p:spPr>
            <a:xfrm>
              <a:off x="-1012897" y="2827997"/>
              <a:ext cx="360000" cy="216000"/>
            </a:xfrm>
            <a:prstGeom prst="rect">
              <a:avLst/>
            </a:prstGeom>
            <a:noFill/>
          </p:spPr>
          <p:txBody>
            <a:bodyPr wrap="square" lIns="36000" tIns="36000" rIns="36000" bIns="36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a:t>
              </a:r>
            </a:p>
          </p:txBody>
        </p:sp>
        <p:sp>
          <p:nvSpPr>
            <p:cNvPr id="969" name="TextBox 968">
              <a:extLst>
                <a:ext uri="{FF2B5EF4-FFF2-40B4-BE49-F238E27FC236}">
                  <a16:creationId xmlns:a16="http://schemas.microsoft.com/office/drawing/2014/main" id="{849DA672-56F5-5648-9830-E5374AD2162C}"/>
                </a:ext>
              </a:extLst>
            </p:cNvPr>
            <p:cNvSpPr txBox="1"/>
            <p:nvPr/>
          </p:nvSpPr>
          <p:spPr>
            <a:xfrm>
              <a:off x="-1012897" y="3399219"/>
              <a:ext cx="360000" cy="216000"/>
            </a:xfrm>
            <a:prstGeom prst="rect">
              <a:avLst/>
            </a:prstGeom>
            <a:noFill/>
          </p:spPr>
          <p:txBody>
            <a:bodyPr wrap="square" lIns="36000" tIns="36000" rIns="36000" bIns="36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4</a:t>
              </a:r>
            </a:p>
          </p:txBody>
        </p:sp>
        <p:sp>
          <p:nvSpPr>
            <p:cNvPr id="970" name="TextBox 969">
              <a:extLst>
                <a:ext uri="{FF2B5EF4-FFF2-40B4-BE49-F238E27FC236}">
                  <a16:creationId xmlns:a16="http://schemas.microsoft.com/office/drawing/2014/main" id="{B906580A-15D3-2780-8FD1-77F38147F7E5}"/>
                </a:ext>
              </a:extLst>
            </p:cNvPr>
            <p:cNvSpPr txBox="1"/>
            <p:nvPr/>
          </p:nvSpPr>
          <p:spPr>
            <a:xfrm>
              <a:off x="-1012897" y="3970441"/>
              <a:ext cx="360000" cy="216000"/>
            </a:xfrm>
            <a:prstGeom prst="rect">
              <a:avLst/>
            </a:prstGeom>
            <a:noFill/>
          </p:spPr>
          <p:txBody>
            <a:bodyPr wrap="square" lIns="36000" tIns="36000" rIns="36000" bIns="36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2</a:t>
              </a:r>
            </a:p>
          </p:txBody>
        </p:sp>
        <p:sp>
          <p:nvSpPr>
            <p:cNvPr id="971" name="TextBox 970">
              <a:extLst>
                <a:ext uri="{FF2B5EF4-FFF2-40B4-BE49-F238E27FC236}">
                  <a16:creationId xmlns:a16="http://schemas.microsoft.com/office/drawing/2014/main" id="{F35C0E02-871A-A4F2-8E49-1AFE04D38444}"/>
                </a:ext>
              </a:extLst>
            </p:cNvPr>
            <p:cNvSpPr txBox="1"/>
            <p:nvPr/>
          </p:nvSpPr>
          <p:spPr>
            <a:xfrm>
              <a:off x="-1012897" y="4541665"/>
              <a:ext cx="360000" cy="216000"/>
            </a:xfrm>
            <a:prstGeom prst="rect">
              <a:avLst/>
            </a:prstGeom>
            <a:noFill/>
          </p:spPr>
          <p:txBody>
            <a:bodyPr wrap="square" lIns="36000" tIns="36000" rIns="36000" bIns="36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grpSp>
      <p:sp>
        <p:nvSpPr>
          <p:cNvPr id="972" name="TextBox 971">
            <a:extLst>
              <a:ext uri="{FF2B5EF4-FFF2-40B4-BE49-F238E27FC236}">
                <a16:creationId xmlns:a16="http://schemas.microsoft.com/office/drawing/2014/main" id="{69576671-D31B-6DD2-5FEB-D48B55120C66}"/>
              </a:ext>
            </a:extLst>
          </p:cNvPr>
          <p:cNvSpPr txBox="1"/>
          <p:nvPr/>
        </p:nvSpPr>
        <p:spPr>
          <a:xfrm rot="16200000">
            <a:off x="-391441" y="2917356"/>
            <a:ext cx="2010681"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bability of OS</a:t>
            </a:r>
          </a:p>
        </p:txBody>
      </p:sp>
      <p:grpSp>
        <p:nvGrpSpPr>
          <p:cNvPr id="973" name="Group 972">
            <a:extLst>
              <a:ext uri="{FF2B5EF4-FFF2-40B4-BE49-F238E27FC236}">
                <a16:creationId xmlns:a16="http://schemas.microsoft.com/office/drawing/2014/main" id="{0FD464BE-4356-709B-0534-52D251D2770B}"/>
              </a:ext>
            </a:extLst>
          </p:cNvPr>
          <p:cNvGrpSpPr/>
          <p:nvPr/>
        </p:nvGrpSpPr>
        <p:grpSpPr>
          <a:xfrm>
            <a:off x="1071427" y="4448267"/>
            <a:ext cx="6534000" cy="72001"/>
            <a:chOff x="-595120" y="4654407"/>
            <a:chExt cx="6534000" cy="72001"/>
          </a:xfrm>
        </p:grpSpPr>
        <p:cxnSp>
          <p:nvCxnSpPr>
            <p:cNvPr id="974" name="Straight Connector 973">
              <a:extLst>
                <a:ext uri="{FF2B5EF4-FFF2-40B4-BE49-F238E27FC236}">
                  <a16:creationId xmlns:a16="http://schemas.microsoft.com/office/drawing/2014/main" id="{2695B4D4-8622-2806-6B83-FAEC3B02C7E3}"/>
                </a:ext>
              </a:extLst>
            </p:cNvPr>
            <p:cNvCxnSpPr>
              <a:cxnSpLocks/>
            </p:cNvCxnSpPr>
            <p:nvPr/>
          </p:nvCxnSpPr>
          <p:spPr>
            <a:xfrm rot="16200000">
              <a:off x="2671880" y="1387409"/>
              <a:ext cx="0" cy="6534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nvGrpSpPr>
            <p:cNvPr id="975" name="Group 974">
              <a:extLst>
                <a:ext uri="{FF2B5EF4-FFF2-40B4-BE49-F238E27FC236}">
                  <a16:creationId xmlns:a16="http://schemas.microsoft.com/office/drawing/2014/main" id="{BEE154DE-E716-61E6-88A0-558B454E7DFC}"/>
                </a:ext>
              </a:extLst>
            </p:cNvPr>
            <p:cNvGrpSpPr/>
            <p:nvPr/>
          </p:nvGrpSpPr>
          <p:grpSpPr>
            <a:xfrm>
              <a:off x="-595120" y="4654407"/>
              <a:ext cx="6530451" cy="72001"/>
              <a:chOff x="1058368" y="4544144"/>
              <a:chExt cx="6530451" cy="72001"/>
            </a:xfrm>
          </p:grpSpPr>
          <p:cxnSp>
            <p:nvCxnSpPr>
              <p:cNvPr id="976" name="Straight Connector 975">
                <a:extLst>
                  <a:ext uri="{FF2B5EF4-FFF2-40B4-BE49-F238E27FC236}">
                    <a16:creationId xmlns:a16="http://schemas.microsoft.com/office/drawing/2014/main" id="{7D8A3F87-A366-D747-62CB-EE343E5A2AD3}"/>
                  </a:ext>
                </a:extLst>
              </p:cNvPr>
              <p:cNvCxnSpPr>
                <a:cxnSpLocks/>
              </p:cNvCxnSpPr>
              <p:nvPr/>
            </p:nvCxnSpPr>
            <p:spPr>
              <a:xfrm rot="16200000">
                <a:off x="2577238" y="4580144"/>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77" name="Straight Connector 976">
                <a:extLst>
                  <a:ext uri="{FF2B5EF4-FFF2-40B4-BE49-F238E27FC236}">
                    <a16:creationId xmlns:a16="http://schemas.microsoft.com/office/drawing/2014/main" id="{AFD841FB-F587-905A-8539-ED57009EDFBD}"/>
                  </a:ext>
                </a:extLst>
              </p:cNvPr>
              <p:cNvCxnSpPr>
                <a:cxnSpLocks/>
              </p:cNvCxnSpPr>
              <p:nvPr/>
            </p:nvCxnSpPr>
            <p:spPr>
              <a:xfrm rot="16200000">
                <a:off x="2266264" y="4580144"/>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78" name="Straight Connector 977">
                <a:extLst>
                  <a:ext uri="{FF2B5EF4-FFF2-40B4-BE49-F238E27FC236}">
                    <a16:creationId xmlns:a16="http://schemas.microsoft.com/office/drawing/2014/main" id="{30F38642-9E12-D174-E8D4-6DB532CB46EA}"/>
                  </a:ext>
                </a:extLst>
              </p:cNvPr>
              <p:cNvCxnSpPr>
                <a:cxnSpLocks/>
              </p:cNvCxnSpPr>
              <p:nvPr/>
            </p:nvCxnSpPr>
            <p:spPr>
              <a:xfrm rot="16200000">
                <a:off x="1955290" y="4580144"/>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79" name="Straight Connector 978">
                <a:extLst>
                  <a:ext uri="{FF2B5EF4-FFF2-40B4-BE49-F238E27FC236}">
                    <a16:creationId xmlns:a16="http://schemas.microsoft.com/office/drawing/2014/main" id="{F8772AA7-BB5D-9407-37D9-CB7FF723E06C}"/>
                  </a:ext>
                </a:extLst>
              </p:cNvPr>
              <p:cNvCxnSpPr>
                <a:cxnSpLocks/>
              </p:cNvCxnSpPr>
              <p:nvPr/>
            </p:nvCxnSpPr>
            <p:spPr>
              <a:xfrm rot="16200000">
                <a:off x="1644316" y="4580144"/>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0" name="Straight Connector 979">
                <a:extLst>
                  <a:ext uri="{FF2B5EF4-FFF2-40B4-BE49-F238E27FC236}">
                    <a16:creationId xmlns:a16="http://schemas.microsoft.com/office/drawing/2014/main" id="{5B25EAF5-E7B7-6C7A-A8BC-C370DE97AFDC}"/>
                  </a:ext>
                </a:extLst>
              </p:cNvPr>
              <p:cNvCxnSpPr>
                <a:cxnSpLocks/>
              </p:cNvCxnSpPr>
              <p:nvPr/>
            </p:nvCxnSpPr>
            <p:spPr>
              <a:xfrm rot="16200000">
                <a:off x="1333342" y="4580144"/>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1" name="Straight Connector 980">
                <a:extLst>
                  <a:ext uri="{FF2B5EF4-FFF2-40B4-BE49-F238E27FC236}">
                    <a16:creationId xmlns:a16="http://schemas.microsoft.com/office/drawing/2014/main" id="{741F5464-F6F2-0278-6B79-B26588A7DF37}"/>
                  </a:ext>
                </a:extLst>
              </p:cNvPr>
              <p:cNvCxnSpPr>
                <a:cxnSpLocks/>
              </p:cNvCxnSpPr>
              <p:nvPr/>
            </p:nvCxnSpPr>
            <p:spPr>
              <a:xfrm rot="16200000">
                <a:off x="1022368" y="4580144"/>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2" name="Straight Connector 981">
                <a:extLst>
                  <a:ext uri="{FF2B5EF4-FFF2-40B4-BE49-F238E27FC236}">
                    <a16:creationId xmlns:a16="http://schemas.microsoft.com/office/drawing/2014/main" id="{84B36CC8-4F1B-FA20-C9D8-741C96A016AB}"/>
                  </a:ext>
                </a:extLst>
              </p:cNvPr>
              <p:cNvCxnSpPr>
                <a:cxnSpLocks/>
              </p:cNvCxnSpPr>
              <p:nvPr/>
            </p:nvCxnSpPr>
            <p:spPr>
              <a:xfrm rot="16200000">
                <a:off x="4443082"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3" name="Straight Connector 982">
                <a:extLst>
                  <a:ext uri="{FF2B5EF4-FFF2-40B4-BE49-F238E27FC236}">
                    <a16:creationId xmlns:a16="http://schemas.microsoft.com/office/drawing/2014/main" id="{2391BDF3-12A9-0B35-7606-648BB4F8C71C}"/>
                  </a:ext>
                </a:extLst>
              </p:cNvPr>
              <p:cNvCxnSpPr>
                <a:cxnSpLocks/>
              </p:cNvCxnSpPr>
              <p:nvPr/>
            </p:nvCxnSpPr>
            <p:spPr>
              <a:xfrm rot="16200000">
                <a:off x="4132108"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4" name="Straight Connector 983">
                <a:extLst>
                  <a:ext uri="{FF2B5EF4-FFF2-40B4-BE49-F238E27FC236}">
                    <a16:creationId xmlns:a16="http://schemas.microsoft.com/office/drawing/2014/main" id="{4F520789-A035-A419-CAD3-E8788A0EA745}"/>
                  </a:ext>
                </a:extLst>
              </p:cNvPr>
              <p:cNvCxnSpPr>
                <a:cxnSpLocks/>
              </p:cNvCxnSpPr>
              <p:nvPr/>
            </p:nvCxnSpPr>
            <p:spPr>
              <a:xfrm rot="16200000">
                <a:off x="3821134"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5" name="Straight Connector 984">
                <a:extLst>
                  <a:ext uri="{FF2B5EF4-FFF2-40B4-BE49-F238E27FC236}">
                    <a16:creationId xmlns:a16="http://schemas.microsoft.com/office/drawing/2014/main" id="{4F0AF2C0-EE49-EF5C-C4CB-970892C77D10}"/>
                  </a:ext>
                </a:extLst>
              </p:cNvPr>
              <p:cNvCxnSpPr>
                <a:cxnSpLocks/>
              </p:cNvCxnSpPr>
              <p:nvPr/>
            </p:nvCxnSpPr>
            <p:spPr>
              <a:xfrm rot="16200000">
                <a:off x="3510160" y="4580144"/>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6" name="Straight Connector 985">
                <a:extLst>
                  <a:ext uri="{FF2B5EF4-FFF2-40B4-BE49-F238E27FC236}">
                    <a16:creationId xmlns:a16="http://schemas.microsoft.com/office/drawing/2014/main" id="{C80ED76E-D0DA-ACBD-8B52-4EAB536F4BD9}"/>
                  </a:ext>
                </a:extLst>
              </p:cNvPr>
              <p:cNvCxnSpPr>
                <a:cxnSpLocks/>
              </p:cNvCxnSpPr>
              <p:nvPr/>
            </p:nvCxnSpPr>
            <p:spPr>
              <a:xfrm rot="16200000">
                <a:off x="3199186" y="4580144"/>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7" name="Straight Connector 986">
                <a:extLst>
                  <a:ext uri="{FF2B5EF4-FFF2-40B4-BE49-F238E27FC236}">
                    <a16:creationId xmlns:a16="http://schemas.microsoft.com/office/drawing/2014/main" id="{01048DE9-FDB5-3BA1-832D-39DC6C726A4F}"/>
                  </a:ext>
                </a:extLst>
              </p:cNvPr>
              <p:cNvCxnSpPr>
                <a:cxnSpLocks/>
              </p:cNvCxnSpPr>
              <p:nvPr/>
            </p:nvCxnSpPr>
            <p:spPr>
              <a:xfrm rot="16200000">
                <a:off x="2888212" y="4580144"/>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8" name="Straight Connector 987">
                <a:extLst>
                  <a:ext uri="{FF2B5EF4-FFF2-40B4-BE49-F238E27FC236}">
                    <a16:creationId xmlns:a16="http://schemas.microsoft.com/office/drawing/2014/main" id="{67C234BE-EB0E-7DB9-FF6F-F149920AF817}"/>
                  </a:ext>
                </a:extLst>
              </p:cNvPr>
              <p:cNvCxnSpPr>
                <a:cxnSpLocks/>
              </p:cNvCxnSpPr>
              <p:nvPr/>
            </p:nvCxnSpPr>
            <p:spPr>
              <a:xfrm rot="16200000">
                <a:off x="6308926"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89" name="Straight Connector 988">
                <a:extLst>
                  <a:ext uri="{FF2B5EF4-FFF2-40B4-BE49-F238E27FC236}">
                    <a16:creationId xmlns:a16="http://schemas.microsoft.com/office/drawing/2014/main" id="{36558553-252D-BBDF-7DD4-620BC78C0B41}"/>
                  </a:ext>
                </a:extLst>
              </p:cNvPr>
              <p:cNvCxnSpPr>
                <a:cxnSpLocks/>
              </p:cNvCxnSpPr>
              <p:nvPr/>
            </p:nvCxnSpPr>
            <p:spPr>
              <a:xfrm rot="16200000">
                <a:off x="5997952"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90" name="Straight Connector 989">
                <a:extLst>
                  <a:ext uri="{FF2B5EF4-FFF2-40B4-BE49-F238E27FC236}">
                    <a16:creationId xmlns:a16="http://schemas.microsoft.com/office/drawing/2014/main" id="{E4835A38-0233-AF61-4C07-C82C57BFCB6F}"/>
                  </a:ext>
                </a:extLst>
              </p:cNvPr>
              <p:cNvCxnSpPr>
                <a:cxnSpLocks/>
              </p:cNvCxnSpPr>
              <p:nvPr/>
            </p:nvCxnSpPr>
            <p:spPr>
              <a:xfrm rot="16200000">
                <a:off x="5686978"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91" name="Straight Connector 990">
                <a:extLst>
                  <a:ext uri="{FF2B5EF4-FFF2-40B4-BE49-F238E27FC236}">
                    <a16:creationId xmlns:a16="http://schemas.microsoft.com/office/drawing/2014/main" id="{4E6AA8C6-C50D-26C3-A91A-F8B4065B331C}"/>
                  </a:ext>
                </a:extLst>
              </p:cNvPr>
              <p:cNvCxnSpPr>
                <a:cxnSpLocks/>
              </p:cNvCxnSpPr>
              <p:nvPr/>
            </p:nvCxnSpPr>
            <p:spPr>
              <a:xfrm rot="16200000">
                <a:off x="5376004"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92" name="Straight Connector 991">
                <a:extLst>
                  <a:ext uri="{FF2B5EF4-FFF2-40B4-BE49-F238E27FC236}">
                    <a16:creationId xmlns:a16="http://schemas.microsoft.com/office/drawing/2014/main" id="{810A1B94-A4F1-CE07-0791-37825060408B}"/>
                  </a:ext>
                </a:extLst>
              </p:cNvPr>
              <p:cNvCxnSpPr>
                <a:cxnSpLocks/>
              </p:cNvCxnSpPr>
              <p:nvPr/>
            </p:nvCxnSpPr>
            <p:spPr>
              <a:xfrm rot="16200000">
                <a:off x="5065030"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93" name="Straight Connector 992">
                <a:extLst>
                  <a:ext uri="{FF2B5EF4-FFF2-40B4-BE49-F238E27FC236}">
                    <a16:creationId xmlns:a16="http://schemas.microsoft.com/office/drawing/2014/main" id="{6E345CDF-E567-4332-CEE5-B1A38AB2B7D8}"/>
                  </a:ext>
                </a:extLst>
              </p:cNvPr>
              <p:cNvCxnSpPr>
                <a:cxnSpLocks/>
              </p:cNvCxnSpPr>
              <p:nvPr/>
            </p:nvCxnSpPr>
            <p:spPr>
              <a:xfrm rot="16200000">
                <a:off x="4754056"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94" name="Straight Connector 993">
                <a:extLst>
                  <a:ext uri="{FF2B5EF4-FFF2-40B4-BE49-F238E27FC236}">
                    <a16:creationId xmlns:a16="http://schemas.microsoft.com/office/drawing/2014/main" id="{ADFDF19F-9A27-2CA8-11C9-CFB211E566BD}"/>
                  </a:ext>
                </a:extLst>
              </p:cNvPr>
              <p:cNvCxnSpPr>
                <a:cxnSpLocks/>
              </p:cNvCxnSpPr>
              <p:nvPr/>
            </p:nvCxnSpPr>
            <p:spPr>
              <a:xfrm rot="16200000">
                <a:off x="7552819"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95" name="Straight Connector 994">
                <a:extLst>
                  <a:ext uri="{FF2B5EF4-FFF2-40B4-BE49-F238E27FC236}">
                    <a16:creationId xmlns:a16="http://schemas.microsoft.com/office/drawing/2014/main" id="{13DC3D74-F522-B228-1FA9-778584054C66}"/>
                  </a:ext>
                </a:extLst>
              </p:cNvPr>
              <p:cNvCxnSpPr>
                <a:cxnSpLocks/>
              </p:cNvCxnSpPr>
              <p:nvPr/>
            </p:nvCxnSpPr>
            <p:spPr>
              <a:xfrm rot="16200000">
                <a:off x="7241848"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AFE1F72D-774B-0EEE-AA36-2597498503DA}"/>
                  </a:ext>
                </a:extLst>
              </p:cNvPr>
              <p:cNvCxnSpPr>
                <a:cxnSpLocks/>
              </p:cNvCxnSpPr>
              <p:nvPr/>
            </p:nvCxnSpPr>
            <p:spPr>
              <a:xfrm rot="16200000">
                <a:off x="6930874"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97" name="Straight Connector 996">
                <a:extLst>
                  <a:ext uri="{FF2B5EF4-FFF2-40B4-BE49-F238E27FC236}">
                    <a16:creationId xmlns:a16="http://schemas.microsoft.com/office/drawing/2014/main" id="{38A1D919-D540-6E0F-79C7-50CF93427487}"/>
                  </a:ext>
                </a:extLst>
              </p:cNvPr>
              <p:cNvCxnSpPr>
                <a:cxnSpLocks/>
              </p:cNvCxnSpPr>
              <p:nvPr/>
            </p:nvCxnSpPr>
            <p:spPr>
              <a:xfrm rot="16200000">
                <a:off x="6619900" y="4580145"/>
                <a:ext cx="7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8" name="Group 997">
            <a:extLst>
              <a:ext uri="{FF2B5EF4-FFF2-40B4-BE49-F238E27FC236}">
                <a16:creationId xmlns:a16="http://schemas.microsoft.com/office/drawing/2014/main" id="{8900ECF4-FBC8-A72B-428D-B17B8B434DDE}"/>
              </a:ext>
            </a:extLst>
          </p:cNvPr>
          <p:cNvGrpSpPr/>
          <p:nvPr/>
        </p:nvGrpSpPr>
        <p:grpSpPr>
          <a:xfrm>
            <a:off x="930790" y="4517104"/>
            <a:ext cx="6810994" cy="216000"/>
            <a:chOff x="-735757" y="4723244"/>
            <a:chExt cx="6810994" cy="216000"/>
          </a:xfrm>
        </p:grpSpPr>
        <p:sp>
          <p:nvSpPr>
            <p:cNvPr id="999" name="TextBox 998">
              <a:extLst>
                <a:ext uri="{FF2B5EF4-FFF2-40B4-BE49-F238E27FC236}">
                  <a16:creationId xmlns:a16="http://schemas.microsoft.com/office/drawing/2014/main" id="{F90D4B33-928D-C54B-90D1-D7E5433833EF}"/>
                </a:ext>
              </a:extLst>
            </p:cNvPr>
            <p:cNvSpPr txBox="1"/>
            <p:nvPr/>
          </p:nvSpPr>
          <p:spPr>
            <a:xfrm>
              <a:off x="-735757"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1000" name="TextBox 999">
              <a:extLst>
                <a:ext uri="{FF2B5EF4-FFF2-40B4-BE49-F238E27FC236}">
                  <a16:creationId xmlns:a16="http://schemas.microsoft.com/office/drawing/2014/main" id="{4F4292C8-3843-A55F-F074-6253B33866F3}"/>
                </a:ext>
              </a:extLst>
            </p:cNvPr>
            <p:cNvSpPr txBox="1"/>
            <p:nvPr/>
          </p:nvSpPr>
          <p:spPr>
            <a:xfrm>
              <a:off x="-425138"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1001" name="TextBox 1000">
              <a:extLst>
                <a:ext uri="{FF2B5EF4-FFF2-40B4-BE49-F238E27FC236}">
                  <a16:creationId xmlns:a16="http://schemas.microsoft.com/office/drawing/2014/main" id="{F3B58A96-AB01-F2E8-164F-E701C1F4E333}"/>
                </a:ext>
              </a:extLst>
            </p:cNvPr>
            <p:cNvSpPr txBox="1"/>
            <p:nvPr/>
          </p:nvSpPr>
          <p:spPr>
            <a:xfrm>
              <a:off x="-114519"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1002" name="TextBox 1001">
              <a:extLst>
                <a:ext uri="{FF2B5EF4-FFF2-40B4-BE49-F238E27FC236}">
                  <a16:creationId xmlns:a16="http://schemas.microsoft.com/office/drawing/2014/main" id="{2F9C466D-10A6-9625-F0C5-60163AC66516}"/>
                </a:ext>
              </a:extLst>
            </p:cNvPr>
            <p:cNvSpPr txBox="1"/>
            <p:nvPr/>
          </p:nvSpPr>
          <p:spPr>
            <a:xfrm>
              <a:off x="196100"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p>
          </p:txBody>
        </p:sp>
        <p:sp>
          <p:nvSpPr>
            <p:cNvPr id="1003" name="TextBox 1002">
              <a:extLst>
                <a:ext uri="{FF2B5EF4-FFF2-40B4-BE49-F238E27FC236}">
                  <a16:creationId xmlns:a16="http://schemas.microsoft.com/office/drawing/2014/main" id="{6147EF45-A0E3-3E0F-A77A-6A8C5E89513E}"/>
                </a:ext>
              </a:extLst>
            </p:cNvPr>
            <p:cNvSpPr txBox="1"/>
            <p:nvPr/>
          </p:nvSpPr>
          <p:spPr>
            <a:xfrm>
              <a:off x="506719"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1004" name="TextBox 1003">
              <a:extLst>
                <a:ext uri="{FF2B5EF4-FFF2-40B4-BE49-F238E27FC236}">
                  <a16:creationId xmlns:a16="http://schemas.microsoft.com/office/drawing/2014/main" id="{1858DFA1-4B81-A01D-3D4F-A6541902DDF6}"/>
                </a:ext>
              </a:extLst>
            </p:cNvPr>
            <p:cNvSpPr txBox="1"/>
            <p:nvPr/>
          </p:nvSpPr>
          <p:spPr>
            <a:xfrm>
              <a:off x="817338"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1005" name="TextBox 1004">
              <a:extLst>
                <a:ext uri="{FF2B5EF4-FFF2-40B4-BE49-F238E27FC236}">
                  <a16:creationId xmlns:a16="http://schemas.microsoft.com/office/drawing/2014/main" id="{18882E21-2977-752F-835E-7562C0D5B60C}"/>
                </a:ext>
              </a:extLst>
            </p:cNvPr>
            <p:cNvSpPr txBox="1"/>
            <p:nvPr/>
          </p:nvSpPr>
          <p:spPr>
            <a:xfrm>
              <a:off x="1127957"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sp>
          <p:nvSpPr>
            <p:cNvPr id="1006" name="TextBox 1005">
              <a:extLst>
                <a:ext uri="{FF2B5EF4-FFF2-40B4-BE49-F238E27FC236}">
                  <a16:creationId xmlns:a16="http://schemas.microsoft.com/office/drawing/2014/main" id="{3CB109F0-F93B-D06C-56A8-8E4316972421}"/>
                </a:ext>
              </a:extLst>
            </p:cNvPr>
            <p:cNvSpPr txBox="1"/>
            <p:nvPr/>
          </p:nvSpPr>
          <p:spPr>
            <a:xfrm>
              <a:off x="1438576"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a:t>
              </a:r>
            </a:p>
          </p:txBody>
        </p:sp>
        <p:sp>
          <p:nvSpPr>
            <p:cNvPr id="1007" name="TextBox 1006">
              <a:extLst>
                <a:ext uri="{FF2B5EF4-FFF2-40B4-BE49-F238E27FC236}">
                  <a16:creationId xmlns:a16="http://schemas.microsoft.com/office/drawing/2014/main" id="{09F32986-90D8-2E18-9A61-835EECABDDE6}"/>
                </a:ext>
              </a:extLst>
            </p:cNvPr>
            <p:cNvSpPr txBox="1"/>
            <p:nvPr/>
          </p:nvSpPr>
          <p:spPr>
            <a:xfrm>
              <a:off x="1749195"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1008" name="TextBox 1007">
              <a:extLst>
                <a:ext uri="{FF2B5EF4-FFF2-40B4-BE49-F238E27FC236}">
                  <a16:creationId xmlns:a16="http://schemas.microsoft.com/office/drawing/2014/main" id="{EC63920C-634A-C240-99F9-62AAD6A5276E}"/>
                </a:ext>
              </a:extLst>
            </p:cNvPr>
            <p:cNvSpPr txBox="1"/>
            <p:nvPr/>
          </p:nvSpPr>
          <p:spPr>
            <a:xfrm>
              <a:off x="2059814"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a:t>
              </a:r>
            </a:p>
          </p:txBody>
        </p:sp>
        <p:sp>
          <p:nvSpPr>
            <p:cNvPr id="1009" name="TextBox 1008">
              <a:extLst>
                <a:ext uri="{FF2B5EF4-FFF2-40B4-BE49-F238E27FC236}">
                  <a16:creationId xmlns:a16="http://schemas.microsoft.com/office/drawing/2014/main" id="{578ABB31-AD7E-A32A-771B-FF6912F7B845}"/>
                </a:ext>
              </a:extLst>
            </p:cNvPr>
            <p:cNvSpPr txBox="1"/>
            <p:nvPr/>
          </p:nvSpPr>
          <p:spPr>
            <a:xfrm>
              <a:off x="2370433"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sp>
          <p:nvSpPr>
            <p:cNvPr id="1010" name="TextBox 1009">
              <a:extLst>
                <a:ext uri="{FF2B5EF4-FFF2-40B4-BE49-F238E27FC236}">
                  <a16:creationId xmlns:a16="http://schemas.microsoft.com/office/drawing/2014/main" id="{6FCBAA56-CB17-CF33-E3C8-2F2CCAD9206D}"/>
                </a:ext>
              </a:extLst>
            </p:cNvPr>
            <p:cNvSpPr txBox="1"/>
            <p:nvPr/>
          </p:nvSpPr>
          <p:spPr>
            <a:xfrm>
              <a:off x="2681052"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3</a:t>
              </a:r>
            </a:p>
          </p:txBody>
        </p:sp>
        <p:sp>
          <p:nvSpPr>
            <p:cNvPr id="1011" name="TextBox 1010">
              <a:extLst>
                <a:ext uri="{FF2B5EF4-FFF2-40B4-BE49-F238E27FC236}">
                  <a16:creationId xmlns:a16="http://schemas.microsoft.com/office/drawing/2014/main" id="{B3126B5A-6809-FD31-7A12-EE244B8B1584}"/>
                </a:ext>
              </a:extLst>
            </p:cNvPr>
            <p:cNvSpPr txBox="1"/>
            <p:nvPr/>
          </p:nvSpPr>
          <p:spPr>
            <a:xfrm>
              <a:off x="2991671"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sp>
          <p:nvSpPr>
            <p:cNvPr id="1012" name="TextBox 1011">
              <a:extLst>
                <a:ext uri="{FF2B5EF4-FFF2-40B4-BE49-F238E27FC236}">
                  <a16:creationId xmlns:a16="http://schemas.microsoft.com/office/drawing/2014/main" id="{B9B2F4BE-1766-1C3A-309A-38C4A7A9C25B}"/>
                </a:ext>
              </a:extLst>
            </p:cNvPr>
            <p:cNvSpPr txBox="1"/>
            <p:nvPr/>
          </p:nvSpPr>
          <p:spPr>
            <a:xfrm>
              <a:off x="3302290"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9</a:t>
              </a:r>
            </a:p>
          </p:txBody>
        </p:sp>
        <p:sp>
          <p:nvSpPr>
            <p:cNvPr id="1013" name="TextBox 1012">
              <a:extLst>
                <a:ext uri="{FF2B5EF4-FFF2-40B4-BE49-F238E27FC236}">
                  <a16:creationId xmlns:a16="http://schemas.microsoft.com/office/drawing/2014/main" id="{14856602-1C83-5D79-6CE3-1A287A2854C9}"/>
                </a:ext>
              </a:extLst>
            </p:cNvPr>
            <p:cNvSpPr txBox="1"/>
            <p:nvPr/>
          </p:nvSpPr>
          <p:spPr>
            <a:xfrm>
              <a:off x="3612909"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a:t>
              </a:r>
            </a:p>
          </p:txBody>
        </p:sp>
        <p:sp>
          <p:nvSpPr>
            <p:cNvPr id="1014" name="TextBox 1013">
              <a:extLst>
                <a:ext uri="{FF2B5EF4-FFF2-40B4-BE49-F238E27FC236}">
                  <a16:creationId xmlns:a16="http://schemas.microsoft.com/office/drawing/2014/main" id="{A56E01EF-88DC-B84F-A74B-2012C3135FE7}"/>
                </a:ext>
              </a:extLst>
            </p:cNvPr>
            <p:cNvSpPr txBox="1"/>
            <p:nvPr/>
          </p:nvSpPr>
          <p:spPr>
            <a:xfrm>
              <a:off x="3923528"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5</a:t>
              </a:r>
            </a:p>
          </p:txBody>
        </p:sp>
        <p:sp>
          <p:nvSpPr>
            <p:cNvPr id="1015" name="TextBox 1014">
              <a:extLst>
                <a:ext uri="{FF2B5EF4-FFF2-40B4-BE49-F238E27FC236}">
                  <a16:creationId xmlns:a16="http://schemas.microsoft.com/office/drawing/2014/main" id="{4D406705-C203-24F3-A200-4BC1EE3E0C14}"/>
                </a:ext>
              </a:extLst>
            </p:cNvPr>
            <p:cNvSpPr txBox="1"/>
            <p:nvPr/>
          </p:nvSpPr>
          <p:spPr>
            <a:xfrm>
              <a:off x="4234147"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p>
          </p:txBody>
        </p:sp>
        <p:sp>
          <p:nvSpPr>
            <p:cNvPr id="1016" name="TextBox 1015">
              <a:extLst>
                <a:ext uri="{FF2B5EF4-FFF2-40B4-BE49-F238E27FC236}">
                  <a16:creationId xmlns:a16="http://schemas.microsoft.com/office/drawing/2014/main" id="{5EF335BE-A805-AC5F-A6BF-3E76238B2E86}"/>
                </a:ext>
              </a:extLst>
            </p:cNvPr>
            <p:cNvSpPr txBox="1"/>
            <p:nvPr/>
          </p:nvSpPr>
          <p:spPr>
            <a:xfrm>
              <a:off x="4544766"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1</a:t>
              </a:r>
            </a:p>
          </p:txBody>
        </p:sp>
        <p:sp>
          <p:nvSpPr>
            <p:cNvPr id="1017" name="TextBox 1016">
              <a:extLst>
                <a:ext uri="{FF2B5EF4-FFF2-40B4-BE49-F238E27FC236}">
                  <a16:creationId xmlns:a16="http://schemas.microsoft.com/office/drawing/2014/main" id="{4ACEE6E9-A27D-B866-2A58-4C9C4E607F9A}"/>
                </a:ext>
              </a:extLst>
            </p:cNvPr>
            <p:cNvSpPr txBox="1"/>
            <p:nvPr/>
          </p:nvSpPr>
          <p:spPr>
            <a:xfrm>
              <a:off x="4855385"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4</a:t>
              </a:r>
            </a:p>
          </p:txBody>
        </p:sp>
        <p:sp>
          <p:nvSpPr>
            <p:cNvPr id="1018" name="TextBox 1017">
              <a:extLst>
                <a:ext uri="{FF2B5EF4-FFF2-40B4-BE49-F238E27FC236}">
                  <a16:creationId xmlns:a16="http://schemas.microsoft.com/office/drawing/2014/main" id="{90EBFFDA-AE0A-B149-5847-60D57DAB8FC7}"/>
                </a:ext>
              </a:extLst>
            </p:cNvPr>
            <p:cNvSpPr txBox="1"/>
            <p:nvPr/>
          </p:nvSpPr>
          <p:spPr>
            <a:xfrm>
              <a:off x="5166004"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7</a:t>
              </a:r>
            </a:p>
          </p:txBody>
        </p:sp>
        <p:sp>
          <p:nvSpPr>
            <p:cNvPr id="1019" name="TextBox 1018">
              <a:extLst>
                <a:ext uri="{FF2B5EF4-FFF2-40B4-BE49-F238E27FC236}">
                  <a16:creationId xmlns:a16="http://schemas.microsoft.com/office/drawing/2014/main" id="{60B93D70-F753-8D2F-65A5-C5B307254D8E}"/>
                </a:ext>
              </a:extLst>
            </p:cNvPr>
            <p:cNvSpPr txBox="1"/>
            <p:nvPr/>
          </p:nvSpPr>
          <p:spPr>
            <a:xfrm>
              <a:off x="5476623"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p>
          </p:txBody>
        </p:sp>
        <p:sp>
          <p:nvSpPr>
            <p:cNvPr id="1020" name="TextBox 1019">
              <a:extLst>
                <a:ext uri="{FF2B5EF4-FFF2-40B4-BE49-F238E27FC236}">
                  <a16:creationId xmlns:a16="http://schemas.microsoft.com/office/drawing/2014/main" id="{099916EE-4F60-4035-C4D0-F33B21996CF6}"/>
                </a:ext>
              </a:extLst>
            </p:cNvPr>
            <p:cNvSpPr txBox="1"/>
            <p:nvPr/>
          </p:nvSpPr>
          <p:spPr>
            <a:xfrm>
              <a:off x="5787237" y="4723244"/>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3</a:t>
              </a:r>
            </a:p>
          </p:txBody>
        </p:sp>
      </p:grpSp>
      <p:sp>
        <p:nvSpPr>
          <p:cNvPr id="1021" name="TextBox 1020">
            <a:extLst>
              <a:ext uri="{FF2B5EF4-FFF2-40B4-BE49-F238E27FC236}">
                <a16:creationId xmlns:a16="http://schemas.microsoft.com/office/drawing/2014/main" id="{22ABD0F4-BCF6-6998-813D-20E5696C6E82}"/>
              </a:ext>
            </a:extLst>
          </p:cNvPr>
          <p:cNvSpPr txBox="1"/>
          <p:nvPr/>
        </p:nvSpPr>
        <p:spPr>
          <a:xfrm>
            <a:off x="3134697" y="4753581"/>
            <a:ext cx="2818425"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ths</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3" name="Rectangle 1022">
            <a:extLst>
              <a:ext uri="{FF2B5EF4-FFF2-40B4-BE49-F238E27FC236}">
                <a16:creationId xmlns:a16="http://schemas.microsoft.com/office/drawing/2014/main" id="{EDFBEB9E-128E-9D33-57CC-9E81CB0136D4}"/>
              </a:ext>
            </a:extLst>
          </p:cNvPr>
          <p:cNvSpPr/>
          <p:nvPr/>
        </p:nvSpPr>
        <p:spPr>
          <a:xfrm>
            <a:off x="845747" y="5086566"/>
            <a:ext cx="108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4" name="Rectangle 1023">
            <a:extLst>
              <a:ext uri="{FF2B5EF4-FFF2-40B4-BE49-F238E27FC236}">
                <a16:creationId xmlns:a16="http://schemas.microsoft.com/office/drawing/2014/main" id="{9092762A-E18D-DE85-6A41-8122EF2D36F8}"/>
              </a:ext>
            </a:extLst>
          </p:cNvPr>
          <p:cNvSpPr/>
          <p:nvPr/>
        </p:nvSpPr>
        <p:spPr>
          <a:xfrm>
            <a:off x="845747" y="5246075"/>
            <a:ext cx="108000" cy="1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025" name="Group 1024">
            <a:extLst>
              <a:ext uri="{FF2B5EF4-FFF2-40B4-BE49-F238E27FC236}">
                <a16:creationId xmlns:a16="http://schemas.microsoft.com/office/drawing/2014/main" id="{F3671895-EE16-066B-10AA-CE5F308E46E3}"/>
              </a:ext>
            </a:extLst>
          </p:cNvPr>
          <p:cNvGrpSpPr/>
          <p:nvPr/>
        </p:nvGrpSpPr>
        <p:grpSpPr>
          <a:xfrm>
            <a:off x="1052850" y="1541250"/>
            <a:ext cx="6292091" cy="1998702"/>
            <a:chOff x="-613697" y="1747390"/>
            <a:chExt cx="6292091" cy="1998702"/>
          </a:xfrm>
        </p:grpSpPr>
        <p:grpSp>
          <p:nvGrpSpPr>
            <p:cNvPr id="1026" name="Graphic 690">
              <a:extLst>
                <a:ext uri="{FF2B5EF4-FFF2-40B4-BE49-F238E27FC236}">
                  <a16:creationId xmlns:a16="http://schemas.microsoft.com/office/drawing/2014/main" id="{BAC6899A-26FA-0A20-4A58-AC57CC1365F7}"/>
                </a:ext>
              </a:extLst>
            </p:cNvPr>
            <p:cNvGrpSpPr/>
            <p:nvPr/>
          </p:nvGrpSpPr>
          <p:grpSpPr>
            <a:xfrm>
              <a:off x="-613697" y="1747390"/>
              <a:ext cx="81864" cy="81864"/>
              <a:chOff x="1042819" y="1637127"/>
              <a:chExt cx="81864" cy="81864"/>
            </a:xfrm>
          </p:grpSpPr>
          <p:sp>
            <p:nvSpPr>
              <p:cNvPr id="1147" name="Freeform: Shape 1146">
                <a:extLst>
                  <a:ext uri="{FF2B5EF4-FFF2-40B4-BE49-F238E27FC236}">
                    <a16:creationId xmlns:a16="http://schemas.microsoft.com/office/drawing/2014/main" id="{2AC1DA76-8CC9-F565-8133-747BA432B488}"/>
                  </a:ext>
                </a:extLst>
              </p:cNvPr>
              <p:cNvSpPr/>
              <p:nvPr/>
            </p:nvSpPr>
            <p:spPr>
              <a:xfrm>
                <a:off x="1083752" y="1637127"/>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8" name="Freeform: Shape 1147">
                <a:extLst>
                  <a:ext uri="{FF2B5EF4-FFF2-40B4-BE49-F238E27FC236}">
                    <a16:creationId xmlns:a16="http://schemas.microsoft.com/office/drawing/2014/main" id="{B9462644-06F8-C909-CE33-073A0E673F44}"/>
                  </a:ext>
                </a:extLst>
              </p:cNvPr>
              <p:cNvSpPr/>
              <p:nvPr/>
            </p:nvSpPr>
            <p:spPr>
              <a:xfrm>
                <a:off x="1042819" y="1678059"/>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27" name="Graphic 690">
              <a:extLst>
                <a:ext uri="{FF2B5EF4-FFF2-40B4-BE49-F238E27FC236}">
                  <a16:creationId xmlns:a16="http://schemas.microsoft.com/office/drawing/2014/main" id="{B268256A-4A98-B23B-6ADE-E6593AF98A36}"/>
                </a:ext>
              </a:extLst>
            </p:cNvPr>
            <p:cNvGrpSpPr/>
            <p:nvPr/>
          </p:nvGrpSpPr>
          <p:grpSpPr>
            <a:xfrm>
              <a:off x="-416141" y="1802620"/>
              <a:ext cx="81864" cy="81864"/>
              <a:chOff x="1240375" y="1692357"/>
              <a:chExt cx="81864" cy="81864"/>
            </a:xfrm>
          </p:grpSpPr>
          <p:sp>
            <p:nvSpPr>
              <p:cNvPr id="1145" name="Freeform: Shape 1144">
                <a:extLst>
                  <a:ext uri="{FF2B5EF4-FFF2-40B4-BE49-F238E27FC236}">
                    <a16:creationId xmlns:a16="http://schemas.microsoft.com/office/drawing/2014/main" id="{247414DE-560C-DB01-8F4D-4F62E97145A6}"/>
                  </a:ext>
                </a:extLst>
              </p:cNvPr>
              <p:cNvSpPr/>
              <p:nvPr/>
            </p:nvSpPr>
            <p:spPr>
              <a:xfrm>
                <a:off x="1281307" y="1692357"/>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6" name="Freeform: Shape 1145">
                <a:extLst>
                  <a:ext uri="{FF2B5EF4-FFF2-40B4-BE49-F238E27FC236}">
                    <a16:creationId xmlns:a16="http://schemas.microsoft.com/office/drawing/2014/main" id="{6C881583-9891-14BF-6838-85BE87B47A37}"/>
                  </a:ext>
                </a:extLst>
              </p:cNvPr>
              <p:cNvSpPr/>
              <p:nvPr/>
            </p:nvSpPr>
            <p:spPr>
              <a:xfrm>
                <a:off x="1240375" y="1733289"/>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28" name="Graphic 690">
              <a:extLst>
                <a:ext uri="{FF2B5EF4-FFF2-40B4-BE49-F238E27FC236}">
                  <a16:creationId xmlns:a16="http://schemas.microsoft.com/office/drawing/2014/main" id="{95579CFD-2F2E-0CA6-D6D2-48553321F540}"/>
                </a:ext>
              </a:extLst>
            </p:cNvPr>
            <p:cNvGrpSpPr/>
            <p:nvPr/>
          </p:nvGrpSpPr>
          <p:grpSpPr>
            <a:xfrm>
              <a:off x="-117236" y="1873456"/>
              <a:ext cx="81864" cy="81864"/>
              <a:chOff x="1539280" y="1763193"/>
              <a:chExt cx="81864" cy="81864"/>
            </a:xfrm>
          </p:grpSpPr>
          <p:sp>
            <p:nvSpPr>
              <p:cNvPr id="1143" name="Freeform: Shape 1142">
                <a:extLst>
                  <a:ext uri="{FF2B5EF4-FFF2-40B4-BE49-F238E27FC236}">
                    <a16:creationId xmlns:a16="http://schemas.microsoft.com/office/drawing/2014/main" id="{591D0837-CA2A-63E0-F437-6CC5435003BF}"/>
                  </a:ext>
                </a:extLst>
              </p:cNvPr>
              <p:cNvSpPr/>
              <p:nvPr/>
            </p:nvSpPr>
            <p:spPr>
              <a:xfrm>
                <a:off x="1580212" y="176319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4" name="Freeform: Shape 1143">
                <a:extLst>
                  <a:ext uri="{FF2B5EF4-FFF2-40B4-BE49-F238E27FC236}">
                    <a16:creationId xmlns:a16="http://schemas.microsoft.com/office/drawing/2014/main" id="{47C4DB30-62DF-5B78-E9AA-6EA89B8193AE}"/>
                  </a:ext>
                </a:extLst>
              </p:cNvPr>
              <p:cNvSpPr/>
              <p:nvPr/>
            </p:nvSpPr>
            <p:spPr>
              <a:xfrm>
                <a:off x="1539280" y="1804125"/>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29" name="Graphic 690">
              <a:extLst>
                <a:ext uri="{FF2B5EF4-FFF2-40B4-BE49-F238E27FC236}">
                  <a16:creationId xmlns:a16="http://schemas.microsoft.com/office/drawing/2014/main" id="{66B659BE-77BC-3AE3-492F-02C112F9C0BE}"/>
                </a:ext>
              </a:extLst>
            </p:cNvPr>
            <p:cNvGrpSpPr/>
            <p:nvPr/>
          </p:nvGrpSpPr>
          <p:grpSpPr>
            <a:xfrm>
              <a:off x="1451744" y="2342934"/>
              <a:ext cx="81864" cy="81864"/>
              <a:chOff x="3108260" y="2232671"/>
              <a:chExt cx="81864" cy="81864"/>
            </a:xfrm>
          </p:grpSpPr>
          <p:sp>
            <p:nvSpPr>
              <p:cNvPr id="1141" name="Freeform: Shape 1140">
                <a:extLst>
                  <a:ext uri="{FF2B5EF4-FFF2-40B4-BE49-F238E27FC236}">
                    <a16:creationId xmlns:a16="http://schemas.microsoft.com/office/drawing/2014/main" id="{6B24FA28-44D0-412F-7102-FF7E1A886A88}"/>
                  </a:ext>
                </a:extLst>
              </p:cNvPr>
              <p:cNvSpPr/>
              <p:nvPr/>
            </p:nvSpPr>
            <p:spPr>
              <a:xfrm>
                <a:off x="3149192" y="223267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2" name="Freeform: Shape 1141">
                <a:extLst>
                  <a:ext uri="{FF2B5EF4-FFF2-40B4-BE49-F238E27FC236}">
                    <a16:creationId xmlns:a16="http://schemas.microsoft.com/office/drawing/2014/main" id="{846EAB1D-100D-4AFD-5F1A-E79004565F3E}"/>
                  </a:ext>
                </a:extLst>
              </p:cNvPr>
              <p:cNvSpPr/>
              <p:nvPr/>
            </p:nvSpPr>
            <p:spPr>
              <a:xfrm>
                <a:off x="3108260" y="2273603"/>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0" name="Graphic 690">
              <a:extLst>
                <a:ext uri="{FF2B5EF4-FFF2-40B4-BE49-F238E27FC236}">
                  <a16:creationId xmlns:a16="http://schemas.microsoft.com/office/drawing/2014/main" id="{C64E9BCD-8159-E63F-205C-AABAD10C50E3}"/>
                </a:ext>
              </a:extLst>
            </p:cNvPr>
            <p:cNvGrpSpPr/>
            <p:nvPr/>
          </p:nvGrpSpPr>
          <p:grpSpPr>
            <a:xfrm>
              <a:off x="2244146" y="2730852"/>
              <a:ext cx="81907" cy="81907"/>
              <a:chOff x="3900662" y="2620589"/>
              <a:chExt cx="81907" cy="81907"/>
            </a:xfrm>
          </p:grpSpPr>
          <p:sp>
            <p:nvSpPr>
              <p:cNvPr id="1139" name="Freeform: Shape 1138">
                <a:extLst>
                  <a:ext uri="{FF2B5EF4-FFF2-40B4-BE49-F238E27FC236}">
                    <a16:creationId xmlns:a16="http://schemas.microsoft.com/office/drawing/2014/main" id="{30CF3FBE-3E0E-A2C8-2556-7C4F833F572F}"/>
                  </a:ext>
                </a:extLst>
              </p:cNvPr>
              <p:cNvSpPr/>
              <p:nvPr/>
            </p:nvSpPr>
            <p:spPr>
              <a:xfrm>
                <a:off x="3941637" y="2620589"/>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0" name="Freeform: Shape 1139">
                <a:extLst>
                  <a:ext uri="{FF2B5EF4-FFF2-40B4-BE49-F238E27FC236}">
                    <a16:creationId xmlns:a16="http://schemas.microsoft.com/office/drawing/2014/main" id="{30CCA1BE-4EC5-DA27-C0E0-F323A54E0E5D}"/>
                  </a:ext>
                </a:extLst>
              </p:cNvPr>
              <p:cNvSpPr/>
              <p:nvPr/>
            </p:nvSpPr>
            <p:spPr>
              <a:xfrm>
                <a:off x="3900662" y="2661521"/>
                <a:ext cx="81907" cy="4359"/>
              </a:xfrm>
              <a:custGeom>
                <a:avLst/>
                <a:gdLst>
                  <a:gd name="connsiteX0" fmla="*/ 81908 w 81907"/>
                  <a:gd name="connsiteY0" fmla="*/ 0 h 4359"/>
                  <a:gd name="connsiteX1" fmla="*/ 0 w 81907"/>
                  <a:gd name="connsiteY1" fmla="*/ 0 h 4359"/>
                </a:gdLst>
                <a:ahLst/>
                <a:cxnLst>
                  <a:cxn ang="0">
                    <a:pos x="connsiteX0" y="connsiteY0"/>
                  </a:cxn>
                  <a:cxn ang="0">
                    <a:pos x="connsiteX1" y="connsiteY1"/>
                  </a:cxn>
                </a:cxnLst>
                <a:rect l="l" t="t" r="r" b="b"/>
                <a:pathLst>
                  <a:path w="81907" h="4359">
                    <a:moveTo>
                      <a:pt x="81908"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1" name="Graphic 690">
              <a:extLst>
                <a:ext uri="{FF2B5EF4-FFF2-40B4-BE49-F238E27FC236}">
                  <a16:creationId xmlns:a16="http://schemas.microsoft.com/office/drawing/2014/main" id="{15B5B4AB-F471-BFED-83BA-96388A9FC202}"/>
                </a:ext>
              </a:extLst>
            </p:cNvPr>
            <p:cNvGrpSpPr/>
            <p:nvPr/>
          </p:nvGrpSpPr>
          <p:grpSpPr>
            <a:xfrm>
              <a:off x="2759786" y="2983333"/>
              <a:ext cx="81864" cy="81864"/>
              <a:chOff x="4416302" y="2873070"/>
              <a:chExt cx="81864" cy="81864"/>
            </a:xfrm>
          </p:grpSpPr>
          <p:sp>
            <p:nvSpPr>
              <p:cNvPr id="1137" name="Freeform: Shape 1136">
                <a:extLst>
                  <a:ext uri="{FF2B5EF4-FFF2-40B4-BE49-F238E27FC236}">
                    <a16:creationId xmlns:a16="http://schemas.microsoft.com/office/drawing/2014/main" id="{17B4E3C3-91BC-DF7C-25F0-8D1A454FFBA3}"/>
                  </a:ext>
                </a:extLst>
              </p:cNvPr>
              <p:cNvSpPr/>
              <p:nvPr/>
            </p:nvSpPr>
            <p:spPr>
              <a:xfrm>
                <a:off x="4457235" y="287307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8" name="Freeform: Shape 1137">
                <a:extLst>
                  <a:ext uri="{FF2B5EF4-FFF2-40B4-BE49-F238E27FC236}">
                    <a16:creationId xmlns:a16="http://schemas.microsoft.com/office/drawing/2014/main" id="{DD0BB772-5D73-CDAE-C219-53DCC0593AB7}"/>
                  </a:ext>
                </a:extLst>
              </p:cNvPr>
              <p:cNvSpPr/>
              <p:nvPr/>
            </p:nvSpPr>
            <p:spPr>
              <a:xfrm>
                <a:off x="4416302" y="2914002"/>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2" name="Graphic 690">
              <a:extLst>
                <a:ext uri="{FF2B5EF4-FFF2-40B4-BE49-F238E27FC236}">
                  <a16:creationId xmlns:a16="http://schemas.microsoft.com/office/drawing/2014/main" id="{4FA2A876-59B5-F8BD-933A-5A55A6039A0A}"/>
                </a:ext>
              </a:extLst>
            </p:cNvPr>
            <p:cNvGrpSpPr/>
            <p:nvPr/>
          </p:nvGrpSpPr>
          <p:grpSpPr>
            <a:xfrm>
              <a:off x="3668228" y="3279622"/>
              <a:ext cx="81864" cy="81864"/>
              <a:chOff x="5324744" y="3169359"/>
              <a:chExt cx="81864" cy="81864"/>
            </a:xfrm>
          </p:grpSpPr>
          <p:sp>
            <p:nvSpPr>
              <p:cNvPr id="1135" name="Freeform: Shape 1134">
                <a:extLst>
                  <a:ext uri="{FF2B5EF4-FFF2-40B4-BE49-F238E27FC236}">
                    <a16:creationId xmlns:a16="http://schemas.microsoft.com/office/drawing/2014/main" id="{F752CEC5-EB30-5453-6578-CF17C130BF27}"/>
                  </a:ext>
                </a:extLst>
              </p:cNvPr>
              <p:cNvSpPr/>
              <p:nvPr/>
            </p:nvSpPr>
            <p:spPr>
              <a:xfrm>
                <a:off x="5365676" y="316935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6" name="Freeform: Shape 1135">
                <a:extLst>
                  <a:ext uri="{FF2B5EF4-FFF2-40B4-BE49-F238E27FC236}">
                    <a16:creationId xmlns:a16="http://schemas.microsoft.com/office/drawing/2014/main" id="{1C4F9291-913A-8A35-1126-D5E8CD773638}"/>
                  </a:ext>
                </a:extLst>
              </p:cNvPr>
              <p:cNvSpPr/>
              <p:nvPr/>
            </p:nvSpPr>
            <p:spPr>
              <a:xfrm>
                <a:off x="5324744" y="3210291"/>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3" name="Graphic 690">
              <a:extLst>
                <a:ext uri="{FF2B5EF4-FFF2-40B4-BE49-F238E27FC236}">
                  <a16:creationId xmlns:a16="http://schemas.microsoft.com/office/drawing/2014/main" id="{04049BDA-5F40-D2B2-AEA7-A8FB165D1E11}"/>
                </a:ext>
              </a:extLst>
            </p:cNvPr>
            <p:cNvGrpSpPr/>
            <p:nvPr/>
          </p:nvGrpSpPr>
          <p:grpSpPr>
            <a:xfrm>
              <a:off x="3712081" y="3321557"/>
              <a:ext cx="81864" cy="81864"/>
              <a:chOff x="5368597" y="3211294"/>
              <a:chExt cx="81864" cy="81864"/>
            </a:xfrm>
          </p:grpSpPr>
          <p:sp>
            <p:nvSpPr>
              <p:cNvPr id="1133" name="Freeform: Shape 1132">
                <a:extLst>
                  <a:ext uri="{FF2B5EF4-FFF2-40B4-BE49-F238E27FC236}">
                    <a16:creationId xmlns:a16="http://schemas.microsoft.com/office/drawing/2014/main" id="{5D48FAE8-897D-5287-0D39-B878AA7C00A5}"/>
                  </a:ext>
                </a:extLst>
              </p:cNvPr>
              <p:cNvSpPr/>
              <p:nvPr/>
            </p:nvSpPr>
            <p:spPr>
              <a:xfrm>
                <a:off x="5409529" y="3211294"/>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4" name="Freeform: Shape 1133">
                <a:extLst>
                  <a:ext uri="{FF2B5EF4-FFF2-40B4-BE49-F238E27FC236}">
                    <a16:creationId xmlns:a16="http://schemas.microsoft.com/office/drawing/2014/main" id="{2FC35412-84D2-A058-572F-5E27C3E4DCD5}"/>
                  </a:ext>
                </a:extLst>
              </p:cNvPr>
              <p:cNvSpPr/>
              <p:nvPr/>
            </p:nvSpPr>
            <p:spPr>
              <a:xfrm>
                <a:off x="5368597" y="3252226"/>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4" name="Graphic 690">
              <a:extLst>
                <a:ext uri="{FF2B5EF4-FFF2-40B4-BE49-F238E27FC236}">
                  <a16:creationId xmlns:a16="http://schemas.microsoft.com/office/drawing/2014/main" id="{335AD020-35FF-1BDD-886E-A74E83B3A2A9}"/>
                </a:ext>
              </a:extLst>
            </p:cNvPr>
            <p:cNvGrpSpPr/>
            <p:nvPr/>
          </p:nvGrpSpPr>
          <p:grpSpPr>
            <a:xfrm>
              <a:off x="3852445" y="3343963"/>
              <a:ext cx="81864" cy="81864"/>
              <a:chOff x="5508961" y="3233700"/>
              <a:chExt cx="81864" cy="81864"/>
            </a:xfrm>
          </p:grpSpPr>
          <p:sp>
            <p:nvSpPr>
              <p:cNvPr id="1131" name="Freeform: Shape 1130">
                <a:extLst>
                  <a:ext uri="{FF2B5EF4-FFF2-40B4-BE49-F238E27FC236}">
                    <a16:creationId xmlns:a16="http://schemas.microsoft.com/office/drawing/2014/main" id="{7F24927B-CDE5-238D-F9FE-440530F0EA1D}"/>
                  </a:ext>
                </a:extLst>
              </p:cNvPr>
              <p:cNvSpPr/>
              <p:nvPr/>
            </p:nvSpPr>
            <p:spPr>
              <a:xfrm>
                <a:off x="5549893" y="323370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2" name="Freeform: Shape 1131">
                <a:extLst>
                  <a:ext uri="{FF2B5EF4-FFF2-40B4-BE49-F238E27FC236}">
                    <a16:creationId xmlns:a16="http://schemas.microsoft.com/office/drawing/2014/main" id="{16B11597-B179-1D12-734E-08EAF5365119}"/>
                  </a:ext>
                </a:extLst>
              </p:cNvPr>
              <p:cNvSpPr/>
              <p:nvPr/>
            </p:nvSpPr>
            <p:spPr>
              <a:xfrm>
                <a:off x="5508961" y="3274632"/>
                <a:ext cx="81864" cy="4359"/>
              </a:xfrm>
              <a:custGeom>
                <a:avLst/>
                <a:gdLst>
                  <a:gd name="connsiteX0" fmla="*/ 81865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5"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5" name="Graphic 690">
              <a:extLst>
                <a:ext uri="{FF2B5EF4-FFF2-40B4-BE49-F238E27FC236}">
                  <a16:creationId xmlns:a16="http://schemas.microsoft.com/office/drawing/2014/main" id="{867E67C0-F863-A05B-61BC-A9A77BB2CEC4}"/>
                </a:ext>
              </a:extLst>
            </p:cNvPr>
            <p:cNvGrpSpPr/>
            <p:nvPr/>
          </p:nvGrpSpPr>
          <p:grpSpPr>
            <a:xfrm>
              <a:off x="3907980" y="3358566"/>
              <a:ext cx="81907" cy="81907"/>
              <a:chOff x="5564496" y="3248303"/>
              <a:chExt cx="81907" cy="81907"/>
            </a:xfrm>
          </p:grpSpPr>
          <p:sp>
            <p:nvSpPr>
              <p:cNvPr id="1129" name="Freeform: Shape 1128">
                <a:extLst>
                  <a:ext uri="{FF2B5EF4-FFF2-40B4-BE49-F238E27FC236}">
                    <a16:creationId xmlns:a16="http://schemas.microsoft.com/office/drawing/2014/main" id="{04147F95-DA31-2437-8AC3-00DE085FDC31}"/>
                  </a:ext>
                </a:extLst>
              </p:cNvPr>
              <p:cNvSpPr/>
              <p:nvPr/>
            </p:nvSpPr>
            <p:spPr>
              <a:xfrm>
                <a:off x="5605472" y="3248303"/>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0" name="Freeform: Shape 1129">
                <a:extLst>
                  <a:ext uri="{FF2B5EF4-FFF2-40B4-BE49-F238E27FC236}">
                    <a16:creationId xmlns:a16="http://schemas.microsoft.com/office/drawing/2014/main" id="{1C401935-B298-0BC2-C0DB-12E1317DBC63}"/>
                  </a:ext>
                </a:extLst>
              </p:cNvPr>
              <p:cNvSpPr/>
              <p:nvPr/>
            </p:nvSpPr>
            <p:spPr>
              <a:xfrm>
                <a:off x="5564496" y="3289235"/>
                <a:ext cx="81907" cy="4359"/>
              </a:xfrm>
              <a:custGeom>
                <a:avLst/>
                <a:gdLst>
                  <a:gd name="connsiteX0" fmla="*/ 81908 w 81907"/>
                  <a:gd name="connsiteY0" fmla="*/ 0 h 4359"/>
                  <a:gd name="connsiteX1" fmla="*/ 0 w 81907"/>
                  <a:gd name="connsiteY1" fmla="*/ 0 h 4359"/>
                </a:gdLst>
                <a:ahLst/>
                <a:cxnLst>
                  <a:cxn ang="0">
                    <a:pos x="connsiteX0" y="connsiteY0"/>
                  </a:cxn>
                  <a:cxn ang="0">
                    <a:pos x="connsiteX1" y="connsiteY1"/>
                  </a:cxn>
                </a:cxnLst>
                <a:rect l="l" t="t" r="r" b="b"/>
                <a:pathLst>
                  <a:path w="81907" h="4359">
                    <a:moveTo>
                      <a:pt x="81908"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6" name="Graphic 690">
              <a:extLst>
                <a:ext uri="{FF2B5EF4-FFF2-40B4-BE49-F238E27FC236}">
                  <a16:creationId xmlns:a16="http://schemas.microsoft.com/office/drawing/2014/main" id="{B1A6C631-1A1B-8AD7-6DEE-B09C38A86D4E}"/>
                </a:ext>
              </a:extLst>
            </p:cNvPr>
            <p:cNvGrpSpPr/>
            <p:nvPr/>
          </p:nvGrpSpPr>
          <p:grpSpPr>
            <a:xfrm>
              <a:off x="3966479" y="3379054"/>
              <a:ext cx="81864" cy="81864"/>
              <a:chOff x="5622995" y="3268791"/>
              <a:chExt cx="81864" cy="81864"/>
            </a:xfrm>
          </p:grpSpPr>
          <p:sp>
            <p:nvSpPr>
              <p:cNvPr id="1127" name="Freeform: Shape 1126">
                <a:extLst>
                  <a:ext uri="{FF2B5EF4-FFF2-40B4-BE49-F238E27FC236}">
                    <a16:creationId xmlns:a16="http://schemas.microsoft.com/office/drawing/2014/main" id="{3F00B193-429D-E58E-5C06-C2C4C9E0F6B5}"/>
                  </a:ext>
                </a:extLst>
              </p:cNvPr>
              <p:cNvSpPr/>
              <p:nvPr/>
            </p:nvSpPr>
            <p:spPr>
              <a:xfrm>
                <a:off x="5663928" y="326879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8" name="Freeform: Shape 1127">
                <a:extLst>
                  <a:ext uri="{FF2B5EF4-FFF2-40B4-BE49-F238E27FC236}">
                    <a16:creationId xmlns:a16="http://schemas.microsoft.com/office/drawing/2014/main" id="{36124A13-D88C-E252-C46C-30929A8CFBE4}"/>
                  </a:ext>
                </a:extLst>
              </p:cNvPr>
              <p:cNvSpPr/>
              <p:nvPr/>
            </p:nvSpPr>
            <p:spPr>
              <a:xfrm>
                <a:off x="5622995" y="3309723"/>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7" name="Graphic 690">
              <a:extLst>
                <a:ext uri="{FF2B5EF4-FFF2-40B4-BE49-F238E27FC236}">
                  <a16:creationId xmlns:a16="http://schemas.microsoft.com/office/drawing/2014/main" id="{5D2AA84E-7ED5-9D6D-6010-83C3CCC080C7}"/>
                </a:ext>
              </a:extLst>
            </p:cNvPr>
            <p:cNvGrpSpPr/>
            <p:nvPr/>
          </p:nvGrpSpPr>
          <p:grpSpPr>
            <a:xfrm>
              <a:off x="3998650" y="3402462"/>
              <a:ext cx="81864" cy="81864"/>
              <a:chOff x="5655166" y="3292199"/>
              <a:chExt cx="81864" cy="81864"/>
            </a:xfrm>
          </p:grpSpPr>
          <p:sp>
            <p:nvSpPr>
              <p:cNvPr id="1125" name="Freeform: Shape 1124">
                <a:extLst>
                  <a:ext uri="{FF2B5EF4-FFF2-40B4-BE49-F238E27FC236}">
                    <a16:creationId xmlns:a16="http://schemas.microsoft.com/office/drawing/2014/main" id="{FDC070DB-D6FA-DD5B-0B54-67DA043ABDA2}"/>
                  </a:ext>
                </a:extLst>
              </p:cNvPr>
              <p:cNvSpPr/>
              <p:nvPr/>
            </p:nvSpPr>
            <p:spPr>
              <a:xfrm>
                <a:off x="5696098" y="329219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6" name="Freeform: Shape 1125">
                <a:extLst>
                  <a:ext uri="{FF2B5EF4-FFF2-40B4-BE49-F238E27FC236}">
                    <a16:creationId xmlns:a16="http://schemas.microsoft.com/office/drawing/2014/main" id="{FF972F6A-CE68-5C71-9424-3008945038E7}"/>
                  </a:ext>
                </a:extLst>
              </p:cNvPr>
              <p:cNvSpPr/>
              <p:nvPr/>
            </p:nvSpPr>
            <p:spPr>
              <a:xfrm>
                <a:off x="5655166" y="3333132"/>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8" name="Graphic 690">
              <a:extLst>
                <a:ext uri="{FF2B5EF4-FFF2-40B4-BE49-F238E27FC236}">
                  <a16:creationId xmlns:a16="http://schemas.microsoft.com/office/drawing/2014/main" id="{EB1626AD-5961-FB36-6415-D34491A1853F}"/>
                </a:ext>
              </a:extLst>
            </p:cNvPr>
            <p:cNvGrpSpPr/>
            <p:nvPr/>
          </p:nvGrpSpPr>
          <p:grpSpPr>
            <a:xfrm>
              <a:off x="4184828" y="3426830"/>
              <a:ext cx="81864" cy="81864"/>
              <a:chOff x="5841344" y="3316567"/>
              <a:chExt cx="81864" cy="81864"/>
            </a:xfrm>
          </p:grpSpPr>
          <p:sp>
            <p:nvSpPr>
              <p:cNvPr id="1123" name="Freeform: Shape 1122">
                <a:extLst>
                  <a:ext uri="{FF2B5EF4-FFF2-40B4-BE49-F238E27FC236}">
                    <a16:creationId xmlns:a16="http://schemas.microsoft.com/office/drawing/2014/main" id="{BAF043DE-27B3-AD5D-A546-37EFC886D848}"/>
                  </a:ext>
                </a:extLst>
              </p:cNvPr>
              <p:cNvSpPr/>
              <p:nvPr/>
            </p:nvSpPr>
            <p:spPr>
              <a:xfrm>
                <a:off x="5882276" y="3316567"/>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4" name="Freeform: Shape 1123">
                <a:extLst>
                  <a:ext uri="{FF2B5EF4-FFF2-40B4-BE49-F238E27FC236}">
                    <a16:creationId xmlns:a16="http://schemas.microsoft.com/office/drawing/2014/main" id="{E987C997-B7C9-82BE-4AA6-0F8B189C564D}"/>
                  </a:ext>
                </a:extLst>
              </p:cNvPr>
              <p:cNvSpPr/>
              <p:nvPr/>
            </p:nvSpPr>
            <p:spPr>
              <a:xfrm>
                <a:off x="5841344" y="3357499"/>
                <a:ext cx="81864" cy="4359"/>
              </a:xfrm>
              <a:custGeom>
                <a:avLst/>
                <a:gdLst>
                  <a:gd name="connsiteX0" fmla="*/ 81865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5"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39" name="Graphic 690">
              <a:extLst>
                <a:ext uri="{FF2B5EF4-FFF2-40B4-BE49-F238E27FC236}">
                  <a16:creationId xmlns:a16="http://schemas.microsoft.com/office/drawing/2014/main" id="{E26BEB44-9EE7-37E1-08A0-A569D0F31EEE}"/>
                </a:ext>
              </a:extLst>
            </p:cNvPr>
            <p:cNvGrpSpPr/>
            <p:nvPr/>
          </p:nvGrpSpPr>
          <p:grpSpPr>
            <a:xfrm>
              <a:off x="4242325" y="3424868"/>
              <a:ext cx="81864" cy="81864"/>
              <a:chOff x="5898841" y="3314605"/>
              <a:chExt cx="81864" cy="81864"/>
            </a:xfrm>
          </p:grpSpPr>
          <p:sp>
            <p:nvSpPr>
              <p:cNvPr id="1121" name="Freeform: Shape 1120">
                <a:extLst>
                  <a:ext uri="{FF2B5EF4-FFF2-40B4-BE49-F238E27FC236}">
                    <a16:creationId xmlns:a16="http://schemas.microsoft.com/office/drawing/2014/main" id="{6259B93B-564D-B3F8-FADF-B2A2445B7B5B}"/>
                  </a:ext>
                </a:extLst>
              </p:cNvPr>
              <p:cNvSpPr/>
              <p:nvPr/>
            </p:nvSpPr>
            <p:spPr>
              <a:xfrm>
                <a:off x="5939773" y="3314605"/>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2" name="Freeform: Shape 1121">
                <a:extLst>
                  <a:ext uri="{FF2B5EF4-FFF2-40B4-BE49-F238E27FC236}">
                    <a16:creationId xmlns:a16="http://schemas.microsoft.com/office/drawing/2014/main" id="{1356A66E-1AA2-E01A-2978-FA38E85A769A}"/>
                  </a:ext>
                </a:extLst>
              </p:cNvPr>
              <p:cNvSpPr/>
              <p:nvPr/>
            </p:nvSpPr>
            <p:spPr>
              <a:xfrm>
                <a:off x="5898841" y="3355538"/>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0" name="Graphic 690">
              <a:extLst>
                <a:ext uri="{FF2B5EF4-FFF2-40B4-BE49-F238E27FC236}">
                  <a16:creationId xmlns:a16="http://schemas.microsoft.com/office/drawing/2014/main" id="{A5E56F0F-2907-35A1-7D9C-823DF6B63501}"/>
                </a:ext>
              </a:extLst>
            </p:cNvPr>
            <p:cNvGrpSpPr/>
            <p:nvPr/>
          </p:nvGrpSpPr>
          <p:grpSpPr>
            <a:xfrm>
              <a:off x="4290101" y="3438512"/>
              <a:ext cx="81864" cy="81864"/>
              <a:chOff x="5946617" y="3328249"/>
              <a:chExt cx="81864" cy="81864"/>
            </a:xfrm>
          </p:grpSpPr>
          <p:sp>
            <p:nvSpPr>
              <p:cNvPr id="1119" name="Freeform: Shape 1118">
                <a:extLst>
                  <a:ext uri="{FF2B5EF4-FFF2-40B4-BE49-F238E27FC236}">
                    <a16:creationId xmlns:a16="http://schemas.microsoft.com/office/drawing/2014/main" id="{A31898C5-7E49-DA0D-0080-8A59D7A59816}"/>
                  </a:ext>
                </a:extLst>
              </p:cNvPr>
              <p:cNvSpPr/>
              <p:nvPr/>
            </p:nvSpPr>
            <p:spPr>
              <a:xfrm>
                <a:off x="5987549" y="332824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0" name="Freeform: Shape 1119">
                <a:extLst>
                  <a:ext uri="{FF2B5EF4-FFF2-40B4-BE49-F238E27FC236}">
                    <a16:creationId xmlns:a16="http://schemas.microsoft.com/office/drawing/2014/main" id="{9071B4F2-4181-B315-B93E-912A9E4B3BDE}"/>
                  </a:ext>
                </a:extLst>
              </p:cNvPr>
              <p:cNvSpPr/>
              <p:nvPr/>
            </p:nvSpPr>
            <p:spPr>
              <a:xfrm>
                <a:off x="5946617" y="3369182"/>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1" name="Graphic 690">
              <a:extLst>
                <a:ext uri="{FF2B5EF4-FFF2-40B4-BE49-F238E27FC236}">
                  <a16:creationId xmlns:a16="http://schemas.microsoft.com/office/drawing/2014/main" id="{C7B513C8-2D79-9343-E1DC-5008FFFFEB17}"/>
                </a:ext>
              </a:extLst>
            </p:cNvPr>
            <p:cNvGrpSpPr/>
            <p:nvPr/>
          </p:nvGrpSpPr>
          <p:grpSpPr>
            <a:xfrm>
              <a:off x="4387571" y="3454118"/>
              <a:ext cx="81864" cy="81864"/>
              <a:chOff x="6044087" y="3343855"/>
              <a:chExt cx="81864" cy="81864"/>
            </a:xfrm>
          </p:grpSpPr>
          <p:sp>
            <p:nvSpPr>
              <p:cNvPr id="1117" name="Freeform: Shape 1116">
                <a:extLst>
                  <a:ext uri="{FF2B5EF4-FFF2-40B4-BE49-F238E27FC236}">
                    <a16:creationId xmlns:a16="http://schemas.microsoft.com/office/drawing/2014/main" id="{54A033E0-6BE3-CFC2-1FB6-3ADBFC466EB9}"/>
                  </a:ext>
                </a:extLst>
              </p:cNvPr>
              <p:cNvSpPr/>
              <p:nvPr/>
            </p:nvSpPr>
            <p:spPr>
              <a:xfrm>
                <a:off x="6085019" y="3343855"/>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8" name="Freeform: Shape 1117">
                <a:extLst>
                  <a:ext uri="{FF2B5EF4-FFF2-40B4-BE49-F238E27FC236}">
                    <a16:creationId xmlns:a16="http://schemas.microsoft.com/office/drawing/2014/main" id="{E2E0FDC9-669A-E41D-1962-7DC8A5834AE3}"/>
                  </a:ext>
                </a:extLst>
              </p:cNvPr>
              <p:cNvSpPr/>
              <p:nvPr/>
            </p:nvSpPr>
            <p:spPr>
              <a:xfrm>
                <a:off x="6044087" y="3384787"/>
                <a:ext cx="81864" cy="4359"/>
              </a:xfrm>
              <a:custGeom>
                <a:avLst/>
                <a:gdLst>
                  <a:gd name="connsiteX0" fmla="*/ 81865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5"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2" name="Graphic 690">
              <a:extLst>
                <a:ext uri="{FF2B5EF4-FFF2-40B4-BE49-F238E27FC236}">
                  <a16:creationId xmlns:a16="http://schemas.microsoft.com/office/drawing/2014/main" id="{84550791-D629-C7B2-D617-333FE34C7DBF}"/>
                </a:ext>
              </a:extLst>
            </p:cNvPr>
            <p:cNvGrpSpPr/>
            <p:nvPr/>
          </p:nvGrpSpPr>
          <p:grpSpPr>
            <a:xfrm>
              <a:off x="4500603" y="3467762"/>
              <a:ext cx="81907" cy="81864"/>
              <a:chOff x="6157119" y="3357499"/>
              <a:chExt cx="81907" cy="81864"/>
            </a:xfrm>
          </p:grpSpPr>
          <p:sp>
            <p:nvSpPr>
              <p:cNvPr id="1115" name="Freeform: Shape 1114">
                <a:extLst>
                  <a:ext uri="{FF2B5EF4-FFF2-40B4-BE49-F238E27FC236}">
                    <a16:creationId xmlns:a16="http://schemas.microsoft.com/office/drawing/2014/main" id="{537A2685-71D5-D0F9-9812-83DD1FB07402}"/>
                  </a:ext>
                </a:extLst>
              </p:cNvPr>
              <p:cNvSpPr/>
              <p:nvPr/>
            </p:nvSpPr>
            <p:spPr>
              <a:xfrm>
                <a:off x="6198095" y="335749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6" name="Freeform: Shape 1115">
                <a:extLst>
                  <a:ext uri="{FF2B5EF4-FFF2-40B4-BE49-F238E27FC236}">
                    <a16:creationId xmlns:a16="http://schemas.microsoft.com/office/drawing/2014/main" id="{7652F27B-11C9-2BD4-3494-66DB97FCBE3C}"/>
                  </a:ext>
                </a:extLst>
              </p:cNvPr>
              <p:cNvSpPr/>
              <p:nvPr/>
            </p:nvSpPr>
            <p:spPr>
              <a:xfrm>
                <a:off x="6157119" y="3398431"/>
                <a:ext cx="81907" cy="4359"/>
              </a:xfrm>
              <a:custGeom>
                <a:avLst/>
                <a:gdLst>
                  <a:gd name="connsiteX0" fmla="*/ 81908 w 81907"/>
                  <a:gd name="connsiteY0" fmla="*/ 0 h 4359"/>
                  <a:gd name="connsiteX1" fmla="*/ 0 w 81907"/>
                  <a:gd name="connsiteY1" fmla="*/ 0 h 4359"/>
                </a:gdLst>
                <a:ahLst/>
                <a:cxnLst>
                  <a:cxn ang="0">
                    <a:pos x="connsiteX0" y="connsiteY0"/>
                  </a:cxn>
                  <a:cxn ang="0">
                    <a:pos x="connsiteX1" y="connsiteY1"/>
                  </a:cxn>
                </a:cxnLst>
                <a:rect l="l" t="t" r="r" b="b"/>
                <a:pathLst>
                  <a:path w="81907" h="4359">
                    <a:moveTo>
                      <a:pt x="81908"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3" name="Graphic 690">
              <a:extLst>
                <a:ext uri="{FF2B5EF4-FFF2-40B4-BE49-F238E27FC236}">
                  <a16:creationId xmlns:a16="http://schemas.microsoft.com/office/drawing/2014/main" id="{7B9EFB78-CE7E-BC7C-5C12-632AC72E5C75}"/>
                </a:ext>
              </a:extLst>
            </p:cNvPr>
            <p:cNvGrpSpPr/>
            <p:nvPr/>
          </p:nvGrpSpPr>
          <p:grpSpPr>
            <a:xfrm>
              <a:off x="4545458" y="3510656"/>
              <a:ext cx="81864" cy="81864"/>
              <a:chOff x="6201974" y="3400393"/>
              <a:chExt cx="81864" cy="81864"/>
            </a:xfrm>
          </p:grpSpPr>
          <p:sp>
            <p:nvSpPr>
              <p:cNvPr id="1113" name="Freeform: Shape 1112">
                <a:extLst>
                  <a:ext uri="{FF2B5EF4-FFF2-40B4-BE49-F238E27FC236}">
                    <a16:creationId xmlns:a16="http://schemas.microsoft.com/office/drawing/2014/main" id="{9C09121C-0932-9953-1101-1883CB33076A}"/>
                  </a:ext>
                </a:extLst>
              </p:cNvPr>
              <p:cNvSpPr/>
              <p:nvPr/>
            </p:nvSpPr>
            <p:spPr>
              <a:xfrm>
                <a:off x="6242907" y="340039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4" name="Freeform: Shape 1113">
                <a:extLst>
                  <a:ext uri="{FF2B5EF4-FFF2-40B4-BE49-F238E27FC236}">
                    <a16:creationId xmlns:a16="http://schemas.microsoft.com/office/drawing/2014/main" id="{FB710D50-6D08-FB5C-7A34-73C0C65C7537}"/>
                  </a:ext>
                </a:extLst>
              </p:cNvPr>
              <p:cNvSpPr/>
              <p:nvPr/>
            </p:nvSpPr>
            <p:spPr>
              <a:xfrm>
                <a:off x="6201974" y="3441325"/>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4" name="Graphic 690">
              <a:extLst>
                <a:ext uri="{FF2B5EF4-FFF2-40B4-BE49-F238E27FC236}">
                  <a16:creationId xmlns:a16="http://schemas.microsoft.com/office/drawing/2014/main" id="{E9BF83E6-345D-784C-99B7-7C1FD9F0315A}"/>
                </a:ext>
              </a:extLst>
            </p:cNvPr>
            <p:cNvGrpSpPr/>
            <p:nvPr/>
          </p:nvGrpSpPr>
          <p:grpSpPr>
            <a:xfrm>
              <a:off x="4609799" y="3525259"/>
              <a:ext cx="81864" cy="81864"/>
              <a:chOff x="6266315" y="3414996"/>
              <a:chExt cx="81864" cy="81864"/>
            </a:xfrm>
          </p:grpSpPr>
          <p:sp>
            <p:nvSpPr>
              <p:cNvPr id="1111" name="Freeform: Shape 1110">
                <a:extLst>
                  <a:ext uri="{FF2B5EF4-FFF2-40B4-BE49-F238E27FC236}">
                    <a16:creationId xmlns:a16="http://schemas.microsoft.com/office/drawing/2014/main" id="{B3500CEB-64D3-B747-3C03-01B8D73F17AE}"/>
                  </a:ext>
                </a:extLst>
              </p:cNvPr>
              <p:cNvSpPr/>
              <p:nvPr/>
            </p:nvSpPr>
            <p:spPr>
              <a:xfrm>
                <a:off x="6307247" y="3414996"/>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2" name="Freeform: Shape 1111">
                <a:extLst>
                  <a:ext uri="{FF2B5EF4-FFF2-40B4-BE49-F238E27FC236}">
                    <a16:creationId xmlns:a16="http://schemas.microsoft.com/office/drawing/2014/main" id="{673FEEAD-0B06-02A6-FFBA-64AF106408FD}"/>
                  </a:ext>
                </a:extLst>
              </p:cNvPr>
              <p:cNvSpPr/>
              <p:nvPr/>
            </p:nvSpPr>
            <p:spPr>
              <a:xfrm>
                <a:off x="6266315" y="3455928"/>
                <a:ext cx="81864" cy="4359"/>
              </a:xfrm>
              <a:custGeom>
                <a:avLst/>
                <a:gdLst>
                  <a:gd name="connsiteX0" fmla="*/ 81865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5"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5" name="Graphic 690">
              <a:extLst>
                <a:ext uri="{FF2B5EF4-FFF2-40B4-BE49-F238E27FC236}">
                  <a16:creationId xmlns:a16="http://schemas.microsoft.com/office/drawing/2014/main" id="{E5AD8742-9569-CAE8-29C3-BF0C5BB26C6C}"/>
                </a:ext>
              </a:extLst>
            </p:cNvPr>
            <p:cNvGrpSpPr/>
            <p:nvPr/>
          </p:nvGrpSpPr>
          <p:grpSpPr>
            <a:xfrm>
              <a:off x="4689702" y="3538903"/>
              <a:ext cx="81907" cy="81864"/>
              <a:chOff x="6346218" y="3428640"/>
              <a:chExt cx="81907" cy="81864"/>
            </a:xfrm>
          </p:grpSpPr>
          <p:sp>
            <p:nvSpPr>
              <p:cNvPr id="1109" name="Freeform: Shape 1108">
                <a:extLst>
                  <a:ext uri="{FF2B5EF4-FFF2-40B4-BE49-F238E27FC236}">
                    <a16:creationId xmlns:a16="http://schemas.microsoft.com/office/drawing/2014/main" id="{63396FAF-B7AC-FA6C-97ED-9BF3CFE43ACB}"/>
                  </a:ext>
                </a:extLst>
              </p:cNvPr>
              <p:cNvSpPr/>
              <p:nvPr/>
            </p:nvSpPr>
            <p:spPr>
              <a:xfrm>
                <a:off x="6387150" y="342864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0" name="Freeform: Shape 1109">
                <a:extLst>
                  <a:ext uri="{FF2B5EF4-FFF2-40B4-BE49-F238E27FC236}">
                    <a16:creationId xmlns:a16="http://schemas.microsoft.com/office/drawing/2014/main" id="{83564E1B-C98F-D264-FB6D-C9B2A78505C4}"/>
                  </a:ext>
                </a:extLst>
              </p:cNvPr>
              <p:cNvSpPr/>
              <p:nvPr/>
            </p:nvSpPr>
            <p:spPr>
              <a:xfrm>
                <a:off x="6346218" y="3469572"/>
                <a:ext cx="81907" cy="4359"/>
              </a:xfrm>
              <a:custGeom>
                <a:avLst/>
                <a:gdLst>
                  <a:gd name="connsiteX0" fmla="*/ 81908 w 81907"/>
                  <a:gd name="connsiteY0" fmla="*/ 0 h 4359"/>
                  <a:gd name="connsiteX1" fmla="*/ 0 w 81907"/>
                  <a:gd name="connsiteY1" fmla="*/ 0 h 4359"/>
                </a:gdLst>
                <a:ahLst/>
                <a:cxnLst>
                  <a:cxn ang="0">
                    <a:pos x="connsiteX0" y="connsiteY0"/>
                  </a:cxn>
                  <a:cxn ang="0">
                    <a:pos x="connsiteX1" y="connsiteY1"/>
                  </a:cxn>
                </a:cxnLst>
                <a:rect l="l" t="t" r="r" b="b"/>
                <a:pathLst>
                  <a:path w="81907" h="4359">
                    <a:moveTo>
                      <a:pt x="81908"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6" name="Graphic 690">
              <a:extLst>
                <a:ext uri="{FF2B5EF4-FFF2-40B4-BE49-F238E27FC236}">
                  <a16:creationId xmlns:a16="http://schemas.microsoft.com/office/drawing/2014/main" id="{1182D52B-4A8F-5997-2DC5-AABDC54A26D6}"/>
                </a:ext>
              </a:extLst>
            </p:cNvPr>
            <p:cNvGrpSpPr/>
            <p:nvPr/>
          </p:nvGrpSpPr>
          <p:grpSpPr>
            <a:xfrm>
              <a:off x="4741357" y="3580838"/>
              <a:ext cx="81907" cy="81864"/>
              <a:chOff x="6397873" y="3470575"/>
              <a:chExt cx="81907" cy="81864"/>
            </a:xfrm>
          </p:grpSpPr>
          <p:sp>
            <p:nvSpPr>
              <p:cNvPr id="1107" name="Freeform: Shape 1106">
                <a:extLst>
                  <a:ext uri="{FF2B5EF4-FFF2-40B4-BE49-F238E27FC236}">
                    <a16:creationId xmlns:a16="http://schemas.microsoft.com/office/drawing/2014/main" id="{8FCA2EFE-D54D-B9D6-549C-AC29E3DB37BC}"/>
                  </a:ext>
                </a:extLst>
              </p:cNvPr>
              <p:cNvSpPr/>
              <p:nvPr/>
            </p:nvSpPr>
            <p:spPr>
              <a:xfrm>
                <a:off x="6438849" y="3470575"/>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8" name="Freeform: Shape 1107">
                <a:extLst>
                  <a:ext uri="{FF2B5EF4-FFF2-40B4-BE49-F238E27FC236}">
                    <a16:creationId xmlns:a16="http://schemas.microsoft.com/office/drawing/2014/main" id="{F7063CFC-5C7C-96AA-8CB6-F95B1D8A712D}"/>
                  </a:ext>
                </a:extLst>
              </p:cNvPr>
              <p:cNvSpPr/>
              <p:nvPr/>
            </p:nvSpPr>
            <p:spPr>
              <a:xfrm>
                <a:off x="6397873" y="3511507"/>
                <a:ext cx="81907" cy="4359"/>
              </a:xfrm>
              <a:custGeom>
                <a:avLst/>
                <a:gdLst>
                  <a:gd name="connsiteX0" fmla="*/ 81908 w 81907"/>
                  <a:gd name="connsiteY0" fmla="*/ 0 h 4359"/>
                  <a:gd name="connsiteX1" fmla="*/ 0 w 81907"/>
                  <a:gd name="connsiteY1" fmla="*/ 0 h 4359"/>
                </a:gdLst>
                <a:ahLst/>
                <a:cxnLst>
                  <a:cxn ang="0">
                    <a:pos x="connsiteX0" y="connsiteY0"/>
                  </a:cxn>
                  <a:cxn ang="0">
                    <a:pos x="connsiteX1" y="connsiteY1"/>
                  </a:cxn>
                </a:cxnLst>
                <a:rect l="l" t="t" r="r" b="b"/>
                <a:pathLst>
                  <a:path w="81907" h="4359">
                    <a:moveTo>
                      <a:pt x="81908"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7" name="Graphic 690">
              <a:extLst>
                <a:ext uri="{FF2B5EF4-FFF2-40B4-BE49-F238E27FC236}">
                  <a16:creationId xmlns:a16="http://schemas.microsoft.com/office/drawing/2014/main" id="{4002829A-7BD9-8B5B-5130-DF0F74B18CBE}"/>
                </a:ext>
              </a:extLst>
            </p:cNvPr>
            <p:cNvGrpSpPr/>
            <p:nvPr/>
          </p:nvGrpSpPr>
          <p:grpSpPr>
            <a:xfrm>
              <a:off x="5280058" y="3663356"/>
              <a:ext cx="81864" cy="81864"/>
              <a:chOff x="6936574" y="3553093"/>
              <a:chExt cx="81864" cy="81864"/>
            </a:xfrm>
          </p:grpSpPr>
          <p:sp>
            <p:nvSpPr>
              <p:cNvPr id="1105" name="Freeform: Shape 1104">
                <a:extLst>
                  <a:ext uri="{FF2B5EF4-FFF2-40B4-BE49-F238E27FC236}">
                    <a16:creationId xmlns:a16="http://schemas.microsoft.com/office/drawing/2014/main" id="{9BE6B8C7-FE6C-713D-F42B-2617715ECEBD}"/>
                  </a:ext>
                </a:extLst>
              </p:cNvPr>
              <p:cNvSpPr/>
              <p:nvPr/>
            </p:nvSpPr>
            <p:spPr>
              <a:xfrm>
                <a:off x="6977506" y="355309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6" name="Freeform: Shape 1105">
                <a:extLst>
                  <a:ext uri="{FF2B5EF4-FFF2-40B4-BE49-F238E27FC236}">
                    <a16:creationId xmlns:a16="http://schemas.microsoft.com/office/drawing/2014/main" id="{E6069503-2B0B-727F-2E80-D8ED244BA92B}"/>
                  </a:ext>
                </a:extLst>
              </p:cNvPr>
              <p:cNvSpPr/>
              <p:nvPr/>
            </p:nvSpPr>
            <p:spPr>
              <a:xfrm>
                <a:off x="6936574" y="3594025"/>
                <a:ext cx="81864" cy="4359"/>
              </a:xfrm>
              <a:custGeom>
                <a:avLst/>
                <a:gdLst>
                  <a:gd name="connsiteX0" fmla="*/ 81865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5"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8" name="Graphic 690">
              <a:extLst>
                <a:ext uri="{FF2B5EF4-FFF2-40B4-BE49-F238E27FC236}">
                  <a16:creationId xmlns:a16="http://schemas.microsoft.com/office/drawing/2014/main" id="{8A4EC4F9-F2E0-334F-04AA-F2F8AE015F86}"/>
                </a:ext>
              </a:extLst>
            </p:cNvPr>
            <p:cNvGrpSpPr/>
            <p:nvPr/>
          </p:nvGrpSpPr>
          <p:grpSpPr>
            <a:xfrm>
              <a:off x="5596530" y="3663356"/>
              <a:ext cx="81864" cy="81864"/>
              <a:chOff x="7253046" y="3553093"/>
              <a:chExt cx="81864" cy="81864"/>
            </a:xfrm>
          </p:grpSpPr>
          <p:sp>
            <p:nvSpPr>
              <p:cNvPr id="1103" name="Freeform: Shape 1102">
                <a:extLst>
                  <a:ext uri="{FF2B5EF4-FFF2-40B4-BE49-F238E27FC236}">
                    <a16:creationId xmlns:a16="http://schemas.microsoft.com/office/drawing/2014/main" id="{42C7EAAD-3DEF-8FFA-BAA6-BFC1D6CF4C87}"/>
                  </a:ext>
                </a:extLst>
              </p:cNvPr>
              <p:cNvSpPr/>
              <p:nvPr/>
            </p:nvSpPr>
            <p:spPr>
              <a:xfrm>
                <a:off x="7293979" y="355309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4" name="Freeform: Shape 1103">
                <a:extLst>
                  <a:ext uri="{FF2B5EF4-FFF2-40B4-BE49-F238E27FC236}">
                    <a16:creationId xmlns:a16="http://schemas.microsoft.com/office/drawing/2014/main" id="{0D045831-D6F5-44A7-CE0B-B50F4F27B4A9}"/>
                  </a:ext>
                </a:extLst>
              </p:cNvPr>
              <p:cNvSpPr/>
              <p:nvPr/>
            </p:nvSpPr>
            <p:spPr>
              <a:xfrm>
                <a:off x="7253046" y="3594025"/>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49" name="Graphic 690">
              <a:extLst>
                <a:ext uri="{FF2B5EF4-FFF2-40B4-BE49-F238E27FC236}">
                  <a16:creationId xmlns:a16="http://schemas.microsoft.com/office/drawing/2014/main" id="{EC8C1E37-68DD-6404-663D-0E341442C72D}"/>
                </a:ext>
              </a:extLst>
            </p:cNvPr>
            <p:cNvGrpSpPr/>
            <p:nvPr/>
          </p:nvGrpSpPr>
          <p:grpSpPr>
            <a:xfrm>
              <a:off x="4376847" y="3436551"/>
              <a:ext cx="81864" cy="81864"/>
              <a:chOff x="6033363" y="3326288"/>
              <a:chExt cx="81864" cy="81864"/>
            </a:xfrm>
          </p:grpSpPr>
          <p:sp>
            <p:nvSpPr>
              <p:cNvPr id="1101" name="Freeform: Shape 1100">
                <a:extLst>
                  <a:ext uri="{FF2B5EF4-FFF2-40B4-BE49-F238E27FC236}">
                    <a16:creationId xmlns:a16="http://schemas.microsoft.com/office/drawing/2014/main" id="{0A05AE67-A22C-23F1-9DFB-750C09D2637A}"/>
                  </a:ext>
                </a:extLst>
              </p:cNvPr>
              <p:cNvSpPr/>
              <p:nvPr/>
            </p:nvSpPr>
            <p:spPr>
              <a:xfrm>
                <a:off x="6074296" y="3326288"/>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2" name="Freeform: Shape 1101">
                <a:extLst>
                  <a:ext uri="{FF2B5EF4-FFF2-40B4-BE49-F238E27FC236}">
                    <a16:creationId xmlns:a16="http://schemas.microsoft.com/office/drawing/2014/main" id="{8DD1A986-5F45-F32A-5A5A-C371651098AE}"/>
                  </a:ext>
                </a:extLst>
              </p:cNvPr>
              <p:cNvSpPr/>
              <p:nvPr/>
            </p:nvSpPr>
            <p:spPr>
              <a:xfrm>
                <a:off x="6033363" y="3367220"/>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050" name="Freeform: Shape 1049">
              <a:extLst>
                <a:ext uri="{FF2B5EF4-FFF2-40B4-BE49-F238E27FC236}">
                  <a16:creationId xmlns:a16="http://schemas.microsoft.com/office/drawing/2014/main" id="{92DB9DA4-FFF4-C864-A323-AFAD10ED4EDB}"/>
                </a:ext>
              </a:extLst>
            </p:cNvPr>
            <p:cNvSpPr/>
            <p:nvPr/>
          </p:nvSpPr>
          <p:spPr>
            <a:xfrm>
              <a:off x="3803710" y="3323475"/>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1" name="Freeform: Shape 1050">
              <a:extLst>
                <a:ext uri="{FF2B5EF4-FFF2-40B4-BE49-F238E27FC236}">
                  <a16:creationId xmlns:a16="http://schemas.microsoft.com/office/drawing/2014/main" id="{EE53042E-3714-835E-FE8F-76260E617DCE}"/>
                </a:ext>
              </a:extLst>
            </p:cNvPr>
            <p:cNvSpPr/>
            <p:nvPr/>
          </p:nvSpPr>
          <p:spPr>
            <a:xfrm>
              <a:off x="4116564" y="340342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2" name="Freeform: Shape 1051">
              <a:extLst>
                <a:ext uri="{FF2B5EF4-FFF2-40B4-BE49-F238E27FC236}">
                  <a16:creationId xmlns:a16="http://schemas.microsoft.com/office/drawing/2014/main" id="{4C5DFC5D-BA68-E699-70C8-CE823F4896B0}"/>
                </a:ext>
              </a:extLst>
            </p:cNvPr>
            <p:cNvSpPr/>
            <p:nvPr/>
          </p:nvSpPr>
          <p:spPr>
            <a:xfrm>
              <a:off x="4139014" y="340342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3" name="Freeform: Shape 1052">
              <a:extLst>
                <a:ext uri="{FF2B5EF4-FFF2-40B4-BE49-F238E27FC236}">
                  <a16:creationId xmlns:a16="http://schemas.microsoft.com/office/drawing/2014/main" id="{32314D57-7097-905C-DA0A-963E2B0ACA4C}"/>
                </a:ext>
              </a:extLst>
            </p:cNvPr>
            <p:cNvSpPr/>
            <p:nvPr/>
          </p:nvSpPr>
          <p:spPr>
            <a:xfrm>
              <a:off x="4159458" y="340342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4" name="Freeform: Shape 1053">
              <a:extLst>
                <a:ext uri="{FF2B5EF4-FFF2-40B4-BE49-F238E27FC236}">
                  <a16:creationId xmlns:a16="http://schemas.microsoft.com/office/drawing/2014/main" id="{BA545C62-1206-8F74-0BE8-36D47B434F32}"/>
                </a:ext>
              </a:extLst>
            </p:cNvPr>
            <p:cNvSpPr/>
            <p:nvPr/>
          </p:nvSpPr>
          <p:spPr>
            <a:xfrm>
              <a:off x="4396333" y="343755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5" name="Freeform: Shape 1054">
              <a:extLst>
                <a:ext uri="{FF2B5EF4-FFF2-40B4-BE49-F238E27FC236}">
                  <a16:creationId xmlns:a16="http://schemas.microsoft.com/office/drawing/2014/main" id="{911A7F65-D97C-00CC-043C-6F1B09DCA84B}"/>
                </a:ext>
              </a:extLst>
            </p:cNvPr>
            <p:cNvSpPr/>
            <p:nvPr/>
          </p:nvSpPr>
          <p:spPr>
            <a:xfrm>
              <a:off x="4406054" y="343655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6" name="Freeform: Shape 1055">
              <a:extLst>
                <a:ext uri="{FF2B5EF4-FFF2-40B4-BE49-F238E27FC236}">
                  <a16:creationId xmlns:a16="http://schemas.microsoft.com/office/drawing/2014/main" id="{51EDFA7F-08B0-0B0A-0633-D5FA59126F22}"/>
                </a:ext>
              </a:extLst>
            </p:cNvPr>
            <p:cNvSpPr/>
            <p:nvPr/>
          </p:nvSpPr>
          <p:spPr>
            <a:xfrm>
              <a:off x="4464553" y="3467762"/>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7" name="Freeform: Shape 1056">
              <a:extLst>
                <a:ext uri="{FF2B5EF4-FFF2-40B4-BE49-F238E27FC236}">
                  <a16:creationId xmlns:a16="http://schemas.microsoft.com/office/drawing/2014/main" id="{F5838D2A-43FD-46FC-22D4-FB72548FE201}"/>
                </a:ext>
              </a:extLst>
            </p:cNvPr>
            <p:cNvSpPr/>
            <p:nvPr/>
          </p:nvSpPr>
          <p:spPr>
            <a:xfrm>
              <a:off x="4483079" y="346580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8" name="Freeform: Shape 1057">
              <a:extLst>
                <a:ext uri="{FF2B5EF4-FFF2-40B4-BE49-F238E27FC236}">
                  <a16:creationId xmlns:a16="http://schemas.microsoft.com/office/drawing/2014/main" id="{86334FD0-E2AE-2C03-E189-9461AF89C996}"/>
                </a:ext>
              </a:extLst>
            </p:cNvPr>
            <p:cNvSpPr/>
            <p:nvPr/>
          </p:nvSpPr>
          <p:spPr>
            <a:xfrm>
              <a:off x="4493803" y="346580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9" name="Freeform: Shape 1058">
              <a:extLst>
                <a:ext uri="{FF2B5EF4-FFF2-40B4-BE49-F238E27FC236}">
                  <a16:creationId xmlns:a16="http://schemas.microsoft.com/office/drawing/2014/main" id="{5BE503B2-B630-77E4-3D4B-EA49E3D833C9}"/>
                </a:ext>
              </a:extLst>
            </p:cNvPr>
            <p:cNvSpPr/>
            <p:nvPr/>
          </p:nvSpPr>
          <p:spPr>
            <a:xfrm>
              <a:off x="4509408" y="346580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0" name="Freeform: Shape 1059">
              <a:extLst>
                <a:ext uri="{FF2B5EF4-FFF2-40B4-BE49-F238E27FC236}">
                  <a16:creationId xmlns:a16="http://schemas.microsoft.com/office/drawing/2014/main" id="{EC8DB0AA-5B5C-3033-09E2-0C1157DDC7F6}"/>
                </a:ext>
              </a:extLst>
            </p:cNvPr>
            <p:cNvSpPr/>
            <p:nvPr/>
          </p:nvSpPr>
          <p:spPr>
            <a:xfrm>
              <a:off x="4615640" y="3523297"/>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1" name="Freeform: Shape 1060">
              <a:extLst>
                <a:ext uri="{FF2B5EF4-FFF2-40B4-BE49-F238E27FC236}">
                  <a16:creationId xmlns:a16="http://schemas.microsoft.com/office/drawing/2014/main" id="{9A1CB7C9-DA39-799D-1622-9CF33CA034C6}"/>
                </a:ext>
              </a:extLst>
            </p:cNvPr>
            <p:cNvSpPr/>
            <p:nvPr/>
          </p:nvSpPr>
          <p:spPr>
            <a:xfrm>
              <a:off x="4701428" y="353890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2" name="Freeform: Shape 1061">
              <a:extLst>
                <a:ext uri="{FF2B5EF4-FFF2-40B4-BE49-F238E27FC236}">
                  <a16:creationId xmlns:a16="http://schemas.microsoft.com/office/drawing/2014/main" id="{C54AD657-B963-4149-3D95-62153B223B8A}"/>
                </a:ext>
              </a:extLst>
            </p:cNvPr>
            <p:cNvSpPr/>
            <p:nvPr/>
          </p:nvSpPr>
          <p:spPr>
            <a:xfrm>
              <a:off x="4718951" y="353890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3" name="Freeform: Shape 1062">
              <a:extLst>
                <a:ext uri="{FF2B5EF4-FFF2-40B4-BE49-F238E27FC236}">
                  <a16:creationId xmlns:a16="http://schemas.microsoft.com/office/drawing/2014/main" id="{A5D3004E-51FE-3042-63C7-F59708CFC334}"/>
                </a:ext>
              </a:extLst>
            </p:cNvPr>
            <p:cNvSpPr/>
            <p:nvPr/>
          </p:nvSpPr>
          <p:spPr>
            <a:xfrm>
              <a:off x="4807660" y="3580838"/>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4" name="Freeform: Shape 1063">
              <a:extLst>
                <a:ext uri="{FF2B5EF4-FFF2-40B4-BE49-F238E27FC236}">
                  <a16:creationId xmlns:a16="http://schemas.microsoft.com/office/drawing/2014/main" id="{AABE9A89-4EB5-FC0B-211E-873A57A704C7}"/>
                </a:ext>
              </a:extLst>
            </p:cNvPr>
            <p:cNvSpPr/>
            <p:nvPr/>
          </p:nvSpPr>
          <p:spPr>
            <a:xfrm>
              <a:off x="4820345" y="3580838"/>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5" name="Freeform: Shape 1064">
              <a:extLst>
                <a:ext uri="{FF2B5EF4-FFF2-40B4-BE49-F238E27FC236}">
                  <a16:creationId xmlns:a16="http://schemas.microsoft.com/office/drawing/2014/main" id="{5505637F-CAC1-1349-D5BD-2C92AE0395C4}"/>
                </a:ext>
              </a:extLst>
            </p:cNvPr>
            <p:cNvSpPr/>
            <p:nvPr/>
          </p:nvSpPr>
          <p:spPr>
            <a:xfrm>
              <a:off x="4854433" y="3581797"/>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6" name="Freeform: Shape 1065">
              <a:extLst>
                <a:ext uri="{FF2B5EF4-FFF2-40B4-BE49-F238E27FC236}">
                  <a16:creationId xmlns:a16="http://schemas.microsoft.com/office/drawing/2014/main" id="{D1F2A048-B8D0-96FA-2AF0-EE0EB795557A}"/>
                </a:ext>
              </a:extLst>
            </p:cNvPr>
            <p:cNvSpPr/>
            <p:nvPr/>
          </p:nvSpPr>
          <p:spPr>
            <a:xfrm>
              <a:off x="4865157" y="3582756"/>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7" name="Freeform: Shape 1066">
              <a:extLst>
                <a:ext uri="{FF2B5EF4-FFF2-40B4-BE49-F238E27FC236}">
                  <a16:creationId xmlns:a16="http://schemas.microsoft.com/office/drawing/2014/main" id="{7C000441-9D2B-D1B2-9195-9C8D028D5A32}"/>
                </a:ext>
              </a:extLst>
            </p:cNvPr>
            <p:cNvSpPr/>
            <p:nvPr/>
          </p:nvSpPr>
          <p:spPr>
            <a:xfrm>
              <a:off x="4875880" y="3582756"/>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8" name="Freeform: Shape 1067">
              <a:extLst>
                <a:ext uri="{FF2B5EF4-FFF2-40B4-BE49-F238E27FC236}">
                  <a16:creationId xmlns:a16="http://schemas.microsoft.com/office/drawing/2014/main" id="{FB36E4B6-16AB-BD4F-A818-0EB5A9B0A949}"/>
                </a:ext>
              </a:extLst>
            </p:cNvPr>
            <p:cNvSpPr/>
            <p:nvPr/>
          </p:nvSpPr>
          <p:spPr>
            <a:xfrm>
              <a:off x="4893447" y="3580838"/>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9" name="Freeform: Shape 1068">
              <a:extLst>
                <a:ext uri="{FF2B5EF4-FFF2-40B4-BE49-F238E27FC236}">
                  <a16:creationId xmlns:a16="http://schemas.microsoft.com/office/drawing/2014/main" id="{E8AF4E28-D9B4-3E5E-34D2-87A3B9F7A4E1}"/>
                </a:ext>
              </a:extLst>
            </p:cNvPr>
            <p:cNvSpPr/>
            <p:nvPr/>
          </p:nvSpPr>
          <p:spPr>
            <a:xfrm>
              <a:off x="4997718"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0" name="Freeform: Shape 1069">
              <a:extLst>
                <a:ext uri="{FF2B5EF4-FFF2-40B4-BE49-F238E27FC236}">
                  <a16:creationId xmlns:a16="http://schemas.microsoft.com/office/drawing/2014/main" id="{CEED216D-8B1C-D35A-0748-F487665E829F}"/>
                </a:ext>
              </a:extLst>
            </p:cNvPr>
            <p:cNvSpPr/>
            <p:nvPr/>
          </p:nvSpPr>
          <p:spPr>
            <a:xfrm>
              <a:off x="5018205"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1" name="Freeform: Shape 1070">
              <a:extLst>
                <a:ext uri="{FF2B5EF4-FFF2-40B4-BE49-F238E27FC236}">
                  <a16:creationId xmlns:a16="http://schemas.microsoft.com/office/drawing/2014/main" id="{A4DB70DC-76BE-6C1E-1C3D-57231F80917F}"/>
                </a:ext>
              </a:extLst>
            </p:cNvPr>
            <p:cNvSpPr/>
            <p:nvPr/>
          </p:nvSpPr>
          <p:spPr>
            <a:xfrm>
              <a:off x="5031849"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2" name="Freeform: Shape 1071">
              <a:extLst>
                <a:ext uri="{FF2B5EF4-FFF2-40B4-BE49-F238E27FC236}">
                  <a16:creationId xmlns:a16="http://schemas.microsoft.com/office/drawing/2014/main" id="{8C53F959-3FC3-CCBF-B2BC-E19CA2FD8FED}"/>
                </a:ext>
              </a:extLst>
            </p:cNvPr>
            <p:cNvSpPr/>
            <p:nvPr/>
          </p:nvSpPr>
          <p:spPr>
            <a:xfrm>
              <a:off x="5038650"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3" name="Freeform: Shape 1072">
              <a:extLst>
                <a:ext uri="{FF2B5EF4-FFF2-40B4-BE49-F238E27FC236}">
                  <a16:creationId xmlns:a16="http://schemas.microsoft.com/office/drawing/2014/main" id="{9673A7C7-1447-123B-7FE2-EB38E450C5BF}"/>
                </a:ext>
              </a:extLst>
            </p:cNvPr>
            <p:cNvSpPr/>
            <p:nvPr/>
          </p:nvSpPr>
          <p:spPr>
            <a:xfrm>
              <a:off x="5057176"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4" name="Freeform: Shape 1073">
              <a:extLst>
                <a:ext uri="{FF2B5EF4-FFF2-40B4-BE49-F238E27FC236}">
                  <a16:creationId xmlns:a16="http://schemas.microsoft.com/office/drawing/2014/main" id="{81F83C1B-4283-C064-7A02-D17FA50A6E06}"/>
                </a:ext>
              </a:extLst>
            </p:cNvPr>
            <p:cNvSpPr/>
            <p:nvPr/>
          </p:nvSpPr>
          <p:spPr>
            <a:xfrm>
              <a:off x="5067899"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5" name="Freeform: Shape 1074">
              <a:extLst>
                <a:ext uri="{FF2B5EF4-FFF2-40B4-BE49-F238E27FC236}">
                  <a16:creationId xmlns:a16="http://schemas.microsoft.com/office/drawing/2014/main" id="{44EB5868-CAA2-F0AE-1567-A753234CFF46}"/>
                </a:ext>
              </a:extLst>
            </p:cNvPr>
            <p:cNvSpPr/>
            <p:nvPr/>
          </p:nvSpPr>
          <p:spPr>
            <a:xfrm>
              <a:off x="5090305"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6" name="Freeform: Shape 1075">
              <a:extLst>
                <a:ext uri="{FF2B5EF4-FFF2-40B4-BE49-F238E27FC236}">
                  <a16:creationId xmlns:a16="http://schemas.microsoft.com/office/drawing/2014/main" id="{857D5B54-36CF-3877-13AB-4CBC6168034C}"/>
                </a:ext>
              </a:extLst>
            </p:cNvPr>
            <p:cNvSpPr/>
            <p:nvPr/>
          </p:nvSpPr>
          <p:spPr>
            <a:xfrm>
              <a:off x="5104952"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7" name="Freeform: Shape 1076">
              <a:extLst>
                <a:ext uri="{FF2B5EF4-FFF2-40B4-BE49-F238E27FC236}">
                  <a16:creationId xmlns:a16="http://schemas.microsoft.com/office/drawing/2014/main" id="{ED884CD7-0468-240F-997F-3D54141379D2}"/>
                </a:ext>
              </a:extLst>
            </p:cNvPr>
            <p:cNvSpPr/>
            <p:nvPr/>
          </p:nvSpPr>
          <p:spPr>
            <a:xfrm>
              <a:off x="5114673"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8" name="Freeform: Shape 1077">
              <a:extLst>
                <a:ext uri="{FF2B5EF4-FFF2-40B4-BE49-F238E27FC236}">
                  <a16:creationId xmlns:a16="http://schemas.microsoft.com/office/drawing/2014/main" id="{7BBA7B8E-A2FF-ADE8-2F1E-DBB77566F6B1}"/>
                </a:ext>
              </a:extLst>
            </p:cNvPr>
            <p:cNvSpPr/>
            <p:nvPr/>
          </p:nvSpPr>
          <p:spPr>
            <a:xfrm>
              <a:off x="5143923"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9" name="Freeform: Shape 1078">
              <a:extLst>
                <a:ext uri="{FF2B5EF4-FFF2-40B4-BE49-F238E27FC236}">
                  <a16:creationId xmlns:a16="http://schemas.microsoft.com/office/drawing/2014/main" id="{C557318E-4FFD-854F-E0F5-67A2FB5605B2}"/>
                </a:ext>
              </a:extLst>
            </p:cNvPr>
            <p:cNvSpPr/>
            <p:nvPr/>
          </p:nvSpPr>
          <p:spPr>
            <a:xfrm>
              <a:off x="5181934"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0" name="Freeform: Shape 1079">
              <a:extLst>
                <a:ext uri="{FF2B5EF4-FFF2-40B4-BE49-F238E27FC236}">
                  <a16:creationId xmlns:a16="http://schemas.microsoft.com/office/drawing/2014/main" id="{BF70DCCD-5750-B666-7135-CB82A19E1B28}"/>
                </a:ext>
              </a:extLst>
            </p:cNvPr>
            <p:cNvSpPr/>
            <p:nvPr/>
          </p:nvSpPr>
          <p:spPr>
            <a:xfrm>
              <a:off x="5230669"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1" name="Freeform: Shape 1080">
              <a:extLst>
                <a:ext uri="{FF2B5EF4-FFF2-40B4-BE49-F238E27FC236}">
                  <a16:creationId xmlns:a16="http://schemas.microsoft.com/office/drawing/2014/main" id="{B6A12DE6-3F73-4B76-CBDB-4AA5EE202E3C}"/>
                </a:ext>
              </a:extLst>
            </p:cNvPr>
            <p:cNvSpPr/>
            <p:nvPr/>
          </p:nvSpPr>
          <p:spPr>
            <a:xfrm>
              <a:off x="5255037" y="36047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2" name="Freeform: Shape 1081">
              <a:extLst>
                <a:ext uri="{FF2B5EF4-FFF2-40B4-BE49-F238E27FC236}">
                  <a16:creationId xmlns:a16="http://schemas.microsoft.com/office/drawing/2014/main" id="{0C85D714-D3AA-CA51-A0CB-21DC2C9FFD9D}"/>
                </a:ext>
              </a:extLst>
            </p:cNvPr>
            <p:cNvSpPr/>
            <p:nvPr/>
          </p:nvSpPr>
          <p:spPr>
            <a:xfrm>
              <a:off x="5267722" y="360381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3" name="Freeform: Shape 1082">
              <a:extLst>
                <a:ext uri="{FF2B5EF4-FFF2-40B4-BE49-F238E27FC236}">
                  <a16:creationId xmlns:a16="http://schemas.microsoft.com/office/drawing/2014/main" id="{A86F8A67-98DA-F027-F34C-103BE06DC989}"/>
                </a:ext>
              </a:extLst>
            </p:cNvPr>
            <p:cNvSpPr/>
            <p:nvPr/>
          </p:nvSpPr>
          <p:spPr>
            <a:xfrm>
              <a:off x="5279404" y="3605772"/>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4" name="Freeform: Shape 1083">
              <a:extLst>
                <a:ext uri="{FF2B5EF4-FFF2-40B4-BE49-F238E27FC236}">
                  <a16:creationId xmlns:a16="http://schemas.microsoft.com/office/drawing/2014/main" id="{71F7AAF9-7A67-57EB-1AA2-71008051ACD6}"/>
                </a:ext>
              </a:extLst>
            </p:cNvPr>
            <p:cNvSpPr/>
            <p:nvPr/>
          </p:nvSpPr>
          <p:spPr>
            <a:xfrm>
              <a:off x="5365192" y="36632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5" name="Freeform: Shape 1084">
              <a:extLst>
                <a:ext uri="{FF2B5EF4-FFF2-40B4-BE49-F238E27FC236}">
                  <a16:creationId xmlns:a16="http://schemas.microsoft.com/office/drawing/2014/main" id="{BA0B9EDA-F861-196B-758F-46AEEB4066F6}"/>
                </a:ext>
              </a:extLst>
            </p:cNvPr>
            <p:cNvSpPr/>
            <p:nvPr/>
          </p:nvSpPr>
          <p:spPr>
            <a:xfrm>
              <a:off x="5373954" y="36632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6" name="Freeform: Shape 1085">
              <a:extLst>
                <a:ext uri="{FF2B5EF4-FFF2-40B4-BE49-F238E27FC236}">
                  <a16:creationId xmlns:a16="http://schemas.microsoft.com/office/drawing/2014/main" id="{1CE4F744-B55A-7FFC-F24B-97ACAE03FBDC}"/>
                </a:ext>
              </a:extLst>
            </p:cNvPr>
            <p:cNvSpPr/>
            <p:nvPr/>
          </p:nvSpPr>
          <p:spPr>
            <a:xfrm>
              <a:off x="5389559" y="3662266"/>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7" name="Freeform: Shape 1086">
              <a:extLst>
                <a:ext uri="{FF2B5EF4-FFF2-40B4-BE49-F238E27FC236}">
                  <a16:creationId xmlns:a16="http://schemas.microsoft.com/office/drawing/2014/main" id="{AEB4DEFC-2614-3C0E-31C0-F2C4D466B115}"/>
                </a:ext>
              </a:extLst>
            </p:cNvPr>
            <p:cNvSpPr/>
            <p:nvPr/>
          </p:nvSpPr>
          <p:spPr>
            <a:xfrm>
              <a:off x="5398321" y="36632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8" name="Freeform: Shape 1087">
              <a:extLst>
                <a:ext uri="{FF2B5EF4-FFF2-40B4-BE49-F238E27FC236}">
                  <a16:creationId xmlns:a16="http://schemas.microsoft.com/office/drawing/2014/main" id="{DFD581D2-F8CD-812E-79DF-EE026E10FE40}"/>
                </a:ext>
              </a:extLst>
            </p:cNvPr>
            <p:cNvSpPr/>
            <p:nvPr/>
          </p:nvSpPr>
          <p:spPr>
            <a:xfrm>
              <a:off x="5424650" y="36632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9" name="Freeform: Shape 1088">
              <a:extLst>
                <a:ext uri="{FF2B5EF4-FFF2-40B4-BE49-F238E27FC236}">
                  <a16:creationId xmlns:a16="http://schemas.microsoft.com/office/drawing/2014/main" id="{32F57AAC-0111-12A5-5D04-F7FF43A0CBEA}"/>
                </a:ext>
              </a:extLst>
            </p:cNvPr>
            <p:cNvSpPr/>
            <p:nvPr/>
          </p:nvSpPr>
          <p:spPr>
            <a:xfrm>
              <a:off x="5447056" y="36632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0" name="Freeform: Shape 1089">
              <a:extLst>
                <a:ext uri="{FF2B5EF4-FFF2-40B4-BE49-F238E27FC236}">
                  <a16:creationId xmlns:a16="http://schemas.microsoft.com/office/drawing/2014/main" id="{B810C738-FB3D-A17C-7B84-969A448CD475}"/>
                </a:ext>
              </a:extLst>
            </p:cNvPr>
            <p:cNvSpPr/>
            <p:nvPr/>
          </p:nvSpPr>
          <p:spPr>
            <a:xfrm>
              <a:off x="5467544" y="3662266"/>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1" name="Freeform: Shape 1090">
              <a:extLst>
                <a:ext uri="{FF2B5EF4-FFF2-40B4-BE49-F238E27FC236}">
                  <a16:creationId xmlns:a16="http://schemas.microsoft.com/office/drawing/2014/main" id="{EEA65762-3257-4FCC-3371-B8D4FFD2A6E0}"/>
                </a:ext>
              </a:extLst>
            </p:cNvPr>
            <p:cNvSpPr/>
            <p:nvPr/>
          </p:nvSpPr>
          <p:spPr>
            <a:xfrm>
              <a:off x="5509435" y="3664228"/>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2" name="Freeform: Shape 1091">
              <a:extLst>
                <a:ext uri="{FF2B5EF4-FFF2-40B4-BE49-F238E27FC236}">
                  <a16:creationId xmlns:a16="http://schemas.microsoft.com/office/drawing/2014/main" id="{CFE703B0-212B-5CC0-482C-9A9A5010704B}"/>
                </a:ext>
              </a:extLst>
            </p:cNvPr>
            <p:cNvSpPr/>
            <p:nvPr/>
          </p:nvSpPr>
          <p:spPr>
            <a:xfrm>
              <a:off x="5545529" y="3662266"/>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3" name="Freeform: Shape 1092">
              <a:extLst>
                <a:ext uri="{FF2B5EF4-FFF2-40B4-BE49-F238E27FC236}">
                  <a16:creationId xmlns:a16="http://schemas.microsoft.com/office/drawing/2014/main" id="{2154AADF-0B04-D282-6449-F01EFDA83441}"/>
                </a:ext>
              </a:extLst>
            </p:cNvPr>
            <p:cNvSpPr/>
            <p:nvPr/>
          </p:nvSpPr>
          <p:spPr>
            <a:xfrm>
              <a:off x="5584499" y="3664228"/>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4" name="Freeform: Shape 1093">
              <a:extLst>
                <a:ext uri="{FF2B5EF4-FFF2-40B4-BE49-F238E27FC236}">
                  <a16:creationId xmlns:a16="http://schemas.microsoft.com/office/drawing/2014/main" id="{91F6C700-1C5A-93C6-1FB3-2883AEEF1150}"/>
                </a:ext>
              </a:extLst>
            </p:cNvPr>
            <p:cNvSpPr/>
            <p:nvPr/>
          </p:nvSpPr>
          <p:spPr>
            <a:xfrm>
              <a:off x="5594264" y="3664228"/>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5" name="Freeform: Shape 1094">
              <a:extLst>
                <a:ext uri="{FF2B5EF4-FFF2-40B4-BE49-F238E27FC236}">
                  <a16:creationId xmlns:a16="http://schemas.microsoft.com/office/drawing/2014/main" id="{44EF693C-957F-15A4-8700-D97BC814C261}"/>
                </a:ext>
              </a:extLst>
            </p:cNvPr>
            <p:cNvSpPr/>
            <p:nvPr/>
          </p:nvSpPr>
          <p:spPr>
            <a:xfrm>
              <a:off x="4685822" y="3539862"/>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6" name="Freeform: Shape 1095">
              <a:extLst>
                <a:ext uri="{FF2B5EF4-FFF2-40B4-BE49-F238E27FC236}">
                  <a16:creationId xmlns:a16="http://schemas.microsoft.com/office/drawing/2014/main" id="{BA88B54D-DC09-103B-B28E-F281BE81ABB5}"/>
                </a:ext>
              </a:extLst>
            </p:cNvPr>
            <p:cNvSpPr/>
            <p:nvPr/>
          </p:nvSpPr>
          <p:spPr>
            <a:xfrm>
              <a:off x="4675099" y="3539862"/>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7" name="Freeform: Shape 1096">
              <a:extLst>
                <a:ext uri="{FF2B5EF4-FFF2-40B4-BE49-F238E27FC236}">
                  <a16:creationId xmlns:a16="http://schemas.microsoft.com/office/drawing/2014/main" id="{DDB315CE-B1BA-6B37-2D4A-42443ED7ECB4}"/>
                </a:ext>
              </a:extLst>
            </p:cNvPr>
            <p:cNvSpPr/>
            <p:nvPr/>
          </p:nvSpPr>
          <p:spPr>
            <a:xfrm>
              <a:off x="4660496" y="353890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8" name="Freeform: Shape 1097">
              <a:extLst>
                <a:ext uri="{FF2B5EF4-FFF2-40B4-BE49-F238E27FC236}">
                  <a16:creationId xmlns:a16="http://schemas.microsoft.com/office/drawing/2014/main" id="{23847563-EACA-B51C-B0A6-3CFEF8DB41FB}"/>
                </a:ext>
              </a:extLst>
            </p:cNvPr>
            <p:cNvSpPr/>
            <p:nvPr/>
          </p:nvSpPr>
          <p:spPr>
            <a:xfrm>
              <a:off x="3830998" y="3321557"/>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9" name="Freeform: Shape 1098">
              <a:extLst>
                <a:ext uri="{FF2B5EF4-FFF2-40B4-BE49-F238E27FC236}">
                  <a16:creationId xmlns:a16="http://schemas.microsoft.com/office/drawing/2014/main" id="{2F115F66-8DC3-2F69-3C9C-DDE96860FEA8}"/>
                </a:ext>
              </a:extLst>
            </p:cNvPr>
            <p:cNvSpPr/>
            <p:nvPr/>
          </p:nvSpPr>
          <p:spPr>
            <a:xfrm>
              <a:off x="3840762" y="3321557"/>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0" name="Freeform: Shape 1099">
              <a:extLst>
                <a:ext uri="{FF2B5EF4-FFF2-40B4-BE49-F238E27FC236}">
                  <a16:creationId xmlns:a16="http://schemas.microsoft.com/office/drawing/2014/main" id="{064ACCAE-F27C-5027-E337-C02DF9FDBF31}"/>
                </a:ext>
              </a:extLst>
            </p:cNvPr>
            <p:cNvSpPr/>
            <p:nvPr/>
          </p:nvSpPr>
          <p:spPr>
            <a:xfrm>
              <a:off x="3852445" y="332055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149" name="Group 1148">
            <a:extLst>
              <a:ext uri="{FF2B5EF4-FFF2-40B4-BE49-F238E27FC236}">
                <a16:creationId xmlns:a16="http://schemas.microsoft.com/office/drawing/2014/main" id="{3EBADCC2-36F7-9B22-901D-D4682723B0C6}"/>
              </a:ext>
            </a:extLst>
          </p:cNvPr>
          <p:cNvGrpSpPr/>
          <p:nvPr/>
        </p:nvGrpSpPr>
        <p:grpSpPr>
          <a:xfrm>
            <a:off x="1060687" y="1554810"/>
            <a:ext cx="6311402" cy="1641341"/>
            <a:chOff x="-605860" y="1760950"/>
            <a:chExt cx="6311402" cy="1641341"/>
          </a:xfrm>
        </p:grpSpPr>
        <p:grpSp>
          <p:nvGrpSpPr>
            <p:cNvPr id="1150" name="Graphic 692">
              <a:extLst>
                <a:ext uri="{FF2B5EF4-FFF2-40B4-BE49-F238E27FC236}">
                  <a16:creationId xmlns:a16="http://schemas.microsoft.com/office/drawing/2014/main" id="{02D582D5-EC28-FC04-4904-BD76B55AFCA0}"/>
                </a:ext>
              </a:extLst>
            </p:cNvPr>
            <p:cNvGrpSpPr/>
            <p:nvPr/>
          </p:nvGrpSpPr>
          <p:grpSpPr>
            <a:xfrm>
              <a:off x="5623678" y="3320384"/>
              <a:ext cx="81864" cy="81907"/>
              <a:chOff x="7280194" y="3210121"/>
              <a:chExt cx="81864" cy="81907"/>
            </a:xfrm>
          </p:grpSpPr>
          <p:sp>
            <p:nvSpPr>
              <p:cNvPr id="1297" name="Freeform: Shape 1296">
                <a:extLst>
                  <a:ext uri="{FF2B5EF4-FFF2-40B4-BE49-F238E27FC236}">
                    <a16:creationId xmlns:a16="http://schemas.microsoft.com/office/drawing/2014/main" id="{B1B9E7B7-5EEA-6780-4A3D-B4E8C7BAC9EA}"/>
                  </a:ext>
                </a:extLst>
              </p:cNvPr>
              <p:cNvSpPr/>
              <p:nvPr/>
            </p:nvSpPr>
            <p:spPr>
              <a:xfrm>
                <a:off x="7321126" y="3210121"/>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8" name="Freeform: Shape 1297">
                <a:extLst>
                  <a:ext uri="{FF2B5EF4-FFF2-40B4-BE49-F238E27FC236}">
                    <a16:creationId xmlns:a16="http://schemas.microsoft.com/office/drawing/2014/main" id="{9B9FABE5-4ECD-5FA7-512B-4647D660C849}"/>
                  </a:ext>
                </a:extLst>
              </p:cNvPr>
              <p:cNvSpPr/>
              <p:nvPr/>
            </p:nvSpPr>
            <p:spPr>
              <a:xfrm>
                <a:off x="7280194" y="3251053"/>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151" name="Freeform: Shape 1150">
              <a:extLst>
                <a:ext uri="{FF2B5EF4-FFF2-40B4-BE49-F238E27FC236}">
                  <a16:creationId xmlns:a16="http://schemas.microsoft.com/office/drawing/2014/main" id="{81C39B15-8ACC-FF85-48D9-039BF8656CFD}"/>
                </a:ext>
              </a:extLst>
            </p:cNvPr>
            <p:cNvSpPr/>
            <p:nvPr/>
          </p:nvSpPr>
          <p:spPr>
            <a:xfrm>
              <a:off x="5619755"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2" name="Freeform: Shape 1151">
              <a:extLst>
                <a:ext uri="{FF2B5EF4-FFF2-40B4-BE49-F238E27FC236}">
                  <a16:creationId xmlns:a16="http://schemas.microsoft.com/office/drawing/2014/main" id="{87188D23-CEDF-AE6F-6420-7C2A404C0A6F}"/>
                </a:ext>
              </a:extLst>
            </p:cNvPr>
            <p:cNvSpPr/>
            <p:nvPr/>
          </p:nvSpPr>
          <p:spPr>
            <a:xfrm>
              <a:off x="5578823"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3" name="Freeform: Shape 1152">
              <a:extLst>
                <a:ext uri="{FF2B5EF4-FFF2-40B4-BE49-F238E27FC236}">
                  <a16:creationId xmlns:a16="http://schemas.microsoft.com/office/drawing/2014/main" id="{0B06C3F6-0ABF-C5D5-59B6-7628FAF3CFDA}"/>
                </a:ext>
              </a:extLst>
            </p:cNvPr>
            <p:cNvSpPr/>
            <p:nvPr/>
          </p:nvSpPr>
          <p:spPr>
            <a:xfrm>
              <a:off x="5541291"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4" name="Freeform: Shape 1153">
              <a:extLst>
                <a:ext uri="{FF2B5EF4-FFF2-40B4-BE49-F238E27FC236}">
                  <a16:creationId xmlns:a16="http://schemas.microsoft.com/office/drawing/2014/main" id="{4495730C-4299-590D-1B9B-6FC344090925}"/>
                </a:ext>
              </a:extLst>
            </p:cNvPr>
            <p:cNvSpPr/>
            <p:nvPr/>
          </p:nvSpPr>
          <p:spPr>
            <a:xfrm>
              <a:off x="5521326"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5" name="Freeform: Shape 1154">
              <a:extLst>
                <a:ext uri="{FF2B5EF4-FFF2-40B4-BE49-F238E27FC236}">
                  <a16:creationId xmlns:a16="http://schemas.microsoft.com/office/drawing/2014/main" id="{252F6171-CC36-E76C-46AC-20957997C802}"/>
                </a:ext>
              </a:extLst>
            </p:cNvPr>
            <p:cNvSpPr/>
            <p:nvPr/>
          </p:nvSpPr>
          <p:spPr>
            <a:xfrm>
              <a:off x="5513043"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6" name="Freeform: Shape 1155">
              <a:extLst>
                <a:ext uri="{FF2B5EF4-FFF2-40B4-BE49-F238E27FC236}">
                  <a16:creationId xmlns:a16="http://schemas.microsoft.com/office/drawing/2014/main" id="{5104856A-F5B7-A620-1433-6172E67528C6}"/>
                </a:ext>
              </a:extLst>
            </p:cNvPr>
            <p:cNvSpPr/>
            <p:nvPr/>
          </p:nvSpPr>
          <p:spPr>
            <a:xfrm>
              <a:off x="5506679"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7" name="Freeform: Shape 1156">
              <a:extLst>
                <a:ext uri="{FF2B5EF4-FFF2-40B4-BE49-F238E27FC236}">
                  <a16:creationId xmlns:a16="http://schemas.microsoft.com/office/drawing/2014/main" id="{E80C633A-FAAA-CDD8-7BBE-30A4FAB9CC97}"/>
                </a:ext>
              </a:extLst>
            </p:cNvPr>
            <p:cNvSpPr/>
            <p:nvPr/>
          </p:nvSpPr>
          <p:spPr>
            <a:xfrm>
              <a:off x="5484753"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8" name="Freeform: Shape 1157">
              <a:extLst>
                <a:ext uri="{FF2B5EF4-FFF2-40B4-BE49-F238E27FC236}">
                  <a16:creationId xmlns:a16="http://schemas.microsoft.com/office/drawing/2014/main" id="{AA121260-BB83-0051-7388-4C2D478F4957}"/>
                </a:ext>
              </a:extLst>
            </p:cNvPr>
            <p:cNvSpPr/>
            <p:nvPr/>
          </p:nvSpPr>
          <p:spPr>
            <a:xfrm>
              <a:off x="5460865"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9" name="Freeform: Shape 1158">
              <a:extLst>
                <a:ext uri="{FF2B5EF4-FFF2-40B4-BE49-F238E27FC236}">
                  <a16:creationId xmlns:a16="http://schemas.microsoft.com/office/drawing/2014/main" id="{8CA4ED34-CDCA-77AF-9EE4-5BDAEC1C7C50}"/>
                </a:ext>
              </a:extLst>
            </p:cNvPr>
            <p:cNvSpPr/>
            <p:nvPr/>
          </p:nvSpPr>
          <p:spPr>
            <a:xfrm>
              <a:off x="5439941"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0" name="Freeform: Shape 1159">
              <a:extLst>
                <a:ext uri="{FF2B5EF4-FFF2-40B4-BE49-F238E27FC236}">
                  <a16:creationId xmlns:a16="http://schemas.microsoft.com/office/drawing/2014/main" id="{DC4BBCE6-CA01-6C85-0368-06077A6DE492}"/>
                </a:ext>
              </a:extLst>
            </p:cNvPr>
            <p:cNvSpPr/>
            <p:nvPr/>
          </p:nvSpPr>
          <p:spPr>
            <a:xfrm>
              <a:off x="5426776"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1" name="Freeform: Shape 1160">
              <a:extLst>
                <a:ext uri="{FF2B5EF4-FFF2-40B4-BE49-F238E27FC236}">
                  <a16:creationId xmlns:a16="http://schemas.microsoft.com/office/drawing/2014/main" id="{E3D851D8-A44B-1299-8586-89BD303A3C4E}"/>
                </a:ext>
              </a:extLst>
            </p:cNvPr>
            <p:cNvSpPr/>
            <p:nvPr/>
          </p:nvSpPr>
          <p:spPr>
            <a:xfrm>
              <a:off x="5418494"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2" name="Freeform: Shape 1161">
              <a:extLst>
                <a:ext uri="{FF2B5EF4-FFF2-40B4-BE49-F238E27FC236}">
                  <a16:creationId xmlns:a16="http://schemas.microsoft.com/office/drawing/2014/main" id="{E3A0274E-4F77-C59C-14C8-A514AFB76119}"/>
                </a:ext>
              </a:extLst>
            </p:cNvPr>
            <p:cNvSpPr/>
            <p:nvPr/>
          </p:nvSpPr>
          <p:spPr>
            <a:xfrm>
              <a:off x="5396044"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3" name="Freeform: Shape 1162">
              <a:extLst>
                <a:ext uri="{FF2B5EF4-FFF2-40B4-BE49-F238E27FC236}">
                  <a16:creationId xmlns:a16="http://schemas.microsoft.com/office/drawing/2014/main" id="{40AD61A2-69ED-0A90-3ACD-C18B773BE196}"/>
                </a:ext>
              </a:extLst>
            </p:cNvPr>
            <p:cNvSpPr/>
            <p:nvPr/>
          </p:nvSpPr>
          <p:spPr>
            <a:xfrm>
              <a:off x="5367318"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4" name="Freeform: Shape 1163">
              <a:extLst>
                <a:ext uri="{FF2B5EF4-FFF2-40B4-BE49-F238E27FC236}">
                  <a16:creationId xmlns:a16="http://schemas.microsoft.com/office/drawing/2014/main" id="{B4B5E3F6-6951-AE32-6497-78D46BB42A17}"/>
                </a:ext>
              </a:extLst>
            </p:cNvPr>
            <p:cNvSpPr/>
            <p:nvPr/>
          </p:nvSpPr>
          <p:spPr>
            <a:xfrm>
              <a:off x="5358556"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5" name="Freeform: Shape 1164">
              <a:extLst>
                <a:ext uri="{FF2B5EF4-FFF2-40B4-BE49-F238E27FC236}">
                  <a16:creationId xmlns:a16="http://schemas.microsoft.com/office/drawing/2014/main" id="{8D492C24-054B-6CAE-B5EF-0175AC3950A1}"/>
                </a:ext>
              </a:extLst>
            </p:cNvPr>
            <p:cNvSpPr/>
            <p:nvPr/>
          </p:nvSpPr>
          <p:spPr>
            <a:xfrm>
              <a:off x="5351233"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6" name="Freeform: Shape 1165">
              <a:extLst>
                <a:ext uri="{FF2B5EF4-FFF2-40B4-BE49-F238E27FC236}">
                  <a16:creationId xmlns:a16="http://schemas.microsoft.com/office/drawing/2014/main" id="{17135874-D6E7-69DB-D4A6-0F1C49C8DCA6}"/>
                </a:ext>
              </a:extLst>
            </p:cNvPr>
            <p:cNvSpPr/>
            <p:nvPr/>
          </p:nvSpPr>
          <p:spPr>
            <a:xfrm>
              <a:off x="5301539"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7" name="Freeform: Shape 1166">
              <a:extLst>
                <a:ext uri="{FF2B5EF4-FFF2-40B4-BE49-F238E27FC236}">
                  <a16:creationId xmlns:a16="http://schemas.microsoft.com/office/drawing/2014/main" id="{5A4239FD-E989-A241-0B36-1009F0C796E4}"/>
                </a:ext>
              </a:extLst>
            </p:cNvPr>
            <p:cNvSpPr/>
            <p:nvPr/>
          </p:nvSpPr>
          <p:spPr>
            <a:xfrm>
              <a:off x="5294695"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8" name="Freeform: Shape 1167">
              <a:extLst>
                <a:ext uri="{FF2B5EF4-FFF2-40B4-BE49-F238E27FC236}">
                  <a16:creationId xmlns:a16="http://schemas.microsoft.com/office/drawing/2014/main" id="{80B74F5F-6E26-B2DF-73DD-D79C532D00CE}"/>
                </a:ext>
              </a:extLst>
            </p:cNvPr>
            <p:cNvSpPr/>
            <p:nvPr/>
          </p:nvSpPr>
          <p:spPr>
            <a:xfrm>
              <a:off x="5277651"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9" name="Freeform: Shape 1168">
              <a:extLst>
                <a:ext uri="{FF2B5EF4-FFF2-40B4-BE49-F238E27FC236}">
                  <a16:creationId xmlns:a16="http://schemas.microsoft.com/office/drawing/2014/main" id="{D2F0BD7E-9C78-5CE7-A901-729F51DCB40F}"/>
                </a:ext>
              </a:extLst>
            </p:cNvPr>
            <p:cNvSpPr/>
            <p:nvPr/>
          </p:nvSpPr>
          <p:spPr>
            <a:xfrm>
              <a:off x="5258165"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0" name="Freeform: Shape 1169">
              <a:extLst>
                <a:ext uri="{FF2B5EF4-FFF2-40B4-BE49-F238E27FC236}">
                  <a16:creationId xmlns:a16="http://schemas.microsoft.com/office/drawing/2014/main" id="{D970D5EE-15C9-2D6B-41CF-FB24C8F78E92}"/>
                </a:ext>
              </a:extLst>
            </p:cNvPr>
            <p:cNvSpPr/>
            <p:nvPr/>
          </p:nvSpPr>
          <p:spPr>
            <a:xfrm>
              <a:off x="5207948"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1" name="Freeform: Shape 1170">
              <a:extLst>
                <a:ext uri="{FF2B5EF4-FFF2-40B4-BE49-F238E27FC236}">
                  <a16:creationId xmlns:a16="http://schemas.microsoft.com/office/drawing/2014/main" id="{6DB2EAEF-0C28-5960-A182-09CAB7EA4879}"/>
                </a:ext>
              </a:extLst>
            </p:cNvPr>
            <p:cNvSpPr/>
            <p:nvPr/>
          </p:nvSpPr>
          <p:spPr>
            <a:xfrm>
              <a:off x="5188463"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2" name="Freeform: Shape 1171">
              <a:extLst>
                <a:ext uri="{FF2B5EF4-FFF2-40B4-BE49-F238E27FC236}">
                  <a16:creationId xmlns:a16="http://schemas.microsoft.com/office/drawing/2014/main" id="{5EE49E33-8FB5-30D0-B29B-76F7A3A757E8}"/>
                </a:ext>
              </a:extLst>
            </p:cNvPr>
            <p:cNvSpPr/>
            <p:nvPr/>
          </p:nvSpPr>
          <p:spPr>
            <a:xfrm>
              <a:off x="5129484"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3" name="Freeform: Shape 1172">
              <a:extLst>
                <a:ext uri="{FF2B5EF4-FFF2-40B4-BE49-F238E27FC236}">
                  <a16:creationId xmlns:a16="http://schemas.microsoft.com/office/drawing/2014/main" id="{43A2BD62-D401-4271-3FFB-D7CD9137AE08}"/>
                </a:ext>
              </a:extLst>
            </p:cNvPr>
            <p:cNvSpPr/>
            <p:nvPr/>
          </p:nvSpPr>
          <p:spPr>
            <a:xfrm>
              <a:off x="5116319"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4" name="Freeform: Shape 1173">
              <a:extLst>
                <a:ext uri="{FF2B5EF4-FFF2-40B4-BE49-F238E27FC236}">
                  <a16:creationId xmlns:a16="http://schemas.microsoft.com/office/drawing/2014/main" id="{CB06F2AD-C6B2-F352-BA40-1FD4FE59B074}"/>
                </a:ext>
              </a:extLst>
            </p:cNvPr>
            <p:cNvSpPr/>
            <p:nvPr/>
          </p:nvSpPr>
          <p:spPr>
            <a:xfrm>
              <a:off x="5107558"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5" name="Freeform: Shape 1174">
              <a:extLst>
                <a:ext uri="{FF2B5EF4-FFF2-40B4-BE49-F238E27FC236}">
                  <a16:creationId xmlns:a16="http://schemas.microsoft.com/office/drawing/2014/main" id="{E978E665-08AA-C07F-F1F8-07B592BA0439}"/>
                </a:ext>
              </a:extLst>
            </p:cNvPr>
            <p:cNvSpPr/>
            <p:nvPr/>
          </p:nvSpPr>
          <p:spPr>
            <a:xfrm>
              <a:off x="5102196"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6" name="Freeform: Shape 1175">
              <a:extLst>
                <a:ext uri="{FF2B5EF4-FFF2-40B4-BE49-F238E27FC236}">
                  <a16:creationId xmlns:a16="http://schemas.microsoft.com/office/drawing/2014/main" id="{A49704C7-A937-5F5C-381A-DAEDE3909925}"/>
                </a:ext>
              </a:extLst>
            </p:cNvPr>
            <p:cNvSpPr/>
            <p:nvPr/>
          </p:nvSpPr>
          <p:spPr>
            <a:xfrm>
              <a:off x="5088072"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7" name="Freeform: Shape 1176">
              <a:extLst>
                <a:ext uri="{FF2B5EF4-FFF2-40B4-BE49-F238E27FC236}">
                  <a16:creationId xmlns:a16="http://schemas.microsoft.com/office/drawing/2014/main" id="{EC373F36-3D40-AB44-F345-DFB06378D221}"/>
                </a:ext>
              </a:extLst>
            </p:cNvPr>
            <p:cNvSpPr/>
            <p:nvPr/>
          </p:nvSpPr>
          <p:spPr>
            <a:xfrm>
              <a:off x="5056861"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8" name="Freeform: Shape 1177">
              <a:extLst>
                <a:ext uri="{FF2B5EF4-FFF2-40B4-BE49-F238E27FC236}">
                  <a16:creationId xmlns:a16="http://schemas.microsoft.com/office/drawing/2014/main" id="{0160228A-98C5-2EAA-225E-CB039B8CEFF2}"/>
                </a:ext>
              </a:extLst>
            </p:cNvPr>
            <p:cNvSpPr/>
            <p:nvPr/>
          </p:nvSpPr>
          <p:spPr>
            <a:xfrm>
              <a:off x="5043696"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9" name="Freeform: Shape 1178">
              <a:extLst>
                <a:ext uri="{FF2B5EF4-FFF2-40B4-BE49-F238E27FC236}">
                  <a16:creationId xmlns:a16="http://schemas.microsoft.com/office/drawing/2014/main" id="{1CB703C2-6340-3F9B-F0DF-E606E37427BB}"/>
                </a:ext>
              </a:extLst>
            </p:cNvPr>
            <p:cNvSpPr/>
            <p:nvPr/>
          </p:nvSpPr>
          <p:spPr>
            <a:xfrm>
              <a:off x="5035894"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0" name="Freeform: Shape 1179">
              <a:extLst>
                <a:ext uri="{FF2B5EF4-FFF2-40B4-BE49-F238E27FC236}">
                  <a16:creationId xmlns:a16="http://schemas.microsoft.com/office/drawing/2014/main" id="{FD3A764B-A723-BD06-DC51-BBD70ED0B5A7}"/>
                </a:ext>
              </a:extLst>
            </p:cNvPr>
            <p:cNvSpPr/>
            <p:nvPr/>
          </p:nvSpPr>
          <p:spPr>
            <a:xfrm>
              <a:off x="5029573"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1" name="Freeform: Shape 1180">
              <a:extLst>
                <a:ext uri="{FF2B5EF4-FFF2-40B4-BE49-F238E27FC236}">
                  <a16:creationId xmlns:a16="http://schemas.microsoft.com/office/drawing/2014/main" id="{9F22454B-5434-9FB9-ABA7-B5D456EFD0E2}"/>
                </a:ext>
              </a:extLst>
            </p:cNvPr>
            <p:cNvSpPr/>
            <p:nvPr/>
          </p:nvSpPr>
          <p:spPr>
            <a:xfrm>
              <a:off x="5007167"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2" name="Freeform: Shape 1181">
              <a:extLst>
                <a:ext uri="{FF2B5EF4-FFF2-40B4-BE49-F238E27FC236}">
                  <a16:creationId xmlns:a16="http://schemas.microsoft.com/office/drawing/2014/main" id="{36244EB7-009E-7AAA-97D0-D241AFACB559}"/>
                </a:ext>
              </a:extLst>
            </p:cNvPr>
            <p:cNvSpPr/>
            <p:nvPr/>
          </p:nvSpPr>
          <p:spPr>
            <a:xfrm>
              <a:off x="4992041"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3" name="Freeform: Shape 1182">
              <a:extLst>
                <a:ext uri="{FF2B5EF4-FFF2-40B4-BE49-F238E27FC236}">
                  <a16:creationId xmlns:a16="http://schemas.microsoft.com/office/drawing/2014/main" id="{79F527FE-9B86-2220-D290-A4C4F86B2621}"/>
                </a:ext>
              </a:extLst>
            </p:cNvPr>
            <p:cNvSpPr/>
            <p:nvPr/>
          </p:nvSpPr>
          <p:spPr>
            <a:xfrm>
              <a:off x="4983279"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4" name="Freeform: Shape 1183">
              <a:extLst>
                <a:ext uri="{FF2B5EF4-FFF2-40B4-BE49-F238E27FC236}">
                  <a16:creationId xmlns:a16="http://schemas.microsoft.com/office/drawing/2014/main" id="{A17ECCCD-97BB-E886-4AB5-8915884B9242}"/>
                </a:ext>
              </a:extLst>
            </p:cNvPr>
            <p:cNvSpPr/>
            <p:nvPr/>
          </p:nvSpPr>
          <p:spPr>
            <a:xfrm>
              <a:off x="4974997"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5" name="Freeform: Shape 1184">
              <a:extLst>
                <a:ext uri="{FF2B5EF4-FFF2-40B4-BE49-F238E27FC236}">
                  <a16:creationId xmlns:a16="http://schemas.microsoft.com/office/drawing/2014/main" id="{F4E7906E-ED23-F0E3-A0F7-41FF2DFD3069}"/>
                </a:ext>
              </a:extLst>
            </p:cNvPr>
            <p:cNvSpPr/>
            <p:nvPr/>
          </p:nvSpPr>
          <p:spPr>
            <a:xfrm>
              <a:off x="4959870"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6" name="Freeform: Shape 1185">
              <a:extLst>
                <a:ext uri="{FF2B5EF4-FFF2-40B4-BE49-F238E27FC236}">
                  <a16:creationId xmlns:a16="http://schemas.microsoft.com/office/drawing/2014/main" id="{E6DC4BBE-CB3C-C762-C816-E14F2999C62B}"/>
                </a:ext>
              </a:extLst>
            </p:cNvPr>
            <p:cNvSpPr/>
            <p:nvPr/>
          </p:nvSpPr>
          <p:spPr>
            <a:xfrm>
              <a:off x="4950629"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7" name="Freeform: Shape 1186">
              <a:extLst>
                <a:ext uri="{FF2B5EF4-FFF2-40B4-BE49-F238E27FC236}">
                  <a16:creationId xmlns:a16="http://schemas.microsoft.com/office/drawing/2014/main" id="{A5B9C0CE-C693-A693-759A-205F35DDE871}"/>
                </a:ext>
              </a:extLst>
            </p:cNvPr>
            <p:cNvSpPr/>
            <p:nvPr/>
          </p:nvSpPr>
          <p:spPr>
            <a:xfrm>
              <a:off x="4939906"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8" name="Freeform: Shape 1187">
              <a:extLst>
                <a:ext uri="{FF2B5EF4-FFF2-40B4-BE49-F238E27FC236}">
                  <a16:creationId xmlns:a16="http://schemas.microsoft.com/office/drawing/2014/main" id="{149A1627-A311-76AC-3F8D-A9849493472B}"/>
                </a:ext>
              </a:extLst>
            </p:cNvPr>
            <p:cNvSpPr/>
            <p:nvPr/>
          </p:nvSpPr>
          <p:spPr>
            <a:xfrm>
              <a:off x="4918459"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9" name="Freeform: Shape 1188">
              <a:extLst>
                <a:ext uri="{FF2B5EF4-FFF2-40B4-BE49-F238E27FC236}">
                  <a16:creationId xmlns:a16="http://schemas.microsoft.com/office/drawing/2014/main" id="{36181BCE-6FDF-4419-94C5-1A399C52B8D5}"/>
                </a:ext>
              </a:extLst>
            </p:cNvPr>
            <p:cNvSpPr/>
            <p:nvPr/>
          </p:nvSpPr>
          <p:spPr>
            <a:xfrm>
              <a:off x="4891171"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0" name="Freeform: Shape 1189">
              <a:extLst>
                <a:ext uri="{FF2B5EF4-FFF2-40B4-BE49-F238E27FC236}">
                  <a16:creationId xmlns:a16="http://schemas.microsoft.com/office/drawing/2014/main" id="{73353FE8-3023-D975-BD83-CD10EA5A9EDB}"/>
                </a:ext>
              </a:extLst>
            </p:cNvPr>
            <p:cNvSpPr/>
            <p:nvPr/>
          </p:nvSpPr>
          <p:spPr>
            <a:xfrm>
              <a:off x="4853159"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1" name="Freeform: Shape 1190">
              <a:extLst>
                <a:ext uri="{FF2B5EF4-FFF2-40B4-BE49-F238E27FC236}">
                  <a16:creationId xmlns:a16="http://schemas.microsoft.com/office/drawing/2014/main" id="{9D298BEE-0468-7E0B-BE4B-370170A1F155}"/>
                </a:ext>
              </a:extLst>
            </p:cNvPr>
            <p:cNvSpPr/>
            <p:nvPr/>
          </p:nvSpPr>
          <p:spPr>
            <a:xfrm>
              <a:off x="4847797"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2" name="Freeform: Shape 1191">
              <a:extLst>
                <a:ext uri="{FF2B5EF4-FFF2-40B4-BE49-F238E27FC236}">
                  <a16:creationId xmlns:a16="http://schemas.microsoft.com/office/drawing/2014/main" id="{840D042A-81D3-E729-4F42-B1476B2280CF}"/>
                </a:ext>
              </a:extLst>
            </p:cNvPr>
            <p:cNvSpPr/>
            <p:nvPr/>
          </p:nvSpPr>
          <p:spPr>
            <a:xfrm>
              <a:off x="4749673" y="329767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3" name="Freeform: Shape 1192">
              <a:extLst>
                <a:ext uri="{FF2B5EF4-FFF2-40B4-BE49-F238E27FC236}">
                  <a16:creationId xmlns:a16="http://schemas.microsoft.com/office/drawing/2014/main" id="{8AED34A7-62E2-F596-B4C1-93EC689C15C5}"/>
                </a:ext>
              </a:extLst>
            </p:cNvPr>
            <p:cNvSpPr/>
            <p:nvPr/>
          </p:nvSpPr>
          <p:spPr>
            <a:xfrm>
              <a:off x="4736683" y="329767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4" name="Freeform: Shape 1193">
              <a:extLst>
                <a:ext uri="{FF2B5EF4-FFF2-40B4-BE49-F238E27FC236}">
                  <a16:creationId xmlns:a16="http://schemas.microsoft.com/office/drawing/2014/main" id="{25E7A4DB-F388-3817-720F-6B9F03981936}"/>
                </a:ext>
              </a:extLst>
            </p:cNvPr>
            <p:cNvSpPr/>
            <p:nvPr/>
          </p:nvSpPr>
          <p:spPr>
            <a:xfrm>
              <a:off x="4726265" y="329767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5" name="Freeform: Shape 1194">
              <a:extLst>
                <a:ext uri="{FF2B5EF4-FFF2-40B4-BE49-F238E27FC236}">
                  <a16:creationId xmlns:a16="http://schemas.microsoft.com/office/drawing/2014/main" id="{56929255-98DA-C587-6ECA-0BF4B20AB97D}"/>
                </a:ext>
              </a:extLst>
            </p:cNvPr>
            <p:cNvSpPr/>
            <p:nvPr/>
          </p:nvSpPr>
          <p:spPr>
            <a:xfrm>
              <a:off x="4710049" y="3298283"/>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6" name="Freeform: Shape 1195">
              <a:extLst>
                <a:ext uri="{FF2B5EF4-FFF2-40B4-BE49-F238E27FC236}">
                  <a16:creationId xmlns:a16="http://schemas.microsoft.com/office/drawing/2014/main" id="{1EB5094C-1244-6237-24AE-BB72D2FACED5}"/>
                </a:ext>
              </a:extLst>
            </p:cNvPr>
            <p:cNvSpPr/>
            <p:nvPr/>
          </p:nvSpPr>
          <p:spPr>
            <a:xfrm>
              <a:off x="4700938" y="3277490"/>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7" name="Freeform: Shape 1196">
              <a:extLst>
                <a:ext uri="{FF2B5EF4-FFF2-40B4-BE49-F238E27FC236}">
                  <a16:creationId xmlns:a16="http://schemas.microsoft.com/office/drawing/2014/main" id="{60FA1351-884F-89E3-8B68-767804610A99}"/>
                </a:ext>
              </a:extLst>
            </p:cNvPr>
            <p:cNvSpPr/>
            <p:nvPr/>
          </p:nvSpPr>
          <p:spPr>
            <a:xfrm>
              <a:off x="4693136" y="3277490"/>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8" name="Freeform: Shape 1197">
              <a:extLst>
                <a:ext uri="{FF2B5EF4-FFF2-40B4-BE49-F238E27FC236}">
                  <a16:creationId xmlns:a16="http://schemas.microsoft.com/office/drawing/2014/main" id="{54109EAD-D062-4E8F-B431-6D3F5FDEB421}"/>
                </a:ext>
              </a:extLst>
            </p:cNvPr>
            <p:cNvSpPr/>
            <p:nvPr/>
          </p:nvSpPr>
          <p:spPr>
            <a:xfrm>
              <a:off x="4685333" y="3277490"/>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9" name="Freeform: Shape 1198">
              <a:extLst>
                <a:ext uri="{FF2B5EF4-FFF2-40B4-BE49-F238E27FC236}">
                  <a16:creationId xmlns:a16="http://schemas.microsoft.com/office/drawing/2014/main" id="{E6C1FF2E-D965-EBE7-633F-096C8F9447EC}"/>
                </a:ext>
              </a:extLst>
            </p:cNvPr>
            <p:cNvSpPr/>
            <p:nvPr/>
          </p:nvSpPr>
          <p:spPr>
            <a:xfrm>
              <a:off x="4665194" y="3262582"/>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0" name="Freeform: Shape 1199">
              <a:extLst>
                <a:ext uri="{FF2B5EF4-FFF2-40B4-BE49-F238E27FC236}">
                  <a16:creationId xmlns:a16="http://schemas.microsoft.com/office/drawing/2014/main" id="{DCADC476-F445-4B25-BE08-6ABAC4103541}"/>
                </a:ext>
              </a:extLst>
            </p:cNvPr>
            <p:cNvSpPr/>
            <p:nvPr/>
          </p:nvSpPr>
          <p:spPr>
            <a:xfrm>
              <a:off x="4654165" y="3262582"/>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1" name="Freeform: Shape 1200">
              <a:extLst>
                <a:ext uri="{FF2B5EF4-FFF2-40B4-BE49-F238E27FC236}">
                  <a16:creationId xmlns:a16="http://schemas.microsoft.com/office/drawing/2014/main" id="{CE238C52-B093-9EDB-6D07-3B8991D9F66C}"/>
                </a:ext>
              </a:extLst>
            </p:cNvPr>
            <p:cNvSpPr/>
            <p:nvPr/>
          </p:nvSpPr>
          <p:spPr>
            <a:xfrm>
              <a:off x="4630757" y="3261274"/>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2" name="Freeform: Shape 1201">
              <a:extLst>
                <a:ext uri="{FF2B5EF4-FFF2-40B4-BE49-F238E27FC236}">
                  <a16:creationId xmlns:a16="http://schemas.microsoft.com/office/drawing/2014/main" id="{FB89E341-57A3-DDF1-BFEE-C5DEA2EE1C9F}"/>
                </a:ext>
              </a:extLst>
            </p:cNvPr>
            <p:cNvSpPr/>
            <p:nvPr/>
          </p:nvSpPr>
          <p:spPr>
            <a:xfrm>
              <a:off x="4587209" y="324436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3" name="Freeform: Shape 1202">
              <a:extLst>
                <a:ext uri="{FF2B5EF4-FFF2-40B4-BE49-F238E27FC236}">
                  <a16:creationId xmlns:a16="http://schemas.microsoft.com/office/drawing/2014/main" id="{74C7B1DF-F277-23A7-A0F5-892D2926B5A7}"/>
                </a:ext>
              </a:extLst>
            </p:cNvPr>
            <p:cNvSpPr/>
            <p:nvPr/>
          </p:nvSpPr>
          <p:spPr>
            <a:xfrm>
              <a:off x="4578142" y="3243053"/>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4" name="Freeform: Shape 1203">
              <a:extLst>
                <a:ext uri="{FF2B5EF4-FFF2-40B4-BE49-F238E27FC236}">
                  <a16:creationId xmlns:a16="http://schemas.microsoft.com/office/drawing/2014/main" id="{81DD8FBA-CF9D-915F-C2EE-9FE02A89A28D}"/>
                </a:ext>
              </a:extLst>
            </p:cNvPr>
            <p:cNvSpPr/>
            <p:nvPr/>
          </p:nvSpPr>
          <p:spPr>
            <a:xfrm>
              <a:off x="4569031" y="324436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5" name="Freeform: Shape 1204">
              <a:extLst>
                <a:ext uri="{FF2B5EF4-FFF2-40B4-BE49-F238E27FC236}">
                  <a16:creationId xmlns:a16="http://schemas.microsoft.com/office/drawing/2014/main" id="{3FE07F68-9134-5B02-494B-CEAD8BEC1465}"/>
                </a:ext>
              </a:extLst>
            </p:cNvPr>
            <p:cNvSpPr/>
            <p:nvPr/>
          </p:nvSpPr>
          <p:spPr>
            <a:xfrm>
              <a:off x="4557959" y="324436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6" name="Freeform: Shape 1205">
              <a:extLst>
                <a:ext uri="{FF2B5EF4-FFF2-40B4-BE49-F238E27FC236}">
                  <a16:creationId xmlns:a16="http://schemas.microsoft.com/office/drawing/2014/main" id="{60340B39-F134-9D81-D873-414A5A947B51}"/>
                </a:ext>
              </a:extLst>
            </p:cNvPr>
            <p:cNvSpPr/>
            <p:nvPr/>
          </p:nvSpPr>
          <p:spPr>
            <a:xfrm>
              <a:off x="4507306" y="3228144"/>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7" name="Freeform: Shape 1206">
              <a:extLst>
                <a:ext uri="{FF2B5EF4-FFF2-40B4-BE49-F238E27FC236}">
                  <a16:creationId xmlns:a16="http://schemas.microsoft.com/office/drawing/2014/main" id="{3C86D0C1-7B5B-A5AA-2AD7-DF4980EAB8FD}"/>
                </a:ext>
              </a:extLst>
            </p:cNvPr>
            <p:cNvSpPr/>
            <p:nvPr/>
          </p:nvSpPr>
          <p:spPr>
            <a:xfrm>
              <a:off x="4466984" y="3226837"/>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8" name="Freeform: Shape 1207">
              <a:extLst>
                <a:ext uri="{FF2B5EF4-FFF2-40B4-BE49-F238E27FC236}">
                  <a16:creationId xmlns:a16="http://schemas.microsoft.com/office/drawing/2014/main" id="{B37918AE-D45B-6C78-2FEC-73BDAFBE8556}"/>
                </a:ext>
              </a:extLst>
            </p:cNvPr>
            <p:cNvSpPr/>
            <p:nvPr/>
          </p:nvSpPr>
          <p:spPr>
            <a:xfrm>
              <a:off x="4450114" y="323137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9" name="Freeform: Shape 1208">
              <a:extLst>
                <a:ext uri="{FF2B5EF4-FFF2-40B4-BE49-F238E27FC236}">
                  <a16:creationId xmlns:a16="http://schemas.microsoft.com/office/drawing/2014/main" id="{4A874951-21EA-DB0F-61F9-AD7B2AB604B4}"/>
                </a:ext>
              </a:extLst>
            </p:cNvPr>
            <p:cNvSpPr/>
            <p:nvPr/>
          </p:nvSpPr>
          <p:spPr>
            <a:xfrm>
              <a:off x="4403341" y="3215765"/>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0" name="Freeform: Shape 1209">
              <a:extLst>
                <a:ext uri="{FF2B5EF4-FFF2-40B4-BE49-F238E27FC236}">
                  <a16:creationId xmlns:a16="http://schemas.microsoft.com/office/drawing/2014/main" id="{1A902A90-774E-6C11-18E3-678BC990DBD1}"/>
                </a:ext>
              </a:extLst>
            </p:cNvPr>
            <p:cNvSpPr/>
            <p:nvPr/>
          </p:nvSpPr>
          <p:spPr>
            <a:xfrm>
              <a:off x="4496888" y="3228755"/>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1" name="Freeform: Shape 1210">
              <a:extLst>
                <a:ext uri="{FF2B5EF4-FFF2-40B4-BE49-F238E27FC236}">
                  <a16:creationId xmlns:a16="http://schemas.microsoft.com/office/drawing/2014/main" id="{3B3E3978-C964-320B-6F36-405F9AD685DF}"/>
                </a:ext>
              </a:extLst>
            </p:cNvPr>
            <p:cNvSpPr/>
            <p:nvPr/>
          </p:nvSpPr>
          <p:spPr>
            <a:xfrm>
              <a:off x="4830753"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2" name="Freeform: Shape 1211">
              <a:extLst>
                <a:ext uri="{FF2B5EF4-FFF2-40B4-BE49-F238E27FC236}">
                  <a16:creationId xmlns:a16="http://schemas.microsoft.com/office/drawing/2014/main" id="{905DE5A7-AFAA-C846-949D-16E6A7DAF196}"/>
                </a:ext>
              </a:extLst>
            </p:cNvPr>
            <p:cNvSpPr/>
            <p:nvPr/>
          </p:nvSpPr>
          <p:spPr>
            <a:xfrm>
              <a:off x="4822427"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3" name="Freeform: Shape 1212">
              <a:extLst>
                <a:ext uri="{FF2B5EF4-FFF2-40B4-BE49-F238E27FC236}">
                  <a16:creationId xmlns:a16="http://schemas.microsoft.com/office/drawing/2014/main" id="{9992143D-4BA1-A340-4773-9E4CCAA57F55}"/>
                </a:ext>
              </a:extLst>
            </p:cNvPr>
            <p:cNvSpPr/>
            <p:nvPr/>
          </p:nvSpPr>
          <p:spPr>
            <a:xfrm>
              <a:off x="4814668"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4" name="Freeform: Shape 1213">
              <a:extLst>
                <a:ext uri="{FF2B5EF4-FFF2-40B4-BE49-F238E27FC236}">
                  <a16:creationId xmlns:a16="http://schemas.microsoft.com/office/drawing/2014/main" id="{5A997FA6-72C6-90D8-1F21-5384F0B710D3}"/>
                </a:ext>
              </a:extLst>
            </p:cNvPr>
            <p:cNvSpPr/>
            <p:nvPr/>
          </p:nvSpPr>
          <p:spPr>
            <a:xfrm>
              <a:off x="4802942"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5" name="Freeform: Shape 1214">
              <a:extLst>
                <a:ext uri="{FF2B5EF4-FFF2-40B4-BE49-F238E27FC236}">
                  <a16:creationId xmlns:a16="http://schemas.microsoft.com/office/drawing/2014/main" id="{2C54FDD7-2329-D6AC-6E28-5ED72079184D}"/>
                </a:ext>
              </a:extLst>
            </p:cNvPr>
            <p:cNvSpPr/>
            <p:nvPr/>
          </p:nvSpPr>
          <p:spPr>
            <a:xfrm>
              <a:off x="4784416" y="332038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216" name="Graphic 692">
              <a:extLst>
                <a:ext uri="{FF2B5EF4-FFF2-40B4-BE49-F238E27FC236}">
                  <a16:creationId xmlns:a16="http://schemas.microsoft.com/office/drawing/2014/main" id="{81FB5860-A65E-13EF-7F70-5C0DFBBDB7BA}"/>
                </a:ext>
              </a:extLst>
            </p:cNvPr>
            <p:cNvGrpSpPr/>
            <p:nvPr/>
          </p:nvGrpSpPr>
          <p:grpSpPr>
            <a:xfrm>
              <a:off x="4733283" y="3320384"/>
              <a:ext cx="81864" cy="81907"/>
              <a:chOff x="6389799" y="3210121"/>
              <a:chExt cx="81864" cy="81907"/>
            </a:xfrm>
          </p:grpSpPr>
          <p:sp>
            <p:nvSpPr>
              <p:cNvPr id="1295" name="Freeform: Shape 1294">
                <a:extLst>
                  <a:ext uri="{FF2B5EF4-FFF2-40B4-BE49-F238E27FC236}">
                    <a16:creationId xmlns:a16="http://schemas.microsoft.com/office/drawing/2014/main" id="{F7E42C86-C531-164B-7354-D190B288B560}"/>
                  </a:ext>
                </a:extLst>
              </p:cNvPr>
              <p:cNvSpPr/>
              <p:nvPr/>
            </p:nvSpPr>
            <p:spPr>
              <a:xfrm>
                <a:off x="6430731" y="3210121"/>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6" name="Freeform: Shape 1295">
                <a:extLst>
                  <a:ext uri="{FF2B5EF4-FFF2-40B4-BE49-F238E27FC236}">
                    <a16:creationId xmlns:a16="http://schemas.microsoft.com/office/drawing/2014/main" id="{D69B7E82-C44B-6C4E-F51E-03B19455F8EE}"/>
                  </a:ext>
                </a:extLst>
              </p:cNvPr>
              <p:cNvSpPr/>
              <p:nvPr/>
            </p:nvSpPr>
            <p:spPr>
              <a:xfrm>
                <a:off x="6389799" y="3251053"/>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17" name="Graphic 692">
              <a:extLst>
                <a:ext uri="{FF2B5EF4-FFF2-40B4-BE49-F238E27FC236}">
                  <a16:creationId xmlns:a16="http://schemas.microsoft.com/office/drawing/2014/main" id="{A3157E44-0F60-7DB2-5ED5-62164DC25DB8}"/>
                </a:ext>
              </a:extLst>
            </p:cNvPr>
            <p:cNvGrpSpPr/>
            <p:nvPr/>
          </p:nvGrpSpPr>
          <p:grpSpPr>
            <a:xfrm>
              <a:off x="4476923" y="3227229"/>
              <a:ext cx="81864" cy="81907"/>
              <a:chOff x="6133439" y="3116966"/>
              <a:chExt cx="81864" cy="81907"/>
            </a:xfrm>
          </p:grpSpPr>
          <p:sp>
            <p:nvSpPr>
              <p:cNvPr id="1293" name="Freeform: Shape 1292">
                <a:extLst>
                  <a:ext uri="{FF2B5EF4-FFF2-40B4-BE49-F238E27FC236}">
                    <a16:creationId xmlns:a16="http://schemas.microsoft.com/office/drawing/2014/main" id="{9081FADD-ED65-D688-F413-3EC5B9DCF959}"/>
                  </a:ext>
                </a:extLst>
              </p:cNvPr>
              <p:cNvSpPr/>
              <p:nvPr/>
            </p:nvSpPr>
            <p:spPr>
              <a:xfrm>
                <a:off x="6174371" y="3116966"/>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4" name="Freeform: Shape 1293">
                <a:extLst>
                  <a:ext uri="{FF2B5EF4-FFF2-40B4-BE49-F238E27FC236}">
                    <a16:creationId xmlns:a16="http://schemas.microsoft.com/office/drawing/2014/main" id="{FCAFF89B-9345-4ACB-178B-C29172C7E9A0}"/>
                  </a:ext>
                </a:extLst>
              </p:cNvPr>
              <p:cNvSpPr/>
              <p:nvPr/>
            </p:nvSpPr>
            <p:spPr>
              <a:xfrm>
                <a:off x="6133439" y="3157942"/>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18" name="Graphic 692">
              <a:extLst>
                <a:ext uri="{FF2B5EF4-FFF2-40B4-BE49-F238E27FC236}">
                  <a16:creationId xmlns:a16="http://schemas.microsoft.com/office/drawing/2014/main" id="{36B8D2D2-9C90-1119-2FAF-4E0984D2320B}"/>
                </a:ext>
              </a:extLst>
            </p:cNvPr>
            <p:cNvGrpSpPr/>
            <p:nvPr/>
          </p:nvGrpSpPr>
          <p:grpSpPr>
            <a:xfrm>
              <a:off x="4400900" y="3227883"/>
              <a:ext cx="81864" cy="81907"/>
              <a:chOff x="6057416" y="3117620"/>
              <a:chExt cx="81864" cy="81907"/>
            </a:xfrm>
          </p:grpSpPr>
          <p:sp>
            <p:nvSpPr>
              <p:cNvPr id="1291" name="Freeform: Shape 1290">
                <a:extLst>
                  <a:ext uri="{FF2B5EF4-FFF2-40B4-BE49-F238E27FC236}">
                    <a16:creationId xmlns:a16="http://schemas.microsoft.com/office/drawing/2014/main" id="{FCC2542B-2D3A-EAD1-C55A-811EBE801B22}"/>
                  </a:ext>
                </a:extLst>
              </p:cNvPr>
              <p:cNvSpPr/>
              <p:nvPr/>
            </p:nvSpPr>
            <p:spPr>
              <a:xfrm>
                <a:off x="6098348" y="3117620"/>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2" name="Freeform: Shape 1291">
                <a:extLst>
                  <a:ext uri="{FF2B5EF4-FFF2-40B4-BE49-F238E27FC236}">
                    <a16:creationId xmlns:a16="http://schemas.microsoft.com/office/drawing/2014/main" id="{B7D11304-25E5-A6D5-9E60-71783D2BE1BA}"/>
                  </a:ext>
                </a:extLst>
              </p:cNvPr>
              <p:cNvSpPr/>
              <p:nvPr/>
            </p:nvSpPr>
            <p:spPr>
              <a:xfrm>
                <a:off x="6057416" y="3158552"/>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219" name="Freeform: Shape 1218">
              <a:extLst>
                <a:ext uri="{FF2B5EF4-FFF2-40B4-BE49-F238E27FC236}">
                  <a16:creationId xmlns:a16="http://schemas.microsoft.com/office/drawing/2014/main" id="{A7B2E298-5DE4-668E-8441-3C41DE8614B6}"/>
                </a:ext>
              </a:extLst>
            </p:cNvPr>
            <p:cNvSpPr/>
            <p:nvPr/>
          </p:nvSpPr>
          <p:spPr>
            <a:xfrm>
              <a:off x="4371476" y="3201467"/>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0" name="Freeform: Shape 1219">
              <a:extLst>
                <a:ext uri="{FF2B5EF4-FFF2-40B4-BE49-F238E27FC236}">
                  <a16:creationId xmlns:a16="http://schemas.microsoft.com/office/drawing/2014/main" id="{DCC2C222-8779-68CC-69EF-54042019A741}"/>
                </a:ext>
              </a:extLst>
            </p:cNvPr>
            <p:cNvSpPr/>
            <p:nvPr/>
          </p:nvSpPr>
          <p:spPr>
            <a:xfrm>
              <a:off x="4346149" y="3200202"/>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1" name="Freeform: Shape 1220">
              <a:extLst>
                <a:ext uri="{FF2B5EF4-FFF2-40B4-BE49-F238E27FC236}">
                  <a16:creationId xmlns:a16="http://schemas.microsoft.com/office/drawing/2014/main" id="{E387DF0B-285E-F643-3760-E60AE284C36C}"/>
                </a:ext>
              </a:extLst>
            </p:cNvPr>
            <p:cNvSpPr/>
            <p:nvPr/>
          </p:nvSpPr>
          <p:spPr>
            <a:xfrm>
              <a:off x="4323395" y="3174832"/>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2" name="Freeform: Shape 1221">
              <a:extLst>
                <a:ext uri="{FF2B5EF4-FFF2-40B4-BE49-F238E27FC236}">
                  <a16:creationId xmlns:a16="http://schemas.microsoft.com/office/drawing/2014/main" id="{FA7569E9-7794-B1F3-9A43-623EB12C7872}"/>
                </a:ext>
              </a:extLst>
            </p:cNvPr>
            <p:cNvSpPr/>
            <p:nvPr/>
          </p:nvSpPr>
          <p:spPr>
            <a:xfrm>
              <a:off x="4184339" y="312805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3" name="Freeform: Shape 1222">
              <a:extLst>
                <a:ext uri="{FF2B5EF4-FFF2-40B4-BE49-F238E27FC236}">
                  <a16:creationId xmlns:a16="http://schemas.microsoft.com/office/drawing/2014/main" id="{4AF65576-2253-34AC-C10D-6F6EE0B88E0B}"/>
                </a:ext>
              </a:extLst>
            </p:cNvPr>
            <p:cNvSpPr/>
            <p:nvPr/>
          </p:nvSpPr>
          <p:spPr>
            <a:xfrm>
              <a:off x="4134950" y="3125443"/>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4" name="Freeform: Shape 1223">
              <a:extLst>
                <a:ext uri="{FF2B5EF4-FFF2-40B4-BE49-F238E27FC236}">
                  <a16:creationId xmlns:a16="http://schemas.microsoft.com/office/drawing/2014/main" id="{1D2F7158-BD00-0214-088E-4F2D17EC1C3D}"/>
                </a:ext>
              </a:extLst>
            </p:cNvPr>
            <p:cNvSpPr/>
            <p:nvPr/>
          </p:nvSpPr>
          <p:spPr>
            <a:xfrm>
              <a:off x="3827588" y="305722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5" name="Freeform: Shape 1224">
              <a:extLst>
                <a:ext uri="{FF2B5EF4-FFF2-40B4-BE49-F238E27FC236}">
                  <a16:creationId xmlns:a16="http://schemas.microsoft.com/office/drawing/2014/main" id="{69F5DABE-8AD9-22B1-AD9E-893F6C79BF13}"/>
                </a:ext>
              </a:extLst>
            </p:cNvPr>
            <p:cNvSpPr/>
            <p:nvPr/>
          </p:nvSpPr>
          <p:spPr>
            <a:xfrm>
              <a:off x="3802261" y="3059185"/>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6" name="Freeform: Shape 1225">
              <a:extLst>
                <a:ext uri="{FF2B5EF4-FFF2-40B4-BE49-F238E27FC236}">
                  <a16:creationId xmlns:a16="http://schemas.microsoft.com/office/drawing/2014/main" id="{BB3F5399-D02C-845A-4915-F691FD914B14}"/>
                </a:ext>
              </a:extLst>
            </p:cNvPr>
            <p:cNvSpPr/>
            <p:nvPr/>
          </p:nvSpPr>
          <p:spPr>
            <a:xfrm>
              <a:off x="3794458" y="305853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7" name="Freeform: Shape 1226">
              <a:extLst>
                <a:ext uri="{FF2B5EF4-FFF2-40B4-BE49-F238E27FC236}">
                  <a16:creationId xmlns:a16="http://schemas.microsoft.com/office/drawing/2014/main" id="{89D2D79B-767F-075A-5DC9-6322CE5DDB9D}"/>
                </a:ext>
              </a:extLst>
            </p:cNvPr>
            <p:cNvSpPr/>
            <p:nvPr/>
          </p:nvSpPr>
          <p:spPr>
            <a:xfrm>
              <a:off x="3778853" y="305983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8" name="Freeform: Shape 1227">
              <a:extLst>
                <a:ext uri="{FF2B5EF4-FFF2-40B4-BE49-F238E27FC236}">
                  <a16:creationId xmlns:a16="http://schemas.microsoft.com/office/drawing/2014/main" id="{A7DF65A8-DDB8-DEA6-9B4E-75C1497EF5EE}"/>
                </a:ext>
              </a:extLst>
            </p:cNvPr>
            <p:cNvSpPr/>
            <p:nvPr/>
          </p:nvSpPr>
          <p:spPr>
            <a:xfrm>
              <a:off x="3749603" y="3045541"/>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9" name="Freeform: Shape 1228">
              <a:extLst>
                <a:ext uri="{FF2B5EF4-FFF2-40B4-BE49-F238E27FC236}">
                  <a16:creationId xmlns:a16="http://schemas.microsoft.com/office/drawing/2014/main" id="{F48601C2-F188-AF51-53E4-DE356DE4C6E6}"/>
                </a:ext>
              </a:extLst>
            </p:cNvPr>
            <p:cNvSpPr/>
            <p:nvPr/>
          </p:nvSpPr>
          <p:spPr>
            <a:xfrm>
              <a:off x="4044629" y="31150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0" name="Freeform: Shape 1229">
              <a:extLst>
                <a:ext uri="{FF2B5EF4-FFF2-40B4-BE49-F238E27FC236}">
                  <a16:creationId xmlns:a16="http://schemas.microsoft.com/office/drawing/2014/main" id="{EECFE1D6-B83F-5EAD-6E69-14E63B5DF37D}"/>
                </a:ext>
              </a:extLst>
            </p:cNvPr>
            <p:cNvSpPr/>
            <p:nvPr/>
          </p:nvSpPr>
          <p:spPr>
            <a:xfrm>
              <a:off x="4012807" y="311506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1" name="Freeform: Shape 1230">
              <a:extLst>
                <a:ext uri="{FF2B5EF4-FFF2-40B4-BE49-F238E27FC236}">
                  <a16:creationId xmlns:a16="http://schemas.microsoft.com/office/drawing/2014/main" id="{E588F00E-A141-0F1C-89FB-FD44B8FA9B10}"/>
                </a:ext>
              </a:extLst>
            </p:cNvPr>
            <p:cNvSpPr/>
            <p:nvPr/>
          </p:nvSpPr>
          <p:spPr>
            <a:xfrm>
              <a:off x="3969913" y="3101425"/>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2" name="Freeform: Shape 1231">
              <a:extLst>
                <a:ext uri="{FF2B5EF4-FFF2-40B4-BE49-F238E27FC236}">
                  <a16:creationId xmlns:a16="http://schemas.microsoft.com/office/drawing/2014/main" id="{D30C5CE4-42C6-0107-4294-8955CFD6DCAA}"/>
                </a:ext>
              </a:extLst>
            </p:cNvPr>
            <p:cNvSpPr/>
            <p:nvPr/>
          </p:nvSpPr>
          <p:spPr>
            <a:xfrm>
              <a:off x="4251905" y="3162496"/>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3" name="Freeform: Shape 1232">
              <a:extLst>
                <a:ext uri="{FF2B5EF4-FFF2-40B4-BE49-F238E27FC236}">
                  <a16:creationId xmlns:a16="http://schemas.microsoft.com/office/drawing/2014/main" id="{358110AD-E187-461C-D4BF-AF78735D2272}"/>
                </a:ext>
              </a:extLst>
            </p:cNvPr>
            <p:cNvSpPr/>
            <p:nvPr/>
          </p:nvSpPr>
          <p:spPr>
            <a:xfrm>
              <a:off x="4283116" y="3165722"/>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234" name="Graphic 692">
              <a:extLst>
                <a:ext uri="{FF2B5EF4-FFF2-40B4-BE49-F238E27FC236}">
                  <a16:creationId xmlns:a16="http://schemas.microsoft.com/office/drawing/2014/main" id="{D87241E9-97F6-1FCA-6ED0-24A76DD93175}"/>
                </a:ext>
              </a:extLst>
            </p:cNvPr>
            <p:cNvGrpSpPr/>
            <p:nvPr/>
          </p:nvGrpSpPr>
          <p:grpSpPr>
            <a:xfrm>
              <a:off x="4349549" y="3215547"/>
              <a:ext cx="81864" cy="81864"/>
              <a:chOff x="6006065" y="3105284"/>
              <a:chExt cx="81864" cy="81864"/>
            </a:xfrm>
          </p:grpSpPr>
          <p:sp>
            <p:nvSpPr>
              <p:cNvPr id="1289" name="Freeform: Shape 1288">
                <a:extLst>
                  <a:ext uri="{FF2B5EF4-FFF2-40B4-BE49-F238E27FC236}">
                    <a16:creationId xmlns:a16="http://schemas.microsoft.com/office/drawing/2014/main" id="{6FA925FD-DF4D-D5D9-C4DC-5E502366CAB9}"/>
                  </a:ext>
                </a:extLst>
              </p:cNvPr>
              <p:cNvSpPr/>
              <p:nvPr/>
            </p:nvSpPr>
            <p:spPr>
              <a:xfrm>
                <a:off x="6046998" y="3105284"/>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0" name="Freeform: Shape 1289">
                <a:extLst>
                  <a:ext uri="{FF2B5EF4-FFF2-40B4-BE49-F238E27FC236}">
                    <a16:creationId xmlns:a16="http://schemas.microsoft.com/office/drawing/2014/main" id="{690DF48E-1453-EDAD-4621-2EB2ECA54740}"/>
                  </a:ext>
                </a:extLst>
              </p:cNvPr>
              <p:cNvSpPr/>
              <p:nvPr/>
            </p:nvSpPr>
            <p:spPr>
              <a:xfrm>
                <a:off x="6006065" y="3146216"/>
                <a:ext cx="81864" cy="4359"/>
              </a:xfrm>
              <a:custGeom>
                <a:avLst/>
                <a:gdLst>
                  <a:gd name="connsiteX0" fmla="*/ 81865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5"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35" name="Graphic 692">
              <a:extLst>
                <a:ext uri="{FF2B5EF4-FFF2-40B4-BE49-F238E27FC236}">
                  <a16:creationId xmlns:a16="http://schemas.microsoft.com/office/drawing/2014/main" id="{6A7CD85F-B730-51EB-40B0-2DAF530837F0}"/>
                </a:ext>
              </a:extLst>
            </p:cNvPr>
            <p:cNvGrpSpPr/>
            <p:nvPr/>
          </p:nvGrpSpPr>
          <p:grpSpPr>
            <a:xfrm>
              <a:off x="4314458" y="3199941"/>
              <a:ext cx="81864" cy="81907"/>
              <a:chOff x="5970974" y="3089678"/>
              <a:chExt cx="81864" cy="81907"/>
            </a:xfrm>
          </p:grpSpPr>
          <p:sp>
            <p:nvSpPr>
              <p:cNvPr id="1287" name="Freeform: Shape 1286">
                <a:extLst>
                  <a:ext uri="{FF2B5EF4-FFF2-40B4-BE49-F238E27FC236}">
                    <a16:creationId xmlns:a16="http://schemas.microsoft.com/office/drawing/2014/main" id="{8C610B75-5C32-BDBC-F745-A7351AFBF984}"/>
                  </a:ext>
                </a:extLst>
              </p:cNvPr>
              <p:cNvSpPr/>
              <p:nvPr/>
            </p:nvSpPr>
            <p:spPr>
              <a:xfrm>
                <a:off x="6011907" y="3089678"/>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8" name="Freeform: Shape 1287">
                <a:extLst>
                  <a:ext uri="{FF2B5EF4-FFF2-40B4-BE49-F238E27FC236}">
                    <a16:creationId xmlns:a16="http://schemas.microsoft.com/office/drawing/2014/main" id="{A586EAF9-B994-CD68-0D98-30D9472D370D}"/>
                  </a:ext>
                </a:extLst>
              </p:cNvPr>
              <p:cNvSpPr/>
              <p:nvPr/>
            </p:nvSpPr>
            <p:spPr>
              <a:xfrm>
                <a:off x="5970974" y="3130610"/>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36" name="Graphic 692">
              <a:extLst>
                <a:ext uri="{FF2B5EF4-FFF2-40B4-BE49-F238E27FC236}">
                  <a16:creationId xmlns:a16="http://schemas.microsoft.com/office/drawing/2014/main" id="{B89AD758-2999-F4DB-8950-8AB0B6162E35}"/>
                </a:ext>
              </a:extLst>
            </p:cNvPr>
            <p:cNvGrpSpPr/>
            <p:nvPr/>
          </p:nvGrpSpPr>
          <p:grpSpPr>
            <a:xfrm>
              <a:off x="4220258" y="3164850"/>
              <a:ext cx="81864" cy="81907"/>
              <a:chOff x="5876774" y="3054587"/>
              <a:chExt cx="81864" cy="81907"/>
            </a:xfrm>
          </p:grpSpPr>
          <p:sp>
            <p:nvSpPr>
              <p:cNvPr id="1285" name="Freeform: Shape 1284">
                <a:extLst>
                  <a:ext uri="{FF2B5EF4-FFF2-40B4-BE49-F238E27FC236}">
                    <a16:creationId xmlns:a16="http://schemas.microsoft.com/office/drawing/2014/main" id="{7A11144E-27C5-9CE7-9ECB-C77FE2BDD723}"/>
                  </a:ext>
                </a:extLst>
              </p:cNvPr>
              <p:cNvSpPr/>
              <p:nvPr/>
            </p:nvSpPr>
            <p:spPr>
              <a:xfrm>
                <a:off x="5917706" y="3054587"/>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6" name="Freeform: Shape 1285">
                <a:extLst>
                  <a:ext uri="{FF2B5EF4-FFF2-40B4-BE49-F238E27FC236}">
                    <a16:creationId xmlns:a16="http://schemas.microsoft.com/office/drawing/2014/main" id="{011ED1B8-16F4-74C8-355E-0C676C378B89}"/>
                  </a:ext>
                </a:extLst>
              </p:cNvPr>
              <p:cNvSpPr/>
              <p:nvPr/>
            </p:nvSpPr>
            <p:spPr>
              <a:xfrm>
                <a:off x="5876774" y="3095519"/>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37" name="Graphic 692">
              <a:extLst>
                <a:ext uri="{FF2B5EF4-FFF2-40B4-BE49-F238E27FC236}">
                  <a16:creationId xmlns:a16="http://schemas.microsoft.com/office/drawing/2014/main" id="{C40870B0-C314-3CCB-3CDF-865DD0EE3942}"/>
                </a:ext>
              </a:extLst>
            </p:cNvPr>
            <p:cNvGrpSpPr/>
            <p:nvPr/>
          </p:nvGrpSpPr>
          <p:grpSpPr>
            <a:xfrm>
              <a:off x="4257267" y="3176576"/>
              <a:ext cx="81907" cy="81864"/>
              <a:chOff x="5913783" y="3066313"/>
              <a:chExt cx="81907" cy="81864"/>
            </a:xfrm>
          </p:grpSpPr>
          <p:sp>
            <p:nvSpPr>
              <p:cNvPr id="1283" name="Freeform: Shape 1282">
                <a:extLst>
                  <a:ext uri="{FF2B5EF4-FFF2-40B4-BE49-F238E27FC236}">
                    <a16:creationId xmlns:a16="http://schemas.microsoft.com/office/drawing/2014/main" id="{01EB3B1E-2C31-360D-9F3F-9F963E0444D8}"/>
                  </a:ext>
                </a:extLst>
              </p:cNvPr>
              <p:cNvSpPr/>
              <p:nvPr/>
            </p:nvSpPr>
            <p:spPr>
              <a:xfrm>
                <a:off x="5954715" y="3066313"/>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4" name="Freeform: Shape 1283">
                <a:extLst>
                  <a:ext uri="{FF2B5EF4-FFF2-40B4-BE49-F238E27FC236}">
                    <a16:creationId xmlns:a16="http://schemas.microsoft.com/office/drawing/2014/main" id="{76865648-3FAB-BF66-A2B0-B31773391323}"/>
                  </a:ext>
                </a:extLst>
              </p:cNvPr>
              <p:cNvSpPr/>
              <p:nvPr/>
            </p:nvSpPr>
            <p:spPr>
              <a:xfrm>
                <a:off x="5913783" y="3107245"/>
                <a:ext cx="81907" cy="4359"/>
              </a:xfrm>
              <a:custGeom>
                <a:avLst/>
                <a:gdLst>
                  <a:gd name="connsiteX0" fmla="*/ 81908 w 81907"/>
                  <a:gd name="connsiteY0" fmla="*/ 0 h 4359"/>
                  <a:gd name="connsiteX1" fmla="*/ 0 w 81907"/>
                  <a:gd name="connsiteY1" fmla="*/ 0 h 4359"/>
                </a:gdLst>
                <a:ahLst/>
                <a:cxnLst>
                  <a:cxn ang="0">
                    <a:pos x="connsiteX0" y="connsiteY0"/>
                  </a:cxn>
                  <a:cxn ang="0">
                    <a:pos x="connsiteX1" y="connsiteY1"/>
                  </a:cxn>
                </a:cxnLst>
                <a:rect l="l" t="t" r="r" b="b"/>
                <a:pathLst>
                  <a:path w="81907" h="4359">
                    <a:moveTo>
                      <a:pt x="81908"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38" name="Graphic 692">
              <a:extLst>
                <a:ext uri="{FF2B5EF4-FFF2-40B4-BE49-F238E27FC236}">
                  <a16:creationId xmlns:a16="http://schemas.microsoft.com/office/drawing/2014/main" id="{71EA93EB-6090-C0C3-0E71-28F82D9EE31B}"/>
                </a:ext>
              </a:extLst>
            </p:cNvPr>
            <p:cNvGrpSpPr/>
            <p:nvPr/>
          </p:nvGrpSpPr>
          <p:grpSpPr>
            <a:xfrm>
              <a:off x="4020741" y="3114807"/>
              <a:ext cx="81864" cy="81907"/>
              <a:chOff x="5677257" y="3004544"/>
              <a:chExt cx="81864" cy="81907"/>
            </a:xfrm>
          </p:grpSpPr>
          <p:sp>
            <p:nvSpPr>
              <p:cNvPr id="1281" name="Freeform: Shape 1280">
                <a:extLst>
                  <a:ext uri="{FF2B5EF4-FFF2-40B4-BE49-F238E27FC236}">
                    <a16:creationId xmlns:a16="http://schemas.microsoft.com/office/drawing/2014/main" id="{1BB41797-E3DA-BAAB-CC6E-E05CB8750D60}"/>
                  </a:ext>
                </a:extLst>
              </p:cNvPr>
              <p:cNvSpPr/>
              <p:nvPr/>
            </p:nvSpPr>
            <p:spPr>
              <a:xfrm>
                <a:off x="5718189" y="3004544"/>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2" name="Freeform: Shape 1281">
                <a:extLst>
                  <a:ext uri="{FF2B5EF4-FFF2-40B4-BE49-F238E27FC236}">
                    <a16:creationId xmlns:a16="http://schemas.microsoft.com/office/drawing/2014/main" id="{1DCFAE19-F928-3140-20F6-B8A8564AEE43}"/>
                  </a:ext>
                </a:extLst>
              </p:cNvPr>
              <p:cNvSpPr/>
              <p:nvPr/>
            </p:nvSpPr>
            <p:spPr>
              <a:xfrm>
                <a:off x="5677257" y="3045520"/>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39" name="Graphic 692">
              <a:extLst>
                <a:ext uri="{FF2B5EF4-FFF2-40B4-BE49-F238E27FC236}">
                  <a16:creationId xmlns:a16="http://schemas.microsoft.com/office/drawing/2014/main" id="{FD03C312-8C23-671B-2C0B-5123526CABF2}"/>
                </a:ext>
              </a:extLst>
            </p:cNvPr>
            <p:cNvGrpSpPr/>
            <p:nvPr/>
          </p:nvGrpSpPr>
          <p:grpSpPr>
            <a:xfrm>
              <a:off x="3944717" y="3113543"/>
              <a:ext cx="81864" cy="81864"/>
              <a:chOff x="5601233" y="3003280"/>
              <a:chExt cx="81864" cy="81864"/>
            </a:xfrm>
          </p:grpSpPr>
          <p:sp>
            <p:nvSpPr>
              <p:cNvPr id="1279" name="Freeform: Shape 1278">
                <a:extLst>
                  <a:ext uri="{FF2B5EF4-FFF2-40B4-BE49-F238E27FC236}">
                    <a16:creationId xmlns:a16="http://schemas.microsoft.com/office/drawing/2014/main" id="{75FCFED8-0750-14E9-B7E6-5043C61380B1}"/>
                  </a:ext>
                </a:extLst>
              </p:cNvPr>
              <p:cNvSpPr/>
              <p:nvPr/>
            </p:nvSpPr>
            <p:spPr>
              <a:xfrm>
                <a:off x="5642166" y="300328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0" name="Freeform: Shape 1279">
                <a:extLst>
                  <a:ext uri="{FF2B5EF4-FFF2-40B4-BE49-F238E27FC236}">
                    <a16:creationId xmlns:a16="http://schemas.microsoft.com/office/drawing/2014/main" id="{C7EA252B-ACE5-C471-57AC-D12F599FA1E6}"/>
                  </a:ext>
                </a:extLst>
              </p:cNvPr>
              <p:cNvSpPr/>
              <p:nvPr/>
            </p:nvSpPr>
            <p:spPr>
              <a:xfrm>
                <a:off x="5601233" y="3044212"/>
                <a:ext cx="81864" cy="4359"/>
              </a:xfrm>
              <a:custGeom>
                <a:avLst/>
                <a:gdLst>
                  <a:gd name="connsiteX0" fmla="*/ 81865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5"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40" name="Graphic 692">
              <a:extLst>
                <a:ext uri="{FF2B5EF4-FFF2-40B4-BE49-F238E27FC236}">
                  <a16:creationId xmlns:a16="http://schemas.microsoft.com/office/drawing/2014/main" id="{73D7D049-5AB2-CB1B-764E-A337962DD90E}"/>
                </a:ext>
              </a:extLst>
            </p:cNvPr>
            <p:cNvGrpSpPr/>
            <p:nvPr/>
          </p:nvGrpSpPr>
          <p:grpSpPr>
            <a:xfrm>
              <a:off x="3853743" y="3081024"/>
              <a:ext cx="81864" cy="81907"/>
              <a:chOff x="5510259" y="2970761"/>
              <a:chExt cx="81864" cy="81907"/>
            </a:xfrm>
          </p:grpSpPr>
          <p:sp>
            <p:nvSpPr>
              <p:cNvPr id="1277" name="Freeform: Shape 1276">
                <a:extLst>
                  <a:ext uri="{FF2B5EF4-FFF2-40B4-BE49-F238E27FC236}">
                    <a16:creationId xmlns:a16="http://schemas.microsoft.com/office/drawing/2014/main" id="{C47251B7-CF4B-8EC0-9897-AC76F09491E3}"/>
                  </a:ext>
                </a:extLst>
              </p:cNvPr>
              <p:cNvSpPr/>
              <p:nvPr/>
            </p:nvSpPr>
            <p:spPr>
              <a:xfrm>
                <a:off x="5551191" y="2970761"/>
                <a:ext cx="4359" cy="81907"/>
              </a:xfrm>
              <a:custGeom>
                <a:avLst/>
                <a:gdLst>
                  <a:gd name="connsiteX0" fmla="*/ 0 w 4359"/>
                  <a:gd name="connsiteY0" fmla="*/ 0 h 81907"/>
                  <a:gd name="connsiteX1" fmla="*/ 0 w 4359"/>
                  <a:gd name="connsiteY1" fmla="*/ 81908 h 81907"/>
                </a:gdLst>
                <a:ahLst/>
                <a:cxnLst>
                  <a:cxn ang="0">
                    <a:pos x="connsiteX0" y="connsiteY0"/>
                  </a:cxn>
                  <a:cxn ang="0">
                    <a:pos x="connsiteX1" y="connsiteY1"/>
                  </a:cxn>
                </a:cxnLst>
                <a:rect l="l" t="t" r="r" b="b"/>
                <a:pathLst>
                  <a:path w="4359" h="81907">
                    <a:moveTo>
                      <a:pt x="0" y="0"/>
                    </a:moveTo>
                    <a:lnTo>
                      <a:pt x="0" y="81908"/>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8" name="Freeform: Shape 1277">
                <a:extLst>
                  <a:ext uri="{FF2B5EF4-FFF2-40B4-BE49-F238E27FC236}">
                    <a16:creationId xmlns:a16="http://schemas.microsoft.com/office/drawing/2014/main" id="{DD177DA2-B891-E979-7A10-10DBC78E952F}"/>
                  </a:ext>
                </a:extLst>
              </p:cNvPr>
              <p:cNvSpPr/>
              <p:nvPr/>
            </p:nvSpPr>
            <p:spPr>
              <a:xfrm>
                <a:off x="5510259" y="3011693"/>
                <a:ext cx="81864" cy="4359"/>
              </a:xfrm>
              <a:custGeom>
                <a:avLst/>
                <a:gdLst>
                  <a:gd name="connsiteX0" fmla="*/ 81865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5"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41" name="Graphic 692">
              <a:extLst>
                <a:ext uri="{FF2B5EF4-FFF2-40B4-BE49-F238E27FC236}">
                  <a16:creationId xmlns:a16="http://schemas.microsoft.com/office/drawing/2014/main" id="{51BB677E-8AE9-25CE-A273-11240F4E2DD1}"/>
                </a:ext>
              </a:extLst>
            </p:cNvPr>
            <p:cNvGrpSpPr/>
            <p:nvPr/>
          </p:nvGrpSpPr>
          <p:grpSpPr>
            <a:xfrm>
              <a:off x="3693240" y="3037520"/>
              <a:ext cx="81864" cy="81864"/>
              <a:chOff x="5349756" y="2927257"/>
              <a:chExt cx="81864" cy="81864"/>
            </a:xfrm>
          </p:grpSpPr>
          <p:sp>
            <p:nvSpPr>
              <p:cNvPr id="1275" name="Freeform: Shape 1274">
                <a:extLst>
                  <a:ext uri="{FF2B5EF4-FFF2-40B4-BE49-F238E27FC236}">
                    <a16:creationId xmlns:a16="http://schemas.microsoft.com/office/drawing/2014/main" id="{C70F6048-FF41-BE2B-B2F3-B83BE109EB89}"/>
                  </a:ext>
                </a:extLst>
              </p:cNvPr>
              <p:cNvSpPr/>
              <p:nvPr/>
            </p:nvSpPr>
            <p:spPr>
              <a:xfrm>
                <a:off x="5390688" y="2927257"/>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6" name="Freeform: Shape 1275">
                <a:extLst>
                  <a:ext uri="{FF2B5EF4-FFF2-40B4-BE49-F238E27FC236}">
                    <a16:creationId xmlns:a16="http://schemas.microsoft.com/office/drawing/2014/main" id="{506CCDD9-240D-5BA3-F2A0-5C055C1AEB8A}"/>
                  </a:ext>
                </a:extLst>
              </p:cNvPr>
              <p:cNvSpPr/>
              <p:nvPr/>
            </p:nvSpPr>
            <p:spPr>
              <a:xfrm>
                <a:off x="5349756" y="2968189"/>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42" name="Graphic 692">
              <a:extLst>
                <a:ext uri="{FF2B5EF4-FFF2-40B4-BE49-F238E27FC236}">
                  <a16:creationId xmlns:a16="http://schemas.microsoft.com/office/drawing/2014/main" id="{CD2FB9C5-FF51-3275-23E4-6FAF84C29AE4}"/>
                </a:ext>
              </a:extLst>
            </p:cNvPr>
            <p:cNvGrpSpPr/>
            <p:nvPr/>
          </p:nvGrpSpPr>
          <p:grpSpPr>
            <a:xfrm>
              <a:off x="3910934" y="3103779"/>
              <a:ext cx="81864" cy="81864"/>
              <a:chOff x="5567450" y="2993516"/>
              <a:chExt cx="81864" cy="81864"/>
            </a:xfrm>
          </p:grpSpPr>
          <p:sp>
            <p:nvSpPr>
              <p:cNvPr id="1273" name="Freeform: Shape 1272">
                <a:extLst>
                  <a:ext uri="{FF2B5EF4-FFF2-40B4-BE49-F238E27FC236}">
                    <a16:creationId xmlns:a16="http://schemas.microsoft.com/office/drawing/2014/main" id="{69672CB3-AD3E-10A9-159B-CB6F8C7C320B}"/>
                  </a:ext>
                </a:extLst>
              </p:cNvPr>
              <p:cNvSpPr/>
              <p:nvPr/>
            </p:nvSpPr>
            <p:spPr>
              <a:xfrm>
                <a:off x="5608382" y="2993516"/>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4" name="Freeform: Shape 1273">
                <a:extLst>
                  <a:ext uri="{FF2B5EF4-FFF2-40B4-BE49-F238E27FC236}">
                    <a16:creationId xmlns:a16="http://schemas.microsoft.com/office/drawing/2014/main" id="{C7291E02-4AD9-059E-C598-8D241EF6B50E}"/>
                  </a:ext>
                </a:extLst>
              </p:cNvPr>
              <p:cNvSpPr/>
              <p:nvPr/>
            </p:nvSpPr>
            <p:spPr>
              <a:xfrm>
                <a:off x="5567450" y="3034448"/>
                <a:ext cx="81864" cy="4359"/>
              </a:xfrm>
              <a:custGeom>
                <a:avLst/>
                <a:gdLst>
                  <a:gd name="connsiteX0" fmla="*/ 81865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5"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43" name="Graphic 692">
              <a:extLst>
                <a:ext uri="{FF2B5EF4-FFF2-40B4-BE49-F238E27FC236}">
                  <a16:creationId xmlns:a16="http://schemas.microsoft.com/office/drawing/2014/main" id="{1B6EB8FA-6BEE-F384-6C68-1D36445565AF}"/>
                </a:ext>
              </a:extLst>
            </p:cNvPr>
            <p:cNvGrpSpPr/>
            <p:nvPr/>
          </p:nvGrpSpPr>
          <p:grpSpPr>
            <a:xfrm>
              <a:off x="4567244" y="3244142"/>
              <a:ext cx="81864" cy="81864"/>
              <a:chOff x="6223760" y="3133879"/>
              <a:chExt cx="81864" cy="81864"/>
            </a:xfrm>
          </p:grpSpPr>
          <p:sp>
            <p:nvSpPr>
              <p:cNvPr id="1271" name="Freeform: Shape 1270">
                <a:extLst>
                  <a:ext uri="{FF2B5EF4-FFF2-40B4-BE49-F238E27FC236}">
                    <a16:creationId xmlns:a16="http://schemas.microsoft.com/office/drawing/2014/main" id="{A884FE14-12BC-6D03-B385-3EE638F90372}"/>
                  </a:ext>
                </a:extLst>
              </p:cNvPr>
              <p:cNvSpPr/>
              <p:nvPr/>
            </p:nvSpPr>
            <p:spPr>
              <a:xfrm>
                <a:off x="6264692" y="3133879"/>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2" name="Freeform: Shape 1271">
                <a:extLst>
                  <a:ext uri="{FF2B5EF4-FFF2-40B4-BE49-F238E27FC236}">
                    <a16:creationId xmlns:a16="http://schemas.microsoft.com/office/drawing/2014/main" id="{8B24C3E0-993A-2332-8394-9B7443313771}"/>
                  </a:ext>
                </a:extLst>
              </p:cNvPr>
              <p:cNvSpPr/>
              <p:nvPr/>
            </p:nvSpPr>
            <p:spPr>
              <a:xfrm>
                <a:off x="6223760" y="3174812"/>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44" name="Graphic 692">
              <a:extLst>
                <a:ext uri="{FF2B5EF4-FFF2-40B4-BE49-F238E27FC236}">
                  <a16:creationId xmlns:a16="http://schemas.microsoft.com/office/drawing/2014/main" id="{F6E8F7B9-B14C-37A6-6F02-8B7576389B84}"/>
                </a:ext>
              </a:extLst>
            </p:cNvPr>
            <p:cNvGrpSpPr/>
            <p:nvPr/>
          </p:nvGrpSpPr>
          <p:grpSpPr>
            <a:xfrm>
              <a:off x="4635464" y="3279233"/>
              <a:ext cx="81864" cy="81864"/>
              <a:chOff x="6291980" y="3168970"/>
              <a:chExt cx="81864" cy="81864"/>
            </a:xfrm>
          </p:grpSpPr>
          <p:sp>
            <p:nvSpPr>
              <p:cNvPr id="1269" name="Freeform: Shape 1268">
                <a:extLst>
                  <a:ext uri="{FF2B5EF4-FFF2-40B4-BE49-F238E27FC236}">
                    <a16:creationId xmlns:a16="http://schemas.microsoft.com/office/drawing/2014/main" id="{D6CF5357-F8A7-2DEB-2768-B328D0648E3D}"/>
                  </a:ext>
                </a:extLst>
              </p:cNvPr>
              <p:cNvSpPr/>
              <p:nvPr/>
            </p:nvSpPr>
            <p:spPr>
              <a:xfrm>
                <a:off x="6332913" y="316897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0" name="Freeform: Shape 1269">
                <a:extLst>
                  <a:ext uri="{FF2B5EF4-FFF2-40B4-BE49-F238E27FC236}">
                    <a16:creationId xmlns:a16="http://schemas.microsoft.com/office/drawing/2014/main" id="{EABB3688-297E-69A1-FF41-6F88190F8079}"/>
                  </a:ext>
                </a:extLst>
              </p:cNvPr>
              <p:cNvSpPr/>
              <p:nvPr/>
            </p:nvSpPr>
            <p:spPr>
              <a:xfrm>
                <a:off x="6291980" y="3209903"/>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45" name="Graphic 692">
              <a:extLst>
                <a:ext uri="{FF2B5EF4-FFF2-40B4-BE49-F238E27FC236}">
                  <a16:creationId xmlns:a16="http://schemas.microsoft.com/office/drawing/2014/main" id="{4B441340-24EF-2FF2-EAF1-FCABACD473C8}"/>
                </a:ext>
              </a:extLst>
            </p:cNvPr>
            <p:cNvGrpSpPr/>
            <p:nvPr/>
          </p:nvGrpSpPr>
          <p:grpSpPr>
            <a:xfrm>
              <a:off x="2810822" y="2688877"/>
              <a:ext cx="81864" cy="81864"/>
              <a:chOff x="4467338" y="2578614"/>
              <a:chExt cx="81864" cy="81864"/>
            </a:xfrm>
          </p:grpSpPr>
          <p:sp>
            <p:nvSpPr>
              <p:cNvPr id="1267" name="Freeform: Shape 1266">
                <a:extLst>
                  <a:ext uri="{FF2B5EF4-FFF2-40B4-BE49-F238E27FC236}">
                    <a16:creationId xmlns:a16="http://schemas.microsoft.com/office/drawing/2014/main" id="{CC2CE051-76C4-36F0-CE2E-CE0BF22C5F40}"/>
                  </a:ext>
                </a:extLst>
              </p:cNvPr>
              <p:cNvSpPr/>
              <p:nvPr/>
            </p:nvSpPr>
            <p:spPr>
              <a:xfrm>
                <a:off x="4508270" y="2578614"/>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8" name="Freeform: Shape 1267">
                <a:extLst>
                  <a:ext uri="{FF2B5EF4-FFF2-40B4-BE49-F238E27FC236}">
                    <a16:creationId xmlns:a16="http://schemas.microsoft.com/office/drawing/2014/main" id="{668C3197-D54B-232B-F2B2-0D44C36B0CE8}"/>
                  </a:ext>
                </a:extLst>
              </p:cNvPr>
              <p:cNvSpPr/>
              <p:nvPr/>
            </p:nvSpPr>
            <p:spPr>
              <a:xfrm>
                <a:off x="4467338" y="2619546"/>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46" name="Graphic 692">
              <a:extLst>
                <a:ext uri="{FF2B5EF4-FFF2-40B4-BE49-F238E27FC236}">
                  <a16:creationId xmlns:a16="http://schemas.microsoft.com/office/drawing/2014/main" id="{85C8D074-5896-A44F-64A8-15B678F6628C}"/>
                </a:ext>
              </a:extLst>
            </p:cNvPr>
            <p:cNvGrpSpPr/>
            <p:nvPr/>
          </p:nvGrpSpPr>
          <p:grpSpPr>
            <a:xfrm>
              <a:off x="2723073" y="2675233"/>
              <a:ext cx="81907" cy="81864"/>
              <a:chOff x="4379589" y="2564970"/>
              <a:chExt cx="81907" cy="81864"/>
            </a:xfrm>
          </p:grpSpPr>
          <p:sp>
            <p:nvSpPr>
              <p:cNvPr id="1265" name="Freeform: Shape 1264">
                <a:extLst>
                  <a:ext uri="{FF2B5EF4-FFF2-40B4-BE49-F238E27FC236}">
                    <a16:creationId xmlns:a16="http://schemas.microsoft.com/office/drawing/2014/main" id="{F9BFAC4A-B906-208C-EE67-49252748940A}"/>
                  </a:ext>
                </a:extLst>
              </p:cNvPr>
              <p:cNvSpPr/>
              <p:nvPr/>
            </p:nvSpPr>
            <p:spPr>
              <a:xfrm>
                <a:off x="4420521" y="256497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6" name="Freeform: Shape 1265">
                <a:extLst>
                  <a:ext uri="{FF2B5EF4-FFF2-40B4-BE49-F238E27FC236}">
                    <a16:creationId xmlns:a16="http://schemas.microsoft.com/office/drawing/2014/main" id="{577A0F80-DF90-05E9-EEE8-F81531252A1D}"/>
                  </a:ext>
                </a:extLst>
              </p:cNvPr>
              <p:cNvSpPr/>
              <p:nvPr/>
            </p:nvSpPr>
            <p:spPr>
              <a:xfrm>
                <a:off x="4379589" y="2605902"/>
                <a:ext cx="81907" cy="4359"/>
              </a:xfrm>
              <a:custGeom>
                <a:avLst/>
                <a:gdLst>
                  <a:gd name="connsiteX0" fmla="*/ 81908 w 81907"/>
                  <a:gd name="connsiteY0" fmla="*/ 0 h 4359"/>
                  <a:gd name="connsiteX1" fmla="*/ 0 w 81907"/>
                  <a:gd name="connsiteY1" fmla="*/ 0 h 4359"/>
                </a:gdLst>
                <a:ahLst/>
                <a:cxnLst>
                  <a:cxn ang="0">
                    <a:pos x="connsiteX0" y="connsiteY0"/>
                  </a:cxn>
                  <a:cxn ang="0">
                    <a:pos x="connsiteX1" y="connsiteY1"/>
                  </a:cxn>
                </a:cxnLst>
                <a:rect l="l" t="t" r="r" b="b"/>
                <a:pathLst>
                  <a:path w="81907" h="4359">
                    <a:moveTo>
                      <a:pt x="81908"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47" name="Graphic 692">
              <a:extLst>
                <a:ext uri="{FF2B5EF4-FFF2-40B4-BE49-F238E27FC236}">
                  <a16:creationId xmlns:a16="http://schemas.microsoft.com/office/drawing/2014/main" id="{B873D853-99D2-D66B-27F5-11CD15CB8677}"/>
                </a:ext>
              </a:extLst>
            </p:cNvPr>
            <p:cNvGrpSpPr/>
            <p:nvPr/>
          </p:nvGrpSpPr>
          <p:grpSpPr>
            <a:xfrm>
              <a:off x="1961490" y="2382169"/>
              <a:ext cx="81907" cy="81864"/>
              <a:chOff x="3618006" y="2271906"/>
              <a:chExt cx="81907" cy="81864"/>
            </a:xfrm>
          </p:grpSpPr>
          <p:sp>
            <p:nvSpPr>
              <p:cNvPr id="1263" name="Freeform: Shape 1262">
                <a:extLst>
                  <a:ext uri="{FF2B5EF4-FFF2-40B4-BE49-F238E27FC236}">
                    <a16:creationId xmlns:a16="http://schemas.microsoft.com/office/drawing/2014/main" id="{9B5FBBA2-9F3E-4711-DCC4-FBA5B8C64D08}"/>
                  </a:ext>
                </a:extLst>
              </p:cNvPr>
              <p:cNvSpPr/>
              <p:nvPr/>
            </p:nvSpPr>
            <p:spPr>
              <a:xfrm>
                <a:off x="3658982" y="2271906"/>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4" name="Freeform: Shape 1263">
                <a:extLst>
                  <a:ext uri="{FF2B5EF4-FFF2-40B4-BE49-F238E27FC236}">
                    <a16:creationId xmlns:a16="http://schemas.microsoft.com/office/drawing/2014/main" id="{B486CE13-33E4-F813-5A90-32BBB8126DFA}"/>
                  </a:ext>
                </a:extLst>
              </p:cNvPr>
              <p:cNvSpPr/>
              <p:nvPr/>
            </p:nvSpPr>
            <p:spPr>
              <a:xfrm>
                <a:off x="3618006" y="2312838"/>
                <a:ext cx="81907" cy="4359"/>
              </a:xfrm>
              <a:custGeom>
                <a:avLst/>
                <a:gdLst>
                  <a:gd name="connsiteX0" fmla="*/ 81908 w 81907"/>
                  <a:gd name="connsiteY0" fmla="*/ 0 h 4359"/>
                  <a:gd name="connsiteX1" fmla="*/ 0 w 81907"/>
                  <a:gd name="connsiteY1" fmla="*/ 0 h 4359"/>
                </a:gdLst>
                <a:ahLst/>
                <a:cxnLst>
                  <a:cxn ang="0">
                    <a:pos x="connsiteX0" y="connsiteY0"/>
                  </a:cxn>
                  <a:cxn ang="0">
                    <a:pos x="connsiteX1" y="connsiteY1"/>
                  </a:cxn>
                </a:cxnLst>
                <a:rect l="l" t="t" r="r" b="b"/>
                <a:pathLst>
                  <a:path w="81907" h="4359">
                    <a:moveTo>
                      <a:pt x="81908"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48" name="Graphic 692">
              <a:extLst>
                <a:ext uri="{FF2B5EF4-FFF2-40B4-BE49-F238E27FC236}">
                  <a16:creationId xmlns:a16="http://schemas.microsoft.com/office/drawing/2014/main" id="{4AE1C242-D652-3207-57F1-3FC57B6097DD}"/>
                </a:ext>
              </a:extLst>
            </p:cNvPr>
            <p:cNvGrpSpPr/>
            <p:nvPr/>
          </p:nvGrpSpPr>
          <p:grpSpPr>
            <a:xfrm>
              <a:off x="1752252" y="2297689"/>
              <a:ext cx="81907" cy="81864"/>
              <a:chOff x="3408768" y="2187426"/>
              <a:chExt cx="81907" cy="81864"/>
            </a:xfrm>
          </p:grpSpPr>
          <p:sp>
            <p:nvSpPr>
              <p:cNvPr id="1261" name="Freeform: Shape 1260">
                <a:extLst>
                  <a:ext uri="{FF2B5EF4-FFF2-40B4-BE49-F238E27FC236}">
                    <a16:creationId xmlns:a16="http://schemas.microsoft.com/office/drawing/2014/main" id="{02E8EE46-F8C1-3BB1-BBFB-9BEA433DFCCC}"/>
                  </a:ext>
                </a:extLst>
              </p:cNvPr>
              <p:cNvSpPr/>
              <p:nvPr/>
            </p:nvSpPr>
            <p:spPr>
              <a:xfrm>
                <a:off x="3449744" y="2187426"/>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2" name="Freeform: Shape 1261">
                <a:extLst>
                  <a:ext uri="{FF2B5EF4-FFF2-40B4-BE49-F238E27FC236}">
                    <a16:creationId xmlns:a16="http://schemas.microsoft.com/office/drawing/2014/main" id="{852CD657-11FE-287E-ED9C-6EDC80C5CFA2}"/>
                  </a:ext>
                </a:extLst>
              </p:cNvPr>
              <p:cNvSpPr/>
              <p:nvPr/>
            </p:nvSpPr>
            <p:spPr>
              <a:xfrm>
                <a:off x="3408768" y="2228358"/>
                <a:ext cx="81907" cy="4359"/>
              </a:xfrm>
              <a:custGeom>
                <a:avLst/>
                <a:gdLst>
                  <a:gd name="connsiteX0" fmla="*/ 81908 w 81907"/>
                  <a:gd name="connsiteY0" fmla="*/ 0 h 4359"/>
                  <a:gd name="connsiteX1" fmla="*/ 0 w 81907"/>
                  <a:gd name="connsiteY1" fmla="*/ 0 h 4359"/>
                </a:gdLst>
                <a:ahLst/>
                <a:cxnLst>
                  <a:cxn ang="0">
                    <a:pos x="connsiteX0" y="connsiteY0"/>
                  </a:cxn>
                  <a:cxn ang="0">
                    <a:pos x="connsiteX1" y="connsiteY1"/>
                  </a:cxn>
                </a:cxnLst>
                <a:rect l="l" t="t" r="r" b="b"/>
                <a:pathLst>
                  <a:path w="81907" h="4359">
                    <a:moveTo>
                      <a:pt x="81908"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49" name="Graphic 692">
              <a:extLst>
                <a:ext uri="{FF2B5EF4-FFF2-40B4-BE49-F238E27FC236}">
                  <a16:creationId xmlns:a16="http://schemas.microsoft.com/office/drawing/2014/main" id="{D2914FAC-B7AD-0E0E-5B39-699CF7BB8CCC}"/>
                </a:ext>
              </a:extLst>
            </p:cNvPr>
            <p:cNvGrpSpPr/>
            <p:nvPr/>
          </p:nvGrpSpPr>
          <p:grpSpPr>
            <a:xfrm>
              <a:off x="1483251" y="2239233"/>
              <a:ext cx="81864" cy="81864"/>
              <a:chOff x="3139767" y="2128970"/>
              <a:chExt cx="81864" cy="81864"/>
            </a:xfrm>
          </p:grpSpPr>
          <p:sp>
            <p:nvSpPr>
              <p:cNvPr id="1259" name="Freeform: Shape 1258">
                <a:extLst>
                  <a:ext uri="{FF2B5EF4-FFF2-40B4-BE49-F238E27FC236}">
                    <a16:creationId xmlns:a16="http://schemas.microsoft.com/office/drawing/2014/main" id="{AE9EA385-F505-061E-439A-8AD2E7E624CD}"/>
                  </a:ext>
                </a:extLst>
              </p:cNvPr>
              <p:cNvSpPr/>
              <p:nvPr/>
            </p:nvSpPr>
            <p:spPr>
              <a:xfrm>
                <a:off x="3180699" y="2128970"/>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0" name="Freeform: Shape 1259">
                <a:extLst>
                  <a:ext uri="{FF2B5EF4-FFF2-40B4-BE49-F238E27FC236}">
                    <a16:creationId xmlns:a16="http://schemas.microsoft.com/office/drawing/2014/main" id="{0DFF47B6-D878-2908-FD9F-C298AC548B9C}"/>
                  </a:ext>
                </a:extLst>
              </p:cNvPr>
              <p:cNvSpPr/>
              <p:nvPr/>
            </p:nvSpPr>
            <p:spPr>
              <a:xfrm>
                <a:off x="3139767" y="2169903"/>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50" name="Graphic 692">
              <a:extLst>
                <a:ext uri="{FF2B5EF4-FFF2-40B4-BE49-F238E27FC236}">
                  <a16:creationId xmlns:a16="http://schemas.microsoft.com/office/drawing/2014/main" id="{7D3361B2-2D43-A735-4C94-2D4164F2F7AC}"/>
                </a:ext>
              </a:extLst>
            </p:cNvPr>
            <p:cNvGrpSpPr/>
            <p:nvPr/>
          </p:nvGrpSpPr>
          <p:grpSpPr>
            <a:xfrm>
              <a:off x="-199764" y="1864915"/>
              <a:ext cx="81907" cy="81864"/>
              <a:chOff x="1456752" y="1754652"/>
              <a:chExt cx="81907" cy="81864"/>
            </a:xfrm>
          </p:grpSpPr>
          <p:sp>
            <p:nvSpPr>
              <p:cNvPr id="1257" name="Freeform: Shape 1256">
                <a:extLst>
                  <a:ext uri="{FF2B5EF4-FFF2-40B4-BE49-F238E27FC236}">
                    <a16:creationId xmlns:a16="http://schemas.microsoft.com/office/drawing/2014/main" id="{FAFE602B-AE05-FD8A-33F1-5EA64246D3BD}"/>
                  </a:ext>
                </a:extLst>
              </p:cNvPr>
              <p:cNvSpPr/>
              <p:nvPr/>
            </p:nvSpPr>
            <p:spPr>
              <a:xfrm>
                <a:off x="1497684" y="1754652"/>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8" name="Freeform: Shape 1257">
                <a:extLst>
                  <a:ext uri="{FF2B5EF4-FFF2-40B4-BE49-F238E27FC236}">
                    <a16:creationId xmlns:a16="http://schemas.microsoft.com/office/drawing/2014/main" id="{DC480353-8C2E-B725-4F5B-2633662EB7B7}"/>
                  </a:ext>
                </a:extLst>
              </p:cNvPr>
              <p:cNvSpPr/>
              <p:nvPr/>
            </p:nvSpPr>
            <p:spPr>
              <a:xfrm>
                <a:off x="1456752" y="1795585"/>
                <a:ext cx="81907" cy="4359"/>
              </a:xfrm>
              <a:custGeom>
                <a:avLst/>
                <a:gdLst>
                  <a:gd name="connsiteX0" fmla="*/ 81908 w 81907"/>
                  <a:gd name="connsiteY0" fmla="*/ 0 h 4359"/>
                  <a:gd name="connsiteX1" fmla="*/ 0 w 81907"/>
                  <a:gd name="connsiteY1" fmla="*/ 0 h 4359"/>
                </a:gdLst>
                <a:ahLst/>
                <a:cxnLst>
                  <a:cxn ang="0">
                    <a:pos x="connsiteX0" y="connsiteY0"/>
                  </a:cxn>
                  <a:cxn ang="0">
                    <a:pos x="connsiteX1" y="connsiteY1"/>
                  </a:cxn>
                </a:cxnLst>
                <a:rect l="l" t="t" r="r" b="b"/>
                <a:pathLst>
                  <a:path w="81907" h="4359">
                    <a:moveTo>
                      <a:pt x="81908"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51" name="Graphic 692">
              <a:extLst>
                <a:ext uri="{FF2B5EF4-FFF2-40B4-BE49-F238E27FC236}">
                  <a16:creationId xmlns:a16="http://schemas.microsoft.com/office/drawing/2014/main" id="{FA9103F2-C9DB-465D-EEC3-F48B4475DE8F}"/>
                </a:ext>
              </a:extLst>
            </p:cNvPr>
            <p:cNvGrpSpPr/>
            <p:nvPr/>
          </p:nvGrpSpPr>
          <p:grpSpPr>
            <a:xfrm>
              <a:off x="-579226" y="1782397"/>
              <a:ext cx="81864" cy="81864"/>
              <a:chOff x="1077290" y="1672134"/>
              <a:chExt cx="81864" cy="81864"/>
            </a:xfrm>
          </p:grpSpPr>
          <p:sp>
            <p:nvSpPr>
              <p:cNvPr id="1255" name="Freeform: Shape 1254">
                <a:extLst>
                  <a:ext uri="{FF2B5EF4-FFF2-40B4-BE49-F238E27FC236}">
                    <a16:creationId xmlns:a16="http://schemas.microsoft.com/office/drawing/2014/main" id="{C99A5EE9-EA70-EA68-8246-9F4949B21221}"/>
                  </a:ext>
                </a:extLst>
              </p:cNvPr>
              <p:cNvSpPr/>
              <p:nvPr/>
            </p:nvSpPr>
            <p:spPr>
              <a:xfrm>
                <a:off x="1118222" y="1672134"/>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6" name="Freeform: Shape 1255">
                <a:extLst>
                  <a:ext uri="{FF2B5EF4-FFF2-40B4-BE49-F238E27FC236}">
                    <a16:creationId xmlns:a16="http://schemas.microsoft.com/office/drawing/2014/main" id="{4440BE43-38A6-8F60-07A8-65BDA4BCDDDD}"/>
                  </a:ext>
                </a:extLst>
              </p:cNvPr>
              <p:cNvSpPr/>
              <p:nvPr/>
            </p:nvSpPr>
            <p:spPr>
              <a:xfrm>
                <a:off x="1077290" y="1713066"/>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52" name="Graphic 692">
              <a:extLst>
                <a:ext uri="{FF2B5EF4-FFF2-40B4-BE49-F238E27FC236}">
                  <a16:creationId xmlns:a16="http://schemas.microsoft.com/office/drawing/2014/main" id="{555FFDB8-F3A9-5EF7-A521-40C89A986F3E}"/>
                </a:ext>
              </a:extLst>
            </p:cNvPr>
            <p:cNvGrpSpPr/>
            <p:nvPr/>
          </p:nvGrpSpPr>
          <p:grpSpPr>
            <a:xfrm>
              <a:off x="-605860" y="1760950"/>
              <a:ext cx="81864" cy="81864"/>
              <a:chOff x="1050656" y="1650687"/>
              <a:chExt cx="81864" cy="81864"/>
            </a:xfrm>
          </p:grpSpPr>
          <p:sp>
            <p:nvSpPr>
              <p:cNvPr id="1253" name="Freeform: Shape 1252">
                <a:extLst>
                  <a:ext uri="{FF2B5EF4-FFF2-40B4-BE49-F238E27FC236}">
                    <a16:creationId xmlns:a16="http://schemas.microsoft.com/office/drawing/2014/main" id="{6ABB13F9-ECE4-118C-5807-59C8F6DB4AE8}"/>
                  </a:ext>
                </a:extLst>
              </p:cNvPr>
              <p:cNvSpPr/>
              <p:nvPr/>
            </p:nvSpPr>
            <p:spPr>
              <a:xfrm>
                <a:off x="1091588" y="1650687"/>
                <a:ext cx="4359" cy="81864"/>
              </a:xfrm>
              <a:custGeom>
                <a:avLst/>
                <a:gdLst>
                  <a:gd name="connsiteX0" fmla="*/ 0 w 4359"/>
                  <a:gd name="connsiteY0" fmla="*/ 0 h 81864"/>
                  <a:gd name="connsiteX1" fmla="*/ 0 w 4359"/>
                  <a:gd name="connsiteY1" fmla="*/ 81864 h 81864"/>
                </a:gdLst>
                <a:ahLst/>
                <a:cxnLst>
                  <a:cxn ang="0">
                    <a:pos x="connsiteX0" y="connsiteY0"/>
                  </a:cxn>
                  <a:cxn ang="0">
                    <a:pos x="connsiteX1" y="connsiteY1"/>
                  </a:cxn>
                </a:cxnLst>
                <a:rect l="l" t="t" r="r" b="b"/>
                <a:pathLst>
                  <a:path w="4359" h="81864">
                    <a:moveTo>
                      <a:pt x="0" y="0"/>
                    </a:moveTo>
                    <a:lnTo>
                      <a:pt x="0" y="81864"/>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4" name="Freeform: Shape 1253">
                <a:extLst>
                  <a:ext uri="{FF2B5EF4-FFF2-40B4-BE49-F238E27FC236}">
                    <a16:creationId xmlns:a16="http://schemas.microsoft.com/office/drawing/2014/main" id="{64BEF87C-886F-9321-6A1A-578A427D6C4F}"/>
                  </a:ext>
                </a:extLst>
              </p:cNvPr>
              <p:cNvSpPr/>
              <p:nvPr/>
            </p:nvSpPr>
            <p:spPr>
              <a:xfrm>
                <a:off x="1050656" y="1691619"/>
                <a:ext cx="81864" cy="4359"/>
              </a:xfrm>
              <a:custGeom>
                <a:avLst/>
                <a:gdLst>
                  <a:gd name="connsiteX0" fmla="*/ 81864 w 81864"/>
                  <a:gd name="connsiteY0" fmla="*/ 0 h 4359"/>
                  <a:gd name="connsiteX1" fmla="*/ 0 w 81864"/>
                  <a:gd name="connsiteY1" fmla="*/ 0 h 4359"/>
                </a:gdLst>
                <a:ahLst/>
                <a:cxnLst>
                  <a:cxn ang="0">
                    <a:pos x="connsiteX0" y="connsiteY0"/>
                  </a:cxn>
                  <a:cxn ang="0">
                    <a:pos x="connsiteX1" y="connsiteY1"/>
                  </a:cxn>
                </a:cxnLst>
                <a:rect l="l" t="t" r="r" b="b"/>
                <a:pathLst>
                  <a:path w="81864" h="4359">
                    <a:moveTo>
                      <a:pt x="81864" y="0"/>
                    </a:moveTo>
                    <a:lnTo>
                      <a:pt x="0" y="0"/>
                    </a:lnTo>
                  </a:path>
                </a:pathLst>
              </a:custGeom>
              <a:ln w="8718"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sp>
        <p:nvSpPr>
          <p:cNvPr id="1299" name="Graphic 696">
            <a:extLst>
              <a:ext uri="{FF2B5EF4-FFF2-40B4-BE49-F238E27FC236}">
                <a16:creationId xmlns:a16="http://schemas.microsoft.com/office/drawing/2014/main" id="{659A929F-9D11-ACA0-5606-350183CBCBD5}"/>
              </a:ext>
            </a:extLst>
          </p:cNvPr>
          <p:cNvSpPr/>
          <p:nvPr/>
        </p:nvSpPr>
        <p:spPr>
          <a:xfrm>
            <a:off x="1086736" y="1594006"/>
            <a:ext cx="6255616" cy="1562724"/>
          </a:xfrm>
          <a:custGeom>
            <a:avLst/>
            <a:gdLst>
              <a:gd name="connsiteX0" fmla="*/ 0 w 6255616"/>
              <a:gd name="connsiteY0" fmla="*/ 0 h 1562724"/>
              <a:gd name="connsiteX1" fmla="*/ 29315 w 6255616"/>
              <a:gd name="connsiteY1" fmla="*/ 0 h 1562724"/>
              <a:gd name="connsiteX2" fmla="*/ 29315 w 6255616"/>
              <a:gd name="connsiteY2" fmla="*/ 18218 h 1562724"/>
              <a:gd name="connsiteX3" fmla="*/ 82046 w 6255616"/>
              <a:gd name="connsiteY3" fmla="*/ 18218 h 1562724"/>
              <a:gd name="connsiteX4" fmla="*/ 82046 w 6255616"/>
              <a:gd name="connsiteY4" fmla="*/ 42334 h 1562724"/>
              <a:gd name="connsiteX5" fmla="*/ 117215 w 6255616"/>
              <a:gd name="connsiteY5" fmla="*/ 42334 h 1562724"/>
              <a:gd name="connsiteX6" fmla="*/ 117215 w 6255616"/>
              <a:gd name="connsiteY6" fmla="*/ 52775 h 1562724"/>
              <a:gd name="connsiteX7" fmla="*/ 162782 w 6255616"/>
              <a:gd name="connsiteY7" fmla="*/ 52775 h 1562724"/>
              <a:gd name="connsiteX8" fmla="*/ 162782 w 6255616"/>
              <a:gd name="connsiteY8" fmla="*/ 61251 h 1562724"/>
              <a:gd name="connsiteX9" fmla="*/ 169292 w 6255616"/>
              <a:gd name="connsiteY9" fmla="*/ 61251 h 1562724"/>
              <a:gd name="connsiteX10" fmla="*/ 169292 w 6255616"/>
              <a:gd name="connsiteY10" fmla="*/ 74925 h 1562724"/>
              <a:gd name="connsiteX11" fmla="*/ 210970 w 6255616"/>
              <a:gd name="connsiteY11" fmla="*/ 74925 h 1562724"/>
              <a:gd name="connsiteX12" fmla="*/ 210970 w 6255616"/>
              <a:gd name="connsiteY12" fmla="*/ 85367 h 1562724"/>
              <a:gd name="connsiteX13" fmla="*/ 223334 w 6255616"/>
              <a:gd name="connsiteY13" fmla="*/ 85367 h 1562724"/>
              <a:gd name="connsiteX14" fmla="*/ 223334 w 6255616"/>
              <a:gd name="connsiteY14" fmla="*/ 95808 h 1562724"/>
              <a:gd name="connsiteX15" fmla="*/ 395902 w 6255616"/>
              <a:gd name="connsiteY15" fmla="*/ 95808 h 1562724"/>
              <a:gd name="connsiteX16" fmla="*/ 395902 w 6255616"/>
              <a:gd name="connsiteY16" fmla="*/ 105594 h 1562724"/>
              <a:gd name="connsiteX17" fmla="*/ 440857 w 6255616"/>
              <a:gd name="connsiteY17" fmla="*/ 105594 h 1562724"/>
              <a:gd name="connsiteX18" fmla="*/ 440857 w 6255616"/>
              <a:gd name="connsiteY18" fmla="*/ 114070 h 1562724"/>
              <a:gd name="connsiteX19" fmla="*/ 449988 w 6255616"/>
              <a:gd name="connsiteY19" fmla="*/ 114070 h 1562724"/>
              <a:gd name="connsiteX20" fmla="*/ 449988 w 6255616"/>
              <a:gd name="connsiteY20" fmla="*/ 125778 h 1562724"/>
              <a:gd name="connsiteX21" fmla="*/ 481268 w 6255616"/>
              <a:gd name="connsiteY21" fmla="*/ 125778 h 1562724"/>
              <a:gd name="connsiteX22" fmla="*/ 481268 w 6255616"/>
              <a:gd name="connsiteY22" fmla="*/ 133598 h 1562724"/>
              <a:gd name="connsiteX23" fmla="*/ 491055 w 6255616"/>
              <a:gd name="connsiteY23" fmla="*/ 133598 h 1562724"/>
              <a:gd name="connsiteX24" fmla="*/ 491055 w 6255616"/>
              <a:gd name="connsiteY24" fmla="*/ 147273 h 1562724"/>
              <a:gd name="connsiteX25" fmla="*/ 519059 w 6255616"/>
              <a:gd name="connsiteY25" fmla="*/ 147273 h 1562724"/>
              <a:gd name="connsiteX26" fmla="*/ 519059 w 6255616"/>
              <a:gd name="connsiteY26" fmla="*/ 170078 h 1562724"/>
              <a:gd name="connsiteX27" fmla="*/ 606348 w 6255616"/>
              <a:gd name="connsiteY27" fmla="*/ 170078 h 1562724"/>
              <a:gd name="connsiteX28" fmla="*/ 606348 w 6255616"/>
              <a:gd name="connsiteY28" fmla="*/ 176587 h 1562724"/>
              <a:gd name="connsiteX29" fmla="*/ 633696 w 6255616"/>
              <a:gd name="connsiteY29" fmla="*/ 176587 h 1562724"/>
              <a:gd name="connsiteX30" fmla="*/ 633696 w 6255616"/>
              <a:gd name="connsiteY30" fmla="*/ 186374 h 1562724"/>
              <a:gd name="connsiteX31" fmla="*/ 650647 w 6255616"/>
              <a:gd name="connsiteY31" fmla="*/ 186374 h 1562724"/>
              <a:gd name="connsiteX32" fmla="*/ 650647 w 6255616"/>
              <a:gd name="connsiteY32" fmla="*/ 196815 h 1562724"/>
              <a:gd name="connsiteX33" fmla="*/ 747023 w 6255616"/>
              <a:gd name="connsiteY33" fmla="*/ 196815 h 1562724"/>
              <a:gd name="connsiteX34" fmla="*/ 747023 w 6255616"/>
              <a:gd name="connsiteY34" fmla="*/ 206601 h 1562724"/>
              <a:gd name="connsiteX35" fmla="*/ 764586 w 6255616"/>
              <a:gd name="connsiteY35" fmla="*/ 206601 h 1562724"/>
              <a:gd name="connsiteX36" fmla="*/ 764586 w 6255616"/>
              <a:gd name="connsiteY36" fmla="*/ 216387 h 1562724"/>
              <a:gd name="connsiteX37" fmla="*/ 924135 w 6255616"/>
              <a:gd name="connsiteY37" fmla="*/ 216387 h 1562724"/>
              <a:gd name="connsiteX38" fmla="*/ 924135 w 6255616"/>
              <a:gd name="connsiteY38" fmla="*/ 231372 h 1562724"/>
              <a:gd name="connsiteX39" fmla="*/ 939775 w 6255616"/>
              <a:gd name="connsiteY39" fmla="*/ 231372 h 1562724"/>
              <a:gd name="connsiteX40" fmla="*/ 939775 w 6255616"/>
              <a:gd name="connsiteY40" fmla="*/ 239192 h 1562724"/>
              <a:gd name="connsiteX41" fmla="*/ 1012735 w 6255616"/>
              <a:gd name="connsiteY41" fmla="*/ 239192 h 1562724"/>
              <a:gd name="connsiteX42" fmla="*/ 1012735 w 6255616"/>
              <a:gd name="connsiteY42" fmla="*/ 249634 h 1562724"/>
              <a:gd name="connsiteX43" fmla="*/ 1025098 w 6255616"/>
              <a:gd name="connsiteY43" fmla="*/ 249634 h 1562724"/>
              <a:gd name="connsiteX44" fmla="*/ 1025098 w 6255616"/>
              <a:gd name="connsiteY44" fmla="*/ 262653 h 1562724"/>
              <a:gd name="connsiteX45" fmla="*/ 1036807 w 6255616"/>
              <a:gd name="connsiteY45" fmla="*/ 262653 h 1562724"/>
              <a:gd name="connsiteX46" fmla="*/ 1036807 w 6255616"/>
              <a:gd name="connsiteY46" fmla="*/ 270473 h 1562724"/>
              <a:gd name="connsiteX47" fmla="*/ 1075864 w 6255616"/>
              <a:gd name="connsiteY47" fmla="*/ 270473 h 1562724"/>
              <a:gd name="connsiteX48" fmla="*/ 1075864 w 6255616"/>
              <a:gd name="connsiteY48" fmla="*/ 281526 h 1562724"/>
              <a:gd name="connsiteX49" fmla="*/ 1156600 w 6255616"/>
              <a:gd name="connsiteY49" fmla="*/ 281526 h 1562724"/>
              <a:gd name="connsiteX50" fmla="*/ 1156600 w 6255616"/>
              <a:gd name="connsiteY50" fmla="*/ 293890 h 1562724"/>
              <a:gd name="connsiteX51" fmla="*/ 1213263 w 6255616"/>
              <a:gd name="connsiteY51" fmla="*/ 293890 h 1562724"/>
              <a:gd name="connsiteX52" fmla="*/ 1213263 w 6255616"/>
              <a:gd name="connsiteY52" fmla="*/ 301710 h 1562724"/>
              <a:gd name="connsiteX53" fmla="*/ 1234102 w 6255616"/>
              <a:gd name="connsiteY53" fmla="*/ 301710 h 1562724"/>
              <a:gd name="connsiteX54" fmla="*/ 1234102 w 6255616"/>
              <a:gd name="connsiteY54" fmla="*/ 310841 h 1562724"/>
              <a:gd name="connsiteX55" fmla="*/ 1329168 w 6255616"/>
              <a:gd name="connsiteY55" fmla="*/ 310841 h 1562724"/>
              <a:gd name="connsiteX56" fmla="*/ 1329168 w 6255616"/>
              <a:gd name="connsiteY56" fmla="*/ 322549 h 1562724"/>
              <a:gd name="connsiteX57" fmla="*/ 1342187 w 6255616"/>
              <a:gd name="connsiteY57" fmla="*/ 322549 h 1562724"/>
              <a:gd name="connsiteX58" fmla="*/ 1342187 w 6255616"/>
              <a:gd name="connsiteY58" fmla="*/ 332336 h 1562724"/>
              <a:gd name="connsiteX59" fmla="*/ 1364337 w 6255616"/>
              <a:gd name="connsiteY59" fmla="*/ 332336 h 1562724"/>
              <a:gd name="connsiteX60" fmla="*/ 1364337 w 6255616"/>
              <a:gd name="connsiteY60" fmla="*/ 342777 h 1562724"/>
              <a:gd name="connsiteX61" fmla="*/ 1389720 w 6255616"/>
              <a:gd name="connsiteY61" fmla="*/ 342777 h 1562724"/>
              <a:gd name="connsiteX62" fmla="*/ 1389720 w 6255616"/>
              <a:gd name="connsiteY62" fmla="*/ 355141 h 1562724"/>
              <a:gd name="connsiteX63" fmla="*/ 1493261 w 6255616"/>
              <a:gd name="connsiteY63" fmla="*/ 355141 h 1562724"/>
              <a:gd name="connsiteX64" fmla="*/ 1493261 w 6255616"/>
              <a:gd name="connsiteY64" fmla="*/ 364272 h 1562724"/>
              <a:gd name="connsiteX65" fmla="*/ 1585093 w 6255616"/>
              <a:gd name="connsiteY65" fmla="*/ 364272 h 1562724"/>
              <a:gd name="connsiteX66" fmla="*/ 1585093 w 6255616"/>
              <a:gd name="connsiteY66" fmla="*/ 372092 h 1562724"/>
              <a:gd name="connsiteX67" fmla="*/ 1618951 w 6255616"/>
              <a:gd name="connsiteY67" fmla="*/ 372092 h 1562724"/>
              <a:gd name="connsiteX68" fmla="*/ 1618951 w 6255616"/>
              <a:gd name="connsiteY68" fmla="*/ 385766 h 1562724"/>
              <a:gd name="connsiteX69" fmla="*/ 1749841 w 6255616"/>
              <a:gd name="connsiteY69" fmla="*/ 385766 h 1562724"/>
              <a:gd name="connsiteX70" fmla="*/ 1749841 w 6255616"/>
              <a:gd name="connsiteY70" fmla="*/ 393586 h 1562724"/>
              <a:gd name="connsiteX71" fmla="*/ 1831887 w 6255616"/>
              <a:gd name="connsiteY71" fmla="*/ 393586 h 1562724"/>
              <a:gd name="connsiteX72" fmla="*/ 1831887 w 6255616"/>
              <a:gd name="connsiteY72" fmla="*/ 405950 h 1562724"/>
              <a:gd name="connsiteX73" fmla="*/ 1861202 w 6255616"/>
              <a:gd name="connsiteY73" fmla="*/ 405950 h 1562724"/>
              <a:gd name="connsiteX74" fmla="*/ 1861202 w 6255616"/>
              <a:gd name="connsiteY74" fmla="*/ 416392 h 1562724"/>
              <a:gd name="connsiteX75" fmla="*/ 1866401 w 6255616"/>
              <a:gd name="connsiteY75" fmla="*/ 416392 h 1562724"/>
              <a:gd name="connsiteX76" fmla="*/ 1866401 w 6255616"/>
              <a:gd name="connsiteY76" fmla="*/ 427445 h 1562724"/>
              <a:gd name="connsiteX77" fmla="*/ 1883352 w 6255616"/>
              <a:gd name="connsiteY77" fmla="*/ 427445 h 1562724"/>
              <a:gd name="connsiteX78" fmla="*/ 1883352 w 6255616"/>
              <a:gd name="connsiteY78" fmla="*/ 438498 h 1562724"/>
              <a:gd name="connsiteX79" fmla="*/ 1902881 w 6255616"/>
              <a:gd name="connsiteY79" fmla="*/ 438498 h 1562724"/>
              <a:gd name="connsiteX80" fmla="*/ 1902881 w 6255616"/>
              <a:gd name="connsiteY80" fmla="*/ 445663 h 1562724"/>
              <a:gd name="connsiteX81" fmla="*/ 1956923 w 6255616"/>
              <a:gd name="connsiteY81" fmla="*/ 445663 h 1562724"/>
              <a:gd name="connsiteX82" fmla="*/ 1956923 w 6255616"/>
              <a:gd name="connsiteY82" fmla="*/ 457371 h 1562724"/>
              <a:gd name="connsiteX83" fmla="*/ 1977107 w 6255616"/>
              <a:gd name="connsiteY83" fmla="*/ 457371 h 1562724"/>
              <a:gd name="connsiteX84" fmla="*/ 1977107 w 6255616"/>
              <a:gd name="connsiteY84" fmla="*/ 468424 h 1562724"/>
              <a:gd name="connsiteX85" fmla="*/ 1995325 w 6255616"/>
              <a:gd name="connsiteY85" fmla="*/ 468424 h 1562724"/>
              <a:gd name="connsiteX86" fmla="*/ 1995325 w 6255616"/>
              <a:gd name="connsiteY86" fmla="*/ 478210 h 1562724"/>
              <a:gd name="connsiteX87" fmla="*/ 2164660 w 6255616"/>
              <a:gd name="connsiteY87" fmla="*/ 478210 h 1562724"/>
              <a:gd name="connsiteX88" fmla="*/ 2164660 w 6255616"/>
              <a:gd name="connsiteY88" fmla="*/ 487996 h 1562724"/>
              <a:gd name="connsiteX89" fmla="*/ 2170514 w 6255616"/>
              <a:gd name="connsiteY89" fmla="*/ 487996 h 1562724"/>
              <a:gd name="connsiteX90" fmla="*/ 2170514 w 6255616"/>
              <a:gd name="connsiteY90" fmla="*/ 500360 h 1562724"/>
              <a:gd name="connsiteX91" fmla="*/ 2203717 w 6255616"/>
              <a:gd name="connsiteY91" fmla="*/ 500360 h 1562724"/>
              <a:gd name="connsiteX92" fmla="*/ 2203717 w 6255616"/>
              <a:gd name="connsiteY92" fmla="*/ 510802 h 1562724"/>
              <a:gd name="connsiteX93" fmla="*/ 2289040 w 6255616"/>
              <a:gd name="connsiteY93" fmla="*/ 510802 h 1562724"/>
              <a:gd name="connsiteX94" fmla="*/ 2289040 w 6255616"/>
              <a:gd name="connsiteY94" fmla="*/ 519932 h 1562724"/>
              <a:gd name="connsiteX95" fmla="*/ 2295549 w 6255616"/>
              <a:gd name="connsiteY95" fmla="*/ 519932 h 1562724"/>
              <a:gd name="connsiteX96" fmla="*/ 2295549 w 6255616"/>
              <a:gd name="connsiteY96" fmla="*/ 529719 h 1562724"/>
              <a:gd name="connsiteX97" fmla="*/ 2363266 w 6255616"/>
              <a:gd name="connsiteY97" fmla="*/ 529719 h 1562724"/>
              <a:gd name="connsiteX98" fmla="*/ 2363266 w 6255616"/>
              <a:gd name="connsiteY98" fmla="*/ 541427 h 1562724"/>
              <a:gd name="connsiteX99" fmla="*/ 2378251 w 6255616"/>
              <a:gd name="connsiteY99" fmla="*/ 541427 h 1562724"/>
              <a:gd name="connsiteX100" fmla="*/ 2378251 w 6255616"/>
              <a:gd name="connsiteY100" fmla="*/ 561611 h 1562724"/>
              <a:gd name="connsiteX101" fmla="*/ 2410144 w 6255616"/>
              <a:gd name="connsiteY101" fmla="*/ 561611 h 1562724"/>
              <a:gd name="connsiteX102" fmla="*/ 2410144 w 6255616"/>
              <a:gd name="connsiteY102" fmla="*/ 571397 h 1562724"/>
              <a:gd name="connsiteX103" fmla="*/ 2487646 w 6255616"/>
              <a:gd name="connsiteY103" fmla="*/ 571397 h 1562724"/>
              <a:gd name="connsiteX104" fmla="*/ 2487646 w 6255616"/>
              <a:gd name="connsiteY104" fmla="*/ 584416 h 1562724"/>
              <a:gd name="connsiteX105" fmla="*/ 2522160 w 6255616"/>
              <a:gd name="connsiteY105" fmla="*/ 584416 h 1562724"/>
              <a:gd name="connsiteX106" fmla="*/ 2522160 w 6255616"/>
              <a:gd name="connsiteY106" fmla="*/ 594202 h 1562724"/>
              <a:gd name="connsiteX107" fmla="*/ 2532601 w 6255616"/>
              <a:gd name="connsiteY107" fmla="*/ 594202 h 1562724"/>
              <a:gd name="connsiteX108" fmla="*/ 2532601 w 6255616"/>
              <a:gd name="connsiteY108" fmla="*/ 602678 h 1562724"/>
              <a:gd name="connsiteX109" fmla="*/ 2539766 w 6255616"/>
              <a:gd name="connsiteY109" fmla="*/ 602678 h 1562724"/>
              <a:gd name="connsiteX110" fmla="*/ 2539766 w 6255616"/>
              <a:gd name="connsiteY110" fmla="*/ 613731 h 1562724"/>
              <a:gd name="connsiteX111" fmla="*/ 2554751 w 6255616"/>
              <a:gd name="connsiteY111" fmla="*/ 613731 h 1562724"/>
              <a:gd name="connsiteX112" fmla="*/ 2554751 w 6255616"/>
              <a:gd name="connsiteY112" fmla="*/ 624784 h 1562724"/>
              <a:gd name="connsiteX113" fmla="*/ 2588610 w 6255616"/>
              <a:gd name="connsiteY113" fmla="*/ 624784 h 1562724"/>
              <a:gd name="connsiteX114" fmla="*/ 2588610 w 6255616"/>
              <a:gd name="connsiteY114" fmla="*/ 631294 h 1562724"/>
              <a:gd name="connsiteX115" fmla="*/ 2602939 w 6255616"/>
              <a:gd name="connsiteY115" fmla="*/ 631294 h 1562724"/>
              <a:gd name="connsiteX116" fmla="*/ 2602939 w 6255616"/>
              <a:gd name="connsiteY116" fmla="*/ 646279 h 1562724"/>
              <a:gd name="connsiteX117" fmla="*/ 2610759 w 6255616"/>
              <a:gd name="connsiteY117" fmla="*/ 646279 h 1562724"/>
              <a:gd name="connsiteX118" fmla="*/ 2610759 w 6255616"/>
              <a:gd name="connsiteY118" fmla="*/ 656065 h 1562724"/>
              <a:gd name="connsiteX119" fmla="*/ 2619235 w 6255616"/>
              <a:gd name="connsiteY119" fmla="*/ 656065 h 1562724"/>
              <a:gd name="connsiteX120" fmla="*/ 2619235 w 6255616"/>
              <a:gd name="connsiteY120" fmla="*/ 665851 h 1562724"/>
              <a:gd name="connsiteX121" fmla="*/ 2635531 w 6255616"/>
              <a:gd name="connsiteY121" fmla="*/ 665851 h 1562724"/>
              <a:gd name="connsiteX122" fmla="*/ 2635531 w 6255616"/>
              <a:gd name="connsiteY122" fmla="*/ 686035 h 1562724"/>
              <a:gd name="connsiteX123" fmla="*/ 2769697 w 6255616"/>
              <a:gd name="connsiteY123" fmla="*/ 686035 h 1562724"/>
              <a:gd name="connsiteX124" fmla="*/ 2769697 w 6255616"/>
              <a:gd name="connsiteY124" fmla="*/ 699709 h 1562724"/>
              <a:gd name="connsiteX125" fmla="*/ 2776862 w 6255616"/>
              <a:gd name="connsiteY125" fmla="*/ 699709 h 1562724"/>
              <a:gd name="connsiteX126" fmla="*/ 2776862 w 6255616"/>
              <a:gd name="connsiteY126" fmla="*/ 719893 h 1562724"/>
              <a:gd name="connsiteX127" fmla="*/ 2787915 w 6255616"/>
              <a:gd name="connsiteY127" fmla="*/ 719893 h 1562724"/>
              <a:gd name="connsiteX128" fmla="*/ 2787915 w 6255616"/>
              <a:gd name="connsiteY128" fmla="*/ 727713 h 1562724"/>
              <a:gd name="connsiteX129" fmla="*/ 2813298 w 6255616"/>
              <a:gd name="connsiteY129" fmla="*/ 727713 h 1562724"/>
              <a:gd name="connsiteX130" fmla="*/ 2813298 w 6255616"/>
              <a:gd name="connsiteY130" fmla="*/ 738155 h 1562724"/>
              <a:gd name="connsiteX131" fmla="*/ 2869961 w 6255616"/>
              <a:gd name="connsiteY131" fmla="*/ 738155 h 1562724"/>
              <a:gd name="connsiteX132" fmla="*/ 2869961 w 6255616"/>
              <a:gd name="connsiteY132" fmla="*/ 751174 h 1562724"/>
              <a:gd name="connsiteX133" fmla="*/ 2905130 w 6255616"/>
              <a:gd name="connsiteY133" fmla="*/ 751174 h 1562724"/>
              <a:gd name="connsiteX134" fmla="*/ 2905130 w 6255616"/>
              <a:gd name="connsiteY134" fmla="*/ 762227 h 1562724"/>
              <a:gd name="connsiteX135" fmla="*/ 2936411 w 6255616"/>
              <a:gd name="connsiteY135" fmla="*/ 762227 h 1562724"/>
              <a:gd name="connsiteX136" fmla="*/ 2936411 w 6255616"/>
              <a:gd name="connsiteY136" fmla="*/ 779789 h 1562724"/>
              <a:gd name="connsiteX137" fmla="*/ 2964415 w 6255616"/>
              <a:gd name="connsiteY137" fmla="*/ 779789 h 1562724"/>
              <a:gd name="connsiteX138" fmla="*/ 2964415 w 6255616"/>
              <a:gd name="connsiteY138" fmla="*/ 791498 h 1562724"/>
              <a:gd name="connsiteX139" fmla="*/ 3133750 w 6255616"/>
              <a:gd name="connsiteY139" fmla="*/ 791498 h 1562724"/>
              <a:gd name="connsiteX140" fmla="*/ 3133750 w 6255616"/>
              <a:gd name="connsiteY140" fmla="*/ 804517 h 1562724"/>
              <a:gd name="connsiteX141" fmla="*/ 3142226 w 6255616"/>
              <a:gd name="connsiteY141" fmla="*/ 804517 h 1562724"/>
              <a:gd name="connsiteX142" fmla="*/ 3142226 w 6255616"/>
              <a:gd name="connsiteY142" fmla="*/ 812992 h 1562724"/>
              <a:gd name="connsiteX143" fmla="*/ 3157866 w 6255616"/>
              <a:gd name="connsiteY143" fmla="*/ 812992 h 1562724"/>
              <a:gd name="connsiteX144" fmla="*/ 3157866 w 6255616"/>
              <a:gd name="connsiteY144" fmla="*/ 823434 h 1562724"/>
              <a:gd name="connsiteX145" fmla="*/ 3165031 w 6255616"/>
              <a:gd name="connsiteY145" fmla="*/ 823434 h 1562724"/>
              <a:gd name="connsiteX146" fmla="*/ 3165031 w 6255616"/>
              <a:gd name="connsiteY146" fmla="*/ 833875 h 1562724"/>
              <a:gd name="connsiteX147" fmla="*/ 3181982 w 6255616"/>
              <a:gd name="connsiteY147" fmla="*/ 833875 h 1562724"/>
              <a:gd name="connsiteX148" fmla="*/ 3181982 w 6255616"/>
              <a:gd name="connsiteY148" fmla="*/ 842351 h 1562724"/>
              <a:gd name="connsiteX149" fmla="*/ 3190457 w 6255616"/>
              <a:gd name="connsiteY149" fmla="*/ 842351 h 1562724"/>
              <a:gd name="connsiteX150" fmla="*/ 3190457 w 6255616"/>
              <a:gd name="connsiteY150" fmla="*/ 856025 h 1562724"/>
              <a:gd name="connsiteX151" fmla="*/ 3229515 w 6255616"/>
              <a:gd name="connsiteY151" fmla="*/ 856025 h 1562724"/>
              <a:gd name="connsiteX152" fmla="*/ 3229515 w 6255616"/>
              <a:gd name="connsiteY152" fmla="*/ 868389 h 1562724"/>
              <a:gd name="connsiteX153" fmla="*/ 3246466 w 6255616"/>
              <a:gd name="connsiteY153" fmla="*/ 868389 h 1562724"/>
              <a:gd name="connsiteX154" fmla="*/ 3246466 w 6255616"/>
              <a:gd name="connsiteY154" fmla="*/ 875554 h 1562724"/>
              <a:gd name="connsiteX155" fmla="*/ 3265994 w 6255616"/>
              <a:gd name="connsiteY155" fmla="*/ 875554 h 1562724"/>
              <a:gd name="connsiteX156" fmla="*/ 3265994 w 6255616"/>
              <a:gd name="connsiteY156" fmla="*/ 887262 h 1562724"/>
              <a:gd name="connsiteX157" fmla="*/ 3272503 w 6255616"/>
              <a:gd name="connsiteY157" fmla="*/ 887262 h 1562724"/>
              <a:gd name="connsiteX158" fmla="*/ 3272503 w 6255616"/>
              <a:gd name="connsiteY158" fmla="*/ 895082 h 1562724"/>
              <a:gd name="connsiteX159" fmla="*/ 3298542 w 6255616"/>
              <a:gd name="connsiteY159" fmla="*/ 895082 h 1562724"/>
              <a:gd name="connsiteX160" fmla="*/ 3298542 w 6255616"/>
              <a:gd name="connsiteY160" fmla="*/ 907446 h 1562724"/>
              <a:gd name="connsiteX161" fmla="*/ 3312216 w 6255616"/>
              <a:gd name="connsiteY161" fmla="*/ 907446 h 1562724"/>
              <a:gd name="connsiteX162" fmla="*/ 3312216 w 6255616"/>
              <a:gd name="connsiteY162" fmla="*/ 916577 h 1562724"/>
              <a:gd name="connsiteX163" fmla="*/ 3432708 w 6255616"/>
              <a:gd name="connsiteY163" fmla="*/ 916577 h 1562724"/>
              <a:gd name="connsiteX164" fmla="*/ 3432708 w 6255616"/>
              <a:gd name="connsiteY164" fmla="*/ 928941 h 1562724"/>
              <a:gd name="connsiteX165" fmla="*/ 3451581 w 6255616"/>
              <a:gd name="connsiteY165" fmla="*/ 928941 h 1562724"/>
              <a:gd name="connsiteX166" fmla="*/ 3451581 w 6255616"/>
              <a:gd name="connsiteY166" fmla="*/ 949125 h 1562724"/>
              <a:gd name="connsiteX167" fmla="*/ 3481551 w 6255616"/>
              <a:gd name="connsiteY167" fmla="*/ 949125 h 1562724"/>
              <a:gd name="connsiteX168" fmla="*/ 3481551 w 6255616"/>
              <a:gd name="connsiteY168" fmla="*/ 960833 h 1562724"/>
              <a:gd name="connsiteX169" fmla="*/ 3508245 w 6255616"/>
              <a:gd name="connsiteY169" fmla="*/ 960833 h 1562724"/>
              <a:gd name="connsiteX170" fmla="*/ 3508245 w 6255616"/>
              <a:gd name="connsiteY170" fmla="*/ 973852 h 1562724"/>
              <a:gd name="connsiteX171" fmla="*/ 3565564 w 6255616"/>
              <a:gd name="connsiteY171" fmla="*/ 973852 h 1562724"/>
              <a:gd name="connsiteX172" fmla="*/ 3565564 w 6255616"/>
              <a:gd name="connsiteY172" fmla="*/ 982328 h 1562724"/>
              <a:gd name="connsiteX173" fmla="*/ 3618295 w 6255616"/>
              <a:gd name="connsiteY173" fmla="*/ 982328 h 1562724"/>
              <a:gd name="connsiteX174" fmla="*/ 3618295 w 6255616"/>
              <a:gd name="connsiteY174" fmla="*/ 995347 h 1562724"/>
              <a:gd name="connsiteX175" fmla="*/ 3624805 w 6255616"/>
              <a:gd name="connsiteY175" fmla="*/ 995347 h 1562724"/>
              <a:gd name="connsiteX176" fmla="*/ 3624805 w 6255616"/>
              <a:gd name="connsiteY176" fmla="*/ 1005133 h 1562724"/>
              <a:gd name="connsiteX177" fmla="*/ 3641756 w 6255616"/>
              <a:gd name="connsiteY177" fmla="*/ 1005133 h 1562724"/>
              <a:gd name="connsiteX178" fmla="*/ 3641756 w 6255616"/>
              <a:gd name="connsiteY178" fmla="*/ 1016186 h 1562724"/>
              <a:gd name="connsiteX179" fmla="*/ 3656741 w 6255616"/>
              <a:gd name="connsiteY179" fmla="*/ 1016186 h 1562724"/>
              <a:gd name="connsiteX180" fmla="*/ 3656741 w 6255616"/>
              <a:gd name="connsiteY180" fmla="*/ 1024661 h 1562724"/>
              <a:gd name="connsiteX181" fmla="*/ 3663906 w 6255616"/>
              <a:gd name="connsiteY181" fmla="*/ 1024661 h 1562724"/>
              <a:gd name="connsiteX182" fmla="*/ 3663906 w 6255616"/>
              <a:gd name="connsiteY182" fmla="*/ 1035714 h 1562724"/>
              <a:gd name="connsiteX183" fmla="*/ 3719914 w 6255616"/>
              <a:gd name="connsiteY183" fmla="*/ 1035714 h 1562724"/>
              <a:gd name="connsiteX184" fmla="*/ 3719914 w 6255616"/>
              <a:gd name="connsiteY184" fmla="*/ 1046156 h 1562724"/>
              <a:gd name="connsiteX185" fmla="*/ 3762903 w 6255616"/>
              <a:gd name="connsiteY185" fmla="*/ 1046156 h 1562724"/>
              <a:gd name="connsiteX186" fmla="*/ 3762903 w 6255616"/>
              <a:gd name="connsiteY186" fmla="*/ 1054632 h 1562724"/>
              <a:gd name="connsiteX187" fmla="*/ 3788286 w 6255616"/>
              <a:gd name="connsiteY187" fmla="*/ 1054632 h 1562724"/>
              <a:gd name="connsiteX188" fmla="*/ 3788286 w 6255616"/>
              <a:gd name="connsiteY188" fmla="*/ 1067651 h 1562724"/>
              <a:gd name="connsiteX189" fmla="*/ 3801305 w 6255616"/>
              <a:gd name="connsiteY189" fmla="*/ 1067651 h 1562724"/>
              <a:gd name="connsiteX190" fmla="*/ 3801305 w 6255616"/>
              <a:gd name="connsiteY190" fmla="*/ 1078092 h 1562724"/>
              <a:gd name="connsiteX191" fmla="*/ 3835818 w 6255616"/>
              <a:gd name="connsiteY191" fmla="*/ 1078092 h 1562724"/>
              <a:gd name="connsiteX192" fmla="*/ 3835818 w 6255616"/>
              <a:gd name="connsiteY192" fmla="*/ 1088533 h 1562724"/>
              <a:gd name="connsiteX193" fmla="*/ 3885972 w 6255616"/>
              <a:gd name="connsiteY193" fmla="*/ 1088533 h 1562724"/>
              <a:gd name="connsiteX194" fmla="*/ 3885972 w 6255616"/>
              <a:gd name="connsiteY194" fmla="*/ 1096354 h 1562724"/>
              <a:gd name="connsiteX195" fmla="*/ 3896414 w 6255616"/>
              <a:gd name="connsiteY195" fmla="*/ 1096354 h 1562724"/>
              <a:gd name="connsiteX196" fmla="*/ 3896414 w 6255616"/>
              <a:gd name="connsiteY196" fmla="*/ 1107407 h 1562724"/>
              <a:gd name="connsiteX197" fmla="*/ 3930272 w 6255616"/>
              <a:gd name="connsiteY197" fmla="*/ 1107407 h 1562724"/>
              <a:gd name="connsiteX198" fmla="*/ 3930272 w 6255616"/>
              <a:gd name="connsiteY198" fmla="*/ 1120426 h 1562724"/>
              <a:gd name="connsiteX199" fmla="*/ 3940714 w 6255616"/>
              <a:gd name="connsiteY199" fmla="*/ 1120426 h 1562724"/>
              <a:gd name="connsiteX200" fmla="*/ 3940714 w 6255616"/>
              <a:gd name="connsiteY200" fmla="*/ 1135411 h 1562724"/>
              <a:gd name="connsiteX201" fmla="*/ 3977849 w 6255616"/>
              <a:gd name="connsiteY201" fmla="*/ 1135411 h 1562724"/>
              <a:gd name="connsiteX202" fmla="*/ 3977849 w 6255616"/>
              <a:gd name="connsiteY202" fmla="*/ 1142576 h 1562724"/>
              <a:gd name="connsiteX203" fmla="*/ 4014983 w 6255616"/>
              <a:gd name="connsiteY203" fmla="*/ 1142576 h 1562724"/>
              <a:gd name="connsiteX204" fmla="*/ 4014983 w 6255616"/>
              <a:gd name="connsiteY204" fmla="*/ 1162760 h 1562724"/>
              <a:gd name="connsiteX205" fmla="*/ 4035167 w 6255616"/>
              <a:gd name="connsiteY205" fmla="*/ 1162760 h 1562724"/>
              <a:gd name="connsiteX206" fmla="*/ 4035167 w 6255616"/>
              <a:gd name="connsiteY206" fmla="*/ 1173813 h 1562724"/>
              <a:gd name="connsiteX207" fmla="*/ 4054696 w 6255616"/>
              <a:gd name="connsiteY207" fmla="*/ 1173813 h 1562724"/>
              <a:gd name="connsiteX208" fmla="*/ 4054696 w 6255616"/>
              <a:gd name="connsiteY208" fmla="*/ 1194652 h 1562724"/>
              <a:gd name="connsiteX209" fmla="*/ 4156926 w 6255616"/>
              <a:gd name="connsiteY209" fmla="*/ 1194652 h 1562724"/>
              <a:gd name="connsiteX210" fmla="*/ 4156926 w 6255616"/>
              <a:gd name="connsiteY210" fmla="*/ 1205093 h 1562724"/>
              <a:gd name="connsiteX211" fmla="*/ 4190129 w 6255616"/>
              <a:gd name="connsiteY211" fmla="*/ 1205093 h 1562724"/>
              <a:gd name="connsiteX212" fmla="*/ 4190129 w 6255616"/>
              <a:gd name="connsiteY212" fmla="*/ 1215535 h 1562724"/>
              <a:gd name="connsiteX213" fmla="*/ 4207080 w 6255616"/>
              <a:gd name="connsiteY213" fmla="*/ 1215535 h 1562724"/>
              <a:gd name="connsiteX214" fmla="*/ 4207080 w 6255616"/>
              <a:gd name="connsiteY214" fmla="*/ 1227243 h 1562724"/>
              <a:gd name="connsiteX215" fmla="*/ 4234429 w 6255616"/>
              <a:gd name="connsiteY215" fmla="*/ 1227243 h 1562724"/>
              <a:gd name="connsiteX216" fmla="*/ 4234429 w 6255616"/>
              <a:gd name="connsiteY216" fmla="*/ 1237029 h 1562724"/>
              <a:gd name="connsiteX217" fmla="*/ 4245482 w 6255616"/>
              <a:gd name="connsiteY217" fmla="*/ 1237029 h 1562724"/>
              <a:gd name="connsiteX218" fmla="*/ 4245482 w 6255616"/>
              <a:gd name="connsiteY218" fmla="*/ 1259179 h 1562724"/>
              <a:gd name="connsiteX219" fmla="*/ 4283273 w 6255616"/>
              <a:gd name="connsiteY219" fmla="*/ 1259179 h 1562724"/>
              <a:gd name="connsiteX220" fmla="*/ 4283273 w 6255616"/>
              <a:gd name="connsiteY220" fmla="*/ 1270232 h 1562724"/>
              <a:gd name="connsiteX221" fmla="*/ 4307388 w 6255616"/>
              <a:gd name="connsiteY221" fmla="*/ 1270232 h 1562724"/>
              <a:gd name="connsiteX222" fmla="*/ 4307388 w 6255616"/>
              <a:gd name="connsiteY222" fmla="*/ 1287183 h 1562724"/>
              <a:gd name="connsiteX223" fmla="*/ 4349722 w 6255616"/>
              <a:gd name="connsiteY223" fmla="*/ 1287183 h 1562724"/>
              <a:gd name="connsiteX224" fmla="*/ 4349722 w 6255616"/>
              <a:gd name="connsiteY224" fmla="*/ 1300202 h 1562724"/>
              <a:gd name="connsiteX225" fmla="*/ 4454574 w 6255616"/>
              <a:gd name="connsiteY225" fmla="*/ 1300202 h 1562724"/>
              <a:gd name="connsiteX226" fmla="*/ 4454574 w 6255616"/>
              <a:gd name="connsiteY226" fmla="*/ 1309989 h 1562724"/>
              <a:gd name="connsiteX227" fmla="*/ 4465015 w 6255616"/>
              <a:gd name="connsiteY227" fmla="*/ 1309989 h 1562724"/>
              <a:gd name="connsiteX228" fmla="*/ 4465015 w 6255616"/>
              <a:gd name="connsiteY228" fmla="*/ 1325629 h 1562724"/>
              <a:gd name="connsiteX229" fmla="*/ 4511237 w 6255616"/>
              <a:gd name="connsiteY229" fmla="*/ 1325629 h 1562724"/>
              <a:gd name="connsiteX230" fmla="*/ 4511237 w 6255616"/>
              <a:gd name="connsiteY230" fmla="*/ 1335415 h 1562724"/>
              <a:gd name="connsiteX231" fmla="*/ 4530110 w 6255616"/>
              <a:gd name="connsiteY231" fmla="*/ 1335415 h 1562724"/>
              <a:gd name="connsiteX232" fmla="*/ 4530110 w 6255616"/>
              <a:gd name="connsiteY232" fmla="*/ 1347123 h 1562724"/>
              <a:gd name="connsiteX233" fmla="*/ 4587429 w 6255616"/>
              <a:gd name="connsiteY233" fmla="*/ 1347123 h 1562724"/>
              <a:gd name="connsiteX234" fmla="*/ 4587429 w 6255616"/>
              <a:gd name="connsiteY234" fmla="*/ 1356254 h 1562724"/>
              <a:gd name="connsiteX235" fmla="*/ 4658422 w 6255616"/>
              <a:gd name="connsiteY235" fmla="*/ 1356254 h 1562724"/>
              <a:gd name="connsiteX236" fmla="*/ 4658422 w 6255616"/>
              <a:gd name="connsiteY236" fmla="*/ 1365385 h 1562724"/>
              <a:gd name="connsiteX237" fmla="*/ 4676640 w 6255616"/>
              <a:gd name="connsiteY237" fmla="*/ 1365385 h 1562724"/>
              <a:gd name="connsiteX238" fmla="*/ 4676640 w 6255616"/>
              <a:gd name="connsiteY238" fmla="*/ 1370584 h 1562724"/>
              <a:gd name="connsiteX239" fmla="*/ 4797132 w 6255616"/>
              <a:gd name="connsiteY239" fmla="*/ 1370584 h 1562724"/>
              <a:gd name="connsiteX240" fmla="*/ 4797132 w 6255616"/>
              <a:gd name="connsiteY240" fmla="*/ 1385569 h 1562724"/>
              <a:gd name="connsiteX241" fmla="*/ 4826447 w 6255616"/>
              <a:gd name="connsiteY241" fmla="*/ 1385569 h 1562724"/>
              <a:gd name="connsiteX242" fmla="*/ 4826447 w 6255616"/>
              <a:gd name="connsiteY242" fmla="*/ 1405753 h 1562724"/>
              <a:gd name="connsiteX243" fmla="*/ 4859650 w 6255616"/>
              <a:gd name="connsiteY243" fmla="*/ 1405753 h 1562724"/>
              <a:gd name="connsiteX244" fmla="*/ 4859650 w 6255616"/>
              <a:gd name="connsiteY244" fmla="*/ 1414229 h 1562724"/>
              <a:gd name="connsiteX245" fmla="*/ 4898095 w 6255616"/>
              <a:gd name="connsiteY245" fmla="*/ 1414229 h 1562724"/>
              <a:gd name="connsiteX246" fmla="*/ 4898095 w 6255616"/>
              <a:gd name="connsiteY246" fmla="*/ 1422049 h 1562724"/>
              <a:gd name="connsiteX247" fmla="*/ 4922823 w 6255616"/>
              <a:gd name="connsiteY247" fmla="*/ 1422049 h 1562724"/>
              <a:gd name="connsiteX248" fmla="*/ 4922823 w 6255616"/>
              <a:gd name="connsiteY248" fmla="*/ 1442233 h 1562724"/>
              <a:gd name="connsiteX249" fmla="*/ 4984030 w 6255616"/>
              <a:gd name="connsiteY249" fmla="*/ 1442233 h 1562724"/>
              <a:gd name="connsiteX250" fmla="*/ 4984030 w 6255616"/>
              <a:gd name="connsiteY250" fmla="*/ 1460451 h 1562724"/>
              <a:gd name="connsiteX251" fmla="*/ 5028330 w 6255616"/>
              <a:gd name="connsiteY251" fmla="*/ 1460451 h 1562724"/>
              <a:gd name="connsiteX252" fmla="*/ 5028330 w 6255616"/>
              <a:gd name="connsiteY252" fmla="*/ 1475436 h 1562724"/>
              <a:gd name="connsiteX253" fmla="*/ 5092158 w 6255616"/>
              <a:gd name="connsiteY253" fmla="*/ 1475436 h 1562724"/>
              <a:gd name="connsiteX254" fmla="*/ 5092158 w 6255616"/>
              <a:gd name="connsiteY254" fmla="*/ 1483911 h 1562724"/>
              <a:gd name="connsiteX255" fmla="*/ 5136458 w 6255616"/>
              <a:gd name="connsiteY255" fmla="*/ 1483911 h 1562724"/>
              <a:gd name="connsiteX256" fmla="*/ 5136458 w 6255616"/>
              <a:gd name="connsiteY256" fmla="*/ 1492387 h 1562724"/>
              <a:gd name="connsiteX257" fmla="*/ 5198321 w 6255616"/>
              <a:gd name="connsiteY257" fmla="*/ 1492387 h 1562724"/>
              <a:gd name="connsiteX258" fmla="*/ 5198321 w 6255616"/>
              <a:gd name="connsiteY258" fmla="*/ 1504750 h 1562724"/>
              <a:gd name="connsiteX259" fmla="*/ 5266693 w 6255616"/>
              <a:gd name="connsiteY259" fmla="*/ 1504750 h 1562724"/>
              <a:gd name="connsiteX260" fmla="*/ 5266693 w 6255616"/>
              <a:gd name="connsiteY260" fmla="*/ 1518425 h 1562724"/>
              <a:gd name="connsiteX261" fmla="*/ 5281022 w 6255616"/>
              <a:gd name="connsiteY261" fmla="*/ 1518425 h 1562724"/>
              <a:gd name="connsiteX262" fmla="*/ 5281022 w 6255616"/>
              <a:gd name="connsiteY262" fmla="*/ 1539264 h 1562724"/>
              <a:gd name="connsiteX263" fmla="*/ 5361758 w 6255616"/>
              <a:gd name="connsiteY263" fmla="*/ 1539264 h 1562724"/>
              <a:gd name="connsiteX264" fmla="*/ 5361758 w 6255616"/>
              <a:gd name="connsiteY264" fmla="*/ 1562724 h 1562724"/>
              <a:gd name="connsiteX265" fmla="*/ 6255617 w 6255616"/>
              <a:gd name="connsiteY265" fmla="*/ 1562724 h 156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6255616" h="1562724">
                <a:moveTo>
                  <a:pt x="0" y="0"/>
                </a:moveTo>
                <a:lnTo>
                  <a:pt x="29315" y="0"/>
                </a:lnTo>
                <a:lnTo>
                  <a:pt x="29315" y="18218"/>
                </a:lnTo>
                <a:lnTo>
                  <a:pt x="82046" y="18218"/>
                </a:lnTo>
                <a:lnTo>
                  <a:pt x="82046" y="42334"/>
                </a:lnTo>
                <a:lnTo>
                  <a:pt x="117215" y="42334"/>
                </a:lnTo>
                <a:lnTo>
                  <a:pt x="117215" y="52775"/>
                </a:lnTo>
                <a:lnTo>
                  <a:pt x="162782" y="52775"/>
                </a:lnTo>
                <a:lnTo>
                  <a:pt x="162782" y="61251"/>
                </a:lnTo>
                <a:lnTo>
                  <a:pt x="169292" y="61251"/>
                </a:lnTo>
                <a:lnTo>
                  <a:pt x="169292" y="74925"/>
                </a:lnTo>
                <a:lnTo>
                  <a:pt x="210970" y="74925"/>
                </a:lnTo>
                <a:lnTo>
                  <a:pt x="210970" y="85367"/>
                </a:lnTo>
                <a:lnTo>
                  <a:pt x="223334" y="85367"/>
                </a:lnTo>
                <a:cubicBezTo>
                  <a:pt x="223334" y="85367"/>
                  <a:pt x="225300" y="95808"/>
                  <a:pt x="223334" y="95808"/>
                </a:cubicBezTo>
                <a:cubicBezTo>
                  <a:pt x="221368" y="95808"/>
                  <a:pt x="395902" y="95808"/>
                  <a:pt x="395902" y="95808"/>
                </a:cubicBezTo>
                <a:lnTo>
                  <a:pt x="395902" y="105594"/>
                </a:lnTo>
                <a:lnTo>
                  <a:pt x="440857" y="105594"/>
                </a:lnTo>
                <a:lnTo>
                  <a:pt x="440857" y="114070"/>
                </a:lnTo>
                <a:lnTo>
                  <a:pt x="449988" y="114070"/>
                </a:lnTo>
                <a:lnTo>
                  <a:pt x="449988" y="125778"/>
                </a:lnTo>
                <a:lnTo>
                  <a:pt x="481268" y="125778"/>
                </a:lnTo>
                <a:lnTo>
                  <a:pt x="481268" y="133598"/>
                </a:lnTo>
                <a:lnTo>
                  <a:pt x="491055" y="133598"/>
                </a:lnTo>
                <a:lnTo>
                  <a:pt x="491055" y="147273"/>
                </a:lnTo>
                <a:lnTo>
                  <a:pt x="519059" y="147273"/>
                </a:lnTo>
                <a:lnTo>
                  <a:pt x="519059" y="170078"/>
                </a:lnTo>
                <a:lnTo>
                  <a:pt x="606348" y="170078"/>
                </a:lnTo>
                <a:lnTo>
                  <a:pt x="606348" y="176587"/>
                </a:lnTo>
                <a:lnTo>
                  <a:pt x="633696" y="176587"/>
                </a:lnTo>
                <a:lnTo>
                  <a:pt x="633696" y="186374"/>
                </a:lnTo>
                <a:lnTo>
                  <a:pt x="650647" y="186374"/>
                </a:lnTo>
                <a:lnTo>
                  <a:pt x="650647" y="196815"/>
                </a:lnTo>
                <a:lnTo>
                  <a:pt x="747023" y="196815"/>
                </a:lnTo>
                <a:lnTo>
                  <a:pt x="747023" y="206601"/>
                </a:lnTo>
                <a:lnTo>
                  <a:pt x="764586" y="206601"/>
                </a:lnTo>
                <a:lnTo>
                  <a:pt x="764586" y="216387"/>
                </a:lnTo>
                <a:lnTo>
                  <a:pt x="924135" y="216387"/>
                </a:lnTo>
                <a:lnTo>
                  <a:pt x="924135" y="231372"/>
                </a:lnTo>
                <a:lnTo>
                  <a:pt x="939775" y="231372"/>
                </a:lnTo>
                <a:lnTo>
                  <a:pt x="939775" y="239192"/>
                </a:lnTo>
                <a:lnTo>
                  <a:pt x="1012735" y="239192"/>
                </a:lnTo>
                <a:lnTo>
                  <a:pt x="1012735" y="249634"/>
                </a:lnTo>
                <a:lnTo>
                  <a:pt x="1025098" y="249634"/>
                </a:lnTo>
                <a:lnTo>
                  <a:pt x="1025098" y="262653"/>
                </a:lnTo>
                <a:lnTo>
                  <a:pt x="1036807" y="262653"/>
                </a:lnTo>
                <a:lnTo>
                  <a:pt x="1036807" y="270473"/>
                </a:lnTo>
                <a:lnTo>
                  <a:pt x="1075864" y="270473"/>
                </a:lnTo>
                <a:lnTo>
                  <a:pt x="1075864" y="281526"/>
                </a:lnTo>
                <a:lnTo>
                  <a:pt x="1156600" y="281526"/>
                </a:lnTo>
                <a:lnTo>
                  <a:pt x="1156600" y="293890"/>
                </a:lnTo>
                <a:lnTo>
                  <a:pt x="1213263" y="293890"/>
                </a:lnTo>
                <a:lnTo>
                  <a:pt x="1213263" y="301710"/>
                </a:lnTo>
                <a:lnTo>
                  <a:pt x="1234102" y="301710"/>
                </a:lnTo>
                <a:lnTo>
                  <a:pt x="1234102" y="310841"/>
                </a:lnTo>
                <a:lnTo>
                  <a:pt x="1329168" y="310841"/>
                </a:lnTo>
                <a:lnTo>
                  <a:pt x="1329168" y="322549"/>
                </a:lnTo>
                <a:lnTo>
                  <a:pt x="1342187" y="322549"/>
                </a:lnTo>
                <a:lnTo>
                  <a:pt x="1342187" y="332336"/>
                </a:lnTo>
                <a:lnTo>
                  <a:pt x="1364337" y="332336"/>
                </a:lnTo>
                <a:lnTo>
                  <a:pt x="1364337" y="342777"/>
                </a:lnTo>
                <a:lnTo>
                  <a:pt x="1389720" y="342777"/>
                </a:lnTo>
                <a:lnTo>
                  <a:pt x="1389720" y="355141"/>
                </a:lnTo>
                <a:lnTo>
                  <a:pt x="1493261" y="355141"/>
                </a:lnTo>
                <a:lnTo>
                  <a:pt x="1493261" y="364272"/>
                </a:lnTo>
                <a:lnTo>
                  <a:pt x="1585093" y="364272"/>
                </a:lnTo>
                <a:lnTo>
                  <a:pt x="1585093" y="372092"/>
                </a:lnTo>
                <a:lnTo>
                  <a:pt x="1618951" y="372092"/>
                </a:lnTo>
                <a:lnTo>
                  <a:pt x="1618951" y="385766"/>
                </a:lnTo>
                <a:lnTo>
                  <a:pt x="1749841" y="385766"/>
                </a:lnTo>
                <a:lnTo>
                  <a:pt x="1749841" y="393586"/>
                </a:lnTo>
                <a:lnTo>
                  <a:pt x="1831887" y="393586"/>
                </a:lnTo>
                <a:lnTo>
                  <a:pt x="1831887" y="405950"/>
                </a:lnTo>
                <a:lnTo>
                  <a:pt x="1861202" y="405950"/>
                </a:lnTo>
                <a:lnTo>
                  <a:pt x="1861202" y="416392"/>
                </a:lnTo>
                <a:lnTo>
                  <a:pt x="1866401" y="416392"/>
                </a:lnTo>
                <a:lnTo>
                  <a:pt x="1866401" y="427445"/>
                </a:lnTo>
                <a:lnTo>
                  <a:pt x="1883352" y="427445"/>
                </a:lnTo>
                <a:lnTo>
                  <a:pt x="1883352" y="438498"/>
                </a:lnTo>
                <a:lnTo>
                  <a:pt x="1902881" y="438498"/>
                </a:lnTo>
                <a:lnTo>
                  <a:pt x="1902881" y="445663"/>
                </a:lnTo>
                <a:lnTo>
                  <a:pt x="1956923" y="445663"/>
                </a:lnTo>
                <a:lnTo>
                  <a:pt x="1956923" y="457371"/>
                </a:lnTo>
                <a:lnTo>
                  <a:pt x="1977107" y="457371"/>
                </a:lnTo>
                <a:lnTo>
                  <a:pt x="1977107" y="468424"/>
                </a:lnTo>
                <a:lnTo>
                  <a:pt x="1995325" y="468424"/>
                </a:lnTo>
                <a:lnTo>
                  <a:pt x="1995325" y="478210"/>
                </a:lnTo>
                <a:lnTo>
                  <a:pt x="2164660" y="478210"/>
                </a:lnTo>
                <a:lnTo>
                  <a:pt x="2164660" y="487996"/>
                </a:lnTo>
                <a:lnTo>
                  <a:pt x="2170514" y="487996"/>
                </a:lnTo>
                <a:lnTo>
                  <a:pt x="2170514" y="500360"/>
                </a:lnTo>
                <a:lnTo>
                  <a:pt x="2203717" y="500360"/>
                </a:lnTo>
                <a:lnTo>
                  <a:pt x="2203717" y="510802"/>
                </a:lnTo>
                <a:lnTo>
                  <a:pt x="2289040" y="510802"/>
                </a:lnTo>
                <a:lnTo>
                  <a:pt x="2289040" y="519932"/>
                </a:lnTo>
                <a:lnTo>
                  <a:pt x="2295549" y="519932"/>
                </a:lnTo>
                <a:lnTo>
                  <a:pt x="2295549" y="529719"/>
                </a:lnTo>
                <a:lnTo>
                  <a:pt x="2363266" y="529719"/>
                </a:lnTo>
                <a:lnTo>
                  <a:pt x="2363266" y="541427"/>
                </a:lnTo>
                <a:lnTo>
                  <a:pt x="2378251" y="541427"/>
                </a:lnTo>
                <a:lnTo>
                  <a:pt x="2378251" y="561611"/>
                </a:lnTo>
                <a:lnTo>
                  <a:pt x="2410144" y="561611"/>
                </a:lnTo>
                <a:lnTo>
                  <a:pt x="2410144" y="571397"/>
                </a:lnTo>
                <a:lnTo>
                  <a:pt x="2487646" y="571397"/>
                </a:lnTo>
                <a:lnTo>
                  <a:pt x="2487646" y="584416"/>
                </a:lnTo>
                <a:lnTo>
                  <a:pt x="2522160" y="584416"/>
                </a:lnTo>
                <a:lnTo>
                  <a:pt x="2522160" y="594202"/>
                </a:lnTo>
                <a:lnTo>
                  <a:pt x="2532601" y="594202"/>
                </a:lnTo>
                <a:lnTo>
                  <a:pt x="2532601" y="602678"/>
                </a:lnTo>
                <a:lnTo>
                  <a:pt x="2539766" y="602678"/>
                </a:lnTo>
                <a:lnTo>
                  <a:pt x="2539766" y="613731"/>
                </a:lnTo>
                <a:lnTo>
                  <a:pt x="2554751" y="613731"/>
                </a:lnTo>
                <a:lnTo>
                  <a:pt x="2554751" y="624784"/>
                </a:lnTo>
                <a:lnTo>
                  <a:pt x="2588610" y="624784"/>
                </a:lnTo>
                <a:lnTo>
                  <a:pt x="2588610" y="631294"/>
                </a:lnTo>
                <a:lnTo>
                  <a:pt x="2602939" y="631294"/>
                </a:lnTo>
                <a:lnTo>
                  <a:pt x="2602939" y="646279"/>
                </a:lnTo>
                <a:lnTo>
                  <a:pt x="2610759" y="646279"/>
                </a:lnTo>
                <a:lnTo>
                  <a:pt x="2610759" y="656065"/>
                </a:lnTo>
                <a:lnTo>
                  <a:pt x="2619235" y="656065"/>
                </a:lnTo>
                <a:lnTo>
                  <a:pt x="2619235" y="665851"/>
                </a:lnTo>
                <a:lnTo>
                  <a:pt x="2635531" y="665851"/>
                </a:lnTo>
                <a:lnTo>
                  <a:pt x="2635531" y="686035"/>
                </a:lnTo>
                <a:lnTo>
                  <a:pt x="2769697" y="686035"/>
                </a:lnTo>
                <a:lnTo>
                  <a:pt x="2769697" y="699709"/>
                </a:lnTo>
                <a:lnTo>
                  <a:pt x="2776862" y="699709"/>
                </a:lnTo>
                <a:lnTo>
                  <a:pt x="2776862" y="719893"/>
                </a:lnTo>
                <a:lnTo>
                  <a:pt x="2787915" y="719893"/>
                </a:lnTo>
                <a:lnTo>
                  <a:pt x="2787915" y="727713"/>
                </a:lnTo>
                <a:lnTo>
                  <a:pt x="2813298" y="727713"/>
                </a:lnTo>
                <a:lnTo>
                  <a:pt x="2813298" y="738155"/>
                </a:lnTo>
                <a:lnTo>
                  <a:pt x="2869961" y="738155"/>
                </a:lnTo>
                <a:lnTo>
                  <a:pt x="2869961" y="751174"/>
                </a:lnTo>
                <a:lnTo>
                  <a:pt x="2905130" y="751174"/>
                </a:lnTo>
                <a:lnTo>
                  <a:pt x="2905130" y="762227"/>
                </a:lnTo>
                <a:lnTo>
                  <a:pt x="2936411" y="762227"/>
                </a:lnTo>
                <a:lnTo>
                  <a:pt x="2936411" y="779789"/>
                </a:lnTo>
                <a:lnTo>
                  <a:pt x="2964415" y="779789"/>
                </a:lnTo>
                <a:lnTo>
                  <a:pt x="2964415" y="791498"/>
                </a:lnTo>
                <a:lnTo>
                  <a:pt x="3133750" y="791498"/>
                </a:lnTo>
                <a:lnTo>
                  <a:pt x="3133750" y="804517"/>
                </a:lnTo>
                <a:lnTo>
                  <a:pt x="3142226" y="804517"/>
                </a:lnTo>
                <a:lnTo>
                  <a:pt x="3142226" y="812992"/>
                </a:lnTo>
                <a:lnTo>
                  <a:pt x="3157866" y="812992"/>
                </a:lnTo>
                <a:lnTo>
                  <a:pt x="3157866" y="823434"/>
                </a:lnTo>
                <a:lnTo>
                  <a:pt x="3165031" y="823434"/>
                </a:lnTo>
                <a:lnTo>
                  <a:pt x="3165031" y="833875"/>
                </a:lnTo>
                <a:lnTo>
                  <a:pt x="3181982" y="833875"/>
                </a:lnTo>
                <a:lnTo>
                  <a:pt x="3181982" y="842351"/>
                </a:lnTo>
                <a:lnTo>
                  <a:pt x="3190457" y="842351"/>
                </a:lnTo>
                <a:lnTo>
                  <a:pt x="3190457" y="856025"/>
                </a:lnTo>
                <a:lnTo>
                  <a:pt x="3229515" y="856025"/>
                </a:lnTo>
                <a:lnTo>
                  <a:pt x="3229515" y="868389"/>
                </a:lnTo>
                <a:lnTo>
                  <a:pt x="3246466" y="868389"/>
                </a:lnTo>
                <a:lnTo>
                  <a:pt x="3246466" y="875554"/>
                </a:lnTo>
                <a:lnTo>
                  <a:pt x="3265994" y="875554"/>
                </a:lnTo>
                <a:lnTo>
                  <a:pt x="3265994" y="887262"/>
                </a:lnTo>
                <a:lnTo>
                  <a:pt x="3272503" y="887262"/>
                </a:lnTo>
                <a:lnTo>
                  <a:pt x="3272503" y="895082"/>
                </a:lnTo>
                <a:lnTo>
                  <a:pt x="3298542" y="895082"/>
                </a:lnTo>
                <a:lnTo>
                  <a:pt x="3298542" y="907446"/>
                </a:lnTo>
                <a:lnTo>
                  <a:pt x="3312216" y="907446"/>
                </a:lnTo>
                <a:lnTo>
                  <a:pt x="3312216" y="916577"/>
                </a:lnTo>
                <a:lnTo>
                  <a:pt x="3432708" y="916577"/>
                </a:lnTo>
                <a:lnTo>
                  <a:pt x="3432708" y="928941"/>
                </a:lnTo>
                <a:lnTo>
                  <a:pt x="3451581" y="928941"/>
                </a:lnTo>
                <a:lnTo>
                  <a:pt x="3451581" y="949125"/>
                </a:lnTo>
                <a:lnTo>
                  <a:pt x="3481551" y="949125"/>
                </a:lnTo>
                <a:lnTo>
                  <a:pt x="3481551" y="960833"/>
                </a:lnTo>
                <a:lnTo>
                  <a:pt x="3508245" y="960833"/>
                </a:lnTo>
                <a:lnTo>
                  <a:pt x="3508245" y="973852"/>
                </a:lnTo>
                <a:lnTo>
                  <a:pt x="3565564" y="973852"/>
                </a:lnTo>
                <a:lnTo>
                  <a:pt x="3565564" y="982328"/>
                </a:lnTo>
                <a:lnTo>
                  <a:pt x="3618295" y="982328"/>
                </a:lnTo>
                <a:lnTo>
                  <a:pt x="3618295" y="995347"/>
                </a:lnTo>
                <a:lnTo>
                  <a:pt x="3624805" y="995347"/>
                </a:lnTo>
                <a:lnTo>
                  <a:pt x="3624805" y="1005133"/>
                </a:lnTo>
                <a:lnTo>
                  <a:pt x="3641756" y="1005133"/>
                </a:lnTo>
                <a:lnTo>
                  <a:pt x="3641756" y="1016186"/>
                </a:lnTo>
                <a:lnTo>
                  <a:pt x="3656741" y="1016186"/>
                </a:lnTo>
                <a:lnTo>
                  <a:pt x="3656741" y="1024661"/>
                </a:lnTo>
                <a:lnTo>
                  <a:pt x="3663906" y="1024661"/>
                </a:lnTo>
                <a:lnTo>
                  <a:pt x="3663906" y="1035714"/>
                </a:lnTo>
                <a:lnTo>
                  <a:pt x="3719914" y="1035714"/>
                </a:lnTo>
                <a:lnTo>
                  <a:pt x="3719914" y="1046156"/>
                </a:lnTo>
                <a:lnTo>
                  <a:pt x="3762903" y="1046156"/>
                </a:lnTo>
                <a:lnTo>
                  <a:pt x="3762903" y="1054632"/>
                </a:lnTo>
                <a:lnTo>
                  <a:pt x="3788286" y="1054632"/>
                </a:lnTo>
                <a:lnTo>
                  <a:pt x="3788286" y="1067651"/>
                </a:lnTo>
                <a:lnTo>
                  <a:pt x="3801305" y="1067651"/>
                </a:lnTo>
                <a:lnTo>
                  <a:pt x="3801305" y="1078092"/>
                </a:lnTo>
                <a:lnTo>
                  <a:pt x="3835818" y="1078092"/>
                </a:lnTo>
                <a:lnTo>
                  <a:pt x="3835818" y="1088533"/>
                </a:lnTo>
                <a:lnTo>
                  <a:pt x="3885972" y="1088533"/>
                </a:lnTo>
                <a:lnTo>
                  <a:pt x="3885972" y="1096354"/>
                </a:lnTo>
                <a:lnTo>
                  <a:pt x="3896414" y="1096354"/>
                </a:lnTo>
                <a:lnTo>
                  <a:pt x="3896414" y="1107407"/>
                </a:lnTo>
                <a:lnTo>
                  <a:pt x="3930272" y="1107407"/>
                </a:lnTo>
                <a:lnTo>
                  <a:pt x="3930272" y="1120426"/>
                </a:lnTo>
                <a:lnTo>
                  <a:pt x="3940714" y="1120426"/>
                </a:lnTo>
                <a:lnTo>
                  <a:pt x="3940714" y="1135411"/>
                </a:lnTo>
                <a:lnTo>
                  <a:pt x="3977849" y="1135411"/>
                </a:lnTo>
                <a:lnTo>
                  <a:pt x="3977849" y="1142576"/>
                </a:lnTo>
                <a:lnTo>
                  <a:pt x="4014983" y="1142576"/>
                </a:lnTo>
                <a:lnTo>
                  <a:pt x="4014983" y="1162760"/>
                </a:lnTo>
                <a:lnTo>
                  <a:pt x="4035167" y="1162760"/>
                </a:lnTo>
                <a:lnTo>
                  <a:pt x="4035167" y="1173813"/>
                </a:lnTo>
                <a:lnTo>
                  <a:pt x="4054696" y="1173813"/>
                </a:lnTo>
                <a:lnTo>
                  <a:pt x="4054696" y="1194652"/>
                </a:lnTo>
                <a:lnTo>
                  <a:pt x="4156926" y="1194652"/>
                </a:lnTo>
                <a:lnTo>
                  <a:pt x="4156926" y="1205093"/>
                </a:lnTo>
                <a:lnTo>
                  <a:pt x="4190129" y="1205093"/>
                </a:lnTo>
                <a:lnTo>
                  <a:pt x="4190129" y="1215535"/>
                </a:lnTo>
                <a:lnTo>
                  <a:pt x="4207080" y="1215535"/>
                </a:lnTo>
                <a:lnTo>
                  <a:pt x="4207080" y="1227243"/>
                </a:lnTo>
                <a:lnTo>
                  <a:pt x="4234429" y="1227243"/>
                </a:lnTo>
                <a:lnTo>
                  <a:pt x="4234429" y="1237029"/>
                </a:lnTo>
                <a:lnTo>
                  <a:pt x="4245482" y="1237029"/>
                </a:lnTo>
                <a:lnTo>
                  <a:pt x="4245482" y="1259179"/>
                </a:lnTo>
                <a:lnTo>
                  <a:pt x="4283273" y="1259179"/>
                </a:lnTo>
                <a:lnTo>
                  <a:pt x="4283273" y="1270232"/>
                </a:lnTo>
                <a:lnTo>
                  <a:pt x="4307388" y="1270232"/>
                </a:lnTo>
                <a:lnTo>
                  <a:pt x="4307388" y="1287183"/>
                </a:lnTo>
                <a:lnTo>
                  <a:pt x="4349722" y="1287183"/>
                </a:lnTo>
                <a:lnTo>
                  <a:pt x="4349722" y="1300202"/>
                </a:lnTo>
                <a:lnTo>
                  <a:pt x="4454574" y="1300202"/>
                </a:lnTo>
                <a:lnTo>
                  <a:pt x="4454574" y="1309989"/>
                </a:lnTo>
                <a:lnTo>
                  <a:pt x="4465015" y="1309989"/>
                </a:lnTo>
                <a:lnTo>
                  <a:pt x="4465015" y="1325629"/>
                </a:lnTo>
                <a:lnTo>
                  <a:pt x="4511237" y="1325629"/>
                </a:lnTo>
                <a:lnTo>
                  <a:pt x="4511237" y="1335415"/>
                </a:lnTo>
                <a:lnTo>
                  <a:pt x="4530110" y="1335415"/>
                </a:lnTo>
                <a:lnTo>
                  <a:pt x="4530110" y="1347123"/>
                </a:lnTo>
                <a:lnTo>
                  <a:pt x="4587429" y="1347123"/>
                </a:lnTo>
                <a:lnTo>
                  <a:pt x="4587429" y="1356254"/>
                </a:lnTo>
                <a:lnTo>
                  <a:pt x="4658422" y="1356254"/>
                </a:lnTo>
                <a:lnTo>
                  <a:pt x="4658422" y="1365385"/>
                </a:lnTo>
                <a:lnTo>
                  <a:pt x="4676640" y="1365385"/>
                </a:lnTo>
                <a:lnTo>
                  <a:pt x="4676640" y="1370584"/>
                </a:lnTo>
                <a:lnTo>
                  <a:pt x="4797132" y="1370584"/>
                </a:lnTo>
                <a:lnTo>
                  <a:pt x="4797132" y="1385569"/>
                </a:lnTo>
                <a:lnTo>
                  <a:pt x="4826447" y="1385569"/>
                </a:lnTo>
                <a:lnTo>
                  <a:pt x="4826447" y="1405753"/>
                </a:lnTo>
                <a:lnTo>
                  <a:pt x="4859650" y="1405753"/>
                </a:lnTo>
                <a:lnTo>
                  <a:pt x="4859650" y="1414229"/>
                </a:lnTo>
                <a:lnTo>
                  <a:pt x="4898095" y="1414229"/>
                </a:lnTo>
                <a:lnTo>
                  <a:pt x="4898095" y="1422049"/>
                </a:lnTo>
                <a:lnTo>
                  <a:pt x="4922823" y="1422049"/>
                </a:lnTo>
                <a:lnTo>
                  <a:pt x="4922823" y="1442233"/>
                </a:lnTo>
                <a:lnTo>
                  <a:pt x="4984030" y="1442233"/>
                </a:lnTo>
                <a:lnTo>
                  <a:pt x="4984030" y="1460451"/>
                </a:lnTo>
                <a:lnTo>
                  <a:pt x="5028330" y="1460451"/>
                </a:lnTo>
                <a:lnTo>
                  <a:pt x="5028330" y="1475436"/>
                </a:lnTo>
                <a:lnTo>
                  <a:pt x="5092158" y="1475436"/>
                </a:lnTo>
                <a:lnTo>
                  <a:pt x="5092158" y="1483911"/>
                </a:lnTo>
                <a:lnTo>
                  <a:pt x="5136458" y="1483911"/>
                </a:lnTo>
                <a:lnTo>
                  <a:pt x="5136458" y="1492387"/>
                </a:lnTo>
                <a:lnTo>
                  <a:pt x="5198321" y="1492387"/>
                </a:lnTo>
                <a:lnTo>
                  <a:pt x="5198321" y="1504750"/>
                </a:lnTo>
                <a:lnTo>
                  <a:pt x="5266693" y="1504750"/>
                </a:lnTo>
                <a:lnTo>
                  <a:pt x="5266693" y="1518425"/>
                </a:lnTo>
                <a:lnTo>
                  <a:pt x="5281022" y="1518425"/>
                </a:lnTo>
                <a:lnTo>
                  <a:pt x="5281022" y="1539264"/>
                </a:lnTo>
                <a:lnTo>
                  <a:pt x="5361758" y="1539264"/>
                </a:lnTo>
                <a:lnTo>
                  <a:pt x="5361758" y="1562724"/>
                </a:lnTo>
                <a:lnTo>
                  <a:pt x="6255617" y="1562724"/>
                </a:lnTo>
              </a:path>
            </a:pathLst>
          </a:custGeom>
          <a:noFill/>
          <a:ln w="1905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0" name="Graphic 698">
            <a:extLst>
              <a:ext uri="{FF2B5EF4-FFF2-40B4-BE49-F238E27FC236}">
                <a16:creationId xmlns:a16="http://schemas.microsoft.com/office/drawing/2014/main" id="{152CC641-CD1B-0E1E-66CE-E849B9556959}"/>
              </a:ext>
            </a:extLst>
          </p:cNvPr>
          <p:cNvSpPr/>
          <p:nvPr/>
        </p:nvSpPr>
        <p:spPr>
          <a:xfrm>
            <a:off x="1079461" y="1576551"/>
            <a:ext cx="6227262" cy="1919874"/>
          </a:xfrm>
          <a:custGeom>
            <a:avLst/>
            <a:gdLst>
              <a:gd name="connsiteX0" fmla="*/ 0 w 6227262"/>
              <a:gd name="connsiteY0" fmla="*/ 0 h 1919874"/>
              <a:gd name="connsiteX1" fmla="*/ 63173 w 6227262"/>
              <a:gd name="connsiteY1" fmla="*/ 0 h 1919874"/>
              <a:gd name="connsiteX2" fmla="*/ 63828 w 6227262"/>
              <a:gd name="connsiteY2" fmla="*/ 14330 h 1919874"/>
              <a:gd name="connsiteX3" fmla="*/ 123113 w 6227262"/>
              <a:gd name="connsiteY3" fmla="*/ 14330 h 1919874"/>
              <a:gd name="connsiteX4" fmla="*/ 123113 w 6227262"/>
              <a:gd name="connsiteY4" fmla="*/ 24072 h 1919874"/>
              <a:gd name="connsiteX5" fmla="*/ 160860 w 6227262"/>
              <a:gd name="connsiteY5" fmla="*/ 24072 h 1919874"/>
              <a:gd name="connsiteX6" fmla="*/ 160860 w 6227262"/>
              <a:gd name="connsiteY6" fmla="*/ 33858 h 1919874"/>
              <a:gd name="connsiteX7" fmla="*/ 177811 w 6227262"/>
              <a:gd name="connsiteY7" fmla="*/ 33858 h 1919874"/>
              <a:gd name="connsiteX8" fmla="*/ 177811 w 6227262"/>
              <a:gd name="connsiteY8" fmla="*/ 44911 h 1919874"/>
              <a:gd name="connsiteX9" fmla="*/ 199961 w 6227262"/>
              <a:gd name="connsiteY9" fmla="*/ 44911 h 1919874"/>
              <a:gd name="connsiteX10" fmla="*/ 199961 w 6227262"/>
              <a:gd name="connsiteY10" fmla="*/ 54698 h 1919874"/>
              <a:gd name="connsiteX11" fmla="*/ 227965 w 6227262"/>
              <a:gd name="connsiteY11" fmla="*/ 54698 h 1919874"/>
              <a:gd name="connsiteX12" fmla="*/ 227965 w 6227262"/>
              <a:gd name="connsiteY12" fmla="*/ 67061 h 1919874"/>
              <a:gd name="connsiteX13" fmla="*/ 274842 w 6227262"/>
              <a:gd name="connsiteY13" fmla="*/ 67061 h 1919874"/>
              <a:gd name="connsiteX14" fmla="*/ 274842 w 6227262"/>
              <a:gd name="connsiteY14" fmla="*/ 72915 h 1919874"/>
              <a:gd name="connsiteX15" fmla="*/ 282007 w 6227262"/>
              <a:gd name="connsiteY15" fmla="*/ 72915 h 1919874"/>
              <a:gd name="connsiteX16" fmla="*/ 282007 w 6227262"/>
              <a:gd name="connsiteY16" fmla="*/ 88556 h 1919874"/>
              <a:gd name="connsiteX17" fmla="*/ 410319 w 6227262"/>
              <a:gd name="connsiteY17" fmla="*/ 88556 h 1919874"/>
              <a:gd name="connsiteX18" fmla="*/ 410319 w 6227262"/>
              <a:gd name="connsiteY18" fmla="*/ 95721 h 1919874"/>
              <a:gd name="connsiteX19" fmla="*/ 420717 w 6227262"/>
              <a:gd name="connsiteY19" fmla="*/ 95721 h 1919874"/>
              <a:gd name="connsiteX20" fmla="*/ 420717 w 6227262"/>
              <a:gd name="connsiteY20" fmla="*/ 104852 h 1919874"/>
              <a:gd name="connsiteX21" fmla="*/ 468249 w 6227262"/>
              <a:gd name="connsiteY21" fmla="*/ 104852 h 1919874"/>
              <a:gd name="connsiteX22" fmla="*/ 468249 w 6227262"/>
              <a:gd name="connsiteY22" fmla="*/ 117215 h 1919874"/>
              <a:gd name="connsiteX23" fmla="*/ 499530 w 6227262"/>
              <a:gd name="connsiteY23" fmla="*/ 117215 h 1919874"/>
              <a:gd name="connsiteX24" fmla="*/ 499530 w 6227262"/>
              <a:gd name="connsiteY24" fmla="*/ 125691 h 1919874"/>
              <a:gd name="connsiteX25" fmla="*/ 575067 w 6227262"/>
              <a:gd name="connsiteY25" fmla="*/ 125691 h 1919874"/>
              <a:gd name="connsiteX26" fmla="*/ 575067 w 6227262"/>
              <a:gd name="connsiteY26" fmla="*/ 136089 h 1919874"/>
              <a:gd name="connsiteX27" fmla="*/ 595906 w 6227262"/>
              <a:gd name="connsiteY27" fmla="*/ 136089 h 1919874"/>
              <a:gd name="connsiteX28" fmla="*/ 595906 w 6227262"/>
              <a:gd name="connsiteY28" fmla="*/ 149151 h 1919874"/>
              <a:gd name="connsiteX29" fmla="*/ 671443 w 6227262"/>
              <a:gd name="connsiteY29" fmla="*/ 149151 h 1919874"/>
              <a:gd name="connsiteX30" fmla="*/ 671443 w 6227262"/>
              <a:gd name="connsiteY30" fmla="*/ 158238 h 1919874"/>
              <a:gd name="connsiteX31" fmla="*/ 867472 w 6227262"/>
              <a:gd name="connsiteY31" fmla="*/ 158238 h 1919874"/>
              <a:gd name="connsiteX32" fmla="*/ 867472 w 6227262"/>
              <a:gd name="connsiteY32" fmla="*/ 171257 h 1919874"/>
              <a:gd name="connsiteX33" fmla="*/ 906573 w 6227262"/>
              <a:gd name="connsiteY33" fmla="*/ 171257 h 1919874"/>
              <a:gd name="connsiteX34" fmla="*/ 906573 w 6227262"/>
              <a:gd name="connsiteY34" fmla="*/ 180388 h 1919874"/>
              <a:gd name="connsiteX35" fmla="*/ 937154 w 6227262"/>
              <a:gd name="connsiteY35" fmla="*/ 180388 h 1919874"/>
              <a:gd name="connsiteX36" fmla="*/ 937154 w 6227262"/>
              <a:gd name="connsiteY36" fmla="*/ 187553 h 1919874"/>
              <a:gd name="connsiteX37" fmla="*/ 1014002 w 6227262"/>
              <a:gd name="connsiteY37" fmla="*/ 187553 h 1919874"/>
              <a:gd name="connsiteX38" fmla="*/ 1014002 w 6227262"/>
              <a:gd name="connsiteY38" fmla="*/ 198606 h 1919874"/>
              <a:gd name="connsiteX39" fmla="*/ 1022477 w 6227262"/>
              <a:gd name="connsiteY39" fmla="*/ 198606 h 1919874"/>
              <a:gd name="connsiteX40" fmla="*/ 1022477 w 6227262"/>
              <a:gd name="connsiteY40" fmla="*/ 212936 h 1919874"/>
              <a:gd name="connsiteX41" fmla="*/ 1187880 w 6227262"/>
              <a:gd name="connsiteY41" fmla="*/ 212936 h 1919874"/>
              <a:gd name="connsiteX42" fmla="*/ 1187880 w 6227262"/>
              <a:gd name="connsiteY42" fmla="*/ 220101 h 1919874"/>
              <a:gd name="connsiteX43" fmla="*/ 1204176 w 6227262"/>
              <a:gd name="connsiteY43" fmla="*/ 220101 h 1919874"/>
              <a:gd name="connsiteX44" fmla="*/ 1204176 w 6227262"/>
              <a:gd name="connsiteY44" fmla="*/ 233164 h 1919874"/>
              <a:gd name="connsiteX45" fmla="*/ 1281679 w 6227262"/>
              <a:gd name="connsiteY45" fmla="*/ 233164 h 1919874"/>
              <a:gd name="connsiteX46" fmla="*/ 1281679 w 6227262"/>
              <a:gd name="connsiteY46" fmla="*/ 242251 h 1919874"/>
              <a:gd name="connsiteX47" fmla="*/ 1301207 w 6227262"/>
              <a:gd name="connsiteY47" fmla="*/ 242251 h 1919874"/>
              <a:gd name="connsiteX48" fmla="*/ 1301207 w 6227262"/>
              <a:gd name="connsiteY48" fmla="*/ 249416 h 1919874"/>
              <a:gd name="connsiteX49" fmla="*/ 1398894 w 6227262"/>
              <a:gd name="connsiteY49" fmla="*/ 249416 h 1919874"/>
              <a:gd name="connsiteX50" fmla="*/ 1398894 w 6227262"/>
              <a:gd name="connsiteY50" fmla="*/ 264401 h 1919874"/>
              <a:gd name="connsiteX51" fmla="*/ 1404093 w 6227262"/>
              <a:gd name="connsiteY51" fmla="*/ 264401 h 1919874"/>
              <a:gd name="connsiteX52" fmla="*/ 1404093 w 6227262"/>
              <a:gd name="connsiteY52" fmla="*/ 274187 h 1919874"/>
              <a:gd name="connsiteX53" fmla="*/ 1420389 w 6227262"/>
              <a:gd name="connsiteY53" fmla="*/ 274187 h 1919874"/>
              <a:gd name="connsiteX54" fmla="*/ 1420389 w 6227262"/>
              <a:gd name="connsiteY54" fmla="*/ 282619 h 1919874"/>
              <a:gd name="connsiteX55" fmla="*/ 1463378 w 6227262"/>
              <a:gd name="connsiteY55" fmla="*/ 282619 h 1919874"/>
              <a:gd name="connsiteX56" fmla="*/ 1463378 w 6227262"/>
              <a:gd name="connsiteY56" fmla="*/ 293060 h 1919874"/>
              <a:gd name="connsiteX57" fmla="*/ 1471198 w 6227262"/>
              <a:gd name="connsiteY57" fmla="*/ 293060 h 1919874"/>
              <a:gd name="connsiteX58" fmla="*/ 1471198 w 6227262"/>
              <a:gd name="connsiteY58" fmla="*/ 304768 h 1919874"/>
              <a:gd name="connsiteX59" fmla="*/ 1558443 w 6227262"/>
              <a:gd name="connsiteY59" fmla="*/ 304768 h 1919874"/>
              <a:gd name="connsiteX60" fmla="*/ 1558443 w 6227262"/>
              <a:gd name="connsiteY60" fmla="*/ 316521 h 1919874"/>
              <a:gd name="connsiteX61" fmla="*/ 1566263 w 6227262"/>
              <a:gd name="connsiteY61" fmla="*/ 316521 h 1919874"/>
              <a:gd name="connsiteX62" fmla="*/ 1566263 w 6227262"/>
              <a:gd name="connsiteY62" fmla="*/ 327574 h 1919874"/>
              <a:gd name="connsiteX63" fmla="*/ 1592957 w 6227262"/>
              <a:gd name="connsiteY63" fmla="*/ 327574 h 1919874"/>
              <a:gd name="connsiteX64" fmla="*/ 1592957 w 6227262"/>
              <a:gd name="connsiteY64" fmla="*/ 336704 h 1919874"/>
              <a:gd name="connsiteX65" fmla="*/ 1601432 w 6227262"/>
              <a:gd name="connsiteY65" fmla="*/ 336704 h 1919874"/>
              <a:gd name="connsiteX66" fmla="*/ 1601432 w 6227262"/>
              <a:gd name="connsiteY66" fmla="*/ 345792 h 1919874"/>
              <a:gd name="connsiteX67" fmla="*/ 1609253 w 6227262"/>
              <a:gd name="connsiteY67" fmla="*/ 345792 h 1919874"/>
              <a:gd name="connsiteX68" fmla="*/ 1609253 w 6227262"/>
              <a:gd name="connsiteY68" fmla="*/ 356888 h 1919874"/>
              <a:gd name="connsiteX69" fmla="*/ 1621616 w 6227262"/>
              <a:gd name="connsiteY69" fmla="*/ 356888 h 1919874"/>
              <a:gd name="connsiteX70" fmla="*/ 1621616 w 6227262"/>
              <a:gd name="connsiteY70" fmla="*/ 366631 h 1919874"/>
              <a:gd name="connsiteX71" fmla="*/ 1641800 w 6227262"/>
              <a:gd name="connsiteY71" fmla="*/ 366631 h 1919874"/>
              <a:gd name="connsiteX72" fmla="*/ 1641800 w 6227262"/>
              <a:gd name="connsiteY72" fmla="*/ 386203 h 1919874"/>
              <a:gd name="connsiteX73" fmla="*/ 1654208 w 6227262"/>
              <a:gd name="connsiteY73" fmla="*/ 386203 h 1919874"/>
              <a:gd name="connsiteX74" fmla="*/ 1654208 w 6227262"/>
              <a:gd name="connsiteY74" fmla="*/ 401800 h 1919874"/>
              <a:gd name="connsiteX75" fmla="*/ 1705629 w 6227262"/>
              <a:gd name="connsiteY75" fmla="*/ 401800 h 1919874"/>
              <a:gd name="connsiteX76" fmla="*/ 1705629 w 6227262"/>
              <a:gd name="connsiteY76" fmla="*/ 416785 h 1919874"/>
              <a:gd name="connsiteX77" fmla="*/ 1737565 w 6227262"/>
              <a:gd name="connsiteY77" fmla="*/ 416785 h 1919874"/>
              <a:gd name="connsiteX78" fmla="*/ 1737565 w 6227262"/>
              <a:gd name="connsiteY78" fmla="*/ 440245 h 1919874"/>
              <a:gd name="connsiteX79" fmla="*/ 1763603 w 6227262"/>
              <a:gd name="connsiteY79" fmla="*/ 440245 h 1919874"/>
              <a:gd name="connsiteX80" fmla="*/ 1763603 w 6227262"/>
              <a:gd name="connsiteY80" fmla="*/ 452609 h 1919874"/>
              <a:gd name="connsiteX81" fmla="*/ 1784442 w 6227262"/>
              <a:gd name="connsiteY81" fmla="*/ 452609 h 1919874"/>
              <a:gd name="connsiteX82" fmla="*/ 1784442 w 6227262"/>
              <a:gd name="connsiteY82" fmla="*/ 461085 h 1919874"/>
              <a:gd name="connsiteX83" fmla="*/ 1804626 w 6227262"/>
              <a:gd name="connsiteY83" fmla="*/ 461085 h 1919874"/>
              <a:gd name="connsiteX84" fmla="*/ 1804626 w 6227262"/>
              <a:gd name="connsiteY84" fmla="*/ 470215 h 1919874"/>
              <a:gd name="connsiteX85" fmla="*/ 1879507 w 6227262"/>
              <a:gd name="connsiteY85" fmla="*/ 470215 h 1919874"/>
              <a:gd name="connsiteX86" fmla="*/ 1879507 w 6227262"/>
              <a:gd name="connsiteY86" fmla="*/ 492977 h 1919874"/>
              <a:gd name="connsiteX87" fmla="*/ 1924462 w 6227262"/>
              <a:gd name="connsiteY87" fmla="*/ 492977 h 1919874"/>
              <a:gd name="connsiteX88" fmla="*/ 1924462 w 6227262"/>
              <a:gd name="connsiteY88" fmla="*/ 501452 h 1919874"/>
              <a:gd name="connsiteX89" fmla="*/ 1958976 w 6227262"/>
              <a:gd name="connsiteY89" fmla="*/ 501452 h 1919874"/>
              <a:gd name="connsiteX90" fmla="*/ 1958976 w 6227262"/>
              <a:gd name="connsiteY90" fmla="*/ 513816 h 1919874"/>
              <a:gd name="connsiteX91" fmla="*/ 1973306 w 6227262"/>
              <a:gd name="connsiteY91" fmla="*/ 513816 h 1919874"/>
              <a:gd name="connsiteX92" fmla="*/ 1973306 w 6227262"/>
              <a:gd name="connsiteY92" fmla="*/ 534044 h 1919874"/>
              <a:gd name="connsiteX93" fmla="*/ 1994145 w 6227262"/>
              <a:gd name="connsiteY93" fmla="*/ 534044 h 1919874"/>
              <a:gd name="connsiteX94" fmla="*/ 1994145 w 6227262"/>
              <a:gd name="connsiteY94" fmla="*/ 546407 h 1919874"/>
              <a:gd name="connsiteX95" fmla="*/ 1999999 w 6227262"/>
              <a:gd name="connsiteY95" fmla="*/ 546407 h 1919874"/>
              <a:gd name="connsiteX96" fmla="*/ 1999999 w 6227262"/>
              <a:gd name="connsiteY96" fmla="*/ 553572 h 1919874"/>
              <a:gd name="connsiteX97" fmla="*/ 2029314 w 6227262"/>
              <a:gd name="connsiteY97" fmla="*/ 553572 h 1919874"/>
              <a:gd name="connsiteX98" fmla="*/ 2029314 w 6227262"/>
              <a:gd name="connsiteY98" fmla="*/ 576334 h 1919874"/>
              <a:gd name="connsiteX99" fmla="*/ 2052774 w 6227262"/>
              <a:gd name="connsiteY99" fmla="*/ 576334 h 1919874"/>
              <a:gd name="connsiteX100" fmla="*/ 2052774 w 6227262"/>
              <a:gd name="connsiteY100" fmla="*/ 584154 h 1919874"/>
              <a:gd name="connsiteX101" fmla="*/ 2062517 w 6227262"/>
              <a:gd name="connsiteY101" fmla="*/ 584154 h 1919874"/>
              <a:gd name="connsiteX102" fmla="*/ 2062517 w 6227262"/>
              <a:gd name="connsiteY102" fmla="*/ 596561 h 1919874"/>
              <a:gd name="connsiteX103" fmla="*/ 2131544 w 6227262"/>
              <a:gd name="connsiteY103" fmla="*/ 596561 h 1919874"/>
              <a:gd name="connsiteX104" fmla="*/ 2131544 w 6227262"/>
              <a:gd name="connsiteY104" fmla="*/ 608270 h 1919874"/>
              <a:gd name="connsiteX105" fmla="*/ 2168679 w 6227262"/>
              <a:gd name="connsiteY105" fmla="*/ 608270 h 1919874"/>
              <a:gd name="connsiteX106" fmla="*/ 2168679 w 6227262"/>
              <a:gd name="connsiteY106" fmla="*/ 618668 h 1919874"/>
              <a:gd name="connsiteX107" fmla="*/ 2181698 w 6227262"/>
              <a:gd name="connsiteY107" fmla="*/ 618668 h 1919874"/>
              <a:gd name="connsiteX108" fmla="*/ 2181698 w 6227262"/>
              <a:gd name="connsiteY108" fmla="*/ 627798 h 1919874"/>
              <a:gd name="connsiteX109" fmla="*/ 2200572 w 6227262"/>
              <a:gd name="connsiteY109" fmla="*/ 627798 h 1919874"/>
              <a:gd name="connsiteX110" fmla="*/ 2200572 w 6227262"/>
              <a:gd name="connsiteY110" fmla="*/ 650604 h 1919874"/>
              <a:gd name="connsiteX111" fmla="*/ 2209047 w 6227262"/>
              <a:gd name="connsiteY111" fmla="*/ 650604 h 1919874"/>
              <a:gd name="connsiteX112" fmla="*/ 2209047 w 6227262"/>
              <a:gd name="connsiteY112" fmla="*/ 660346 h 1919874"/>
              <a:gd name="connsiteX113" fmla="*/ 2265055 w 6227262"/>
              <a:gd name="connsiteY113" fmla="*/ 660346 h 1919874"/>
              <a:gd name="connsiteX114" fmla="*/ 2265055 w 6227262"/>
              <a:gd name="connsiteY114" fmla="*/ 670132 h 1919874"/>
              <a:gd name="connsiteX115" fmla="*/ 2278074 w 6227262"/>
              <a:gd name="connsiteY115" fmla="*/ 670132 h 1919874"/>
              <a:gd name="connsiteX116" fmla="*/ 2278074 w 6227262"/>
              <a:gd name="connsiteY116" fmla="*/ 681841 h 1919874"/>
              <a:gd name="connsiteX117" fmla="*/ 2308044 w 6227262"/>
              <a:gd name="connsiteY117" fmla="*/ 681841 h 1919874"/>
              <a:gd name="connsiteX118" fmla="*/ 2308044 w 6227262"/>
              <a:gd name="connsiteY118" fmla="*/ 692282 h 1919874"/>
              <a:gd name="connsiteX119" fmla="*/ 2325651 w 6227262"/>
              <a:gd name="connsiteY119" fmla="*/ 692282 h 1919874"/>
              <a:gd name="connsiteX120" fmla="*/ 2325651 w 6227262"/>
              <a:gd name="connsiteY120" fmla="*/ 711811 h 1919874"/>
              <a:gd name="connsiteX121" fmla="*/ 2331505 w 6227262"/>
              <a:gd name="connsiteY121" fmla="*/ 711811 h 1919874"/>
              <a:gd name="connsiteX122" fmla="*/ 2331505 w 6227262"/>
              <a:gd name="connsiteY122" fmla="*/ 720942 h 1919874"/>
              <a:gd name="connsiteX123" fmla="*/ 2347101 w 6227262"/>
              <a:gd name="connsiteY123" fmla="*/ 720942 h 1919874"/>
              <a:gd name="connsiteX124" fmla="*/ 2347101 w 6227262"/>
              <a:gd name="connsiteY124" fmla="*/ 733961 h 1919874"/>
              <a:gd name="connsiteX125" fmla="*/ 2369251 w 6227262"/>
              <a:gd name="connsiteY125" fmla="*/ 733961 h 1919874"/>
              <a:gd name="connsiteX126" fmla="*/ 2369251 w 6227262"/>
              <a:gd name="connsiteY126" fmla="*/ 755455 h 1919874"/>
              <a:gd name="connsiteX127" fmla="*/ 2412241 w 6227262"/>
              <a:gd name="connsiteY127" fmla="*/ 755455 h 1919874"/>
              <a:gd name="connsiteX128" fmla="*/ 2412241 w 6227262"/>
              <a:gd name="connsiteY128" fmla="*/ 774328 h 1919874"/>
              <a:gd name="connsiteX129" fmla="*/ 2423337 w 6227262"/>
              <a:gd name="connsiteY129" fmla="*/ 774328 h 1919874"/>
              <a:gd name="connsiteX130" fmla="*/ 2423337 w 6227262"/>
              <a:gd name="connsiteY130" fmla="*/ 787348 h 1919874"/>
              <a:gd name="connsiteX131" fmla="*/ 2435046 w 6227262"/>
              <a:gd name="connsiteY131" fmla="*/ 787348 h 1919874"/>
              <a:gd name="connsiteX132" fmla="*/ 2435046 w 6227262"/>
              <a:gd name="connsiteY132" fmla="*/ 797134 h 1919874"/>
              <a:gd name="connsiteX133" fmla="*/ 2445444 w 6227262"/>
              <a:gd name="connsiteY133" fmla="*/ 797134 h 1919874"/>
              <a:gd name="connsiteX134" fmla="*/ 2445444 w 6227262"/>
              <a:gd name="connsiteY134" fmla="*/ 807531 h 1919874"/>
              <a:gd name="connsiteX135" fmla="*/ 2457196 w 6227262"/>
              <a:gd name="connsiteY135" fmla="*/ 807531 h 1919874"/>
              <a:gd name="connsiteX136" fmla="*/ 2457196 w 6227262"/>
              <a:gd name="connsiteY136" fmla="*/ 816007 h 1919874"/>
              <a:gd name="connsiteX137" fmla="*/ 2493675 w 6227262"/>
              <a:gd name="connsiteY137" fmla="*/ 816007 h 1919874"/>
              <a:gd name="connsiteX138" fmla="*/ 2493675 w 6227262"/>
              <a:gd name="connsiteY138" fmla="*/ 828371 h 1919874"/>
              <a:gd name="connsiteX139" fmla="*/ 2530766 w 6227262"/>
              <a:gd name="connsiteY139" fmla="*/ 828371 h 1919874"/>
              <a:gd name="connsiteX140" fmla="*/ 2530766 w 6227262"/>
              <a:gd name="connsiteY140" fmla="*/ 849210 h 1919874"/>
              <a:gd name="connsiteX141" fmla="*/ 2546407 w 6227262"/>
              <a:gd name="connsiteY141" fmla="*/ 849210 h 1919874"/>
              <a:gd name="connsiteX142" fmla="*/ 2546407 w 6227262"/>
              <a:gd name="connsiteY142" fmla="*/ 868782 h 1919874"/>
              <a:gd name="connsiteX143" fmla="*/ 2554227 w 6227262"/>
              <a:gd name="connsiteY143" fmla="*/ 868782 h 1919874"/>
              <a:gd name="connsiteX144" fmla="*/ 2554227 w 6227262"/>
              <a:gd name="connsiteY144" fmla="*/ 881146 h 1919874"/>
              <a:gd name="connsiteX145" fmla="*/ 2580265 w 6227262"/>
              <a:gd name="connsiteY145" fmla="*/ 881146 h 1919874"/>
              <a:gd name="connsiteX146" fmla="*/ 2580265 w 6227262"/>
              <a:gd name="connsiteY146" fmla="*/ 890277 h 1919874"/>
              <a:gd name="connsiteX147" fmla="*/ 2593939 w 6227262"/>
              <a:gd name="connsiteY147" fmla="*/ 890277 h 1919874"/>
              <a:gd name="connsiteX148" fmla="*/ 2593939 w 6227262"/>
              <a:gd name="connsiteY148" fmla="*/ 898709 h 1919874"/>
              <a:gd name="connsiteX149" fmla="*/ 2605648 w 6227262"/>
              <a:gd name="connsiteY149" fmla="*/ 898709 h 1919874"/>
              <a:gd name="connsiteX150" fmla="*/ 2605648 w 6227262"/>
              <a:gd name="connsiteY150" fmla="*/ 912383 h 1919874"/>
              <a:gd name="connsiteX151" fmla="*/ 2649292 w 6227262"/>
              <a:gd name="connsiteY151" fmla="*/ 912383 h 1919874"/>
              <a:gd name="connsiteX152" fmla="*/ 2649292 w 6227262"/>
              <a:gd name="connsiteY152" fmla="*/ 923480 h 1919874"/>
              <a:gd name="connsiteX153" fmla="*/ 2694248 w 6227262"/>
              <a:gd name="connsiteY153" fmla="*/ 923480 h 1919874"/>
              <a:gd name="connsiteX154" fmla="*/ 2694248 w 6227262"/>
              <a:gd name="connsiteY154" fmla="*/ 930645 h 1919874"/>
              <a:gd name="connsiteX155" fmla="*/ 2711155 w 6227262"/>
              <a:gd name="connsiteY155" fmla="*/ 930645 h 1919874"/>
              <a:gd name="connsiteX156" fmla="*/ 2711155 w 6227262"/>
              <a:gd name="connsiteY156" fmla="*/ 944319 h 1919874"/>
              <a:gd name="connsiteX157" fmla="*/ 2743746 w 6227262"/>
              <a:gd name="connsiteY157" fmla="*/ 944319 h 1919874"/>
              <a:gd name="connsiteX158" fmla="*/ 2743746 w 6227262"/>
              <a:gd name="connsiteY158" fmla="*/ 953450 h 1919874"/>
              <a:gd name="connsiteX159" fmla="*/ 2767163 w 6227262"/>
              <a:gd name="connsiteY159" fmla="*/ 953450 h 1919874"/>
              <a:gd name="connsiteX160" fmla="*/ 2767163 w 6227262"/>
              <a:gd name="connsiteY160" fmla="*/ 961882 h 1919874"/>
              <a:gd name="connsiteX161" fmla="*/ 2788658 w 6227262"/>
              <a:gd name="connsiteY161" fmla="*/ 961882 h 1919874"/>
              <a:gd name="connsiteX162" fmla="*/ 2788658 w 6227262"/>
              <a:gd name="connsiteY162" fmla="*/ 974289 h 1919874"/>
              <a:gd name="connsiteX163" fmla="*/ 2822516 w 6227262"/>
              <a:gd name="connsiteY163" fmla="*/ 974289 h 1919874"/>
              <a:gd name="connsiteX164" fmla="*/ 2822516 w 6227262"/>
              <a:gd name="connsiteY164" fmla="*/ 984687 h 1919874"/>
              <a:gd name="connsiteX165" fmla="*/ 2893509 w 6227262"/>
              <a:gd name="connsiteY165" fmla="*/ 984687 h 1919874"/>
              <a:gd name="connsiteX166" fmla="*/ 2893509 w 6227262"/>
              <a:gd name="connsiteY166" fmla="*/ 995128 h 1919874"/>
              <a:gd name="connsiteX167" fmla="*/ 2898096 w 6227262"/>
              <a:gd name="connsiteY167" fmla="*/ 995128 h 1919874"/>
              <a:gd name="connsiteX168" fmla="*/ 2898096 w 6227262"/>
              <a:gd name="connsiteY168" fmla="*/ 1005526 h 1919874"/>
              <a:gd name="connsiteX169" fmla="*/ 2914348 w 6227262"/>
              <a:gd name="connsiteY169" fmla="*/ 1005526 h 1919874"/>
              <a:gd name="connsiteX170" fmla="*/ 2914348 w 6227262"/>
              <a:gd name="connsiteY170" fmla="*/ 1028986 h 1919874"/>
              <a:gd name="connsiteX171" fmla="*/ 2923479 w 6227262"/>
              <a:gd name="connsiteY171" fmla="*/ 1028986 h 1919874"/>
              <a:gd name="connsiteX172" fmla="*/ 2923479 w 6227262"/>
              <a:gd name="connsiteY172" fmla="*/ 1046549 h 1919874"/>
              <a:gd name="connsiteX173" fmla="*/ 2967779 w 6227262"/>
              <a:gd name="connsiteY173" fmla="*/ 1046549 h 1919874"/>
              <a:gd name="connsiteX174" fmla="*/ 2967779 w 6227262"/>
              <a:gd name="connsiteY174" fmla="*/ 1058301 h 1919874"/>
              <a:gd name="connsiteX175" fmla="*/ 2977521 w 6227262"/>
              <a:gd name="connsiteY175" fmla="*/ 1058301 h 1919874"/>
              <a:gd name="connsiteX176" fmla="*/ 2977521 w 6227262"/>
              <a:gd name="connsiteY176" fmla="*/ 1067388 h 1919874"/>
              <a:gd name="connsiteX177" fmla="*/ 3053713 w 6227262"/>
              <a:gd name="connsiteY177" fmla="*/ 1067388 h 1919874"/>
              <a:gd name="connsiteX178" fmla="*/ 3053713 w 6227262"/>
              <a:gd name="connsiteY178" fmla="*/ 1081063 h 1919874"/>
              <a:gd name="connsiteX179" fmla="*/ 3070664 w 6227262"/>
              <a:gd name="connsiteY179" fmla="*/ 1081063 h 1919874"/>
              <a:gd name="connsiteX180" fmla="*/ 3070664 w 6227262"/>
              <a:gd name="connsiteY180" fmla="*/ 1099980 h 1919874"/>
              <a:gd name="connsiteX181" fmla="*/ 3096703 w 6227262"/>
              <a:gd name="connsiteY181" fmla="*/ 1099980 h 1919874"/>
              <a:gd name="connsiteX182" fmla="*/ 3096703 w 6227262"/>
              <a:gd name="connsiteY182" fmla="*/ 1112344 h 1919874"/>
              <a:gd name="connsiteX183" fmla="*/ 3105833 w 6227262"/>
              <a:gd name="connsiteY183" fmla="*/ 1112344 h 1919874"/>
              <a:gd name="connsiteX184" fmla="*/ 3105833 w 6227262"/>
              <a:gd name="connsiteY184" fmla="*/ 1123397 h 1919874"/>
              <a:gd name="connsiteX185" fmla="*/ 3116886 w 6227262"/>
              <a:gd name="connsiteY185" fmla="*/ 1123397 h 1919874"/>
              <a:gd name="connsiteX186" fmla="*/ 3116886 w 6227262"/>
              <a:gd name="connsiteY186" fmla="*/ 1133183 h 1919874"/>
              <a:gd name="connsiteX187" fmla="*/ 3206141 w 6227262"/>
              <a:gd name="connsiteY187" fmla="*/ 1133183 h 1919874"/>
              <a:gd name="connsiteX188" fmla="*/ 3206141 w 6227262"/>
              <a:gd name="connsiteY188" fmla="*/ 1141658 h 1919874"/>
              <a:gd name="connsiteX189" fmla="*/ 3252363 w 6227262"/>
              <a:gd name="connsiteY189" fmla="*/ 1141658 h 1919874"/>
              <a:gd name="connsiteX190" fmla="*/ 3252363 w 6227262"/>
              <a:gd name="connsiteY190" fmla="*/ 1153367 h 1919874"/>
              <a:gd name="connsiteX191" fmla="*/ 3337686 w 6227262"/>
              <a:gd name="connsiteY191" fmla="*/ 1153367 h 1919874"/>
              <a:gd name="connsiteX192" fmla="*/ 3337686 w 6227262"/>
              <a:gd name="connsiteY192" fmla="*/ 1188536 h 1919874"/>
              <a:gd name="connsiteX193" fmla="*/ 3351361 w 6227262"/>
              <a:gd name="connsiteY193" fmla="*/ 1188536 h 1919874"/>
              <a:gd name="connsiteX194" fmla="*/ 3351361 w 6227262"/>
              <a:gd name="connsiteY194" fmla="*/ 1196356 h 1919874"/>
              <a:gd name="connsiteX195" fmla="*/ 3357870 w 6227262"/>
              <a:gd name="connsiteY195" fmla="*/ 1196356 h 1919874"/>
              <a:gd name="connsiteX196" fmla="*/ 3357870 w 6227262"/>
              <a:gd name="connsiteY196" fmla="*/ 1225015 h 1919874"/>
              <a:gd name="connsiteX197" fmla="*/ 3372200 w 6227262"/>
              <a:gd name="connsiteY197" fmla="*/ 1225015 h 1919874"/>
              <a:gd name="connsiteX198" fmla="*/ 3372200 w 6227262"/>
              <a:gd name="connsiteY198" fmla="*/ 1240612 h 1919874"/>
              <a:gd name="connsiteX199" fmla="*/ 3395617 w 6227262"/>
              <a:gd name="connsiteY199" fmla="*/ 1240612 h 1919874"/>
              <a:gd name="connsiteX200" fmla="*/ 3395617 w 6227262"/>
              <a:gd name="connsiteY200" fmla="*/ 1249087 h 1919874"/>
              <a:gd name="connsiteX201" fmla="*/ 3430174 w 6227262"/>
              <a:gd name="connsiteY201" fmla="*/ 1249087 h 1919874"/>
              <a:gd name="connsiteX202" fmla="*/ 3430174 w 6227262"/>
              <a:gd name="connsiteY202" fmla="*/ 1259529 h 1919874"/>
              <a:gd name="connsiteX203" fmla="*/ 3493347 w 6227262"/>
              <a:gd name="connsiteY203" fmla="*/ 1259529 h 1919874"/>
              <a:gd name="connsiteX204" fmla="*/ 3493347 w 6227262"/>
              <a:gd name="connsiteY204" fmla="*/ 1269271 h 1919874"/>
              <a:gd name="connsiteX205" fmla="*/ 3518075 w 6227262"/>
              <a:gd name="connsiteY205" fmla="*/ 1269271 h 1919874"/>
              <a:gd name="connsiteX206" fmla="*/ 3518075 w 6227262"/>
              <a:gd name="connsiteY206" fmla="*/ 1279057 h 1919874"/>
              <a:gd name="connsiteX207" fmla="*/ 3529783 w 6227262"/>
              <a:gd name="connsiteY207" fmla="*/ 1279057 h 1919874"/>
              <a:gd name="connsiteX208" fmla="*/ 3529783 w 6227262"/>
              <a:gd name="connsiteY208" fmla="*/ 1292076 h 1919874"/>
              <a:gd name="connsiteX209" fmla="*/ 3551278 w 6227262"/>
              <a:gd name="connsiteY209" fmla="*/ 1292076 h 1919874"/>
              <a:gd name="connsiteX210" fmla="*/ 3551278 w 6227262"/>
              <a:gd name="connsiteY210" fmla="*/ 1303130 h 1919874"/>
              <a:gd name="connsiteX211" fmla="*/ 3568884 w 6227262"/>
              <a:gd name="connsiteY211" fmla="*/ 1303130 h 1919874"/>
              <a:gd name="connsiteX212" fmla="*/ 3568884 w 6227262"/>
              <a:gd name="connsiteY212" fmla="*/ 1314226 h 1919874"/>
              <a:gd name="connsiteX213" fmla="*/ 3584480 w 6227262"/>
              <a:gd name="connsiteY213" fmla="*/ 1314226 h 1919874"/>
              <a:gd name="connsiteX214" fmla="*/ 3584480 w 6227262"/>
              <a:gd name="connsiteY214" fmla="*/ 1325279 h 1919874"/>
              <a:gd name="connsiteX215" fmla="*/ 3592956 w 6227262"/>
              <a:gd name="connsiteY215" fmla="*/ 1325279 h 1919874"/>
              <a:gd name="connsiteX216" fmla="*/ 3592956 w 6227262"/>
              <a:gd name="connsiteY216" fmla="*/ 1342886 h 1919874"/>
              <a:gd name="connsiteX217" fmla="*/ 3640489 w 6227262"/>
              <a:gd name="connsiteY217" fmla="*/ 1342886 h 1919874"/>
              <a:gd name="connsiteX218" fmla="*/ 3640489 w 6227262"/>
              <a:gd name="connsiteY218" fmla="*/ 1356560 h 1919874"/>
              <a:gd name="connsiteX219" fmla="*/ 3659406 w 6227262"/>
              <a:gd name="connsiteY219" fmla="*/ 1356560 h 1919874"/>
              <a:gd name="connsiteX220" fmla="*/ 3659406 w 6227262"/>
              <a:gd name="connsiteY220" fmla="*/ 1365691 h 1919874"/>
              <a:gd name="connsiteX221" fmla="*/ 3693264 w 6227262"/>
              <a:gd name="connsiteY221" fmla="*/ 1365691 h 1919874"/>
              <a:gd name="connsiteX222" fmla="*/ 3693264 w 6227262"/>
              <a:gd name="connsiteY222" fmla="*/ 1397583 h 1919874"/>
              <a:gd name="connsiteX223" fmla="*/ 3702395 w 6227262"/>
              <a:gd name="connsiteY223" fmla="*/ 1397583 h 1919874"/>
              <a:gd name="connsiteX224" fmla="*/ 3702395 w 6227262"/>
              <a:gd name="connsiteY224" fmla="*/ 1408636 h 1919874"/>
              <a:gd name="connsiteX225" fmla="*/ 3776621 w 6227262"/>
              <a:gd name="connsiteY225" fmla="*/ 1408636 h 1919874"/>
              <a:gd name="connsiteX226" fmla="*/ 3776621 w 6227262"/>
              <a:gd name="connsiteY226" fmla="*/ 1419733 h 1919874"/>
              <a:gd name="connsiteX227" fmla="*/ 3791606 w 6227262"/>
              <a:gd name="connsiteY227" fmla="*/ 1419733 h 1919874"/>
              <a:gd name="connsiteX228" fmla="*/ 3791606 w 6227262"/>
              <a:gd name="connsiteY228" fmla="*/ 1428864 h 1919874"/>
              <a:gd name="connsiteX229" fmla="*/ 3892526 w 6227262"/>
              <a:gd name="connsiteY229" fmla="*/ 1428864 h 1919874"/>
              <a:gd name="connsiteX230" fmla="*/ 3892526 w 6227262"/>
              <a:gd name="connsiteY230" fmla="*/ 1439917 h 1919874"/>
              <a:gd name="connsiteX231" fmla="*/ 3914020 w 6227262"/>
              <a:gd name="connsiteY231" fmla="*/ 1439917 h 1919874"/>
              <a:gd name="connsiteX232" fmla="*/ 3914020 w 6227262"/>
              <a:gd name="connsiteY232" fmla="*/ 1450315 h 1919874"/>
              <a:gd name="connsiteX233" fmla="*/ 3960941 w 6227262"/>
              <a:gd name="connsiteY233" fmla="*/ 1450315 h 1919874"/>
              <a:gd name="connsiteX234" fmla="*/ 3960941 w 6227262"/>
              <a:gd name="connsiteY234" fmla="*/ 1462722 h 1919874"/>
              <a:gd name="connsiteX235" fmla="*/ 3992178 w 6227262"/>
              <a:gd name="connsiteY235" fmla="*/ 1462722 h 1919874"/>
              <a:gd name="connsiteX236" fmla="*/ 3992178 w 6227262"/>
              <a:gd name="connsiteY236" fmla="*/ 1471809 h 1919874"/>
              <a:gd name="connsiteX237" fmla="*/ 4091176 w 6227262"/>
              <a:gd name="connsiteY237" fmla="*/ 1471809 h 1919874"/>
              <a:gd name="connsiteX238" fmla="*/ 4091176 w 6227262"/>
              <a:gd name="connsiteY238" fmla="*/ 1479630 h 1919874"/>
              <a:gd name="connsiteX239" fmla="*/ 4115903 w 6227262"/>
              <a:gd name="connsiteY239" fmla="*/ 1479630 h 1919874"/>
              <a:gd name="connsiteX240" fmla="*/ 4115903 w 6227262"/>
              <a:gd name="connsiteY240" fmla="*/ 1491382 h 1919874"/>
              <a:gd name="connsiteX241" fmla="*/ 4144562 w 6227262"/>
              <a:gd name="connsiteY241" fmla="*/ 1491382 h 1919874"/>
              <a:gd name="connsiteX242" fmla="*/ 4144562 w 6227262"/>
              <a:gd name="connsiteY242" fmla="*/ 1503745 h 1919874"/>
              <a:gd name="connsiteX243" fmla="*/ 4220755 w 6227262"/>
              <a:gd name="connsiteY243" fmla="*/ 1503745 h 1919874"/>
              <a:gd name="connsiteX244" fmla="*/ 4220755 w 6227262"/>
              <a:gd name="connsiteY244" fmla="*/ 1514799 h 1919874"/>
              <a:gd name="connsiteX245" fmla="*/ 4274841 w 6227262"/>
              <a:gd name="connsiteY245" fmla="*/ 1514799 h 1919874"/>
              <a:gd name="connsiteX246" fmla="*/ 4274841 w 6227262"/>
              <a:gd name="connsiteY246" fmla="*/ 1527818 h 1919874"/>
              <a:gd name="connsiteX247" fmla="*/ 4292403 w 6227262"/>
              <a:gd name="connsiteY247" fmla="*/ 1527818 h 1919874"/>
              <a:gd name="connsiteX248" fmla="*/ 4292403 w 6227262"/>
              <a:gd name="connsiteY248" fmla="*/ 1555166 h 1919874"/>
              <a:gd name="connsiteX249" fmla="*/ 4315208 w 6227262"/>
              <a:gd name="connsiteY249" fmla="*/ 1555166 h 1919874"/>
              <a:gd name="connsiteX250" fmla="*/ 4315208 w 6227262"/>
              <a:gd name="connsiteY250" fmla="*/ 1566918 h 1919874"/>
              <a:gd name="connsiteX251" fmla="*/ 4324339 w 6227262"/>
              <a:gd name="connsiteY251" fmla="*/ 1566918 h 1919874"/>
              <a:gd name="connsiteX252" fmla="*/ 4324339 w 6227262"/>
              <a:gd name="connsiteY252" fmla="*/ 1579282 h 1919874"/>
              <a:gd name="connsiteX253" fmla="*/ 4451297 w 6227262"/>
              <a:gd name="connsiteY253" fmla="*/ 1579282 h 1919874"/>
              <a:gd name="connsiteX254" fmla="*/ 4451297 w 6227262"/>
              <a:gd name="connsiteY254" fmla="*/ 1586447 h 1919874"/>
              <a:gd name="connsiteX255" fmla="*/ 4464360 w 6227262"/>
              <a:gd name="connsiteY255" fmla="*/ 1586447 h 1919874"/>
              <a:gd name="connsiteX256" fmla="*/ 4464360 w 6227262"/>
              <a:gd name="connsiteY256" fmla="*/ 1602743 h 1919874"/>
              <a:gd name="connsiteX257" fmla="*/ 4534698 w 6227262"/>
              <a:gd name="connsiteY257" fmla="*/ 1602743 h 1919874"/>
              <a:gd name="connsiteX258" fmla="*/ 4534698 w 6227262"/>
              <a:gd name="connsiteY258" fmla="*/ 1613141 h 1919874"/>
              <a:gd name="connsiteX259" fmla="*/ 4545096 w 6227262"/>
              <a:gd name="connsiteY259" fmla="*/ 1613141 h 1919874"/>
              <a:gd name="connsiteX260" fmla="*/ 4545096 w 6227262"/>
              <a:gd name="connsiteY260" fmla="*/ 1620305 h 1919874"/>
              <a:gd name="connsiteX261" fmla="*/ 4568556 w 6227262"/>
              <a:gd name="connsiteY261" fmla="*/ 1620305 h 1919874"/>
              <a:gd name="connsiteX262" fmla="*/ 4568556 w 6227262"/>
              <a:gd name="connsiteY262" fmla="*/ 1635290 h 1919874"/>
              <a:gd name="connsiteX263" fmla="*/ 4604992 w 6227262"/>
              <a:gd name="connsiteY263" fmla="*/ 1635290 h 1919874"/>
              <a:gd name="connsiteX264" fmla="*/ 4604992 w 6227262"/>
              <a:gd name="connsiteY264" fmla="*/ 1658096 h 1919874"/>
              <a:gd name="connsiteX265" fmla="*/ 4763274 w 6227262"/>
              <a:gd name="connsiteY265" fmla="*/ 1658096 h 1919874"/>
              <a:gd name="connsiteX266" fmla="*/ 4763274 w 6227262"/>
              <a:gd name="connsiteY266" fmla="*/ 1669804 h 1919874"/>
              <a:gd name="connsiteX267" fmla="*/ 4806263 w 6227262"/>
              <a:gd name="connsiteY267" fmla="*/ 1669804 h 1919874"/>
              <a:gd name="connsiteX268" fmla="*/ 4806263 w 6227262"/>
              <a:gd name="connsiteY268" fmla="*/ 1684789 h 1919874"/>
              <a:gd name="connsiteX269" fmla="*/ 4873325 w 6227262"/>
              <a:gd name="connsiteY269" fmla="*/ 1684789 h 1919874"/>
              <a:gd name="connsiteX270" fmla="*/ 4873325 w 6227262"/>
              <a:gd name="connsiteY270" fmla="*/ 1697153 h 1919874"/>
              <a:gd name="connsiteX271" fmla="*/ 4987962 w 6227262"/>
              <a:gd name="connsiteY271" fmla="*/ 1697153 h 1919874"/>
              <a:gd name="connsiteX272" fmla="*/ 4987962 w 6227262"/>
              <a:gd name="connsiteY272" fmla="*/ 1706284 h 1919874"/>
              <a:gd name="connsiteX273" fmla="*/ 4997049 w 6227262"/>
              <a:gd name="connsiteY273" fmla="*/ 1706284 h 1919874"/>
              <a:gd name="connsiteX274" fmla="*/ 4997049 w 6227262"/>
              <a:gd name="connsiteY274" fmla="*/ 1725812 h 1919874"/>
              <a:gd name="connsiteX275" fmla="*/ 5154676 w 6227262"/>
              <a:gd name="connsiteY275" fmla="*/ 1725812 h 1919874"/>
              <a:gd name="connsiteX276" fmla="*/ 5154676 w 6227262"/>
              <a:gd name="connsiteY276" fmla="*/ 1734288 h 1919874"/>
              <a:gd name="connsiteX277" fmla="*/ 5160530 w 6227262"/>
              <a:gd name="connsiteY277" fmla="*/ 1734288 h 1919874"/>
              <a:gd name="connsiteX278" fmla="*/ 5160530 w 6227262"/>
              <a:gd name="connsiteY278" fmla="*/ 1764869 h 1919874"/>
              <a:gd name="connsiteX279" fmla="*/ 5189845 w 6227262"/>
              <a:gd name="connsiteY279" fmla="*/ 1764869 h 1919874"/>
              <a:gd name="connsiteX280" fmla="*/ 5189845 w 6227262"/>
              <a:gd name="connsiteY280" fmla="*/ 1779199 h 1919874"/>
              <a:gd name="connsiteX281" fmla="*/ 5225669 w 6227262"/>
              <a:gd name="connsiteY281" fmla="*/ 1779199 h 1919874"/>
              <a:gd name="connsiteX282" fmla="*/ 5225669 w 6227262"/>
              <a:gd name="connsiteY282" fmla="*/ 1793529 h 1919874"/>
              <a:gd name="connsiteX283" fmla="*/ 5326589 w 6227262"/>
              <a:gd name="connsiteY283" fmla="*/ 1793529 h 1919874"/>
              <a:gd name="connsiteX284" fmla="*/ 5326589 w 6227262"/>
              <a:gd name="connsiteY284" fmla="*/ 1817645 h 1919874"/>
              <a:gd name="connsiteX285" fmla="*/ 5370233 w 6227262"/>
              <a:gd name="connsiteY285" fmla="*/ 1817645 h 1919874"/>
              <a:gd name="connsiteX286" fmla="*/ 5370233 w 6227262"/>
              <a:gd name="connsiteY286" fmla="*/ 1837173 h 1919874"/>
              <a:gd name="connsiteX287" fmla="*/ 5513486 w 6227262"/>
              <a:gd name="connsiteY287" fmla="*/ 1837173 h 1919874"/>
              <a:gd name="connsiteX288" fmla="*/ 5513486 w 6227262"/>
              <a:gd name="connsiteY288" fmla="*/ 1859979 h 1919874"/>
              <a:gd name="connsiteX289" fmla="*/ 5893180 w 6227262"/>
              <a:gd name="connsiteY289" fmla="*/ 1859979 h 1919874"/>
              <a:gd name="connsiteX290" fmla="*/ 5893180 w 6227262"/>
              <a:gd name="connsiteY290" fmla="*/ 1919875 h 1919874"/>
              <a:gd name="connsiteX291" fmla="*/ 6227263 w 6227262"/>
              <a:gd name="connsiteY291" fmla="*/ 1919875 h 191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227262" h="1919874">
                <a:moveTo>
                  <a:pt x="0" y="0"/>
                </a:moveTo>
                <a:lnTo>
                  <a:pt x="63173" y="0"/>
                </a:lnTo>
                <a:lnTo>
                  <a:pt x="63828" y="14330"/>
                </a:lnTo>
                <a:lnTo>
                  <a:pt x="123113" y="14330"/>
                </a:lnTo>
                <a:lnTo>
                  <a:pt x="123113" y="24072"/>
                </a:lnTo>
                <a:lnTo>
                  <a:pt x="160860" y="24072"/>
                </a:lnTo>
                <a:lnTo>
                  <a:pt x="160860" y="33858"/>
                </a:lnTo>
                <a:lnTo>
                  <a:pt x="177811" y="33858"/>
                </a:lnTo>
                <a:lnTo>
                  <a:pt x="177811" y="44911"/>
                </a:lnTo>
                <a:lnTo>
                  <a:pt x="199961" y="44911"/>
                </a:lnTo>
                <a:lnTo>
                  <a:pt x="199961" y="54698"/>
                </a:lnTo>
                <a:lnTo>
                  <a:pt x="227965" y="54698"/>
                </a:lnTo>
                <a:lnTo>
                  <a:pt x="227965" y="67061"/>
                </a:lnTo>
                <a:lnTo>
                  <a:pt x="274842" y="67061"/>
                </a:lnTo>
                <a:lnTo>
                  <a:pt x="274842" y="72915"/>
                </a:lnTo>
                <a:lnTo>
                  <a:pt x="282007" y="72915"/>
                </a:lnTo>
                <a:lnTo>
                  <a:pt x="282007" y="88556"/>
                </a:lnTo>
                <a:lnTo>
                  <a:pt x="410319" y="88556"/>
                </a:lnTo>
                <a:lnTo>
                  <a:pt x="410319" y="95721"/>
                </a:lnTo>
                <a:lnTo>
                  <a:pt x="420717" y="95721"/>
                </a:lnTo>
                <a:lnTo>
                  <a:pt x="420717" y="104852"/>
                </a:lnTo>
                <a:lnTo>
                  <a:pt x="468249" y="104852"/>
                </a:lnTo>
                <a:lnTo>
                  <a:pt x="468249" y="117215"/>
                </a:lnTo>
                <a:lnTo>
                  <a:pt x="499530" y="117215"/>
                </a:lnTo>
                <a:lnTo>
                  <a:pt x="499530" y="125691"/>
                </a:lnTo>
                <a:lnTo>
                  <a:pt x="575067" y="125691"/>
                </a:lnTo>
                <a:lnTo>
                  <a:pt x="575067" y="136089"/>
                </a:lnTo>
                <a:lnTo>
                  <a:pt x="595906" y="136089"/>
                </a:lnTo>
                <a:lnTo>
                  <a:pt x="595906" y="149151"/>
                </a:lnTo>
                <a:lnTo>
                  <a:pt x="671443" y="149151"/>
                </a:lnTo>
                <a:lnTo>
                  <a:pt x="671443" y="158238"/>
                </a:lnTo>
                <a:lnTo>
                  <a:pt x="867472" y="158238"/>
                </a:lnTo>
                <a:lnTo>
                  <a:pt x="867472" y="171257"/>
                </a:lnTo>
                <a:lnTo>
                  <a:pt x="906573" y="171257"/>
                </a:lnTo>
                <a:lnTo>
                  <a:pt x="906573" y="180388"/>
                </a:lnTo>
                <a:lnTo>
                  <a:pt x="937154" y="180388"/>
                </a:lnTo>
                <a:lnTo>
                  <a:pt x="937154" y="187553"/>
                </a:lnTo>
                <a:lnTo>
                  <a:pt x="1014002" y="187553"/>
                </a:lnTo>
                <a:lnTo>
                  <a:pt x="1014002" y="198606"/>
                </a:lnTo>
                <a:lnTo>
                  <a:pt x="1022477" y="198606"/>
                </a:lnTo>
                <a:lnTo>
                  <a:pt x="1022477" y="212936"/>
                </a:lnTo>
                <a:lnTo>
                  <a:pt x="1187880" y="212936"/>
                </a:lnTo>
                <a:lnTo>
                  <a:pt x="1187880" y="220101"/>
                </a:lnTo>
                <a:lnTo>
                  <a:pt x="1204176" y="220101"/>
                </a:lnTo>
                <a:lnTo>
                  <a:pt x="1204176" y="233164"/>
                </a:lnTo>
                <a:lnTo>
                  <a:pt x="1281679" y="233164"/>
                </a:lnTo>
                <a:lnTo>
                  <a:pt x="1281679" y="242251"/>
                </a:lnTo>
                <a:lnTo>
                  <a:pt x="1301207" y="242251"/>
                </a:lnTo>
                <a:lnTo>
                  <a:pt x="1301207" y="249416"/>
                </a:lnTo>
                <a:lnTo>
                  <a:pt x="1398894" y="249416"/>
                </a:lnTo>
                <a:lnTo>
                  <a:pt x="1398894" y="264401"/>
                </a:lnTo>
                <a:lnTo>
                  <a:pt x="1404093" y="264401"/>
                </a:lnTo>
                <a:lnTo>
                  <a:pt x="1404093" y="274187"/>
                </a:lnTo>
                <a:lnTo>
                  <a:pt x="1420389" y="274187"/>
                </a:lnTo>
                <a:lnTo>
                  <a:pt x="1420389" y="282619"/>
                </a:lnTo>
                <a:lnTo>
                  <a:pt x="1463378" y="282619"/>
                </a:lnTo>
                <a:lnTo>
                  <a:pt x="1463378" y="293060"/>
                </a:lnTo>
                <a:lnTo>
                  <a:pt x="1471198" y="293060"/>
                </a:lnTo>
                <a:lnTo>
                  <a:pt x="1471198" y="304768"/>
                </a:lnTo>
                <a:lnTo>
                  <a:pt x="1558443" y="304768"/>
                </a:lnTo>
                <a:lnTo>
                  <a:pt x="1558443" y="316521"/>
                </a:lnTo>
                <a:lnTo>
                  <a:pt x="1566263" y="316521"/>
                </a:lnTo>
                <a:lnTo>
                  <a:pt x="1566263" y="327574"/>
                </a:lnTo>
                <a:lnTo>
                  <a:pt x="1592957" y="327574"/>
                </a:lnTo>
                <a:lnTo>
                  <a:pt x="1592957" y="336704"/>
                </a:lnTo>
                <a:lnTo>
                  <a:pt x="1601432" y="336704"/>
                </a:lnTo>
                <a:lnTo>
                  <a:pt x="1601432" y="345792"/>
                </a:lnTo>
                <a:lnTo>
                  <a:pt x="1609253" y="345792"/>
                </a:lnTo>
                <a:lnTo>
                  <a:pt x="1609253" y="356888"/>
                </a:lnTo>
                <a:lnTo>
                  <a:pt x="1621616" y="356888"/>
                </a:lnTo>
                <a:lnTo>
                  <a:pt x="1621616" y="366631"/>
                </a:lnTo>
                <a:lnTo>
                  <a:pt x="1641800" y="366631"/>
                </a:lnTo>
                <a:lnTo>
                  <a:pt x="1641800" y="386203"/>
                </a:lnTo>
                <a:lnTo>
                  <a:pt x="1654208" y="386203"/>
                </a:lnTo>
                <a:lnTo>
                  <a:pt x="1654208" y="401800"/>
                </a:lnTo>
                <a:lnTo>
                  <a:pt x="1705629" y="401800"/>
                </a:lnTo>
                <a:lnTo>
                  <a:pt x="1705629" y="416785"/>
                </a:lnTo>
                <a:lnTo>
                  <a:pt x="1737565" y="416785"/>
                </a:lnTo>
                <a:lnTo>
                  <a:pt x="1737565" y="440245"/>
                </a:lnTo>
                <a:lnTo>
                  <a:pt x="1763603" y="440245"/>
                </a:lnTo>
                <a:lnTo>
                  <a:pt x="1763603" y="452609"/>
                </a:lnTo>
                <a:lnTo>
                  <a:pt x="1784442" y="452609"/>
                </a:lnTo>
                <a:lnTo>
                  <a:pt x="1784442" y="461085"/>
                </a:lnTo>
                <a:lnTo>
                  <a:pt x="1804626" y="461085"/>
                </a:lnTo>
                <a:lnTo>
                  <a:pt x="1804626" y="470215"/>
                </a:lnTo>
                <a:lnTo>
                  <a:pt x="1879507" y="470215"/>
                </a:lnTo>
                <a:lnTo>
                  <a:pt x="1879507" y="492977"/>
                </a:lnTo>
                <a:lnTo>
                  <a:pt x="1924462" y="492977"/>
                </a:lnTo>
                <a:lnTo>
                  <a:pt x="1924462" y="501452"/>
                </a:lnTo>
                <a:lnTo>
                  <a:pt x="1958976" y="501452"/>
                </a:lnTo>
                <a:lnTo>
                  <a:pt x="1958976" y="513816"/>
                </a:lnTo>
                <a:lnTo>
                  <a:pt x="1973306" y="513816"/>
                </a:lnTo>
                <a:lnTo>
                  <a:pt x="1973306" y="534044"/>
                </a:lnTo>
                <a:lnTo>
                  <a:pt x="1994145" y="534044"/>
                </a:lnTo>
                <a:lnTo>
                  <a:pt x="1994145" y="546407"/>
                </a:lnTo>
                <a:lnTo>
                  <a:pt x="1999999" y="546407"/>
                </a:lnTo>
                <a:lnTo>
                  <a:pt x="1999999" y="553572"/>
                </a:lnTo>
                <a:lnTo>
                  <a:pt x="2029314" y="553572"/>
                </a:lnTo>
                <a:lnTo>
                  <a:pt x="2029314" y="576334"/>
                </a:lnTo>
                <a:lnTo>
                  <a:pt x="2052774" y="576334"/>
                </a:lnTo>
                <a:lnTo>
                  <a:pt x="2052774" y="584154"/>
                </a:lnTo>
                <a:lnTo>
                  <a:pt x="2062517" y="584154"/>
                </a:lnTo>
                <a:lnTo>
                  <a:pt x="2062517" y="596561"/>
                </a:lnTo>
                <a:lnTo>
                  <a:pt x="2131544" y="596561"/>
                </a:lnTo>
                <a:lnTo>
                  <a:pt x="2131544" y="608270"/>
                </a:lnTo>
                <a:lnTo>
                  <a:pt x="2168679" y="608270"/>
                </a:lnTo>
                <a:lnTo>
                  <a:pt x="2168679" y="618668"/>
                </a:lnTo>
                <a:lnTo>
                  <a:pt x="2181698" y="618668"/>
                </a:lnTo>
                <a:lnTo>
                  <a:pt x="2181698" y="627798"/>
                </a:lnTo>
                <a:lnTo>
                  <a:pt x="2200572" y="627798"/>
                </a:lnTo>
                <a:lnTo>
                  <a:pt x="2200572" y="650604"/>
                </a:lnTo>
                <a:lnTo>
                  <a:pt x="2209047" y="650604"/>
                </a:lnTo>
                <a:lnTo>
                  <a:pt x="2209047" y="660346"/>
                </a:lnTo>
                <a:lnTo>
                  <a:pt x="2265055" y="660346"/>
                </a:lnTo>
                <a:lnTo>
                  <a:pt x="2265055" y="670132"/>
                </a:lnTo>
                <a:lnTo>
                  <a:pt x="2278074" y="670132"/>
                </a:lnTo>
                <a:lnTo>
                  <a:pt x="2278074" y="681841"/>
                </a:lnTo>
                <a:lnTo>
                  <a:pt x="2308044" y="681841"/>
                </a:lnTo>
                <a:lnTo>
                  <a:pt x="2308044" y="692282"/>
                </a:lnTo>
                <a:lnTo>
                  <a:pt x="2325651" y="692282"/>
                </a:lnTo>
                <a:lnTo>
                  <a:pt x="2325651" y="711811"/>
                </a:lnTo>
                <a:lnTo>
                  <a:pt x="2331505" y="711811"/>
                </a:lnTo>
                <a:lnTo>
                  <a:pt x="2331505" y="720942"/>
                </a:lnTo>
                <a:lnTo>
                  <a:pt x="2347101" y="720942"/>
                </a:lnTo>
                <a:lnTo>
                  <a:pt x="2347101" y="733961"/>
                </a:lnTo>
                <a:lnTo>
                  <a:pt x="2369251" y="733961"/>
                </a:lnTo>
                <a:lnTo>
                  <a:pt x="2369251" y="755455"/>
                </a:lnTo>
                <a:lnTo>
                  <a:pt x="2412241" y="755455"/>
                </a:lnTo>
                <a:lnTo>
                  <a:pt x="2412241" y="774328"/>
                </a:lnTo>
                <a:lnTo>
                  <a:pt x="2423337" y="774328"/>
                </a:lnTo>
                <a:lnTo>
                  <a:pt x="2423337" y="787348"/>
                </a:lnTo>
                <a:lnTo>
                  <a:pt x="2435046" y="787348"/>
                </a:lnTo>
                <a:lnTo>
                  <a:pt x="2435046" y="797134"/>
                </a:lnTo>
                <a:lnTo>
                  <a:pt x="2445444" y="797134"/>
                </a:lnTo>
                <a:lnTo>
                  <a:pt x="2445444" y="807531"/>
                </a:lnTo>
                <a:lnTo>
                  <a:pt x="2457196" y="807531"/>
                </a:lnTo>
                <a:lnTo>
                  <a:pt x="2457196" y="816007"/>
                </a:lnTo>
                <a:lnTo>
                  <a:pt x="2493675" y="816007"/>
                </a:lnTo>
                <a:lnTo>
                  <a:pt x="2493675" y="828371"/>
                </a:lnTo>
                <a:lnTo>
                  <a:pt x="2530766" y="828371"/>
                </a:lnTo>
                <a:lnTo>
                  <a:pt x="2530766" y="849210"/>
                </a:lnTo>
                <a:lnTo>
                  <a:pt x="2546407" y="849210"/>
                </a:lnTo>
                <a:lnTo>
                  <a:pt x="2546407" y="868782"/>
                </a:lnTo>
                <a:lnTo>
                  <a:pt x="2554227" y="868782"/>
                </a:lnTo>
                <a:lnTo>
                  <a:pt x="2554227" y="881146"/>
                </a:lnTo>
                <a:lnTo>
                  <a:pt x="2580265" y="881146"/>
                </a:lnTo>
                <a:lnTo>
                  <a:pt x="2580265" y="890277"/>
                </a:lnTo>
                <a:lnTo>
                  <a:pt x="2593939" y="890277"/>
                </a:lnTo>
                <a:lnTo>
                  <a:pt x="2593939" y="898709"/>
                </a:lnTo>
                <a:lnTo>
                  <a:pt x="2605648" y="898709"/>
                </a:lnTo>
                <a:lnTo>
                  <a:pt x="2605648" y="912383"/>
                </a:lnTo>
                <a:lnTo>
                  <a:pt x="2649292" y="912383"/>
                </a:lnTo>
                <a:lnTo>
                  <a:pt x="2649292" y="923480"/>
                </a:lnTo>
                <a:lnTo>
                  <a:pt x="2694248" y="923480"/>
                </a:lnTo>
                <a:lnTo>
                  <a:pt x="2694248" y="930645"/>
                </a:lnTo>
                <a:lnTo>
                  <a:pt x="2711155" y="930645"/>
                </a:lnTo>
                <a:lnTo>
                  <a:pt x="2711155" y="944319"/>
                </a:lnTo>
                <a:lnTo>
                  <a:pt x="2743746" y="944319"/>
                </a:lnTo>
                <a:lnTo>
                  <a:pt x="2743746" y="953450"/>
                </a:lnTo>
                <a:lnTo>
                  <a:pt x="2767163" y="953450"/>
                </a:lnTo>
                <a:lnTo>
                  <a:pt x="2767163" y="961882"/>
                </a:lnTo>
                <a:lnTo>
                  <a:pt x="2788658" y="961882"/>
                </a:lnTo>
                <a:lnTo>
                  <a:pt x="2788658" y="974289"/>
                </a:lnTo>
                <a:lnTo>
                  <a:pt x="2822516" y="974289"/>
                </a:lnTo>
                <a:lnTo>
                  <a:pt x="2822516" y="984687"/>
                </a:lnTo>
                <a:lnTo>
                  <a:pt x="2893509" y="984687"/>
                </a:lnTo>
                <a:lnTo>
                  <a:pt x="2893509" y="995128"/>
                </a:lnTo>
                <a:lnTo>
                  <a:pt x="2898096" y="995128"/>
                </a:lnTo>
                <a:lnTo>
                  <a:pt x="2898096" y="1005526"/>
                </a:lnTo>
                <a:lnTo>
                  <a:pt x="2914348" y="1005526"/>
                </a:lnTo>
                <a:lnTo>
                  <a:pt x="2914348" y="1028986"/>
                </a:lnTo>
                <a:lnTo>
                  <a:pt x="2923479" y="1028986"/>
                </a:lnTo>
                <a:lnTo>
                  <a:pt x="2923479" y="1046549"/>
                </a:lnTo>
                <a:lnTo>
                  <a:pt x="2967779" y="1046549"/>
                </a:lnTo>
                <a:lnTo>
                  <a:pt x="2967779" y="1058301"/>
                </a:lnTo>
                <a:lnTo>
                  <a:pt x="2977521" y="1058301"/>
                </a:lnTo>
                <a:lnTo>
                  <a:pt x="2977521" y="1067388"/>
                </a:lnTo>
                <a:lnTo>
                  <a:pt x="3053713" y="1067388"/>
                </a:lnTo>
                <a:lnTo>
                  <a:pt x="3053713" y="1081063"/>
                </a:lnTo>
                <a:lnTo>
                  <a:pt x="3070664" y="1081063"/>
                </a:lnTo>
                <a:lnTo>
                  <a:pt x="3070664" y="1099980"/>
                </a:lnTo>
                <a:lnTo>
                  <a:pt x="3096703" y="1099980"/>
                </a:lnTo>
                <a:lnTo>
                  <a:pt x="3096703" y="1112344"/>
                </a:lnTo>
                <a:lnTo>
                  <a:pt x="3105833" y="1112344"/>
                </a:lnTo>
                <a:lnTo>
                  <a:pt x="3105833" y="1123397"/>
                </a:lnTo>
                <a:lnTo>
                  <a:pt x="3116886" y="1123397"/>
                </a:lnTo>
                <a:lnTo>
                  <a:pt x="3116886" y="1133183"/>
                </a:lnTo>
                <a:lnTo>
                  <a:pt x="3206141" y="1133183"/>
                </a:lnTo>
                <a:lnTo>
                  <a:pt x="3206141" y="1141658"/>
                </a:lnTo>
                <a:lnTo>
                  <a:pt x="3252363" y="1141658"/>
                </a:lnTo>
                <a:lnTo>
                  <a:pt x="3252363" y="1153367"/>
                </a:lnTo>
                <a:lnTo>
                  <a:pt x="3337686" y="1153367"/>
                </a:lnTo>
                <a:lnTo>
                  <a:pt x="3337686" y="1188536"/>
                </a:lnTo>
                <a:lnTo>
                  <a:pt x="3351361" y="1188536"/>
                </a:lnTo>
                <a:lnTo>
                  <a:pt x="3351361" y="1196356"/>
                </a:lnTo>
                <a:lnTo>
                  <a:pt x="3357870" y="1196356"/>
                </a:lnTo>
                <a:lnTo>
                  <a:pt x="3357870" y="1225015"/>
                </a:lnTo>
                <a:lnTo>
                  <a:pt x="3372200" y="1225015"/>
                </a:lnTo>
                <a:lnTo>
                  <a:pt x="3372200" y="1240612"/>
                </a:lnTo>
                <a:lnTo>
                  <a:pt x="3395617" y="1240612"/>
                </a:lnTo>
                <a:lnTo>
                  <a:pt x="3395617" y="1249087"/>
                </a:lnTo>
                <a:lnTo>
                  <a:pt x="3430174" y="1249087"/>
                </a:lnTo>
                <a:lnTo>
                  <a:pt x="3430174" y="1259529"/>
                </a:lnTo>
                <a:lnTo>
                  <a:pt x="3493347" y="1259529"/>
                </a:lnTo>
                <a:lnTo>
                  <a:pt x="3493347" y="1269271"/>
                </a:lnTo>
                <a:lnTo>
                  <a:pt x="3518075" y="1269271"/>
                </a:lnTo>
                <a:lnTo>
                  <a:pt x="3518075" y="1279057"/>
                </a:lnTo>
                <a:lnTo>
                  <a:pt x="3529783" y="1279057"/>
                </a:lnTo>
                <a:lnTo>
                  <a:pt x="3529783" y="1292076"/>
                </a:lnTo>
                <a:lnTo>
                  <a:pt x="3551278" y="1292076"/>
                </a:lnTo>
                <a:lnTo>
                  <a:pt x="3551278" y="1303130"/>
                </a:lnTo>
                <a:lnTo>
                  <a:pt x="3568884" y="1303130"/>
                </a:lnTo>
                <a:lnTo>
                  <a:pt x="3568884" y="1314226"/>
                </a:lnTo>
                <a:lnTo>
                  <a:pt x="3584480" y="1314226"/>
                </a:lnTo>
                <a:lnTo>
                  <a:pt x="3584480" y="1325279"/>
                </a:lnTo>
                <a:lnTo>
                  <a:pt x="3592956" y="1325279"/>
                </a:lnTo>
                <a:lnTo>
                  <a:pt x="3592956" y="1342886"/>
                </a:lnTo>
                <a:lnTo>
                  <a:pt x="3640489" y="1342886"/>
                </a:lnTo>
                <a:lnTo>
                  <a:pt x="3640489" y="1356560"/>
                </a:lnTo>
                <a:lnTo>
                  <a:pt x="3659406" y="1356560"/>
                </a:lnTo>
                <a:lnTo>
                  <a:pt x="3659406" y="1365691"/>
                </a:lnTo>
                <a:lnTo>
                  <a:pt x="3693264" y="1365691"/>
                </a:lnTo>
                <a:lnTo>
                  <a:pt x="3693264" y="1397583"/>
                </a:lnTo>
                <a:lnTo>
                  <a:pt x="3702395" y="1397583"/>
                </a:lnTo>
                <a:lnTo>
                  <a:pt x="3702395" y="1408636"/>
                </a:lnTo>
                <a:lnTo>
                  <a:pt x="3776621" y="1408636"/>
                </a:lnTo>
                <a:lnTo>
                  <a:pt x="3776621" y="1419733"/>
                </a:lnTo>
                <a:lnTo>
                  <a:pt x="3791606" y="1419733"/>
                </a:lnTo>
                <a:lnTo>
                  <a:pt x="3791606" y="1428864"/>
                </a:lnTo>
                <a:lnTo>
                  <a:pt x="3892526" y="1428864"/>
                </a:lnTo>
                <a:lnTo>
                  <a:pt x="3892526" y="1439917"/>
                </a:lnTo>
                <a:lnTo>
                  <a:pt x="3914020" y="1439917"/>
                </a:lnTo>
                <a:lnTo>
                  <a:pt x="3914020" y="1450315"/>
                </a:lnTo>
                <a:lnTo>
                  <a:pt x="3960941" y="1450315"/>
                </a:lnTo>
                <a:lnTo>
                  <a:pt x="3960941" y="1462722"/>
                </a:lnTo>
                <a:lnTo>
                  <a:pt x="3992178" y="1462722"/>
                </a:lnTo>
                <a:lnTo>
                  <a:pt x="3992178" y="1471809"/>
                </a:lnTo>
                <a:lnTo>
                  <a:pt x="4091176" y="1471809"/>
                </a:lnTo>
                <a:lnTo>
                  <a:pt x="4091176" y="1479630"/>
                </a:lnTo>
                <a:lnTo>
                  <a:pt x="4115903" y="1479630"/>
                </a:lnTo>
                <a:lnTo>
                  <a:pt x="4115903" y="1491382"/>
                </a:lnTo>
                <a:lnTo>
                  <a:pt x="4144562" y="1491382"/>
                </a:lnTo>
                <a:lnTo>
                  <a:pt x="4144562" y="1503745"/>
                </a:lnTo>
                <a:lnTo>
                  <a:pt x="4220755" y="1503745"/>
                </a:lnTo>
                <a:lnTo>
                  <a:pt x="4220755" y="1514799"/>
                </a:lnTo>
                <a:lnTo>
                  <a:pt x="4274841" y="1514799"/>
                </a:lnTo>
                <a:lnTo>
                  <a:pt x="4274841" y="1527818"/>
                </a:lnTo>
                <a:lnTo>
                  <a:pt x="4292403" y="1527818"/>
                </a:lnTo>
                <a:lnTo>
                  <a:pt x="4292403" y="1555166"/>
                </a:lnTo>
                <a:lnTo>
                  <a:pt x="4315208" y="1555166"/>
                </a:lnTo>
                <a:lnTo>
                  <a:pt x="4315208" y="1566918"/>
                </a:lnTo>
                <a:lnTo>
                  <a:pt x="4324339" y="1566918"/>
                </a:lnTo>
                <a:lnTo>
                  <a:pt x="4324339" y="1579282"/>
                </a:lnTo>
                <a:lnTo>
                  <a:pt x="4451297" y="1579282"/>
                </a:lnTo>
                <a:lnTo>
                  <a:pt x="4451297" y="1586447"/>
                </a:lnTo>
                <a:lnTo>
                  <a:pt x="4464360" y="1586447"/>
                </a:lnTo>
                <a:lnTo>
                  <a:pt x="4464360" y="1602743"/>
                </a:lnTo>
                <a:lnTo>
                  <a:pt x="4534698" y="1602743"/>
                </a:lnTo>
                <a:lnTo>
                  <a:pt x="4534698" y="1613141"/>
                </a:lnTo>
                <a:lnTo>
                  <a:pt x="4545096" y="1613141"/>
                </a:lnTo>
                <a:lnTo>
                  <a:pt x="4545096" y="1620305"/>
                </a:lnTo>
                <a:lnTo>
                  <a:pt x="4568556" y="1620305"/>
                </a:lnTo>
                <a:lnTo>
                  <a:pt x="4568556" y="1635290"/>
                </a:lnTo>
                <a:lnTo>
                  <a:pt x="4604992" y="1635290"/>
                </a:lnTo>
                <a:lnTo>
                  <a:pt x="4604992" y="1658096"/>
                </a:lnTo>
                <a:lnTo>
                  <a:pt x="4763274" y="1658096"/>
                </a:lnTo>
                <a:lnTo>
                  <a:pt x="4763274" y="1669804"/>
                </a:lnTo>
                <a:lnTo>
                  <a:pt x="4806263" y="1669804"/>
                </a:lnTo>
                <a:lnTo>
                  <a:pt x="4806263" y="1684789"/>
                </a:lnTo>
                <a:lnTo>
                  <a:pt x="4873325" y="1684789"/>
                </a:lnTo>
                <a:lnTo>
                  <a:pt x="4873325" y="1697153"/>
                </a:lnTo>
                <a:lnTo>
                  <a:pt x="4987962" y="1697153"/>
                </a:lnTo>
                <a:lnTo>
                  <a:pt x="4987962" y="1706284"/>
                </a:lnTo>
                <a:lnTo>
                  <a:pt x="4997049" y="1706284"/>
                </a:lnTo>
                <a:lnTo>
                  <a:pt x="4997049" y="1725812"/>
                </a:lnTo>
                <a:lnTo>
                  <a:pt x="5154676" y="1725812"/>
                </a:lnTo>
                <a:lnTo>
                  <a:pt x="5154676" y="1734288"/>
                </a:lnTo>
                <a:lnTo>
                  <a:pt x="5160530" y="1734288"/>
                </a:lnTo>
                <a:lnTo>
                  <a:pt x="5160530" y="1764869"/>
                </a:lnTo>
                <a:lnTo>
                  <a:pt x="5189845" y="1764869"/>
                </a:lnTo>
                <a:lnTo>
                  <a:pt x="5189845" y="1779199"/>
                </a:lnTo>
                <a:lnTo>
                  <a:pt x="5225669" y="1779199"/>
                </a:lnTo>
                <a:lnTo>
                  <a:pt x="5225669" y="1793529"/>
                </a:lnTo>
                <a:lnTo>
                  <a:pt x="5326589" y="1793529"/>
                </a:lnTo>
                <a:lnTo>
                  <a:pt x="5326589" y="1817645"/>
                </a:lnTo>
                <a:lnTo>
                  <a:pt x="5370233" y="1817645"/>
                </a:lnTo>
                <a:lnTo>
                  <a:pt x="5370233" y="1837173"/>
                </a:lnTo>
                <a:lnTo>
                  <a:pt x="5513486" y="1837173"/>
                </a:lnTo>
                <a:lnTo>
                  <a:pt x="5513486" y="1859979"/>
                </a:lnTo>
                <a:lnTo>
                  <a:pt x="5893180" y="1859979"/>
                </a:lnTo>
                <a:lnTo>
                  <a:pt x="5893180" y="1919875"/>
                </a:lnTo>
                <a:lnTo>
                  <a:pt x="6227263" y="1919875"/>
                </a:lnTo>
              </a:path>
            </a:pathLst>
          </a:custGeom>
          <a:noFill/>
          <a:ln w="1905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310" name="Table 1309">
            <a:extLst>
              <a:ext uri="{FF2B5EF4-FFF2-40B4-BE49-F238E27FC236}">
                <a16:creationId xmlns:a16="http://schemas.microsoft.com/office/drawing/2014/main" id="{E7456E5A-B3A2-E5B5-6981-0AC404D83FB7}"/>
              </a:ext>
            </a:extLst>
          </p:cNvPr>
          <p:cNvGraphicFramePr>
            <a:graphicFrameLocks noGrp="1"/>
          </p:cNvGraphicFramePr>
          <p:nvPr/>
        </p:nvGraphicFramePr>
        <p:xfrm>
          <a:off x="933923" y="5044028"/>
          <a:ext cx="6828624" cy="317160"/>
        </p:xfrm>
        <a:graphic>
          <a:graphicData uri="http://schemas.openxmlformats.org/drawingml/2006/table">
            <a:tbl>
              <a:tblPr firstRow="1" bandRow="1">
                <a:tableStyleId>{073A0DAA-6AF3-43AB-8588-CEC1D06C72B9}</a:tableStyleId>
              </a:tblPr>
              <a:tblGrid>
                <a:gridCol w="310392">
                  <a:extLst>
                    <a:ext uri="{9D8B030D-6E8A-4147-A177-3AD203B41FA5}">
                      <a16:colId xmlns:a16="http://schemas.microsoft.com/office/drawing/2014/main" val="1557233556"/>
                    </a:ext>
                  </a:extLst>
                </a:gridCol>
                <a:gridCol w="310392">
                  <a:extLst>
                    <a:ext uri="{9D8B030D-6E8A-4147-A177-3AD203B41FA5}">
                      <a16:colId xmlns:a16="http://schemas.microsoft.com/office/drawing/2014/main" val="78534204"/>
                    </a:ext>
                  </a:extLst>
                </a:gridCol>
                <a:gridCol w="310392">
                  <a:extLst>
                    <a:ext uri="{9D8B030D-6E8A-4147-A177-3AD203B41FA5}">
                      <a16:colId xmlns:a16="http://schemas.microsoft.com/office/drawing/2014/main" val="3649154134"/>
                    </a:ext>
                  </a:extLst>
                </a:gridCol>
                <a:gridCol w="310392">
                  <a:extLst>
                    <a:ext uri="{9D8B030D-6E8A-4147-A177-3AD203B41FA5}">
                      <a16:colId xmlns:a16="http://schemas.microsoft.com/office/drawing/2014/main" val="1577308687"/>
                    </a:ext>
                  </a:extLst>
                </a:gridCol>
                <a:gridCol w="310392">
                  <a:extLst>
                    <a:ext uri="{9D8B030D-6E8A-4147-A177-3AD203B41FA5}">
                      <a16:colId xmlns:a16="http://schemas.microsoft.com/office/drawing/2014/main" val="1071997209"/>
                    </a:ext>
                  </a:extLst>
                </a:gridCol>
                <a:gridCol w="310392">
                  <a:extLst>
                    <a:ext uri="{9D8B030D-6E8A-4147-A177-3AD203B41FA5}">
                      <a16:colId xmlns:a16="http://schemas.microsoft.com/office/drawing/2014/main" val="1994764481"/>
                    </a:ext>
                  </a:extLst>
                </a:gridCol>
                <a:gridCol w="310392">
                  <a:extLst>
                    <a:ext uri="{9D8B030D-6E8A-4147-A177-3AD203B41FA5}">
                      <a16:colId xmlns:a16="http://schemas.microsoft.com/office/drawing/2014/main" val="113086121"/>
                    </a:ext>
                  </a:extLst>
                </a:gridCol>
                <a:gridCol w="310392">
                  <a:extLst>
                    <a:ext uri="{9D8B030D-6E8A-4147-A177-3AD203B41FA5}">
                      <a16:colId xmlns:a16="http://schemas.microsoft.com/office/drawing/2014/main" val="649385219"/>
                    </a:ext>
                  </a:extLst>
                </a:gridCol>
                <a:gridCol w="310392">
                  <a:extLst>
                    <a:ext uri="{9D8B030D-6E8A-4147-A177-3AD203B41FA5}">
                      <a16:colId xmlns:a16="http://schemas.microsoft.com/office/drawing/2014/main" val="2045924879"/>
                    </a:ext>
                  </a:extLst>
                </a:gridCol>
                <a:gridCol w="310392">
                  <a:extLst>
                    <a:ext uri="{9D8B030D-6E8A-4147-A177-3AD203B41FA5}">
                      <a16:colId xmlns:a16="http://schemas.microsoft.com/office/drawing/2014/main" val="3468145883"/>
                    </a:ext>
                  </a:extLst>
                </a:gridCol>
                <a:gridCol w="310392">
                  <a:extLst>
                    <a:ext uri="{9D8B030D-6E8A-4147-A177-3AD203B41FA5}">
                      <a16:colId xmlns:a16="http://schemas.microsoft.com/office/drawing/2014/main" val="2534654373"/>
                    </a:ext>
                  </a:extLst>
                </a:gridCol>
                <a:gridCol w="310392">
                  <a:extLst>
                    <a:ext uri="{9D8B030D-6E8A-4147-A177-3AD203B41FA5}">
                      <a16:colId xmlns:a16="http://schemas.microsoft.com/office/drawing/2014/main" val="2908675074"/>
                    </a:ext>
                  </a:extLst>
                </a:gridCol>
                <a:gridCol w="310392">
                  <a:extLst>
                    <a:ext uri="{9D8B030D-6E8A-4147-A177-3AD203B41FA5}">
                      <a16:colId xmlns:a16="http://schemas.microsoft.com/office/drawing/2014/main" val="3412990839"/>
                    </a:ext>
                  </a:extLst>
                </a:gridCol>
                <a:gridCol w="310392">
                  <a:extLst>
                    <a:ext uri="{9D8B030D-6E8A-4147-A177-3AD203B41FA5}">
                      <a16:colId xmlns:a16="http://schemas.microsoft.com/office/drawing/2014/main" val="3998899017"/>
                    </a:ext>
                  </a:extLst>
                </a:gridCol>
                <a:gridCol w="310392">
                  <a:extLst>
                    <a:ext uri="{9D8B030D-6E8A-4147-A177-3AD203B41FA5}">
                      <a16:colId xmlns:a16="http://schemas.microsoft.com/office/drawing/2014/main" val="2374273624"/>
                    </a:ext>
                  </a:extLst>
                </a:gridCol>
                <a:gridCol w="310392">
                  <a:extLst>
                    <a:ext uri="{9D8B030D-6E8A-4147-A177-3AD203B41FA5}">
                      <a16:colId xmlns:a16="http://schemas.microsoft.com/office/drawing/2014/main" val="13985862"/>
                    </a:ext>
                  </a:extLst>
                </a:gridCol>
                <a:gridCol w="310392">
                  <a:extLst>
                    <a:ext uri="{9D8B030D-6E8A-4147-A177-3AD203B41FA5}">
                      <a16:colId xmlns:a16="http://schemas.microsoft.com/office/drawing/2014/main" val="557128183"/>
                    </a:ext>
                  </a:extLst>
                </a:gridCol>
                <a:gridCol w="310392">
                  <a:extLst>
                    <a:ext uri="{9D8B030D-6E8A-4147-A177-3AD203B41FA5}">
                      <a16:colId xmlns:a16="http://schemas.microsoft.com/office/drawing/2014/main" val="2188667741"/>
                    </a:ext>
                  </a:extLst>
                </a:gridCol>
                <a:gridCol w="310392">
                  <a:extLst>
                    <a:ext uri="{9D8B030D-6E8A-4147-A177-3AD203B41FA5}">
                      <a16:colId xmlns:a16="http://schemas.microsoft.com/office/drawing/2014/main" val="4288510121"/>
                    </a:ext>
                  </a:extLst>
                </a:gridCol>
                <a:gridCol w="310392">
                  <a:extLst>
                    <a:ext uri="{9D8B030D-6E8A-4147-A177-3AD203B41FA5}">
                      <a16:colId xmlns:a16="http://schemas.microsoft.com/office/drawing/2014/main" val="3583767744"/>
                    </a:ext>
                  </a:extLst>
                </a:gridCol>
                <a:gridCol w="310392">
                  <a:extLst>
                    <a:ext uri="{9D8B030D-6E8A-4147-A177-3AD203B41FA5}">
                      <a16:colId xmlns:a16="http://schemas.microsoft.com/office/drawing/2014/main" val="1287351797"/>
                    </a:ext>
                  </a:extLst>
                </a:gridCol>
                <a:gridCol w="310392">
                  <a:extLst>
                    <a:ext uri="{9D8B030D-6E8A-4147-A177-3AD203B41FA5}">
                      <a16:colId xmlns:a16="http://schemas.microsoft.com/office/drawing/2014/main" val="1916785504"/>
                    </a:ext>
                  </a:extLst>
                </a:gridCol>
              </a:tblGrid>
              <a:tr h="180000">
                <a:tc>
                  <a:txBody>
                    <a:bodyPr/>
                    <a:lstStyle/>
                    <a:p>
                      <a:pPr algn="ctr"/>
                      <a:r>
                        <a:rPr lang="en-GB" sz="900" b="0" dirty="0">
                          <a:solidFill>
                            <a:schemeClr val="tx1"/>
                          </a:solidFill>
                          <a:latin typeface="Arial "/>
                        </a:rPr>
                        <a:t>2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2755397"/>
                  </a:ext>
                </a:extLst>
              </a:tr>
              <a:tr h="126000">
                <a:tc>
                  <a:txBody>
                    <a:bodyPr/>
                    <a:lstStyle/>
                    <a:p>
                      <a:pPr algn="ctr"/>
                      <a:r>
                        <a:rPr lang="en-GB" sz="900" b="0" dirty="0">
                          <a:solidFill>
                            <a:schemeClr val="tx1"/>
                          </a:solidFill>
                          <a:latin typeface="Arial "/>
                        </a:rPr>
                        <a:t>2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2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0" dirty="0">
                          <a:solidFill>
                            <a:schemeClr val="tx1"/>
                          </a:solidFill>
                          <a:latin typeface="Arial "/>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6544510"/>
                  </a:ext>
                </a:extLst>
              </a:tr>
            </a:tbl>
          </a:graphicData>
        </a:graphic>
      </p:graphicFrame>
      <p:sp>
        <p:nvSpPr>
          <p:cNvPr id="1311" name="TextBox 1310">
            <a:extLst>
              <a:ext uri="{FF2B5EF4-FFF2-40B4-BE49-F238E27FC236}">
                <a16:creationId xmlns:a16="http://schemas.microsoft.com/office/drawing/2014/main" id="{162C8CBD-A427-BC33-35B0-9F66179C8838}"/>
              </a:ext>
            </a:extLst>
          </p:cNvPr>
          <p:cNvSpPr txBox="1"/>
          <p:nvPr/>
        </p:nvSpPr>
        <p:spPr>
          <a:xfrm>
            <a:off x="800252" y="4885074"/>
            <a:ext cx="995412" cy="180223"/>
          </a:xfrm>
          <a:prstGeom prst="rect">
            <a:avLst/>
          </a:prstGeom>
          <a:noFill/>
        </p:spPr>
        <p:txBody>
          <a:bodyPr wrap="square"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at risk:</a:t>
            </a:r>
          </a:p>
        </p:txBody>
      </p:sp>
      <p:grpSp>
        <p:nvGrpSpPr>
          <p:cNvPr id="3" name="Group 2">
            <a:extLst>
              <a:ext uri="{FF2B5EF4-FFF2-40B4-BE49-F238E27FC236}">
                <a16:creationId xmlns:a16="http://schemas.microsoft.com/office/drawing/2014/main" id="{E79B3387-97B1-B2C8-E00B-B0814F091C15}"/>
              </a:ext>
            </a:extLst>
          </p:cNvPr>
          <p:cNvGrpSpPr/>
          <p:nvPr/>
        </p:nvGrpSpPr>
        <p:grpSpPr>
          <a:xfrm>
            <a:off x="6014230" y="1676739"/>
            <a:ext cx="1695487" cy="474975"/>
            <a:chOff x="4000639" y="1628827"/>
            <a:chExt cx="1695487" cy="474975"/>
          </a:xfrm>
        </p:grpSpPr>
        <p:sp>
          <p:nvSpPr>
            <p:cNvPr id="19" name="Rectangle 18">
              <a:extLst>
                <a:ext uri="{FF2B5EF4-FFF2-40B4-BE49-F238E27FC236}">
                  <a16:creationId xmlns:a16="http://schemas.microsoft.com/office/drawing/2014/main" id="{039CD2EC-F078-EACF-E270-A1234B1BBE96}"/>
                </a:ext>
              </a:extLst>
            </p:cNvPr>
            <p:cNvSpPr/>
            <p:nvPr/>
          </p:nvSpPr>
          <p:spPr>
            <a:xfrm>
              <a:off x="4000639" y="1708897"/>
              <a:ext cx="129052" cy="11685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 name="Rectangle 19">
              <a:extLst>
                <a:ext uri="{FF2B5EF4-FFF2-40B4-BE49-F238E27FC236}">
                  <a16:creationId xmlns:a16="http://schemas.microsoft.com/office/drawing/2014/main" id="{FFF14590-E1AD-ECF6-BED7-C4534A5F50D5}"/>
                </a:ext>
              </a:extLst>
            </p:cNvPr>
            <p:cNvSpPr/>
            <p:nvPr/>
          </p:nvSpPr>
          <p:spPr>
            <a:xfrm>
              <a:off x="4000639" y="1906873"/>
              <a:ext cx="129052" cy="116859"/>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C47EC689-8BA5-7132-2832-BF935D1EB137}"/>
                </a:ext>
              </a:extLst>
            </p:cNvPr>
            <p:cNvSpPr txBox="1"/>
            <p:nvPr/>
          </p:nvSpPr>
          <p:spPr>
            <a:xfrm>
              <a:off x="4080286" y="1628827"/>
              <a:ext cx="1615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 + ChT</a:t>
              </a:r>
            </a:p>
          </p:txBody>
        </p:sp>
        <p:sp>
          <p:nvSpPr>
            <p:cNvPr id="22" name="TextBox 21">
              <a:extLst>
                <a:ext uri="{FF2B5EF4-FFF2-40B4-BE49-F238E27FC236}">
                  <a16:creationId xmlns:a16="http://schemas.microsoft.com/office/drawing/2014/main" id="{D873856E-C6F4-2462-15A5-3AE1DEBFCD66}"/>
                </a:ext>
              </a:extLst>
            </p:cNvPr>
            <p:cNvSpPr txBox="1"/>
            <p:nvPr/>
          </p:nvSpPr>
          <p:spPr>
            <a:xfrm>
              <a:off x="4079654" y="1826803"/>
              <a:ext cx="137641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cxnSp>
        <p:nvCxnSpPr>
          <p:cNvPr id="23" name="Straight Connector 22">
            <a:extLst>
              <a:ext uri="{FF2B5EF4-FFF2-40B4-BE49-F238E27FC236}">
                <a16:creationId xmlns:a16="http://schemas.microsoft.com/office/drawing/2014/main" id="{C668873A-AE9F-69FB-F2FC-426A06E95844}"/>
              </a:ext>
            </a:extLst>
          </p:cNvPr>
          <p:cNvCxnSpPr>
            <a:cxnSpLocks/>
          </p:cNvCxnSpPr>
          <p:nvPr/>
        </p:nvCxnSpPr>
        <p:spPr>
          <a:xfrm flipV="1">
            <a:off x="3560739" y="1983821"/>
            <a:ext cx="0" cy="2462398"/>
          </a:xfrm>
          <a:prstGeom prst="line">
            <a:avLst/>
          </a:prstGeom>
          <a:noFill/>
          <a:ln w="12700" cap="rnd" cmpd="sng" algn="ctr">
            <a:solidFill>
              <a:schemeClr val="tx1"/>
            </a:solidFill>
            <a:prstDash val="dash"/>
            <a:miter lim="800000"/>
          </a:ln>
          <a:effectLst/>
        </p:spPr>
      </p:cxnSp>
      <p:cxnSp>
        <p:nvCxnSpPr>
          <p:cNvPr id="24" name="Straight Connector 23">
            <a:extLst>
              <a:ext uri="{FF2B5EF4-FFF2-40B4-BE49-F238E27FC236}">
                <a16:creationId xmlns:a16="http://schemas.microsoft.com/office/drawing/2014/main" id="{96B363B5-FBD1-AF49-9416-FFC714894833}"/>
              </a:ext>
            </a:extLst>
          </p:cNvPr>
          <p:cNvCxnSpPr>
            <a:cxnSpLocks/>
          </p:cNvCxnSpPr>
          <p:nvPr/>
        </p:nvCxnSpPr>
        <p:spPr>
          <a:xfrm flipH="1" flipV="1">
            <a:off x="4802980" y="2455668"/>
            <a:ext cx="0" cy="1990551"/>
          </a:xfrm>
          <a:prstGeom prst="line">
            <a:avLst/>
          </a:prstGeom>
          <a:noFill/>
          <a:ln w="12700" cap="rnd" cmpd="sng" algn="ctr">
            <a:solidFill>
              <a:schemeClr val="tx1"/>
            </a:solidFill>
            <a:prstDash val="dash"/>
            <a:miter lim="800000"/>
          </a:ln>
          <a:effectLst/>
        </p:spPr>
      </p:cxnSp>
      <p:cxnSp>
        <p:nvCxnSpPr>
          <p:cNvPr id="26" name="Straight Connector 25">
            <a:extLst>
              <a:ext uri="{FF2B5EF4-FFF2-40B4-BE49-F238E27FC236}">
                <a16:creationId xmlns:a16="http://schemas.microsoft.com/office/drawing/2014/main" id="{3801A2FE-A4B2-727A-CDF9-DF8CBCCC2FC2}"/>
              </a:ext>
            </a:extLst>
          </p:cNvPr>
          <p:cNvCxnSpPr>
            <a:cxnSpLocks/>
          </p:cNvCxnSpPr>
          <p:nvPr/>
        </p:nvCxnSpPr>
        <p:spPr>
          <a:xfrm flipH="1" flipV="1">
            <a:off x="6048368" y="2819681"/>
            <a:ext cx="0" cy="1640122"/>
          </a:xfrm>
          <a:prstGeom prst="line">
            <a:avLst/>
          </a:prstGeom>
          <a:noFill/>
          <a:ln w="12700" cap="rnd" cmpd="sng" algn="ctr">
            <a:solidFill>
              <a:schemeClr val="tx1"/>
            </a:solidFill>
            <a:prstDash val="dash"/>
            <a:miter lim="800000"/>
          </a:ln>
          <a:effectLst/>
        </p:spPr>
      </p:cxnSp>
      <p:grpSp>
        <p:nvGrpSpPr>
          <p:cNvPr id="33" name="Group 32">
            <a:extLst>
              <a:ext uri="{FF2B5EF4-FFF2-40B4-BE49-F238E27FC236}">
                <a16:creationId xmlns:a16="http://schemas.microsoft.com/office/drawing/2014/main" id="{AD1BB29D-38B4-4B67-FDCA-F54B0052FF4E}"/>
              </a:ext>
            </a:extLst>
          </p:cNvPr>
          <p:cNvGrpSpPr/>
          <p:nvPr/>
        </p:nvGrpSpPr>
        <p:grpSpPr>
          <a:xfrm>
            <a:off x="3494788" y="1740160"/>
            <a:ext cx="561372" cy="307777"/>
            <a:chOff x="2269991" y="2315169"/>
            <a:chExt cx="561372" cy="307777"/>
          </a:xfrm>
        </p:grpSpPr>
        <p:sp>
          <p:nvSpPr>
            <p:cNvPr id="34" name="Freeform: Shape 33">
              <a:extLst>
                <a:ext uri="{FF2B5EF4-FFF2-40B4-BE49-F238E27FC236}">
                  <a16:creationId xmlns:a16="http://schemas.microsoft.com/office/drawing/2014/main" id="{8BF69F8E-4955-1D31-CB71-065135D139F3}"/>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231E0748-B236-ABBB-2150-4A326D432D89}"/>
                </a:ext>
              </a:extLst>
            </p:cNvPr>
            <p:cNvSpPr txBox="1"/>
            <p:nvPr/>
          </p:nvSpPr>
          <p:spPr>
            <a:xfrm flipH="1">
              <a:off x="2269991" y="2315169"/>
              <a:ext cx="561372"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80%</a:t>
              </a:r>
            </a:p>
          </p:txBody>
        </p:sp>
      </p:grpSp>
      <p:grpSp>
        <p:nvGrpSpPr>
          <p:cNvPr id="36" name="Group 35">
            <a:extLst>
              <a:ext uri="{FF2B5EF4-FFF2-40B4-BE49-F238E27FC236}">
                <a16:creationId xmlns:a16="http://schemas.microsoft.com/office/drawing/2014/main" id="{D2561C94-6CE8-BC03-8925-C40CC69205DD}"/>
              </a:ext>
            </a:extLst>
          </p:cNvPr>
          <p:cNvGrpSpPr/>
          <p:nvPr/>
        </p:nvGrpSpPr>
        <p:grpSpPr>
          <a:xfrm>
            <a:off x="3088520" y="2453801"/>
            <a:ext cx="538930" cy="307777"/>
            <a:chOff x="2279517" y="2305643"/>
            <a:chExt cx="538930" cy="307777"/>
          </a:xfrm>
        </p:grpSpPr>
        <p:sp>
          <p:nvSpPr>
            <p:cNvPr id="37" name="Freeform: Shape 36">
              <a:extLst>
                <a:ext uri="{FF2B5EF4-FFF2-40B4-BE49-F238E27FC236}">
                  <a16:creationId xmlns:a16="http://schemas.microsoft.com/office/drawing/2014/main" id="{A14DF4CD-7818-9B5F-857E-5BE1E5EB61C7}"/>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F430734F-F574-1738-152D-20B6CCD1D357}"/>
                </a:ext>
              </a:extLst>
            </p:cNvPr>
            <p:cNvSpPr txBox="1"/>
            <p:nvPr/>
          </p:nvSpPr>
          <p:spPr>
            <a:xfrm flipH="1">
              <a:off x="2279517" y="2305643"/>
              <a:ext cx="538930"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2%</a:t>
              </a:r>
            </a:p>
          </p:txBody>
        </p:sp>
      </p:grpSp>
      <p:grpSp>
        <p:nvGrpSpPr>
          <p:cNvPr id="39" name="Group 38">
            <a:extLst>
              <a:ext uri="{FF2B5EF4-FFF2-40B4-BE49-F238E27FC236}">
                <a16:creationId xmlns:a16="http://schemas.microsoft.com/office/drawing/2014/main" id="{3DE0C636-14EC-A57F-4A1B-08EFE7717727}"/>
              </a:ext>
            </a:extLst>
          </p:cNvPr>
          <p:cNvGrpSpPr/>
          <p:nvPr/>
        </p:nvGrpSpPr>
        <p:grpSpPr>
          <a:xfrm>
            <a:off x="4737649" y="2273208"/>
            <a:ext cx="553357" cy="307777"/>
            <a:chOff x="2269991" y="2315169"/>
            <a:chExt cx="553357" cy="307777"/>
          </a:xfrm>
        </p:grpSpPr>
        <p:sp>
          <p:nvSpPr>
            <p:cNvPr id="40" name="Freeform: Shape 39">
              <a:extLst>
                <a:ext uri="{FF2B5EF4-FFF2-40B4-BE49-F238E27FC236}">
                  <a16:creationId xmlns:a16="http://schemas.microsoft.com/office/drawing/2014/main" id="{C76CA6F6-0AAE-76B9-97F3-E08D99045552}"/>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1FD7E3D5-3E9F-C4BB-6B53-74FB13B86DEA}"/>
                </a:ext>
              </a:extLst>
            </p:cNvPr>
            <p:cNvSpPr txBox="1"/>
            <p:nvPr/>
          </p:nvSpPr>
          <p:spPr>
            <a:xfrm flipH="1">
              <a:off x="2269991" y="2315169"/>
              <a:ext cx="553357"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63%</a:t>
              </a:r>
            </a:p>
          </p:txBody>
        </p:sp>
      </p:grpSp>
      <p:grpSp>
        <p:nvGrpSpPr>
          <p:cNvPr id="42" name="Group 41">
            <a:extLst>
              <a:ext uri="{FF2B5EF4-FFF2-40B4-BE49-F238E27FC236}">
                <a16:creationId xmlns:a16="http://schemas.microsoft.com/office/drawing/2014/main" id="{74806EF3-1670-A86F-4636-BCFC4A598E21}"/>
              </a:ext>
            </a:extLst>
          </p:cNvPr>
          <p:cNvGrpSpPr/>
          <p:nvPr/>
        </p:nvGrpSpPr>
        <p:grpSpPr>
          <a:xfrm>
            <a:off x="4331665" y="3063156"/>
            <a:ext cx="543739" cy="307777"/>
            <a:chOff x="2279517" y="2305643"/>
            <a:chExt cx="543739" cy="307777"/>
          </a:xfrm>
        </p:grpSpPr>
        <p:sp>
          <p:nvSpPr>
            <p:cNvPr id="43" name="Freeform: Shape 42">
              <a:extLst>
                <a:ext uri="{FF2B5EF4-FFF2-40B4-BE49-F238E27FC236}">
                  <a16:creationId xmlns:a16="http://schemas.microsoft.com/office/drawing/2014/main" id="{FB45684E-ACC8-A3CE-1AAA-EAEB6F08D3BB}"/>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5D80386D-575F-9961-2CB2-1B067E30E30E}"/>
                </a:ext>
              </a:extLst>
            </p:cNvPr>
            <p:cNvSpPr txBox="1"/>
            <p:nvPr/>
          </p:nvSpPr>
          <p:spPr>
            <a:xfrm flipH="1">
              <a:off x="2279517" y="2305643"/>
              <a:ext cx="543739"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1%</a:t>
              </a:r>
            </a:p>
          </p:txBody>
        </p:sp>
      </p:grpSp>
      <p:grpSp>
        <p:nvGrpSpPr>
          <p:cNvPr id="45" name="Group 44">
            <a:extLst>
              <a:ext uri="{FF2B5EF4-FFF2-40B4-BE49-F238E27FC236}">
                <a16:creationId xmlns:a16="http://schemas.microsoft.com/office/drawing/2014/main" id="{C947F31A-9CF2-83FE-6658-BB1A2152B72F}"/>
              </a:ext>
            </a:extLst>
          </p:cNvPr>
          <p:cNvGrpSpPr/>
          <p:nvPr/>
        </p:nvGrpSpPr>
        <p:grpSpPr>
          <a:xfrm>
            <a:off x="5982670" y="2638890"/>
            <a:ext cx="559769" cy="307777"/>
            <a:chOff x="2269991" y="2315169"/>
            <a:chExt cx="559769" cy="307777"/>
          </a:xfrm>
        </p:grpSpPr>
        <p:sp>
          <p:nvSpPr>
            <p:cNvPr id="46" name="Freeform: Shape 45">
              <a:extLst>
                <a:ext uri="{FF2B5EF4-FFF2-40B4-BE49-F238E27FC236}">
                  <a16:creationId xmlns:a16="http://schemas.microsoft.com/office/drawing/2014/main" id="{81823406-D574-DEE4-7DC2-9203A6C29A72}"/>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 name="TextBox 46">
              <a:extLst>
                <a:ext uri="{FF2B5EF4-FFF2-40B4-BE49-F238E27FC236}">
                  <a16:creationId xmlns:a16="http://schemas.microsoft.com/office/drawing/2014/main" id="{C7464B1C-E878-5324-5632-48141AD10A9C}"/>
                </a:ext>
              </a:extLst>
            </p:cNvPr>
            <p:cNvSpPr txBox="1"/>
            <p:nvPr/>
          </p:nvSpPr>
          <p:spPr>
            <a:xfrm flipH="1">
              <a:off x="2269991" y="2315169"/>
              <a:ext cx="559769"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9%</a:t>
              </a:r>
            </a:p>
          </p:txBody>
        </p:sp>
      </p:grpSp>
      <p:grpSp>
        <p:nvGrpSpPr>
          <p:cNvPr id="48" name="Group 47">
            <a:extLst>
              <a:ext uri="{FF2B5EF4-FFF2-40B4-BE49-F238E27FC236}">
                <a16:creationId xmlns:a16="http://schemas.microsoft.com/office/drawing/2014/main" id="{FABA7326-9088-AD2F-9EFD-7247F2FE9772}"/>
              </a:ext>
            </a:extLst>
          </p:cNvPr>
          <p:cNvGrpSpPr/>
          <p:nvPr/>
        </p:nvGrpSpPr>
        <p:grpSpPr>
          <a:xfrm>
            <a:off x="5575769" y="3355124"/>
            <a:ext cx="543739" cy="307777"/>
            <a:chOff x="2279517" y="2300880"/>
            <a:chExt cx="543739" cy="307777"/>
          </a:xfrm>
        </p:grpSpPr>
        <p:sp>
          <p:nvSpPr>
            <p:cNvPr id="49" name="Freeform: Shape 48">
              <a:extLst>
                <a:ext uri="{FF2B5EF4-FFF2-40B4-BE49-F238E27FC236}">
                  <a16:creationId xmlns:a16="http://schemas.microsoft.com/office/drawing/2014/main" id="{2912E15F-46D3-154C-0909-B5297C71ACC7}"/>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93BA6D03-79D7-714C-1CD4-ED13801D585E}"/>
                </a:ext>
              </a:extLst>
            </p:cNvPr>
            <p:cNvSpPr txBox="1"/>
            <p:nvPr/>
          </p:nvSpPr>
          <p:spPr>
            <a:xfrm flipH="1">
              <a:off x="2279517" y="2300880"/>
              <a:ext cx="543739"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1%</a:t>
              </a:r>
            </a:p>
          </p:txBody>
        </p:sp>
      </p:grpSp>
      <p:sp>
        <p:nvSpPr>
          <p:cNvPr id="7" name="Graphic 5">
            <a:extLst>
              <a:ext uri="{FF2B5EF4-FFF2-40B4-BE49-F238E27FC236}">
                <a16:creationId xmlns:a16="http://schemas.microsoft.com/office/drawing/2014/main" id="{CA6A5E3D-3DCF-6F8E-6E64-DA445B556392}"/>
              </a:ext>
            </a:extLst>
          </p:cNvPr>
          <p:cNvSpPr/>
          <p:nvPr/>
        </p:nvSpPr>
        <p:spPr>
          <a:xfrm>
            <a:off x="1097622" y="1587981"/>
            <a:ext cx="6252005" cy="1919875"/>
          </a:xfrm>
          <a:custGeom>
            <a:avLst/>
            <a:gdLst>
              <a:gd name="connsiteX0" fmla="*/ 476 w 6119717"/>
              <a:gd name="connsiteY0" fmla="*/ 0 h 1868995"/>
              <a:gd name="connsiteX1" fmla="*/ 104584 w 6119717"/>
              <a:gd name="connsiteY1" fmla="*/ 0 h 1868995"/>
              <a:gd name="connsiteX2" fmla="*/ 104584 w 6119717"/>
              <a:gd name="connsiteY2" fmla="*/ 17335 h 1868995"/>
              <a:gd name="connsiteX3" fmla="*/ 150876 w 6119717"/>
              <a:gd name="connsiteY3" fmla="*/ 17335 h 1868995"/>
              <a:gd name="connsiteX4" fmla="*/ 150876 w 6119717"/>
              <a:gd name="connsiteY4" fmla="*/ 46291 h 1868995"/>
              <a:gd name="connsiteX5" fmla="*/ 263652 w 6119717"/>
              <a:gd name="connsiteY5" fmla="*/ 46291 h 1868995"/>
              <a:gd name="connsiteX6" fmla="*/ 263652 w 6119717"/>
              <a:gd name="connsiteY6" fmla="*/ 69437 h 1868995"/>
              <a:gd name="connsiteX7" fmla="*/ 390906 w 6119717"/>
              <a:gd name="connsiteY7" fmla="*/ 69437 h 1868995"/>
              <a:gd name="connsiteX8" fmla="*/ 390906 w 6119717"/>
              <a:gd name="connsiteY8" fmla="*/ 95440 h 1868995"/>
              <a:gd name="connsiteX9" fmla="*/ 390906 w 6119717"/>
              <a:gd name="connsiteY9" fmla="*/ 69437 h 1868995"/>
              <a:gd name="connsiteX10" fmla="*/ 390906 w 6119717"/>
              <a:gd name="connsiteY10" fmla="*/ 95440 h 1868995"/>
              <a:gd name="connsiteX11" fmla="*/ 457391 w 6119717"/>
              <a:gd name="connsiteY11" fmla="*/ 95440 h 1868995"/>
              <a:gd name="connsiteX12" fmla="*/ 457391 w 6119717"/>
              <a:gd name="connsiteY12" fmla="*/ 109918 h 1868995"/>
              <a:gd name="connsiteX13" fmla="*/ 558641 w 6119717"/>
              <a:gd name="connsiteY13" fmla="*/ 109918 h 1868995"/>
              <a:gd name="connsiteX14" fmla="*/ 558641 w 6119717"/>
              <a:gd name="connsiteY14" fmla="*/ 133064 h 1868995"/>
              <a:gd name="connsiteX15" fmla="*/ 839152 w 6119717"/>
              <a:gd name="connsiteY15" fmla="*/ 133064 h 1868995"/>
              <a:gd name="connsiteX16" fmla="*/ 839152 w 6119717"/>
              <a:gd name="connsiteY16" fmla="*/ 156210 h 1868995"/>
              <a:gd name="connsiteX17" fmla="*/ 986600 w 6119717"/>
              <a:gd name="connsiteY17" fmla="*/ 156210 h 1868995"/>
              <a:gd name="connsiteX18" fmla="*/ 986600 w 6119717"/>
              <a:gd name="connsiteY18" fmla="*/ 199549 h 1868995"/>
              <a:gd name="connsiteX19" fmla="*/ 1165860 w 6119717"/>
              <a:gd name="connsiteY19" fmla="*/ 199549 h 1868995"/>
              <a:gd name="connsiteX20" fmla="*/ 1165860 w 6119717"/>
              <a:gd name="connsiteY20" fmla="*/ 214027 h 1868995"/>
              <a:gd name="connsiteX21" fmla="*/ 1249680 w 6119717"/>
              <a:gd name="connsiteY21" fmla="*/ 214027 h 1868995"/>
              <a:gd name="connsiteX22" fmla="*/ 1249680 w 6119717"/>
              <a:gd name="connsiteY22" fmla="*/ 228505 h 1868995"/>
              <a:gd name="connsiteX23" fmla="*/ 1365314 w 6119717"/>
              <a:gd name="connsiteY23" fmla="*/ 228505 h 1868995"/>
              <a:gd name="connsiteX24" fmla="*/ 1365314 w 6119717"/>
              <a:gd name="connsiteY24" fmla="*/ 257461 h 1868995"/>
              <a:gd name="connsiteX25" fmla="*/ 1428941 w 6119717"/>
              <a:gd name="connsiteY25" fmla="*/ 257461 h 1868995"/>
              <a:gd name="connsiteX26" fmla="*/ 1428941 w 6119717"/>
              <a:gd name="connsiteY26" fmla="*/ 283464 h 1868995"/>
              <a:gd name="connsiteX27" fmla="*/ 1515713 w 6119717"/>
              <a:gd name="connsiteY27" fmla="*/ 283464 h 1868995"/>
              <a:gd name="connsiteX28" fmla="*/ 1515713 w 6119717"/>
              <a:gd name="connsiteY28" fmla="*/ 309467 h 1868995"/>
              <a:gd name="connsiteX29" fmla="*/ 1556195 w 6119717"/>
              <a:gd name="connsiteY29" fmla="*/ 309467 h 1868995"/>
              <a:gd name="connsiteX30" fmla="*/ 1556195 w 6119717"/>
              <a:gd name="connsiteY30" fmla="*/ 338423 h 1868995"/>
              <a:gd name="connsiteX31" fmla="*/ 1590866 w 6119717"/>
              <a:gd name="connsiteY31" fmla="*/ 338423 h 1868995"/>
              <a:gd name="connsiteX32" fmla="*/ 1590866 w 6119717"/>
              <a:gd name="connsiteY32" fmla="*/ 370237 h 1868995"/>
              <a:gd name="connsiteX33" fmla="*/ 1668971 w 6119717"/>
              <a:gd name="connsiteY33" fmla="*/ 370237 h 1868995"/>
              <a:gd name="connsiteX34" fmla="*/ 1668971 w 6119717"/>
              <a:gd name="connsiteY34" fmla="*/ 387572 h 1868995"/>
              <a:gd name="connsiteX35" fmla="*/ 1799082 w 6119717"/>
              <a:gd name="connsiteY35" fmla="*/ 387572 h 1868995"/>
              <a:gd name="connsiteX36" fmla="*/ 1799082 w 6119717"/>
              <a:gd name="connsiteY36" fmla="*/ 410718 h 1868995"/>
              <a:gd name="connsiteX37" fmla="*/ 1828038 w 6119717"/>
              <a:gd name="connsiteY37" fmla="*/ 410718 h 1868995"/>
              <a:gd name="connsiteX38" fmla="*/ 1828038 w 6119717"/>
              <a:gd name="connsiteY38" fmla="*/ 431006 h 1868995"/>
              <a:gd name="connsiteX39" fmla="*/ 1854041 w 6119717"/>
              <a:gd name="connsiteY39" fmla="*/ 431006 h 1868995"/>
              <a:gd name="connsiteX40" fmla="*/ 1854041 w 6119717"/>
              <a:gd name="connsiteY40" fmla="*/ 445484 h 1868995"/>
              <a:gd name="connsiteX41" fmla="*/ 1929194 w 6119717"/>
              <a:gd name="connsiteY41" fmla="*/ 445484 h 1868995"/>
              <a:gd name="connsiteX42" fmla="*/ 1929194 w 6119717"/>
              <a:gd name="connsiteY42" fmla="*/ 462820 h 1868995"/>
              <a:gd name="connsiteX43" fmla="*/ 2128742 w 6119717"/>
              <a:gd name="connsiteY43" fmla="*/ 462820 h 1868995"/>
              <a:gd name="connsiteX44" fmla="*/ 2128742 w 6119717"/>
              <a:gd name="connsiteY44" fmla="*/ 497491 h 1868995"/>
              <a:gd name="connsiteX45" fmla="*/ 2160556 w 6119717"/>
              <a:gd name="connsiteY45" fmla="*/ 497491 h 1868995"/>
              <a:gd name="connsiteX46" fmla="*/ 2160556 w 6119717"/>
              <a:gd name="connsiteY46" fmla="*/ 514826 h 1868995"/>
              <a:gd name="connsiteX47" fmla="*/ 2241518 w 6119717"/>
              <a:gd name="connsiteY47" fmla="*/ 514826 h 1868995"/>
              <a:gd name="connsiteX48" fmla="*/ 2241518 w 6119717"/>
              <a:gd name="connsiteY48" fmla="*/ 532162 h 1868995"/>
              <a:gd name="connsiteX49" fmla="*/ 2325338 w 6119717"/>
              <a:gd name="connsiteY49" fmla="*/ 532162 h 1868995"/>
              <a:gd name="connsiteX50" fmla="*/ 2325338 w 6119717"/>
              <a:gd name="connsiteY50" fmla="*/ 552450 h 1868995"/>
              <a:gd name="connsiteX51" fmla="*/ 2362962 w 6119717"/>
              <a:gd name="connsiteY51" fmla="*/ 552450 h 1868995"/>
              <a:gd name="connsiteX52" fmla="*/ 2362962 w 6119717"/>
              <a:gd name="connsiteY52" fmla="*/ 566928 h 1868995"/>
              <a:gd name="connsiteX53" fmla="*/ 2441067 w 6119717"/>
              <a:gd name="connsiteY53" fmla="*/ 566928 h 1868995"/>
              <a:gd name="connsiteX54" fmla="*/ 2441067 w 6119717"/>
              <a:gd name="connsiteY54" fmla="*/ 587216 h 1868995"/>
              <a:gd name="connsiteX55" fmla="*/ 2478691 w 6119717"/>
              <a:gd name="connsiteY55" fmla="*/ 587216 h 1868995"/>
              <a:gd name="connsiteX56" fmla="*/ 2478691 w 6119717"/>
              <a:gd name="connsiteY56" fmla="*/ 610362 h 1868995"/>
              <a:gd name="connsiteX57" fmla="*/ 2559653 w 6119717"/>
              <a:gd name="connsiteY57" fmla="*/ 610362 h 1868995"/>
              <a:gd name="connsiteX58" fmla="*/ 2559653 w 6119717"/>
              <a:gd name="connsiteY58" fmla="*/ 662464 h 1868995"/>
              <a:gd name="connsiteX59" fmla="*/ 2579941 w 6119717"/>
              <a:gd name="connsiteY59" fmla="*/ 662464 h 1868995"/>
              <a:gd name="connsiteX60" fmla="*/ 2579941 w 6119717"/>
              <a:gd name="connsiteY60" fmla="*/ 676942 h 1868995"/>
              <a:gd name="connsiteX61" fmla="*/ 2724531 w 6119717"/>
              <a:gd name="connsiteY61" fmla="*/ 676942 h 1868995"/>
              <a:gd name="connsiteX62" fmla="*/ 2724531 w 6119717"/>
              <a:gd name="connsiteY62" fmla="*/ 717423 h 1868995"/>
              <a:gd name="connsiteX63" fmla="*/ 2753487 w 6119717"/>
              <a:gd name="connsiteY63" fmla="*/ 717423 h 1868995"/>
              <a:gd name="connsiteX64" fmla="*/ 2753487 w 6119717"/>
              <a:gd name="connsiteY64" fmla="*/ 731901 h 1868995"/>
              <a:gd name="connsiteX65" fmla="*/ 2854738 w 6119717"/>
              <a:gd name="connsiteY65" fmla="*/ 731901 h 1868995"/>
              <a:gd name="connsiteX66" fmla="*/ 2854738 w 6119717"/>
              <a:gd name="connsiteY66" fmla="*/ 757904 h 1868995"/>
              <a:gd name="connsiteX67" fmla="*/ 2878741 w 6119717"/>
              <a:gd name="connsiteY67" fmla="*/ 757904 h 1868995"/>
              <a:gd name="connsiteX68" fmla="*/ 2878741 w 6119717"/>
              <a:gd name="connsiteY68" fmla="*/ 778193 h 1868995"/>
              <a:gd name="connsiteX69" fmla="*/ 3080385 w 6119717"/>
              <a:gd name="connsiteY69" fmla="*/ 778193 h 1868995"/>
              <a:gd name="connsiteX70" fmla="*/ 3080385 w 6119717"/>
              <a:gd name="connsiteY70" fmla="*/ 812863 h 1868995"/>
              <a:gd name="connsiteX71" fmla="*/ 3103531 w 6119717"/>
              <a:gd name="connsiteY71" fmla="*/ 812863 h 1868995"/>
              <a:gd name="connsiteX72" fmla="*/ 3103531 w 6119717"/>
              <a:gd name="connsiteY72" fmla="*/ 850487 h 1868995"/>
              <a:gd name="connsiteX73" fmla="*/ 3193161 w 6119717"/>
              <a:gd name="connsiteY73" fmla="*/ 850487 h 1868995"/>
              <a:gd name="connsiteX74" fmla="*/ 3193161 w 6119717"/>
              <a:gd name="connsiteY74" fmla="*/ 882301 h 1868995"/>
              <a:gd name="connsiteX75" fmla="*/ 3222117 w 6119717"/>
              <a:gd name="connsiteY75" fmla="*/ 882301 h 1868995"/>
              <a:gd name="connsiteX76" fmla="*/ 3222117 w 6119717"/>
              <a:gd name="connsiteY76" fmla="*/ 899636 h 1868995"/>
              <a:gd name="connsiteX77" fmla="*/ 3360896 w 6119717"/>
              <a:gd name="connsiteY77" fmla="*/ 899636 h 1868995"/>
              <a:gd name="connsiteX78" fmla="*/ 3360896 w 6119717"/>
              <a:gd name="connsiteY78" fmla="*/ 931450 h 1868995"/>
              <a:gd name="connsiteX79" fmla="*/ 3418713 w 6119717"/>
              <a:gd name="connsiteY79" fmla="*/ 931450 h 1868995"/>
              <a:gd name="connsiteX80" fmla="*/ 3418713 w 6119717"/>
              <a:gd name="connsiteY80" fmla="*/ 954596 h 1868995"/>
              <a:gd name="connsiteX81" fmla="*/ 3499675 w 6119717"/>
              <a:gd name="connsiteY81" fmla="*/ 954596 h 1868995"/>
              <a:gd name="connsiteX82" fmla="*/ 3499675 w 6119717"/>
              <a:gd name="connsiteY82" fmla="*/ 974884 h 1868995"/>
              <a:gd name="connsiteX83" fmla="*/ 3548824 w 6119717"/>
              <a:gd name="connsiteY83" fmla="*/ 974884 h 1868995"/>
              <a:gd name="connsiteX84" fmla="*/ 3548824 w 6119717"/>
              <a:gd name="connsiteY84" fmla="*/ 1006697 h 1868995"/>
              <a:gd name="connsiteX85" fmla="*/ 3586448 w 6119717"/>
              <a:gd name="connsiteY85" fmla="*/ 1006697 h 1868995"/>
              <a:gd name="connsiteX86" fmla="*/ 3586448 w 6119717"/>
              <a:gd name="connsiteY86" fmla="*/ 1032701 h 1868995"/>
              <a:gd name="connsiteX87" fmla="*/ 3699224 w 6119717"/>
              <a:gd name="connsiteY87" fmla="*/ 1032701 h 1868995"/>
              <a:gd name="connsiteX88" fmla="*/ 3699224 w 6119717"/>
              <a:gd name="connsiteY88" fmla="*/ 1050036 h 1868995"/>
              <a:gd name="connsiteX89" fmla="*/ 3716560 w 6119717"/>
              <a:gd name="connsiteY89" fmla="*/ 1050036 h 1868995"/>
              <a:gd name="connsiteX90" fmla="*/ 3716560 w 6119717"/>
              <a:gd name="connsiteY90" fmla="*/ 1070324 h 1868995"/>
              <a:gd name="connsiteX91" fmla="*/ 3806190 w 6119717"/>
              <a:gd name="connsiteY91" fmla="*/ 1070324 h 1868995"/>
              <a:gd name="connsiteX92" fmla="*/ 3806190 w 6119717"/>
              <a:gd name="connsiteY92" fmla="*/ 1096328 h 1868995"/>
              <a:gd name="connsiteX93" fmla="*/ 3849529 w 6119717"/>
              <a:gd name="connsiteY93" fmla="*/ 1096328 h 1868995"/>
              <a:gd name="connsiteX94" fmla="*/ 3849529 w 6119717"/>
              <a:gd name="connsiteY94" fmla="*/ 1121950 h 1868995"/>
              <a:gd name="connsiteX95" fmla="*/ 3933444 w 6119717"/>
              <a:gd name="connsiteY95" fmla="*/ 1121950 h 1868995"/>
              <a:gd name="connsiteX96" fmla="*/ 3933444 w 6119717"/>
              <a:gd name="connsiteY96" fmla="*/ 1150334 h 1868995"/>
              <a:gd name="connsiteX97" fmla="*/ 3961066 w 6119717"/>
              <a:gd name="connsiteY97" fmla="*/ 1150334 h 1868995"/>
              <a:gd name="connsiteX98" fmla="*/ 3961066 w 6119717"/>
              <a:gd name="connsiteY98" fmla="*/ 1176528 h 1868995"/>
              <a:gd name="connsiteX99" fmla="*/ 4079748 w 6119717"/>
              <a:gd name="connsiteY99" fmla="*/ 1176528 h 1868995"/>
              <a:gd name="connsiteX100" fmla="*/ 4079748 w 6119717"/>
              <a:gd name="connsiteY100" fmla="*/ 1191101 h 1868995"/>
              <a:gd name="connsiteX101" fmla="*/ 4111085 w 6119717"/>
              <a:gd name="connsiteY101" fmla="*/ 1191101 h 1868995"/>
              <a:gd name="connsiteX102" fmla="*/ 4111085 w 6119717"/>
              <a:gd name="connsiteY102" fmla="*/ 1205675 h 1868995"/>
              <a:gd name="connsiteX103" fmla="*/ 4132898 w 6119717"/>
              <a:gd name="connsiteY103" fmla="*/ 1205675 h 1868995"/>
              <a:gd name="connsiteX104" fmla="*/ 4132898 w 6119717"/>
              <a:gd name="connsiteY104" fmla="*/ 1215866 h 1868995"/>
              <a:gd name="connsiteX105" fmla="*/ 4160520 w 6119717"/>
              <a:gd name="connsiteY105" fmla="*/ 1215866 h 1868995"/>
              <a:gd name="connsiteX106" fmla="*/ 4160520 w 6119717"/>
              <a:gd name="connsiteY106" fmla="*/ 1246442 h 1868995"/>
              <a:gd name="connsiteX107" fmla="*/ 4196906 w 6119717"/>
              <a:gd name="connsiteY107" fmla="*/ 1246442 h 1868995"/>
              <a:gd name="connsiteX108" fmla="*/ 4196906 w 6119717"/>
              <a:gd name="connsiteY108" fmla="*/ 1254443 h 1868995"/>
              <a:gd name="connsiteX109" fmla="*/ 4226052 w 6119717"/>
              <a:gd name="connsiteY109" fmla="*/ 1254443 h 1868995"/>
              <a:gd name="connsiteX110" fmla="*/ 4226052 w 6119717"/>
              <a:gd name="connsiteY110" fmla="*/ 1275588 h 1868995"/>
              <a:gd name="connsiteX111" fmla="*/ 4286441 w 6119717"/>
              <a:gd name="connsiteY111" fmla="*/ 1275588 h 1868995"/>
              <a:gd name="connsiteX112" fmla="*/ 4286441 w 6119717"/>
              <a:gd name="connsiteY112" fmla="*/ 1285018 h 1868995"/>
              <a:gd name="connsiteX113" fmla="*/ 4371594 w 6119717"/>
              <a:gd name="connsiteY113" fmla="*/ 1285018 h 1868995"/>
              <a:gd name="connsiteX114" fmla="*/ 4371594 w 6119717"/>
              <a:gd name="connsiteY114" fmla="*/ 1301020 h 1868995"/>
              <a:gd name="connsiteX115" fmla="*/ 4433507 w 6119717"/>
              <a:gd name="connsiteY115" fmla="*/ 1301020 h 1868995"/>
              <a:gd name="connsiteX116" fmla="*/ 4433507 w 6119717"/>
              <a:gd name="connsiteY116" fmla="*/ 1325785 h 1868995"/>
              <a:gd name="connsiteX117" fmla="*/ 4503420 w 6119717"/>
              <a:gd name="connsiteY117" fmla="*/ 1325785 h 1868995"/>
              <a:gd name="connsiteX118" fmla="*/ 4503420 w 6119717"/>
              <a:gd name="connsiteY118" fmla="*/ 1344739 h 1868995"/>
              <a:gd name="connsiteX119" fmla="*/ 4585716 w 6119717"/>
              <a:gd name="connsiteY119" fmla="*/ 1344739 h 1868995"/>
              <a:gd name="connsiteX120" fmla="*/ 4585716 w 6119717"/>
              <a:gd name="connsiteY120" fmla="*/ 1354931 h 1868995"/>
              <a:gd name="connsiteX121" fmla="*/ 4702207 w 6119717"/>
              <a:gd name="connsiteY121" fmla="*/ 1354931 h 1868995"/>
              <a:gd name="connsiteX122" fmla="*/ 4702207 w 6119717"/>
              <a:gd name="connsiteY122" fmla="*/ 1371695 h 1868995"/>
              <a:gd name="connsiteX123" fmla="*/ 4739355 w 6119717"/>
              <a:gd name="connsiteY123" fmla="*/ 1371695 h 1868995"/>
              <a:gd name="connsiteX124" fmla="*/ 4739355 w 6119717"/>
              <a:gd name="connsiteY124" fmla="*/ 1388459 h 1868995"/>
              <a:gd name="connsiteX125" fmla="*/ 4763358 w 6119717"/>
              <a:gd name="connsiteY125" fmla="*/ 1388459 h 1868995"/>
              <a:gd name="connsiteX126" fmla="*/ 4763358 w 6119717"/>
              <a:gd name="connsiteY126" fmla="*/ 1398651 h 1868995"/>
              <a:gd name="connsiteX127" fmla="*/ 4809268 w 6119717"/>
              <a:gd name="connsiteY127" fmla="*/ 1398651 h 1868995"/>
              <a:gd name="connsiteX128" fmla="*/ 4809268 w 6119717"/>
              <a:gd name="connsiteY128" fmla="*/ 1409605 h 1868995"/>
              <a:gd name="connsiteX129" fmla="*/ 4833271 w 6119717"/>
              <a:gd name="connsiteY129" fmla="*/ 1409605 h 1868995"/>
              <a:gd name="connsiteX130" fmla="*/ 4833271 w 6119717"/>
              <a:gd name="connsiteY130" fmla="*/ 1435132 h 1868995"/>
              <a:gd name="connsiteX131" fmla="*/ 4927949 w 6119717"/>
              <a:gd name="connsiteY131" fmla="*/ 1435132 h 1868995"/>
              <a:gd name="connsiteX132" fmla="*/ 4927949 w 6119717"/>
              <a:gd name="connsiteY132" fmla="*/ 1453325 h 1868995"/>
              <a:gd name="connsiteX133" fmla="*/ 5056061 w 6119717"/>
              <a:gd name="connsiteY133" fmla="*/ 1453325 h 1868995"/>
              <a:gd name="connsiteX134" fmla="*/ 5056061 w 6119717"/>
              <a:gd name="connsiteY134" fmla="*/ 1469327 h 1868995"/>
              <a:gd name="connsiteX135" fmla="*/ 5115783 w 6119717"/>
              <a:gd name="connsiteY135" fmla="*/ 1469327 h 1868995"/>
              <a:gd name="connsiteX136" fmla="*/ 5115783 w 6119717"/>
              <a:gd name="connsiteY136" fmla="*/ 1486091 h 1868995"/>
              <a:gd name="connsiteX137" fmla="*/ 5182743 w 6119717"/>
              <a:gd name="connsiteY137" fmla="*/ 1486091 h 1868995"/>
              <a:gd name="connsiteX138" fmla="*/ 5182743 w 6119717"/>
              <a:gd name="connsiteY138" fmla="*/ 1513046 h 1868995"/>
              <a:gd name="connsiteX139" fmla="*/ 5206746 w 6119717"/>
              <a:gd name="connsiteY139" fmla="*/ 1513046 h 1868995"/>
              <a:gd name="connsiteX140" fmla="*/ 5206746 w 6119717"/>
              <a:gd name="connsiteY140" fmla="*/ 1530477 h 1868995"/>
              <a:gd name="connsiteX141" fmla="*/ 6119717 w 6119717"/>
              <a:gd name="connsiteY141" fmla="*/ 1530477 h 1868995"/>
              <a:gd name="connsiteX142" fmla="*/ 6119717 w 6119717"/>
              <a:gd name="connsiteY142" fmla="*/ 1868996 h 1868995"/>
              <a:gd name="connsiteX143" fmla="*/ 5758625 w 6119717"/>
              <a:gd name="connsiteY143" fmla="*/ 1868996 h 1868995"/>
              <a:gd name="connsiteX144" fmla="*/ 5758625 w 6119717"/>
              <a:gd name="connsiteY144" fmla="*/ 1802035 h 1868995"/>
              <a:gd name="connsiteX145" fmla="*/ 5391722 w 6119717"/>
              <a:gd name="connsiteY145" fmla="*/ 1802035 h 1868995"/>
              <a:gd name="connsiteX146" fmla="*/ 5391722 w 6119717"/>
              <a:gd name="connsiteY146" fmla="*/ 1779460 h 1868995"/>
              <a:gd name="connsiteX147" fmla="*/ 5249799 w 6119717"/>
              <a:gd name="connsiteY147" fmla="*/ 1779460 h 1868995"/>
              <a:gd name="connsiteX148" fmla="*/ 5249799 w 6119717"/>
              <a:gd name="connsiteY148" fmla="*/ 1761268 h 1868995"/>
              <a:gd name="connsiteX149" fmla="*/ 5198840 w 6119717"/>
              <a:gd name="connsiteY149" fmla="*/ 1761268 h 1868995"/>
              <a:gd name="connsiteX150" fmla="*/ 5198840 w 6119717"/>
              <a:gd name="connsiteY150" fmla="*/ 1738693 h 1868995"/>
              <a:gd name="connsiteX151" fmla="*/ 5097685 w 6119717"/>
              <a:gd name="connsiteY151" fmla="*/ 1738693 h 1868995"/>
              <a:gd name="connsiteX152" fmla="*/ 5097685 w 6119717"/>
              <a:gd name="connsiteY152" fmla="*/ 1719072 h 1868995"/>
              <a:gd name="connsiteX153" fmla="*/ 5044535 w 6119717"/>
              <a:gd name="connsiteY153" fmla="*/ 1719072 h 1868995"/>
              <a:gd name="connsiteX154" fmla="*/ 5044535 w 6119717"/>
              <a:gd name="connsiteY154" fmla="*/ 1676876 h 1868995"/>
              <a:gd name="connsiteX155" fmla="*/ 4878515 w 6119717"/>
              <a:gd name="connsiteY155" fmla="*/ 1676876 h 1868995"/>
              <a:gd name="connsiteX156" fmla="*/ 4878515 w 6119717"/>
              <a:gd name="connsiteY156" fmla="*/ 1637538 h 1868995"/>
              <a:gd name="connsiteX157" fmla="*/ 4762786 w 6119717"/>
              <a:gd name="connsiteY157" fmla="*/ 1637538 h 1868995"/>
              <a:gd name="connsiteX158" fmla="*/ 4762786 w 6119717"/>
              <a:gd name="connsiteY158" fmla="*/ 1629537 h 1868995"/>
              <a:gd name="connsiteX159" fmla="*/ 4697254 w 6119717"/>
              <a:gd name="connsiteY159" fmla="*/ 1629537 h 1868995"/>
              <a:gd name="connsiteX160" fmla="*/ 4697254 w 6119717"/>
              <a:gd name="connsiteY160" fmla="*/ 1614964 h 1868995"/>
              <a:gd name="connsiteX161" fmla="*/ 4654296 w 6119717"/>
              <a:gd name="connsiteY161" fmla="*/ 1614964 h 1868995"/>
              <a:gd name="connsiteX162" fmla="*/ 4654296 w 6119717"/>
              <a:gd name="connsiteY162" fmla="*/ 1606201 h 1868995"/>
              <a:gd name="connsiteX163" fmla="*/ 4502849 w 6119717"/>
              <a:gd name="connsiteY163" fmla="*/ 1606201 h 1868995"/>
              <a:gd name="connsiteX164" fmla="*/ 4502849 w 6119717"/>
              <a:gd name="connsiteY164" fmla="*/ 1581436 h 1868995"/>
              <a:gd name="connsiteX165" fmla="*/ 4459891 w 6119717"/>
              <a:gd name="connsiteY165" fmla="*/ 1581436 h 1868995"/>
              <a:gd name="connsiteX166" fmla="*/ 4459891 w 6119717"/>
              <a:gd name="connsiteY166" fmla="*/ 1565434 h 1868995"/>
              <a:gd name="connsiteX167" fmla="*/ 4391501 w 6119717"/>
              <a:gd name="connsiteY167" fmla="*/ 1565434 h 1868995"/>
              <a:gd name="connsiteX168" fmla="*/ 4391501 w 6119717"/>
              <a:gd name="connsiteY168" fmla="*/ 1548670 h 1868995"/>
              <a:gd name="connsiteX169" fmla="*/ 4328160 w 6119717"/>
              <a:gd name="connsiteY169" fmla="*/ 1548670 h 1868995"/>
              <a:gd name="connsiteX170" fmla="*/ 4328160 w 6119717"/>
              <a:gd name="connsiteY170" fmla="*/ 1527524 h 1868995"/>
              <a:gd name="connsiteX171" fmla="*/ 4212431 w 6119717"/>
              <a:gd name="connsiteY171" fmla="*/ 1527524 h 1868995"/>
              <a:gd name="connsiteX172" fmla="*/ 4212431 w 6119717"/>
              <a:gd name="connsiteY172" fmla="*/ 1494758 h 1868995"/>
              <a:gd name="connsiteX173" fmla="*/ 4189095 w 6119717"/>
              <a:gd name="connsiteY173" fmla="*/ 1494758 h 1868995"/>
              <a:gd name="connsiteX174" fmla="*/ 4189095 w 6119717"/>
              <a:gd name="connsiteY174" fmla="*/ 1476566 h 1868995"/>
              <a:gd name="connsiteX175" fmla="*/ 4175284 w 6119717"/>
              <a:gd name="connsiteY175" fmla="*/ 1476566 h 1868995"/>
              <a:gd name="connsiteX176" fmla="*/ 4175284 w 6119717"/>
              <a:gd name="connsiteY176" fmla="*/ 1464945 h 1868995"/>
              <a:gd name="connsiteX177" fmla="*/ 4127945 w 6119717"/>
              <a:gd name="connsiteY177" fmla="*/ 1464945 h 1868995"/>
              <a:gd name="connsiteX178" fmla="*/ 4127945 w 6119717"/>
              <a:gd name="connsiteY178" fmla="*/ 1451134 h 1868995"/>
              <a:gd name="connsiteX179" fmla="*/ 4049363 w 6119717"/>
              <a:gd name="connsiteY179" fmla="*/ 1451134 h 1868995"/>
              <a:gd name="connsiteX180" fmla="*/ 4049363 w 6119717"/>
              <a:gd name="connsiteY180" fmla="*/ 1442371 h 1868995"/>
              <a:gd name="connsiteX181" fmla="*/ 4020979 w 6119717"/>
              <a:gd name="connsiteY181" fmla="*/ 1442371 h 1868995"/>
              <a:gd name="connsiteX182" fmla="*/ 4020979 w 6119717"/>
              <a:gd name="connsiteY182" fmla="*/ 1428560 h 1868995"/>
              <a:gd name="connsiteX183" fmla="*/ 3900869 w 6119717"/>
              <a:gd name="connsiteY183" fmla="*/ 1428560 h 1868995"/>
              <a:gd name="connsiteX184" fmla="*/ 3900869 w 6119717"/>
              <a:gd name="connsiteY184" fmla="*/ 1411796 h 1868995"/>
              <a:gd name="connsiteX185" fmla="*/ 3869531 w 6119717"/>
              <a:gd name="connsiteY185" fmla="*/ 1411796 h 1868995"/>
              <a:gd name="connsiteX186" fmla="*/ 3862292 w 6119717"/>
              <a:gd name="connsiteY186" fmla="*/ 1404557 h 1868995"/>
              <a:gd name="connsiteX187" fmla="*/ 3819335 w 6119717"/>
              <a:gd name="connsiteY187" fmla="*/ 1404557 h 1868995"/>
              <a:gd name="connsiteX188" fmla="*/ 3819335 w 6119717"/>
              <a:gd name="connsiteY188" fmla="*/ 1391412 h 1868995"/>
              <a:gd name="connsiteX189" fmla="*/ 3800380 w 6119717"/>
              <a:gd name="connsiteY189" fmla="*/ 1391412 h 1868995"/>
              <a:gd name="connsiteX190" fmla="*/ 3800380 w 6119717"/>
              <a:gd name="connsiteY190" fmla="*/ 1379792 h 1868995"/>
              <a:gd name="connsiteX191" fmla="*/ 3702082 w 6119717"/>
              <a:gd name="connsiteY191" fmla="*/ 1379792 h 1868995"/>
              <a:gd name="connsiteX192" fmla="*/ 3702082 w 6119717"/>
              <a:gd name="connsiteY192" fmla="*/ 1367409 h 1868995"/>
              <a:gd name="connsiteX193" fmla="*/ 3683127 w 6119717"/>
              <a:gd name="connsiteY193" fmla="*/ 1367409 h 1868995"/>
              <a:gd name="connsiteX194" fmla="*/ 3683127 w 6119717"/>
              <a:gd name="connsiteY194" fmla="*/ 1359408 h 1868995"/>
              <a:gd name="connsiteX195" fmla="*/ 3616833 w 6119717"/>
              <a:gd name="connsiteY195" fmla="*/ 1359408 h 1868995"/>
              <a:gd name="connsiteX196" fmla="*/ 3616833 w 6119717"/>
              <a:gd name="connsiteY196" fmla="*/ 1345597 h 1868995"/>
              <a:gd name="connsiteX197" fmla="*/ 3608070 w 6119717"/>
              <a:gd name="connsiteY197" fmla="*/ 1345597 h 1868995"/>
              <a:gd name="connsiteX198" fmla="*/ 3608070 w 6119717"/>
              <a:gd name="connsiteY198" fmla="*/ 1319403 h 1868995"/>
              <a:gd name="connsiteX199" fmla="*/ 3569494 w 6119717"/>
              <a:gd name="connsiteY199" fmla="*/ 1319403 h 1868995"/>
              <a:gd name="connsiteX200" fmla="*/ 3569494 w 6119717"/>
              <a:gd name="connsiteY200" fmla="*/ 1310640 h 1868995"/>
              <a:gd name="connsiteX201" fmla="*/ 3549872 w 6119717"/>
              <a:gd name="connsiteY201" fmla="*/ 1310640 h 1868995"/>
              <a:gd name="connsiteX202" fmla="*/ 3549872 w 6119717"/>
              <a:gd name="connsiteY202" fmla="*/ 1296067 h 1868995"/>
              <a:gd name="connsiteX203" fmla="*/ 3510534 w 6119717"/>
              <a:gd name="connsiteY203" fmla="*/ 1296067 h 1868995"/>
              <a:gd name="connsiteX204" fmla="*/ 3510534 w 6119717"/>
              <a:gd name="connsiteY204" fmla="*/ 1274255 h 1868995"/>
              <a:gd name="connsiteX205" fmla="*/ 3485769 w 6119717"/>
              <a:gd name="connsiteY205" fmla="*/ 1274255 h 1868995"/>
              <a:gd name="connsiteX206" fmla="*/ 3485769 w 6119717"/>
              <a:gd name="connsiteY206" fmla="*/ 1257491 h 1868995"/>
              <a:gd name="connsiteX207" fmla="*/ 3464624 w 6119717"/>
              <a:gd name="connsiteY207" fmla="*/ 1257491 h 1868995"/>
              <a:gd name="connsiteX208" fmla="*/ 3464624 w 6119717"/>
              <a:gd name="connsiteY208" fmla="*/ 1248061 h 1868995"/>
              <a:gd name="connsiteX209" fmla="*/ 3447860 w 6119717"/>
              <a:gd name="connsiteY209" fmla="*/ 1248061 h 1868995"/>
              <a:gd name="connsiteX210" fmla="*/ 3447860 w 6119717"/>
              <a:gd name="connsiteY210" fmla="*/ 1228439 h 1868995"/>
              <a:gd name="connsiteX211" fmla="*/ 3412141 w 6119717"/>
              <a:gd name="connsiteY211" fmla="*/ 1228439 h 1868995"/>
              <a:gd name="connsiteX212" fmla="*/ 3412141 w 6119717"/>
              <a:gd name="connsiteY212" fmla="*/ 1213866 h 1868995"/>
              <a:gd name="connsiteX213" fmla="*/ 3354610 w 6119717"/>
              <a:gd name="connsiteY213" fmla="*/ 1213866 h 1868995"/>
              <a:gd name="connsiteX214" fmla="*/ 3354610 w 6119717"/>
              <a:gd name="connsiteY214" fmla="*/ 1205865 h 1868995"/>
              <a:gd name="connsiteX215" fmla="*/ 3294888 w 6119717"/>
              <a:gd name="connsiteY215" fmla="*/ 1205865 h 1868995"/>
              <a:gd name="connsiteX216" fmla="*/ 3294888 w 6119717"/>
              <a:gd name="connsiteY216" fmla="*/ 1187672 h 1868995"/>
              <a:gd name="connsiteX217" fmla="*/ 3276695 w 6119717"/>
              <a:gd name="connsiteY217" fmla="*/ 1187672 h 1868995"/>
              <a:gd name="connsiteX218" fmla="*/ 3276695 w 6119717"/>
              <a:gd name="connsiteY218" fmla="*/ 1151954 h 1868995"/>
              <a:gd name="connsiteX219" fmla="*/ 3254121 w 6119717"/>
              <a:gd name="connsiteY219" fmla="*/ 1151954 h 1868995"/>
              <a:gd name="connsiteX220" fmla="*/ 3254121 w 6119717"/>
              <a:gd name="connsiteY220" fmla="*/ 1113377 h 1868995"/>
              <a:gd name="connsiteX221" fmla="*/ 3176969 w 6119717"/>
              <a:gd name="connsiteY221" fmla="*/ 1113377 h 1868995"/>
              <a:gd name="connsiteX222" fmla="*/ 3176969 w 6119717"/>
              <a:gd name="connsiteY222" fmla="*/ 1098804 h 1868995"/>
              <a:gd name="connsiteX223" fmla="*/ 3131058 w 6119717"/>
              <a:gd name="connsiteY223" fmla="*/ 1098804 h 1868995"/>
              <a:gd name="connsiteX224" fmla="*/ 3131058 w 6119717"/>
              <a:gd name="connsiteY224" fmla="*/ 1088612 h 1868995"/>
              <a:gd name="connsiteX225" fmla="*/ 3044381 w 6119717"/>
              <a:gd name="connsiteY225" fmla="*/ 1088612 h 1868995"/>
              <a:gd name="connsiteX226" fmla="*/ 3044381 w 6119717"/>
              <a:gd name="connsiteY226" fmla="*/ 1076992 h 1868995"/>
              <a:gd name="connsiteX227" fmla="*/ 3027616 w 6119717"/>
              <a:gd name="connsiteY227" fmla="*/ 1076992 h 1868995"/>
              <a:gd name="connsiteX228" fmla="*/ 3027616 w 6119717"/>
              <a:gd name="connsiteY228" fmla="*/ 1067562 h 1868995"/>
              <a:gd name="connsiteX229" fmla="*/ 3006471 w 6119717"/>
              <a:gd name="connsiteY229" fmla="*/ 1067562 h 1868995"/>
              <a:gd name="connsiteX230" fmla="*/ 3006471 w 6119717"/>
              <a:gd name="connsiteY230" fmla="*/ 1055180 h 1868995"/>
              <a:gd name="connsiteX231" fmla="*/ 3001328 w 6119717"/>
              <a:gd name="connsiteY231" fmla="*/ 1055180 h 1868995"/>
              <a:gd name="connsiteX232" fmla="*/ 3001328 w 6119717"/>
              <a:gd name="connsiteY232" fmla="*/ 1043559 h 1868995"/>
              <a:gd name="connsiteX233" fmla="*/ 2982373 w 6119717"/>
              <a:gd name="connsiteY233" fmla="*/ 1043559 h 1868995"/>
              <a:gd name="connsiteX234" fmla="*/ 2982373 w 6119717"/>
              <a:gd name="connsiteY234" fmla="*/ 1028986 h 1868995"/>
              <a:gd name="connsiteX235" fmla="*/ 2906649 w 6119717"/>
              <a:gd name="connsiteY235" fmla="*/ 1028986 h 1868995"/>
              <a:gd name="connsiteX236" fmla="*/ 2906649 w 6119717"/>
              <a:gd name="connsiteY236" fmla="*/ 1014413 h 1868995"/>
              <a:gd name="connsiteX237" fmla="*/ 2895029 w 6119717"/>
              <a:gd name="connsiteY237" fmla="*/ 1014413 h 1868995"/>
              <a:gd name="connsiteX238" fmla="*/ 2895029 w 6119717"/>
              <a:gd name="connsiteY238" fmla="*/ 1007174 h 1868995"/>
              <a:gd name="connsiteX239" fmla="*/ 2857881 w 6119717"/>
              <a:gd name="connsiteY239" fmla="*/ 1007174 h 1868995"/>
              <a:gd name="connsiteX240" fmla="*/ 2857881 w 6119717"/>
              <a:gd name="connsiteY240" fmla="*/ 988981 h 1868995"/>
              <a:gd name="connsiteX241" fmla="*/ 2846927 w 6119717"/>
              <a:gd name="connsiteY241" fmla="*/ 988981 h 1868995"/>
              <a:gd name="connsiteX242" fmla="*/ 2846927 w 6119717"/>
              <a:gd name="connsiteY242" fmla="*/ 969359 h 1868995"/>
              <a:gd name="connsiteX243" fmla="*/ 2830925 w 6119717"/>
              <a:gd name="connsiteY243" fmla="*/ 969359 h 1868995"/>
              <a:gd name="connsiteX244" fmla="*/ 2830925 w 6119717"/>
              <a:gd name="connsiteY244" fmla="*/ 952595 h 1868995"/>
              <a:gd name="connsiteX245" fmla="*/ 2778538 w 6119717"/>
              <a:gd name="connsiteY245" fmla="*/ 952595 h 1868995"/>
              <a:gd name="connsiteX246" fmla="*/ 2778538 w 6119717"/>
              <a:gd name="connsiteY246" fmla="*/ 944594 h 1868995"/>
              <a:gd name="connsiteX247" fmla="*/ 2749391 w 6119717"/>
              <a:gd name="connsiteY247" fmla="*/ 944594 h 1868995"/>
              <a:gd name="connsiteX248" fmla="*/ 2749391 w 6119717"/>
              <a:gd name="connsiteY248" fmla="*/ 938022 h 1868995"/>
              <a:gd name="connsiteX249" fmla="*/ 2723198 w 6119717"/>
              <a:gd name="connsiteY249" fmla="*/ 938022 h 1868995"/>
              <a:gd name="connsiteX250" fmla="*/ 2723198 w 6119717"/>
              <a:gd name="connsiteY250" fmla="*/ 926402 h 1868995"/>
              <a:gd name="connsiteX251" fmla="*/ 2676620 w 6119717"/>
              <a:gd name="connsiteY251" fmla="*/ 926402 h 1868995"/>
              <a:gd name="connsiteX252" fmla="*/ 2676620 w 6119717"/>
              <a:gd name="connsiteY252" fmla="*/ 908209 h 1868995"/>
              <a:gd name="connsiteX253" fmla="*/ 2647474 w 6119717"/>
              <a:gd name="connsiteY253" fmla="*/ 908209 h 1868995"/>
              <a:gd name="connsiteX254" fmla="*/ 2647474 w 6119717"/>
              <a:gd name="connsiteY254" fmla="*/ 894398 h 1868995"/>
              <a:gd name="connsiteX255" fmla="*/ 2579084 w 6119717"/>
              <a:gd name="connsiteY255" fmla="*/ 894398 h 1868995"/>
              <a:gd name="connsiteX256" fmla="*/ 2579084 w 6119717"/>
              <a:gd name="connsiteY256" fmla="*/ 876967 h 1868995"/>
              <a:gd name="connsiteX257" fmla="*/ 2539079 w 6119717"/>
              <a:gd name="connsiteY257" fmla="*/ 876967 h 1868995"/>
              <a:gd name="connsiteX258" fmla="*/ 2539079 w 6119717"/>
              <a:gd name="connsiteY258" fmla="*/ 857345 h 1868995"/>
              <a:gd name="connsiteX259" fmla="*/ 2516505 w 6119717"/>
              <a:gd name="connsiteY259" fmla="*/ 857345 h 1868995"/>
              <a:gd name="connsiteX260" fmla="*/ 2516505 w 6119717"/>
              <a:gd name="connsiteY260" fmla="*/ 842772 h 1868995"/>
              <a:gd name="connsiteX261" fmla="*/ 2486692 w 6119717"/>
              <a:gd name="connsiteY261" fmla="*/ 842772 h 1868995"/>
              <a:gd name="connsiteX262" fmla="*/ 2486692 w 6119717"/>
              <a:gd name="connsiteY262" fmla="*/ 810768 h 1868995"/>
              <a:gd name="connsiteX263" fmla="*/ 2467070 w 6119717"/>
              <a:gd name="connsiteY263" fmla="*/ 810768 h 1868995"/>
              <a:gd name="connsiteX264" fmla="*/ 2467070 w 6119717"/>
              <a:gd name="connsiteY264" fmla="*/ 794766 h 1868995"/>
              <a:gd name="connsiteX265" fmla="*/ 2391347 w 6119717"/>
              <a:gd name="connsiteY265" fmla="*/ 794766 h 1868995"/>
              <a:gd name="connsiteX266" fmla="*/ 2391347 w 6119717"/>
              <a:gd name="connsiteY266" fmla="*/ 764191 h 1868995"/>
              <a:gd name="connsiteX267" fmla="*/ 2362962 w 6119717"/>
              <a:gd name="connsiteY267" fmla="*/ 764191 h 1868995"/>
              <a:gd name="connsiteX268" fmla="*/ 2362962 w 6119717"/>
              <a:gd name="connsiteY268" fmla="*/ 721233 h 1868995"/>
              <a:gd name="connsiteX269" fmla="*/ 2312003 w 6119717"/>
              <a:gd name="connsiteY269" fmla="*/ 721233 h 1868995"/>
              <a:gd name="connsiteX270" fmla="*/ 2312003 w 6119717"/>
              <a:gd name="connsiteY270" fmla="*/ 698659 h 1868995"/>
              <a:gd name="connsiteX271" fmla="*/ 2290191 w 6119717"/>
              <a:gd name="connsiteY271" fmla="*/ 698659 h 1868995"/>
              <a:gd name="connsiteX272" fmla="*/ 2290191 w 6119717"/>
              <a:gd name="connsiteY272" fmla="*/ 688467 h 1868995"/>
              <a:gd name="connsiteX273" fmla="*/ 2263997 w 6119717"/>
              <a:gd name="connsiteY273" fmla="*/ 688467 h 1868995"/>
              <a:gd name="connsiteX274" fmla="*/ 2263997 w 6119717"/>
              <a:gd name="connsiteY274" fmla="*/ 657892 h 1868995"/>
              <a:gd name="connsiteX275" fmla="*/ 2247233 w 6119717"/>
              <a:gd name="connsiteY275" fmla="*/ 657892 h 1868995"/>
              <a:gd name="connsiteX276" fmla="*/ 2247233 w 6119717"/>
              <a:gd name="connsiteY276" fmla="*/ 652748 h 1868995"/>
              <a:gd name="connsiteX277" fmla="*/ 2218087 w 6119717"/>
              <a:gd name="connsiteY277" fmla="*/ 652748 h 1868995"/>
              <a:gd name="connsiteX278" fmla="*/ 2218087 w 6119717"/>
              <a:gd name="connsiteY278" fmla="*/ 629412 h 1868995"/>
              <a:gd name="connsiteX279" fmla="*/ 2151126 w 6119717"/>
              <a:gd name="connsiteY279" fmla="*/ 629412 h 1868995"/>
              <a:gd name="connsiteX280" fmla="*/ 2151126 w 6119717"/>
              <a:gd name="connsiteY280" fmla="*/ 618458 h 1868995"/>
              <a:gd name="connsiteX281" fmla="*/ 2142363 w 6119717"/>
              <a:gd name="connsiteY281" fmla="*/ 618458 h 1868995"/>
              <a:gd name="connsiteX282" fmla="*/ 2142363 w 6119717"/>
              <a:gd name="connsiteY282" fmla="*/ 587883 h 1868995"/>
              <a:gd name="connsiteX283" fmla="*/ 2116836 w 6119717"/>
              <a:gd name="connsiteY283" fmla="*/ 587883 h 1868995"/>
              <a:gd name="connsiteX284" fmla="*/ 2116836 w 6119717"/>
              <a:gd name="connsiteY284" fmla="*/ 576263 h 1868995"/>
              <a:gd name="connsiteX285" fmla="*/ 2009775 w 6119717"/>
              <a:gd name="connsiteY285" fmla="*/ 576263 h 1868995"/>
              <a:gd name="connsiteX286" fmla="*/ 2009775 w 6119717"/>
              <a:gd name="connsiteY286" fmla="*/ 546449 h 1868995"/>
              <a:gd name="connsiteX287" fmla="*/ 1983581 w 6119717"/>
              <a:gd name="connsiteY287" fmla="*/ 546449 h 1868995"/>
              <a:gd name="connsiteX288" fmla="*/ 1983581 w 6119717"/>
              <a:gd name="connsiteY288" fmla="*/ 526066 h 1868995"/>
              <a:gd name="connsiteX289" fmla="*/ 1940623 w 6119717"/>
              <a:gd name="connsiteY289" fmla="*/ 526066 h 1868995"/>
              <a:gd name="connsiteX290" fmla="*/ 1940623 w 6119717"/>
              <a:gd name="connsiteY290" fmla="*/ 505682 h 1868995"/>
              <a:gd name="connsiteX291" fmla="*/ 1920240 w 6119717"/>
              <a:gd name="connsiteY291" fmla="*/ 505682 h 1868995"/>
              <a:gd name="connsiteX292" fmla="*/ 1920240 w 6119717"/>
              <a:gd name="connsiteY292" fmla="*/ 487490 h 1868995"/>
              <a:gd name="connsiteX293" fmla="*/ 1901285 w 6119717"/>
              <a:gd name="connsiteY293" fmla="*/ 487490 h 1868995"/>
              <a:gd name="connsiteX294" fmla="*/ 1901285 w 6119717"/>
              <a:gd name="connsiteY294" fmla="*/ 475869 h 1868995"/>
              <a:gd name="connsiteX295" fmla="*/ 1832134 w 6119717"/>
              <a:gd name="connsiteY295" fmla="*/ 475869 h 1868995"/>
              <a:gd name="connsiteX296" fmla="*/ 1832134 w 6119717"/>
              <a:gd name="connsiteY296" fmla="*/ 442341 h 1868995"/>
              <a:gd name="connsiteX297" fmla="*/ 1762220 w 6119717"/>
              <a:gd name="connsiteY297" fmla="*/ 442341 h 1868995"/>
              <a:gd name="connsiteX298" fmla="*/ 1762220 w 6119717"/>
              <a:gd name="connsiteY298" fmla="*/ 429959 h 1868995"/>
              <a:gd name="connsiteX299" fmla="*/ 1725835 w 6119717"/>
              <a:gd name="connsiteY299" fmla="*/ 429959 h 1868995"/>
              <a:gd name="connsiteX300" fmla="*/ 1725835 w 6119717"/>
              <a:gd name="connsiteY300" fmla="*/ 418338 h 1868995"/>
              <a:gd name="connsiteX301" fmla="*/ 1694498 w 6119717"/>
              <a:gd name="connsiteY301" fmla="*/ 418338 h 1868995"/>
              <a:gd name="connsiteX302" fmla="*/ 1694498 w 6119717"/>
              <a:gd name="connsiteY302" fmla="*/ 399383 h 1868995"/>
              <a:gd name="connsiteX303" fmla="*/ 1654493 w 6119717"/>
              <a:gd name="connsiteY303" fmla="*/ 399383 h 1868995"/>
              <a:gd name="connsiteX304" fmla="*/ 1654493 w 6119717"/>
              <a:gd name="connsiteY304" fmla="*/ 379762 h 1868995"/>
              <a:gd name="connsiteX305" fmla="*/ 1552575 w 6119717"/>
              <a:gd name="connsiteY305" fmla="*/ 379762 h 1868995"/>
              <a:gd name="connsiteX306" fmla="*/ 1552575 w 6119717"/>
              <a:gd name="connsiteY306" fmla="*/ 354997 h 1868995"/>
              <a:gd name="connsiteX307" fmla="*/ 1465898 w 6119717"/>
              <a:gd name="connsiteY307" fmla="*/ 354997 h 1868995"/>
              <a:gd name="connsiteX308" fmla="*/ 1465898 w 6119717"/>
              <a:gd name="connsiteY308" fmla="*/ 345567 h 1868995"/>
              <a:gd name="connsiteX309" fmla="*/ 1364742 w 6119717"/>
              <a:gd name="connsiteY309" fmla="*/ 345567 h 1868995"/>
              <a:gd name="connsiteX310" fmla="*/ 1364742 w 6119717"/>
              <a:gd name="connsiteY310" fmla="*/ 333185 h 1868995"/>
              <a:gd name="connsiteX311" fmla="*/ 1313783 w 6119717"/>
              <a:gd name="connsiteY311" fmla="*/ 333185 h 1868995"/>
              <a:gd name="connsiteX312" fmla="*/ 1313783 w 6119717"/>
              <a:gd name="connsiteY312" fmla="*/ 310610 h 1868995"/>
              <a:gd name="connsiteX313" fmla="*/ 1215485 w 6119717"/>
              <a:gd name="connsiteY313" fmla="*/ 310610 h 1868995"/>
              <a:gd name="connsiteX314" fmla="*/ 1215485 w 6119717"/>
              <a:gd name="connsiteY314" fmla="*/ 296037 h 1868995"/>
              <a:gd name="connsiteX315" fmla="*/ 1133189 w 6119717"/>
              <a:gd name="connsiteY315" fmla="*/ 296037 h 1868995"/>
              <a:gd name="connsiteX316" fmla="*/ 1133189 w 6119717"/>
              <a:gd name="connsiteY316" fmla="*/ 280702 h 1868995"/>
              <a:gd name="connsiteX317" fmla="*/ 1051655 w 6119717"/>
              <a:gd name="connsiteY317" fmla="*/ 280702 h 1868995"/>
              <a:gd name="connsiteX318" fmla="*/ 1051655 w 6119717"/>
              <a:gd name="connsiteY318" fmla="*/ 267557 h 1868995"/>
              <a:gd name="connsiteX319" fmla="*/ 1012317 w 6119717"/>
              <a:gd name="connsiteY319" fmla="*/ 267557 h 1868995"/>
              <a:gd name="connsiteX320" fmla="*/ 1012317 w 6119717"/>
              <a:gd name="connsiteY320" fmla="*/ 258127 h 1868995"/>
              <a:gd name="connsiteX321" fmla="*/ 991172 w 6119717"/>
              <a:gd name="connsiteY321" fmla="*/ 258127 h 1868995"/>
              <a:gd name="connsiteX322" fmla="*/ 991172 w 6119717"/>
              <a:gd name="connsiteY322" fmla="*/ 236982 h 1868995"/>
              <a:gd name="connsiteX323" fmla="*/ 905256 w 6119717"/>
              <a:gd name="connsiteY323" fmla="*/ 236982 h 1868995"/>
              <a:gd name="connsiteX324" fmla="*/ 905256 w 6119717"/>
              <a:gd name="connsiteY324" fmla="*/ 210026 h 1868995"/>
              <a:gd name="connsiteX325" fmla="*/ 750951 w 6119717"/>
              <a:gd name="connsiteY325" fmla="*/ 210026 h 1868995"/>
              <a:gd name="connsiteX326" fmla="*/ 750951 w 6119717"/>
              <a:gd name="connsiteY326" fmla="*/ 198406 h 1868995"/>
              <a:gd name="connsiteX327" fmla="*/ 641795 w 6119717"/>
              <a:gd name="connsiteY327" fmla="*/ 198406 h 1868995"/>
              <a:gd name="connsiteX328" fmla="*/ 641795 w 6119717"/>
              <a:gd name="connsiteY328" fmla="*/ 183071 h 1868995"/>
              <a:gd name="connsiteX329" fmla="*/ 600266 w 6119717"/>
              <a:gd name="connsiteY329" fmla="*/ 183071 h 1868995"/>
              <a:gd name="connsiteX330" fmla="*/ 600266 w 6119717"/>
              <a:gd name="connsiteY330" fmla="*/ 169926 h 1868995"/>
              <a:gd name="connsiteX331" fmla="*/ 512159 w 6119717"/>
              <a:gd name="connsiteY331" fmla="*/ 169926 h 1868995"/>
              <a:gd name="connsiteX332" fmla="*/ 512159 w 6119717"/>
              <a:gd name="connsiteY332" fmla="*/ 147352 h 1868995"/>
              <a:gd name="connsiteX333" fmla="*/ 483013 w 6119717"/>
              <a:gd name="connsiteY333" fmla="*/ 147352 h 1868995"/>
              <a:gd name="connsiteX334" fmla="*/ 483013 w 6119717"/>
              <a:gd name="connsiteY334" fmla="*/ 132778 h 1868995"/>
              <a:gd name="connsiteX335" fmla="*/ 437102 w 6119717"/>
              <a:gd name="connsiteY335" fmla="*/ 132778 h 1868995"/>
              <a:gd name="connsiteX336" fmla="*/ 437102 w 6119717"/>
              <a:gd name="connsiteY336" fmla="*/ 113157 h 1868995"/>
              <a:gd name="connsiteX337" fmla="*/ 380333 w 6119717"/>
              <a:gd name="connsiteY337" fmla="*/ 113157 h 1868995"/>
              <a:gd name="connsiteX338" fmla="*/ 380333 w 6119717"/>
              <a:gd name="connsiteY338" fmla="*/ 100775 h 1868995"/>
              <a:gd name="connsiteX339" fmla="*/ 223075 w 6119717"/>
              <a:gd name="connsiteY339" fmla="*/ 100775 h 1868995"/>
              <a:gd name="connsiteX340" fmla="*/ 223075 w 6119717"/>
              <a:gd name="connsiteY340" fmla="*/ 82582 h 1868995"/>
              <a:gd name="connsiteX341" fmla="*/ 161925 w 6119717"/>
              <a:gd name="connsiteY341" fmla="*/ 82582 h 1868995"/>
              <a:gd name="connsiteX342" fmla="*/ 161925 w 6119717"/>
              <a:gd name="connsiteY342" fmla="*/ 58579 h 1868995"/>
              <a:gd name="connsiteX343" fmla="*/ 113157 w 6119717"/>
              <a:gd name="connsiteY343" fmla="*/ 58579 h 1868995"/>
              <a:gd name="connsiteX344" fmla="*/ 113157 w 6119717"/>
              <a:gd name="connsiteY344" fmla="*/ 41815 h 1868995"/>
              <a:gd name="connsiteX345" fmla="*/ 81820 w 6119717"/>
              <a:gd name="connsiteY345" fmla="*/ 41815 h 1868995"/>
              <a:gd name="connsiteX346" fmla="*/ 81820 w 6119717"/>
              <a:gd name="connsiteY346" fmla="*/ 21431 h 1868995"/>
              <a:gd name="connsiteX347" fmla="*/ 20669 w 6119717"/>
              <a:gd name="connsiteY347" fmla="*/ 21431 h 1868995"/>
              <a:gd name="connsiteX348" fmla="*/ 20669 w 6119717"/>
              <a:gd name="connsiteY348" fmla="*/ 10477 h 1868995"/>
              <a:gd name="connsiteX349" fmla="*/ 0 w 6119717"/>
              <a:gd name="connsiteY349" fmla="*/ 10477 h 1868995"/>
              <a:gd name="connsiteX350" fmla="*/ 0 w 6119717"/>
              <a:gd name="connsiteY350" fmla="*/ 476 h 1868995"/>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0556 w 6119717"/>
              <a:gd name="connsiteY46" fmla="*/ 514826 h 1868996"/>
              <a:gd name="connsiteX47" fmla="*/ 2241518 w 6119717"/>
              <a:gd name="connsiteY47" fmla="*/ 514826 h 1868996"/>
              <a:gd name="connsiteX48" fmla="*/ 2241518 w 6119717"/>
              <a:gd name="connsiteY48" fmla="*/ 532162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03531 w 6119717"/>
              <a:gd name="connsiteY72" fmla="*/ 8504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586448 w 6119717"/>
              <a:gd name="connsiteY86" fmla="*/ 1032701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16560 w 6119717"/>
              <a:gd name="connsiteY90" fmla="*/ 1070324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49529 w 6119717"/>
              <a:gd name="connsiteY94" fmla="*/ 11219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03420 w 6119717"/>
              <a:gd name="connsiteY118" fmla="*/ 1344739 h 1868996"/>
              <a:gd name="connsiteX119" fmla="*/ 4585716 w 6119717"/>
              <a:gd name="connsiteY119" fmla="*/ 1344739 h 1868996"/>
              <a:gd name="connsiteX120" fmla="*/ 4589311 w 6119717"/>
              <a:gd name="connsiteY120" fmla="*/ 1340631 h 1868996"/>
              <a:gd name="connsiteX121" fmla="*/ 4702207 w 6119717"/>
              <a:gd name="connsiteY121" fmla="*/ 1354931 h 1868996"/>
              <a:gd name="connsiteX122" fmla="*/ 4702207 w 6119717"/>
              <a:gd name="connsiteY122" fmla="*/ 13716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0556 w 6119717"/>
              <a:gd name="connsiteY46" fmla="*/ 514826 h 1868996"/>
              <a:gd name="connsiteX47" fmla="*/ 2241518 w 6119717"/>
              <a:gd name="connsiteY47" fmla="*/ 514826 h 1868996"/>
              <a:gd name="connsiteX48" fmla="*/ 2241518 w 6119717"/>
              <a:gd name="connsiteY48" fmla="*/ 532162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03531 w 6119717"/>
              <a:gd name="connsiteY72" fmla="*/ 8504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586448 w 6119717"/>
              <a:gd name="connsiteY86" fmla="*/ 1032701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16560 w 6119717"/>
              <a:gd name="connsiteY90" fmla="*/ 1070324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49529 w 6119717"/>
              <a:gd name="connsiteY94" fmla="*/ 11219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03420 w 6119717"/>
              <a:gd name="connsiteY118" fmla="*/ 1344739 h 1868996"/>
              <a:gd name="connsiteX119" fmla="*/ 4585716 w 6119717"/>
              <a:gd name="connsiteY119" fmla="*/ 1344739 h 1868996"/>
              <a:gd name="connsiteX120" fmla="*/ 4589311 w 6119717"/>
              <a:gd name="connsiteY120" fmla="*/ 1340631 h 1868996"/>
              <a:gd name="connsiteX121" fmla="*/ 4702207 w 6119717"/>
              <a:gd name="connsiteY121" fmla="*/ 1354931 h 1868996"/>
              <a:gd name="connsiteX122" fmla="*/ 4720180 w 6119717"/>
              <a:gd name="connsiteY122" fmla="*/ 1353820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0556 w 6119717"/>
              <a:gd name="connsiteY46" fmla="*/ 514826 h 1868996"/>
              <a:gd name="connsiteX47" fmla="*/ 2241518 w 6119717"/>
              <a:gd name="connsiteY47" fmla="*/ 514826 h 1868996"/>
              <a:gd name="connsiteX48" fmla="*/ 2241518 w 6119717"/>
              <a:gd name="connsiteY48" fmla="*/ 532162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03531 w 6119717"/>
              <a:gd name="connsiteY72" fmla="*/ 8504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586448 w 6119717"/>
              <a:gd name="connsiteY86" fmla="*/ 1032701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16560 w 6119717"/>
              <a:gd name="connsiteY90" fmla="*/ 1070324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49529 w 6119717"/>
              <a:gd name="connsiteY94" fmla="*/ 11219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03420 w 6119717"/>
              <a:gd name="connsiteY118" fmla="*/ 1344739 h 1868996"/>
              <a:gd name="connsiteX119" fmla="*/ 4585716 w 6119717"/>
              <a:gd name="connsiteY119" fmla="*/ 1344739 h 1868996"/>
              <a:gd name="connsiteX120" fmla="*/ 4589311 w 6119717"/>
              <a:gd name="connsiteY120" fmla="*/ 1340631 h 1868996"/>
              <a:gd name="connsiteX121" fmla="*/ 4702207 w 6119717"/>
              <a:gd name="connsiteY121" fmla="*/ 135493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0556 w 6119717"/>
              <a:gd name="connsiteY46" fmla="*/ 514826 h 1868996"/>
              <a:gd name="connsiteX47" fmla="*/ 2241518 w 6119717"/>
              <a:gd name="connsiteY47" fmla="*/ 514826 h 1868996"/>
              <a:gd name="connsiteX48" fmla="*/ 2241518 w 6119717"/>
              <a:gd name="connsiteY48" fmla="*/ 532162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03531 w 6119717"/>
              <a:gd name="connsiteY72" fmla="*/ 8504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586448 w 6119717"/>
              <a:gd name="connsiteY86" fmla="*/ 1032701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16560 w 6119717"/>
              <a:gd name="connsiteY90" fmla="*/ 1070324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49529 w 6119717"/>
              <a:gd name="connsiteY94" fmla="*/ 11219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03420 w 6119717"/>
              <a:gd name="connsiteY118" fmla="*/ 1344739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0556 w 6119717"/>
              <a:gd name="connsiteY46" fmla="*/ 514826 h 1868996"/>
              <a:gd name="connsiteX47" fmla="*/ 2241518 w 6119717"/>
              <a:gd name="connsiteY47" fmla="*/ 514826 h 1868996"/>
              <a:gd name="connsiteX48" fmla="*/ 2241518 w 6119717"/>
              <a:gd name="connsiteY48" fmla="*/ 532162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586448 w 6119717"/>
              <a:gd name="connsiteY86" fmla="*/ 1032701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16560 w 6119717"/>
              <a:gd name="connsiteY90" fmla="*/ 1070324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49529 w 6119717"/>
              <a:gd name="connsiteY94" fmla="*/ 11219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03420 w 6119717"/>
              <a:gd name="connsiteY118" fmla="*/ 1344739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1518 w 6119717"/>
              <a:gd name="connsiteY48" fmla="*/ 532162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586448 w 6119717"/>
              <a:gd name="connsiteY86" fmla="*/ 1032701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16560 w 6119717"/>
              <a:gd name="connsiteY90" fmla="*/ 1070324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49529 w 6119717"/>
              <a:gd name="connsiteY94" fmla="*/ 11219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03420 w 6119717"/>
              <a:gd name="connsiteY118" fmla="*/ 1344739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586448 w 6119717"/>
              <a:gd name="connsiteY86" fmla="*/ 1032701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16560 w 6119717"/>
              <a:gd name="connsiteY90" fmla="*/ 1070324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49529 w 6119717"/>
              <a:gd name="connsiteY94" fmla="*/ 11219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03420 w 6119717"/>
              <a:gd name="connsiteY118" fmla="*/ 1344739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16560 w 6119717"/>
              <a:gd name="connsiteY90" fmla="*/ 1070324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49529 w 6119717"/>
              <a:gd name="connsiteY94" fmla="*/ 11219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03420 w 6119717"/>
              <a:gd name="connsiteY118" fmla="*/ 1344739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16560 w 6119717"/>
              <a:gd name="connsiteY90" fmla="*/ 1070324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49529 w 6119717"/>
              <a:gd name="connsiteY94" fmla="*/ 11219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48912 w 6119717"/>
              <a:gd name="connsiteY90" fmla="*/ 1066749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49529 w 6119717"/>
              <a:gd name="connsiteY94" fmla="*/ 11219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48912 w 6119717"/>
              <a:gd name="connsiteY90" fmla="*/ 1066749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81881 w 6119717"/>
              <a:gd name="connsiteY94" fmla="*/ 11076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62962 w 6119717"/>
              <a:gd name="connsiteY268" fmla="*/ 72123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48912 w 6119717"/>
              <a:gd name="connsiteY90" fmla="*/ 1066749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81881 w 6119717"/>
              <a:gd name="connsiteY94" fmla="*/ 11076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61066 w 6119717"/>
              <a:gd name="connsiteY98" fmla="*/ 1176528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44989 w 6119717"/>
              <a:gd name="connsiteY268" fmla="*/ 72838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478691 w 6119717"/>
              <a:gd name="connsiteY56" fmla="*/ 61036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48912 w 6119717"/>
              <a:gd name="connsiteY90" fmla="*/ 1066749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81881 w 6119717"/>
              <a:gd name="connsiteY94" fmla="*/ 11076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93417 w 6119717"/>
              <a:gd name="connsiteY98" fmla="*/ 1172952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44989 w 6119717"/>
              <a:gd name="connsiteY268" fmla="*/ 72838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500258 w 6119717"/>
              <a:gd name="connsiteY56" fmla="*/ 60321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48912 w 6119717"/>
              <a:gd name="connsiteY90" fmla="*/ 1066749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81881 w 6119717"/>
              <a:gd name="connsiteY94" fmla="*/ 11076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93417 w 6119717"/>
              <a:gd name="connsiteY98" fmla="*/ 1172952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286441 w 6119717"/>
              <a:gd name="connsiteY112" fmla="*/ 1285018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44989 w 6119717"/>
              <a:gd name="connsiteY268" fmla="*/ 72838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500258 w 6119717"/>
              <a:gd name="connsiteY56" fmla="*/ 60321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48912 w 6119717"/>
              <a:gd name="connsiteY90" fmla="*/ 1066749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81881 w 6119717"/>
              <a:gd name="connsiteY94" fmla="*/ 11076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93417 w 6119717"/>
              <a:gd name="connsiteY98" fmla="*/ 1172952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303720 w 6119717"/>
              <a:gd name="connsiteY112" fmla="*/ 1260960 h 1868996"/>
              <a:gd name="connsiteX113" fmla="*/ 4371594 w 6119717"/>
              <a:gd name="connsiteY113" fmla="*/ 1285018 h 1868996"/>
              <a:gd name="connsiteX114" fmla="*/ 4371594 w 6119717"/>
              <a:gd name="connsiteY114" fmla="*/ 1301020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44989 w 6119717"/>
              <a:gd name="connsiteY268" fmla="*/ 72838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500258 w 6119717"/>
              <a:gd name="connsiteY56" fmla="*/ 60321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48912 w 6119717"/>
              <a:gd name="connsiteY90" fmla="*/ 1066749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81881 w 6119717"/>
              <a:gd name="connsiteY94" fmla="*/ 11076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93417 w 6119717"/>
              <a:gd name="connsiteY98" fmla="*/ 1172952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60520 w 6119717"/>
              <a:gd name="connsiteY106" fmla="*/ 1246442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303720 w 6119717"/>
              <a:gd name="connsiteY112" fmla="*/ 1260960 h 1868996"/>
              <a:gd name="connsiteX113" fmla="*/ 4371594 w 6119717"/>
              <a:gd name="connsiteY113" fmla="*/ 1285018 h 1868996"/>
              <a:gd name="connsiteX114" fmla="*/ 4385418 w 6119717"/>
              <a:gd name="connsiteY114" fmla="*/ 1290709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44989 w 6119717"/>
              <a:gd name="connsiteY268" fmla="*/ 72838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500258 w 6119717"/>
              <a:gd name="connsiteY56" fmla="*/ 60321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48912 w 6119717"/>
              <a:gd name="connsiteY90" fmla="*/ 1066749 h 1868996"/>
              <a:gd name="connsiteX91" fmla="*/ 3806190 w 6119717"/>
              <a:gd name="connsiteY91" fmla="*/ 1070324 h 1868996"/>
              <a:gd name="connsiteX92" fmla="*/ 3806190 w 6119717"/>
              <a:gd name="connsiteY92" fmla="*/ 1096328 h 1868996"/>
              <a:gd name="connsiteX93" fmla="*/ 3849529 w 6119717"/>
              <a:gd name="connsiteY93" fmla="*/ 1096328 h 1868996"/>
              <a:gd name="connsiteX94" fmla="*/ 3881881 w 6119717"/>
              <a:gd name="connsiteY94" fmla="*/ 11076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93417 w 6119717"/>
              <a:gd name="connsiteY98" fmla="*/ 1172952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81255 w 6119717"/>
              <a:gd name="connsiteY106" fmla="*/ 1222383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303720 w 6119717"/>
              <a:gd name="connsiteY112" fmla="*/ 1260960 h 1868996"/>
              <a:gd name="connsiteX113" fmla="*/ 4371594 w 6119717"/>
              <a:gd name="connsiteY113" fmla="*/ 1285018 h 1868996"/>
              <a:gd name="connsiteX114" fmla="*/ 4385418 w 6119717"/>
              <a:gd name="connsiteY114" fmla="*/ 1290709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44989 w 6119717"/>
              <a:gd name="connsiteY268" fmla="*/ 72838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500258 w 6119717"/>
              <a:gd name="connsiteY56" fmla="*/ 60321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499675 w 6119717"/>
              <a:gd name="connsiteY82" fmla="*/ 974884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48912 w 6119717"/>
              <a:gd name="connsiteY90" fmla="*/ 1066749 h 1868996"/>
              <a:gd name="connsiteX91" fmla="*/ 3806190 w 6119717"/>
              <a:gd name="connsiteY91" fmla="*/ 1070324 h 1868996"/>
              <a:gd name="connsiteX92" fmla="*/ 3823468 w 6119717"/>
              <a:gd name="connsiteY92" fmla="*/ 1082580 h 1868996"/>
              <a:gd name="connsiteX93" fmla="*/ 3849529 w 6119717"/>
              <a:gd name="connsiteY93" fmla="*/ 1096328 h 1868996"/>
              <a:gd name="connsiteX94" fmla="*/ 3881881 w 6119717"/>
              <a:gd name="connsiteY94" fmla="*/ 11076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93417 w 6119717"/>
              <a:gd name="connsiteY98" fmla="*/ 1172952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81255 w 6119717"/>
              <a:gd name="connsiteY106" fmla="*/ 1222383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303720 w 6119717"/>
              <a:gd name="connsiteY112" fmla="*/ 1260960 h 1868996"/>
              <a:gd name="connsiteX113" fmla="*/ 4371594 w 6119717"/>
              <a:gd name="connsiteY113" fmla="*/ 1285018 h 1868996"/>
              <a:gd name="connsiteX114" fmla="*/ 4385418 w 6119717"/>
              <a:gd name="connsiteY114" fmla="*/ 1290709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44989 w 6119717"/>
              <a:gd name="connsiteY268" fmla="*/ 72838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 name="connsiteX0" fmla="*/ 476 w 6119717"/>
              <a:gd name="connsiteY0" fmla="*/ 0 h 1868996"/>
              <a:gd name="connsiteX1" fmla="*/ 104584 w 6119717"/>
              <a:gd name="connsiteY1" fmla="*/ 0 h 1868996"/>
              <a:gd name="connsiteX2" fmla="*/ 104584 w 6119717"/>
              <a:gd name="connsiteY2" fmla="*/ 17335 h 1868996"/>
              <a:gd name="connsiteX3" fmla="*/ 150876 w 6119717"/>
              <a:gd name="connsiteY3" fmla="*/ 17335 h 1868996"/>
              <a:gd name="connsiteX4" fmla="*/ 150876 w 6119717"/>
              <a:gd name="connsiteY4" fmla="*/ 46291 h 1868996"/>
              <a:gd name="connsiteX5" fmla="*/ 263652 w 6119717"/>
              <a:gd name="connsiteY5" fmla="*/ 46291 h 1868996"/>
              <a:gd name="connsiteX6" fmla="*/ 263652 w 6119717"/>
              <a:gd name="connsiteY6" fmla="*/ 69437 h 1868996"/>
              <a:gd name="connsiteX7" fmla="*/ 390906 w 6119717"/>
              <a:gd name="connsiteY7" fmla="*/ 69437 h 1868996"/>
              <a:gd name="connsiteX8" fmla="*/ 390906 w 6119717"/>
              <a:gd name="connsiteY8" fmla="*/ 95440 h 1868996"/>
              <a:gd name="connsiteX9" fmla="*/ 390906 w 6119717"/>
              <a:gd name="connsiteY9" fmla="*/ 69437 h 1868996"/>
              <a:gd name="connsiteX10" fmla="*/ 390906 w 6119717"/>
              <a:gd name="connsiteY10" fmla="*/ 95440 h 1868996"/>
              <a:gd name="connsiteX11" fmla="*/ 457391 w 6119717"/>
              <a:gd name="connsiteY11" fmla="*/ 95440 h 1868996"/>
              <a:gd name="connsiteX12" fmla="*/ 457391 w 6119717"/>
              <a:gd name="connsiteY12" fmla="*/ 109918 h 1868996"/>
              <a:gd name="connsiteX13" fmla="*/ 558641 w 6119717"/>
              <a:gd name="connsiteY13" fmla="*/ 109918 h 1868996"/>
              <a:gd name="connsiteX14" fmla="*/ 558641 w 6119717"/>
              <a:gd name="connsiteY14" fmla="*/ 133064 h 1868996"/>
              <a:gd name="connsiteX15" fmla="*/ 839152 w 6119717"/>
              <a:gd name="connsiteY15" fmla="*/ 133064 h 1868996"/>
              <a:gd name="connsiteX16" fmla="*/ 839152 w 6119717"/>
              <a:gd name="connsiteY16" fmla="*/ 156210 h 1868996"/>
              <a:gd name="connsiteX17" fmla="*/ 986600 w 6119717"/>
              <a:gd name="connsiteY17" fmla="*/ 156210 h 1868996"/>
              <a:gd name="connsiteX18" fmla="*/ 986600 w 6119717"/>
              <a:gd name="connsiteY18" fmla="*/ 199549 h 1868996"/>
              <a:gd name="connsiteX19" fmla="*/ 1165860 w 6119717"/>
              <a:gd name="connsiteY19" fmla="*/ 199549 h 1868996"/>
              <a:gd name="connsiteX20" fmla="*/ 1165860 w 6119717"/>
              <a:gd name="connsiteY20" fmla="*/ 214027 h 1868996"/>
              <a:gd name="connsiteX21" fmla="*/ 1249680 w 6119717"/>
              <a:gd name="connsiteY21" fmla="*/ 214027 h 1868996"/>
              <a:gd name="connsiteX22" fmla="*/ 1249680 w 6119717"/>
              <a:gd name="connsiteY22" fmla="*/ 228505 h 1868996"/>
              <a:gd name="connsiteX23" fmla="*/ 1365314 w 6119717"/>
              <a:gd name="connsiteY23" fmla="*/ 228505 h 1868996"/>
              <a:gd name="connsiteX24" fmla="*/ 1365314 w 6119717"/>
              <a:gd name="connsiteY24" fmla="*/ 257461 h 1868996"/>
              <a:gd name="connsiteX25" fmla="*/ 1428941 w 6119717"/>
              <a:gd name="connsiteY25" fmla="*/ 257461 h 1868996"/>
              <a:gd name="connsiteX26" fmla="*/ 1428941 w 6119717"/>
              <a:gd name="connsiteY26" fmla="*/ 283464 h 1868996"/>
              <a:gd name="connsiteX27" fmla="*/ 1515713 w 6119717"/>
              <a:gd name="connsiteY27" fmla="*/ 283464 h 1868996"/>
              <a:gd name="connsiteX28" fmla="*/ 1515713 w 6119717"/>
              <a:gd name="connsiteY28" fmla="*/ 309467 h 1868996"/>
              <a:gd name="connsiteX29" fmla="*/ 1556195 w 6119717"/>
              <a:gd name="connsiteY29" fmla="*/ 309467 h 1868996"/>
              <a:gd name="connsiteX30" fmla="*/ 1556195 w 6119717"/>
              <a:gd name="connsiteY30" fmla="*/ 338423 h 1868996"/>
              <a:gd name="connsiteX31" fmla="*/ 1590866 w 6119717"/>
              <a:gd name="connsiteY31" fmla="*/ 338423 h 1868996"/>
              <a:gd name="connsiteX32" fmla="*/ 1590866 w 6119717"/>
              <a:gd name="connsiteY32" fmla="*/ 370237 h 1868996"/>
              <a:gd name="connsiteX33" fmla="*/ 1668971 w 6119717"/>
              <a:gd name="connsiteY33" fmla="*/ 370237 h 1868996"/>
              <a:gd name="connsiteX34" fmla="*/ 1668971 w 6119717"/>
              <a:gd name="connsiteY34" fmla="*/ 387572 h 1868996"/>
              <a:gd name="connsiteX35" fmla="*/ 1799082 w 6119717"/>
              <a:gd name="connsiteY35" fmla="*/ 387572 h 1868996"/>
              <a:gd name="connsiteX36" fmla="*/ 1799082 w 6119717"/>
              <a:gd name="connsiteY36" fmla="*/ 410718 h 1868996"/>
              <a:gd name="connsiteX37" fmla="*/ 1828038 w 6119717"/>
              <a:gd name="connsiteY37" fmla="*/ 410718 h 1868996"/>
              <a:gd name="connsiteX38" fmla="*/ 1828038 w 6119717"/>
              <a:gd name="connsiteY38" fmla="*/ 431006 h 1868996"/>
              <a:gd name="connsiteX39" fmla="*/ 1854041 w 6119717"/>
              <a:gd name="connsiteY39" fmla="*/ 431006 h 1868996"/>
              <a:gd name="connsiteX40" fmla="*/ 1854041 w 6119717"/>
              <a:gd name="connsiteY40" fmla="*/ 445484 h 1868996"/>
              <a:gd name="connsiteX41" fmla="*/ 1929194 w 6119717"/>
              <a:gd name="connsiteY41" fmla="*/ 445484 h 1868996"/>
              <a:gd name="connsiteX42" fmla="*/ 1929194 w 6119717"/>
              <a:gd name="connsiteY42" fmla="*/ 462820 h 1868996"/>
              <a:gd name="connsiteX43" fmla="*/ 2128742 w 6119717"/>
              <a:gd name="connsiteY43" fmla="*/ 462820 h 1868996"/>
              <a:gd name="connsiteX44" fmla="*/ 2128742 w 6119717"/>
              <a:gd name="connsiteY44" fmla="*/ 497491 h 1868996"/>
              <a:gd name="connsiteX45" fmla="*/ 2160556 w 6119717"/>
              <a:gd name="connsiteY45" fmla="*/ 497491 h 1868996"/>
              <a:gd name="connsiteX46" fmla="*/ 2167745 w 6119717"/>
              <a:gd name="connsiteY46" fmla="*/ 500526 h 1868996"/>
              <a:gd name="connsiteX47" fmla="*/ 2241518 w 6119717"/>
              <a:gd name="connsiteY47" fmla="*/ 514826 h 1868996"/>
              <a:gd name="connsiteX48" fmla="*/ 2248706 w 6119717"/>
              <a:gd name="connsiteY48" fmla="*/ 510713 h 1868996"/>
              <a:gd name="connsiteX49" fmla="*/ 2325338 w 6119717"/>
              <a:gd name="connsiteY49" fmla="*/ 532162 h 1868996"/>
              <a:gd name="connsiteX50" fmla="*/ 2325338 w 6119717"/>
              <a:gd name="connsiteY50" fmla="*/ 552450 h 1868996"/>
              <a:gd name="connsiteX51" fmla="*/ 2362962 w 6119717"/>
              <a:gd name="connsiteY51" fmla="*/ 552450 h 1868996"/>
              <a:gd name="connsiteX52" fmla="*/ 2362962 w 6119717"/>
              <a:gd name="connsiteY52" fmla="*/ 566928 h 1868996"/>
              <a:gd name="connsiteX53" fmla="*/ 2441067 w 6119717"/>
              <a:gd name="connsiteY53" fmla="*/ 566928 h 1868996"/>
              <a:gd name="connsiteX54" fmla="*/ 2441067 w 6119717"/>
              <a:gd name="connsiteY54" fmla="*/ 587216 h 1868996"/>
              <a:gd name="connsiteX55" fmla="*/ 2478691 w 6119717"/>
              <a:gd name="connsiteY55" fmla="*/ 587216 h 1868996"/>
              <a:gd name="connsiteX56" fmla="*/ 2500258 w 6119717"/>
              <a:gd name="connsiteY56" fmla="*/ 603212 h 1868996"/>
              <a:gd name="connsiteX57" fmla="*/ 2559653 w 6119717"/>
              <a:gd name="connsiteY57" fmla="*/ 610362 h 1868996"/>
              <a:gd name="connsiteX58" fmla="*/ 2559653 w 6119717"/>
              <a:gd name="connsiteY58" fmla="*/ 662464 h 1868996"/>
              <a:gd name="connsiteX59" fmla="*/ 2579941 w 6119717"/>
              <a:gd name="connsiteY59" fmla="*/ 662464 h 1868996"/>
              <a:gd name="connsiteX60" fmla="*/ 2579941 w 6119717"/>
              <a:gd name="connsiteY60" fmla="*/ 676942 h 1868996"/>
              <a:gd name="connsiteX61" fmla="*/ 2724531 w 6119717"/>
              <a:gd name="connsiteY61" fmla="*/ 676942 h 1868996"/>
              <a:gd name="connsiteX62" fmla="*/ 2724531 w 6119717"/>
              <a:gd name="connsiteY62" fmla="*/ 717423 h 1868996"/>
              <a:gd name="connsiteX63" fmla="*/ 2753487 w 6119717"/>
              <a:gd name="connsiteY63" fmla="*/ 717423 h 1868996"/>
              <a:gd name="connsiteX64" fmla="*/ 2753487 w 6119717"/>
              <a:gd name="connsiteY64" fmla="*/ 731901 h 1868996"/>
              <a:gd name="connsiteX65" fmla="*/ 2854738 w 6119717"/>
              <a:gd name="connsiteY65" fmla="*/ 731901 h 1868996"/>
              <a:gd name="connsiteX66" fmla="*/ 2854738 w 6119717"/>
              <a:gd name="connsiteY66" fmla="*/ 757904 h 1868996"/>
              <a:gd name="connsiteX67" fmla="*/ 2878741 w 6119717"/>
              <a:gd name="connsiteY67" fmla="*/ 757904 h 1868996"/>
              <a:gd name="connsiteX68" fmla="*/ 2878741 w 6119717"/>
              <a:gd name="connsiteY68" fmla="*/ 778193 h 1868996"/>
              <a:gd name="connsiteX69" fmla="*/ 3080385 w 6119717"/>
              <a:gd name="connsiteY69" fmla="*/ 778193 h 1868996"/>
              <a:gd name="connsiteX70" fmla="*/ 3080385 w 6119717"/>
              <a:gd name="connsiteY70" fmla="*/ 812863 h 1868996"/>
              <a:gd name="connsiteX71" fmla="*/ 3103531 w 6119717"/>
              <a:gd name="connsiteY71" fmla="*/ 812863 h 1868996"/>
              <a:gd name="connsiteX72" fmla="*/ 3114314 w 6119717"/>
              <a:gd name="connsiteY72" fmla="*/ 836187 h 1868996"/>
              <a:gd name="connsiteX73" fmla="*/ 3193161 w 6119717"/>
              <a:gd name="connsiteY73" fmla="*/ 850487 h 1868996"/>
              <a:gd name="connsiteX74" fmla="*/ 3193161 w 6119717"/>
              <a:gd name="connsiteY74" fmla="*/ 882301 h 1868996"/>
              <a:gd name="connsiteX75" fmla="*/ 3222117 w 6119717"/>
              <a:gd name="connsiteY75" fmla="*/ 882301 h 1868996"/>
              <a:gd name="connsiteX76" fmla="*/ 3222117 w 6119717"/>
              <a:gd name="connsiteY76" fmla="*/ 899636 h 1868996"/>
              <a:gd name="connsiteX77" fmla="*/ 3360896 w 6119717"/>
              <a:gd name="connsiteY77" fmla="*/ 899636 h 1868996"/>
              <a:gd name="connsiteX78" fmla="*/ 3360896 w 6119717"/>
              <a:gd name="connsiteY78" fmla="*/ 931450 h 1868996"/>
              <a:gd name="connsiteX79" fmla="*/ 3418713 w 6119717"/>
              <a:gd name="connsiteY79" fmla="*/ 931450 h 1868996"/>
              <a:gd name="connsiteX80" fmla="*/ 3418713 w 6119717"/>
              <a:gd name="connsiteY80" fmla="*/ 954596 h 1868996"/>
              <a:gd name="connsiteX81" fmla="*/ 3499675 w 6119717"/>
              <a:gd name="connsiteY81" fmla="*/ 954596 h 1868996"/>
              <a:gd name="connsiteX82" fmla="*/ 3506587 w 6119717"/>
              <a:gd name="connsiteY82" fmla="*/ 961136 h 1868996"/>
              <a:gd name="connsiteX83" fmla="*/ 3548824 w 6119717"/>
              <a:gd name="connsiteY83" fmla="*/ 974884 h 1868996"/>
              <a:gd name="connsiteX84" fmla="*/ 3548824 w 6119717"/>
              <a:gd name="connsiteY84" fmla="*/ 1006697 h 1868996"/>
              <a:gd name="connsiteX85" fmla="*/ 3586448 w 6119717"/>
              <a:gd name="connsiteY85" fmla="*/ 1006697 h 1868996"/>
              <a:gd name="connsiteX86" fmla="*/ 3608016 w 6119717"/>
              <a:gd name="connsiteY86" fmla="*/ 1014826 h 1868996"/>
              <a:gd name="connsiteX87" fmla="*/ 3699224 w 6119717"/>
              <a:gd name="connsiteY87" fmla="*/ 1032701 h 1868996"/>
              <a:gd name="connsiteX88" fmla="*/ 3699224 w 6119717"/>
              <a:gd name="connsiteY88" fmla="*/ 1050036 h 1868996"/>
              <a:gd name="connsiteX89" fmla="*/ 3716560 w 6119717"/>
              <a:gd name="connsiteY89" fmla="*/ 1050036 h 1868996"/>
              <a:gd name="connsiteX90" fmla="*/ 3748912 w 6119717"/>
              <a:gd name="connsiteY90" fmla="*/ 1066749 h 1868996"/>
              <a:gd name="connsiteX91" fmla="*/ 3806190 w 6119717"/>
              <a:gd name="connsiteY91" fmla="*/ 1070324 h 1868996"/>
              <a:gd name="connsiteX92" fmla="*/ 3823468 w 6119717"/>
              <a:gd name="connsiteY92" fmla="*/ 1082580 h 1868996"/>
              <a:gd name="connsiteX93" fmla="*/ 3849529 w 6119717"/>
              <a:gd name="connsiteY93" fmla="*/ 1096328 h 1868996"/>
              <a:gd name="connsiteX94" fmla="*/ 3881881 w 6119717"/>
              <a:gd name="connsiteY94" fmla="*/ 1107650 h 1868996"/>
              <a:gd name="connsiteX95" fmla="*/ 3933444 w 6119717"/>
              <a:gd name="connsiteY95" fmla="*/ 1121950 h 1868996"/>
              <a:gd name="connsiteX96" fmla="*/ 3933444 w 6119717"/>
              <a:gd name="connsiteY96" fmla="*/ 1150334 h 1868996"/>
              <a:gd name="connsiteX97" fmla="*/ 3961066 w 6119717"/>
              <a:gd name="connsiteY97" fmla="*/ 1150334 h 1868996"/>
              <a:gd name="connsiteX98" fmla="*/ 3993417 w 6119717"/>
              <a:gd name="connsiteY98" fmla="*/ 1172952 h 1868996"/>
              <a:gd name="connsiteX99" fmla="*/ 4079748 w 6119717"/>
              <a:gd name="connsiteY99" fmla="*/ 1176528 h 1868996"/>
              <a:gd name="connsiteX100" fmla="*/ 4079748 w 6119717"/>
              <a:gd name="connsiteY100" fmla="*/ 1191101 h 1868996"/>
              <a:gd name="connsiteX101" fmla="*/ 4111085 w 6119717"/>
              <a:gd name="connsiteY101" fmla="*/ 1191101 h 1868996"/>
              <a:gd name="connsiteX102" fmla="*/ 4111085 w 6119717"/>
              <a:gd name="connsiteY102" fmla="*/ 1205675 h 1868996"/>
              <a:gd name="connsiteX103" fmla="*/ 4132898 w 6119717"/>
              <a:gd name="connsiteY103" fmla="*/ 1205675 h 1868996"/>
              <a:gd name="connsiteX104" fmla="*/ 4132898 w 6119717"/>
              <a:gd name="connsiteY104" fmla="*/ 1215866 h 1868996"/>
              <a:gd name="connsiteX105" fmla="*/ 4160520 w 6119717"/>
              <a:gd name="connsiteY105" fmla="*/ 1215866 h 1868996"/>
              <a:gd name="connsiteX106" fmla="*/ 4181255 w 6119717"/>
              <a:gd name="connsiteY106" fmla="*/ 1222383 h 1868996"/>
              <a:gd name="connsiteX107" fmla="*/ 4196906 w 6119717"/>
              <a:gd name="connsiteY107" fmla="*/ 1246442 h 1868996"/>
              <a:gd name="connsiteX108" fmla="*/ 4196906 w 6119717"/>
              <a:gd name="connsiteY108" fmla="*/ 1254443 h 1868996"/>
              <a:gd name="connsiteX109" fmla="*/ 4226052 w 6119717"/>
              <a:gd name="connsiteY109" fmla="*/ 1254443 h 1868996"/>
              <a:gd name="connsiteX110" fmla="*/ 4226052 w 6119717"/>
              <a:gd name="connsiteY110" fmla="*/ 1275588 h 1868996"/>
              <a:gd name="connsiteX111" fmla="*/ 4286441 w 6119717"/>
              <a:gd name="connsiteY111" fmla="*/ 1275588 h 1868996"/>
              <a:gd name="connsiteX112" fmla="*/ 4303720 w 6119717"/>
              <a:gd name="connsiteY112" fmla="*/ 1260960 h 1868996"/>
              <a:gd name="connsiteX113" fmla="*/ 4371594 w 6119717"/>
              <a:gd name="connsiteY113" fmla="*/ 1285018 h 1868996"/>
              <a:gd name="connsiteX114" fmla="*/ 4385418 w 6119717"/>
              <a:gd name="connsiteY114" fmla="*/ 1290709 h 1868996"/>
              <a:gd name="connsiteX115" fmla="*/ 4433507 w 6119717"/>
              <a:gd name="connsiteY115" fmla="*/ 1301020 h 1868996"/>
              <a:gd name="connsiteX116" fmla="*/ 4433507 w 6119717"/>
              <a:gd name="connsiteY116" fmla="*/ 1325785 h 1868996"/>
              <a:gd name="connsiteX117" fmla="*/ 4503420 w 6119717"/>
              <a:gd name="connsiteY117" fmla="*/ 1325785 h 1868996"/>
              <a:gd name="connsiteX118" fmla="*/ 4557338 w 6119717"/>
              <a:gd name="connsiteY118" fmla="*/ 1326864 h 1868996"/>
              <a:gd name="connsiteX119" fmla="*/ 4585716 w 6119717"/>
              <a:gd name="connsiteY119" fmla="*/ 1344739 h 1868996"/>
              <a:gd name="connsiteX120" fmla="*/ 4589311 w 6119717"/>
              <a:gd name="connsiteY120" fmla="*/ 1340631 h 1868996"/>
              <a:gd name="connsiteX121" fmla="*/ 4684234 w 6119717"/>
              <a:gd name="connsiteY121" fmla="*/ 1333481 h 1868996"/>
              <a:gd name="connsiteX122" fmla="*/ 4738153 w 6119717"/>
              <a:gd name="connsiteY122" fmla="*/ 1357395 h 1868996"/>
              <a:gd name="connsiteX123" fmla="*/ 4739355 w 6119717"/>
              <a:gd name="connsiteY123" fmla="*/ 1371695 h 1868996"/>
              <a:gd name="connsiteX124" fmla="*/ 4739355 w 6119717"/>
              <a:gd name="connsiteY124" fmla="*/ 1388459 h 1868996"/>
              <a:gd name="connsiteX125" fmla="*/ 4763358 w 6119717"/>
              <a:gd name="connsiteY125" fmla="*/ 1388459 h 1868996"/>
              <a:gd name="connsiteX126" fmla="*/ 4763358 w 6119717"/>
              <a:gd name="connsiteY126" fmla="*/ 1398651 h 1868996"/>
              <a:gd name="connsiteX127" fmla="*/ 4809268 w 6119717"/>
              <a:gd name="connsiteY127" fmla="*/ 1398651 h 1868996"/>
              <a:gd name="connsiteX128" fmla="*/ 4809268 w 6119717"/>
              <a:gd name="connsiteY128" fmla="*/ 1409605 h 1868996"/>
              <a:gd name="connsiteX129" fmla="*/ 4833271 w 6119717"/>
              <a:gd name="connsiteY129" fmla="*/ 1409605 h 1868996"/>
              <a:gd name="connsiteX130" fmla="*/ 4833271 w 6119717"/>
              <a:gd name="connsiteY130" fmla="*/ 1435132 h 1868996"/>
              <a:gd name="connsiteX131" fmla="*/ 4927949 w 6119717"/>
              <a:gd name="connsiteY131" fmla="*/ 1435132 h 1868996"/>
              <a:gd name="connsiteX132" fmla="*/ 4927949 w 6119717"/>
              <a:gd name="connsiteY132" fmla="*/ 1453325 h 1868996"/>
              <a:gd name="connsiteX133" fmla="*/ 5056061 w 6119717"/>
              <a:gd name="connsiteY133" fmla="*/ 1453325 h 1868996"/>
              <a:gd name="connsiteX134" fmla="*/ 5056061 w 6119717"/>
              <a:gd name="connsiteY134" fmla="*/ 1469327 h 1868996"/>
              <a:gd name="connsiteX135" fmla="*/ 5115783 w 6119717"/>
              <a:gd name="connsiteY135" fmla="*/ 1469327 h 1868996"/>
              <a:gd name="connsiteX136" fmla="*/ 5115783 w 6119717"/>
              <a:gd name="connsiteY136" fmla="*/ 1486091 h 1868996"/>
              <a:gd name="connsiteX137" fmla="*/ 5182743 w 6119717"/>
              <a:gd name="connsiteY137" fmla="*/ 1486091 h 1868996"/>
              <a:gd name="connsiteX138" fmla="*/ 5182743 w 6119717"/>
              <a:gd name="connsiteY138" fmla="*/ 1513046 h 1868996"/>
              <a:gd name="connsiteX139" fmla="*/ 5206746 w 6119717"/>
              <a:gd name="connsiteY139" fmla="*/ 1513046 h 1868996"/>
              <a:gd name="connsiteX140" fmla="*/ 5206746 w 6119717"/>
              <a:gd name="connsiteY140" fmla="*/ 1530477 h 1868996"/>
              <a:gd name="connsiteX141" fmla="*/ 6119717 w 6119717"/>
              <a:gd name="connsiteY141" fmla="*/ 1530477 h 1868996"/>
              <a:gd name="connsiteX142" fmla="*/ 6119717 w 6119717"/>
              <a:gd name="connsiteY142" fmla="*/ 1868996 h 1868996"/>
              <a:gd name="connsiteX143" fmla="*/ 5758625 w 6119717"/>
              <a:gd name="connsiteY143" fmla="*/ 1868996 h 1868996"/>
              <a:gd name="connsiteX144" fmla="*/ 5758625 w 6119717"/>
              <a:gd name="connsiteY144" fmla="*/ 1802035 h 1868996"/>
              <a:gd name="connsiteX145" fmla="*/ 5391722 w 6119717"/>
              <a:gd name="connsiteY145" fmla="*/ 1802035 h 1868996"/>
              <a:gd name="connsiteX146" fmla="*/ 5391722 w 6119717"/>
              <a:gd name="connsiteY146" fmla="*/ 1779460 h 1868996"/>
              <a:gd name="connsiteX147" fmla="*/ 5249799 w 6119717"/>
              <a:gd name="connsiteY147" fmla="*/ 1779460 h 1868996"/>
              <a:gd name="connsiteX148" fmla="*/ 5249799 w 6119717"/>
              <a:gd name="connsiteY148" fmla="*/ 1761268 h 1868996"/>
              <a:gd name="connsiteX149" fmla="*/ 5198840 w 6119717"/>
              <a:gd name="connsiteY149" fmla="*/ 1761268 h 1868996"/>
              <a:gd name="connsiteX150" fmla="*/ 5198840 w 6119717"/>
              <a:gd name="connsiteY150" fmla="*/ 1738693 h 1868996"/>
              <a:gd name="connsiteX151" fmla="*/ 5097685 w 6119717"/>
              <a:gd name="connsiteY151" fmla="*/ 1738693 h 1868996"/>
              <a:gd name="connsiteX152" fmla="*/ 5097685 w 6119717"/>
              <a:gd name="connsiteY152" fmla="*/ 1719072 h 1868996"/>
              <a:gd name="connsiteX153" fmla="*/ 5044535 w 6119717"/>
              <a:gd name="connsiteY153" fmla="*/ 1719072 h 1868996"/>
              <a:gd name="connsiteX154" fmla="*/ 5044535 w 6119717"/>
              <a:gd name="connsiteY154" fmla="*/ 1676876 h 1868996"/>
              <a:gd name="connsiteX155" fmla="*/ 4878515 w 6119717"/>
              <a:gd name="connsiteY155" fmla="*/ 1676876 h 1868996"/>
              <a:gd name="connsiteX156" fmla="*/ 4878515 w 6119717"/>
              <a:gd name="connsiteY156" fmla="*/ 1637538 h 1868996"/>
              <a:gd name="connsiteX157" fmla="*/ 4762786 w 6119717"/>
              <a:gd name="connsiteY157" fmla="*/ 1637538 h 1868996"/>
              <a:gd name="connsiteX158" fmla="*/ 4762786 w 6119717"/>
              <a:gd name="connsiteY158" fmla="*/ 1629537 h 1868996"/>
              <a:gd name="connsiteX159" fmla="*/ 4697254 w 6119717"/>
              <a:gd name="connsiteY159" fmla="*/ 1629537 h 1868996"/>
              <a:gd name="connsiteX160" fmla="*/ 4697254 w 6119717"/>
              <a:gd name="connsiteY160" fmla="*/ 1614964 h 1868996"/>
              <a:gd name="connsiteX161" fmla="*/ 4654296 w 6119717"/>
              <a:gd name="connsiteY161" fmla="*/ 1614964 h 1868996"/>
              <a:gd name="connsiteX162" fmla="*/ 4654296 w 6119717"/>
              <a:gd name="connsiteY162" fmla="*/ 1606201 h 1868996"/>
              <a:gd name="connsiteX163" fmla="*/ 4502849 w 6119717"/>
              <a:gd name="connsiteY163" fmla="*/ 1606201 h 1868996"/>
              <a:gd name="connsiteX164" fmla="*/ 4502849 w 6119717"/>
              <a:gd name="connsiteY164" fmla="*/ 1581436 h 1868996"/>
              <a:gd name="connsiteX165" fmla="*/ 4459891 w 6119717"/>
              <a:gd name="connsiteY165" fmla="*/ 1581436 h 1868996"/>
              <a:gd name="connsiteX166" fmla="*/ 4459891 w 6119717"/>
              <a:gd name="connsiteY166" fmla="*/ 1565434 h 1868996"/>
              <a:gd name="connsiteX167" fmla="*/ 4391501 w 6119717"/>
              <a:gd name="connsiteY167" fmla="*/ 1565434 h 1868996"/>
              <a:gd name="connsiteX168" fmla="*/ 4391501 w 6119717"/>
              <a:gd name="connsiteY168" fmla="*/ 1548670 h 1868996"/>
              <a:gd name="connsiteX169" fmla="*/ 4328160 w 6119717"/>
              <a:gd name="connsiteY169" fmla="*/ 1548670 h 1868996"/>
              <a:gd name="connsiteX170" fmla="*/ 4328160 w 6119717"/>
              <a:gd name="connsiteY170" fmla="*/ 1527524 h 1868996"/>
              <a:gd name="connsiteX171" fmla="*/ 4212431 w 6119717"/>
              <a:gd name="connsiteY171" fmla="*/ 1527524 h 1868996"/>
              <a:gd name="connsiteX172" fmla="*/ 4212431 w 6119717"/>
              <a:gd name="connsiteY172" fmla="*/ 1494758 h 1868996"/>
              <a:gd name="connsiteX173" fmla="*/ 4189095 w 6119717"/>
              <a:gd name="connsiteY173" fmla="*/ 1494758 h 1868996"/>
              <a:gd name="connsiteX174" fmla="*/ 4189095 w 6119717"/>
              <a:gd name="connsiteY174" fmla="*/ 1476566 h 1868996"/>
              <a:gd name="connsiteX175" fmla="*/ 4175284 w 6119717"/>
              <a:gd name="connsiteY175" fmla="*/ 1476566 h 1868996"/>
              <a:gd name="connsiteX176" fmla="*/ 4175284 w 6119717"/>
              <a:gd name="connsiteY176" fmla="*/ 1464945 h 1868996"/>
              <a:gd name="connsiteX177" fmla="*/ 4127945 w 6119717"/>
              <a:gd name="connsiteY177" fmla="*/ 1464945 h 1868996"/>
              <a:gd name="connsiteX178" fmla="*/ 4127945 w 6119717"/>
              <a:gd name="connsiteY178" fmla="*/ 1451134 h 1868996"/>
              <a:gd name="connsiteX179" fmla="*/ 4049363 w 6119717"/>
              <a:gd name="connsiteY179" fmla="*/ 1451134 h 1868996"/>
              <a:gd name="connsiteX180" fmla="*/ 4049363 w 6119717"/>
              <a:gd name="connsiteY180" fmla="*/ 1442371 h 1868996"/>
              <a:gd name="connsiteX181" fmla="*/ 4020979 w 6119717"/>
              <a:gd name="connsiteY181" fmla="*/ 1442371 h 1868996"/>
              <a:gd name="connsiteX182" fmla="*/ 4020979 w 6119717"/>
              <a:gd name="connsiteY182" fmla="*/ 1428560 h 1868996"/>
              <a:gd name="connsiteX183" fmla="*/ 3900869 w 6119717"/>
              <a:gd name="connsiteY183" fmla="*/ 1428560 h 1868996"/>
              <a:gd name="connsiteX184" fmla="*/ 3900869 w 6119717"/>
              <a:gd name="connsiteY184" fmla="*/ 1411796 h 1868996"/>
              <a:gd name="connsiteX185" fmla="*/ 3869531 w 6119717"/>
              <a:gd name="connsiteY185" fmla="*/ 1411796 h 1868996"/>
              <a:gd name="connsiteX186" fmla="*/ 3862292 w 6119717"/>
              <a:gd name="connsiteY186" fmla="*/ 1404557 h 1868996"/>
              <a:gd name="connsiteX187" fmla="*/ 3819335 w 6119717"/>
              <a:gd name="connsiteY187" fmla="*/ 1404557 h 1868996"/>
              <a:gd name="connsiteX188" fmla="*/ 3819335 w 6119717"/>
              <a:gd name="connsiteY188" fmla="*/ 1391412 h 1868996"/>
              <a:gd name="connsiteX189" fmla="*/ 3800380 w 6119717"/>
              <a:gd name="connsiteY189" fmla="*/ 1391412 h 1868996"/>
              <a:gd name="connsiteX190" fmla="*/ 3800380 w 6119717"/>
              <a:gd name="connsiteY190" fmla="*/ 1379792 h 1868996"/>
              <a:gd name="connsiteX191" fmla="*/ 3702082 w 6119717"/>
              <a:gd name="connsiteY191" fmla="*/ 1379792 h 1868996"/>
              <a:gd name="connsiteX192" fmla="*/ 3702082 w 6119717"/>
              <a:gd name="connsiteY192" fmla="*/ 1367409 h 1868996"/>
              <a:gd name="connsiteX193" fmla="*/ 3683127 w 6119717"/>
              <a:gd name="connsiteY193" fmla="*/ 1367409 h 1868996"/>
              <a:gd name="connsiteX194" fmla="*/ 3683127 w 6119717"/>
              <a:gd name="connsiteY194" fmla="*/ 1359408 h 1868996"/>
              <a:gd name="connsiteX195" fmla="*/ 3616833 w 6119717"/>
              <a:gd name="connsiteY195" fmla="*/ 1359408 h 1868996"/>
              <a:gd name="connsiteX196" fmla="*/ 3616833 w 6119717"/>
              <a:gd name="connsiteY196" fmla="*/ 1345597 h 1868996"/>
              <a:gd name="connsiteX197" fmla="*/ 3608070 w 6119717"/>
              <a:gd name="connsiteY197" fmla="*/ 1345597 h 1868996"/>
              <a:gd name="connsiteX198" fmla="*/ 3608070 w 6119717"/>
              <a:gd name="connsiteY198" fmla="*/ 1319403 h 1868996"/>
              <a:gd name="connsiteX199" fmla="*/ 3569494 w 6119717"/>
              <a:gd name="connsiteY199" fmla="*/ 1319403 h 1868996"/>
              <a:gd name="connsiteX200" fmla="*/ 3569494 w 6119717"/>
              <a:gd name="connsiteY200" fmla="*/ 1310640 h 1868996"/>
              <a:gd name="connsiteX201" fmla="*/ 3549872 w 6119717"/>
              <a:gd name="connsiteY201" fmla="*/ 1310640 h 1868996"/>
              <a:gd name="connsiteX202" fmla="*/ 3549872 w 6119717"/>
              <a:gd name="connsiteY202" fmla="*/ 1296067 h 1868996"/>
              <a:gd name="connsiteX203" fmla="*/ 3510534 w 6119717"/>
              <a:gd name="connsiteY203" fmla="*/ 1296067 h 1868996"/>
              <a:gd name="connsiteX204" fmla="*/ 3510534 w 6119717"/>
              <a:gd name="connsiteY204" fmla="*/ 1274255 h 1868996"/>
              <a:gd name="connsiteX205" fmla="*/ 3485769 w 6119717"/>
              <a:gd name="connsiteY205" fmla="*/ 1274255 h 1868996"/>
              <a:gd name="connsiteX206" fmla="*/ 3485769 w 6119717"/>
              <a:gd name="connsiteY206" fmla="*/ 1257491 h 1868996"/>
              <a:gd name="connsiteX207" fmla="*/ 3464624 w 6119717"/>
              <a:gd name="connsiteY207" fmla="*/ 1257491 h 1868996"/>
              <a:gd name="connsiteX208" fmla="*/ 3464624 w 6119717"/>
              <a:gd name="connsiteY208" fmla="*/ 1248061 h 1868996"/>
              <a:gd name="connsiteX209" fmla="*/ 3447860 w 6119717"/>
              <a:gd name="connsiteY209" fmla="*/ 1248061 h 1868996"/>
              <a:gd name="connsiteX210" fmla="*/ 3447860 w 6119717"/>
              <a:gd name="connsiteY210" fmla="*/ 1228439 h 1868996"/>
              <a:gd name="connsiteX211" fmla="*/ 3412141 w 6119717"/>
              <a:gd name="connsiteY211" fmla="*/ 1228439 h 1868996"/>
              <a:gd name="connsiteX212" fmla="*/ 3412141 w 6119717"/>
              <a:gd name="connsiteY212" fmla="*/ 1213866 h 1868996"/>
              <a:gd name="connsiteX213" fmla="*/ 3354610 w 6119717"/>
              <a:gd name="connsiteY213" fmla="*/ 1213866 h 1868996"/>
              <a:gd name="connsiteX214" fmla="*/ 3354610 w 6119717"/>
              <a:gd name="connsiteY214" fmla="*/ 1205865 h 1868996"/>
              <a:gd name="connsiteX215" fmla="*/ 3294888 w 6119717"/>
              <a:gd name="connsiteY215" fmla="*/ 1205865 h 1868996"/>
              <a:gd name="connsiteX216" fmla="*/ 3294888 w 6119717"/>
              <a:gd name="connsiteY216" fmla="*/ 1187672 h 1868996"/>
              <a:gd name="connsiteX217" fmla="*/ 3276695 w 6119717"/>
              <a:gd name="connsiteY217" fmla="*/ 1187672 h 1868996"/>
              <a:gd name="connsiteX218" fmla="*/ 3276695 w 6119717"/>
              <a:gd name="connsiteY218" fmla="*/ 1151954 h 1868996"/>
              <a:gd name="connsiteX219" fmla="*/ 3254121 w 6119717"/>
              <a:gd name="connsiteY219" fmla="*/ 1151954 h 1868996"/>
              <a:gd name="connsiteX220" fmla="*/ 3254121 w 6119717"/>
              <a:gd name="connsiteY220" fmla="*/ 1113377 h 1868996"/>
              <a:gd name="connsiteX221" fmla="*/ 3176969 w 6119717"/>
              <a:gd name="connsiteY221" fmla="*/ 1113377 h 1868996"/>
              <a:gd name="connsiteX222" fmla="*/ 3176969 w 6119717"/>
              <a:gd name="connsiteY222" fmla="*/ 1098804 h 1868996"/>
              <a:gd name="connsiteX223" fmla="*/ 3131058 w 6119717"/>
              <a:gd name="connsiteY223" fmla="*/ 1098804 h 1868996"/>
              <a:gd name="connsiteX224" fmla="*/ 3131058 w 6119717"/>
              <a:gd name="connsiteY224" fmla="*/ 1088612 h 1868996"/>
              <a:gd name="connsiteX225" fmla="*/ 3044381 w 6119717"/>
              <a:gd name="connsiteY225" fmla="*/ 1088612 h 1868996"/>
              <a:gd name="connsiteX226" fmla="*/ 3044381 w 6119717"/>
              <a:gd name="connsiteY226" fmla="*/ 1076992 h 1868996"/>
              <a:gd name="connsiteX227" fmla="*/ 3027616 w 6119717"/>
              <a:gd name="connsiteY227" fmla="*/ 1076992 h 1868996"/>
              <a:gd name="connsiteX228" fmla="*/ 3027616 w 6119717"/>
              <a:gd name="connsiteY228" fmla="*/ 1067562 h 1868996"/>
              <a:gd name="connsiteX229" fmla="*/ 3006471 w 6119717"/>
              <a:gd name="connsiteY229" fmla="*/ 1067562 h 1868996"/>
              <a:gd name="connsiteX230" fmla="*/ 3006471 w 6119717"/>
              <a:gd name="connsiteY230" fmla="*/ 1055180 h 1868996"/>
              <a:gd name="connsiteX231" fmla="*/ 3001328 w 6119717"/>
              <a:gd name="connsiteY231" fmla="*/ 1055180 h 1868996"/>
              <a:gd name="connsiteX232" fmla="*/ 3001328 w 6119717"/>
              <a:gd name="connsiteY232" fmla="*/ 1043559 h 1868996"/>
              <a:gd name="connsiteX233" fmla="*/ 2982373 w 6119717"/>
              <a:gd name="connsiteY233" fmla="*/ 1043559 h 1868996"/>
              <a:gd name="connsiteX234" fmla="*/ 2982373 w 6119717"/>
              <a:gd name="connsiteY234" fmla="*/ 1028986 h 1868996"/>
              <a:gd name="connsiteX235" fmla="*/ 2906649 w 6119717"/>
              <a:gd name="connsiteY235" fmla="*/ 1028986 h 1868996"/>
              <a:gd name="connsiteX236" fmla="*/ 2906649 w 6119717"/>
              <a:gd name="connsiteY236" fmla="*/ 1014413 h 1868996"/>
              <a:gd name="connsiteX237" fmla="*/ 2895029 w 6119717"/>
              <a:gd name="connsiteY237" fmla="*/ 1014413 h 1868996"/>
              <a:gd name="connsiteX238" fmla="*/ 2895029 w 6119717"/>
              <a:gd name="connsiteY238" fmla="*/ 1007174 h 1868996"/>
              <a:gd name="connsiteX239" fmla="*/ 2857881 w 6119717"/>
              <a:gd name="connsiteY239" fmla="*/ 1007174 h 1868996"/>
              <a:gd name="connsiteX240" fmla="*/ 2857881 w 6119717"/>
              <a:gd name="connsiteY240" fmla="*/ 988981 h 1868996"/>
              <a:gd name="connsiteX241" fmla="*/ 2846927 w 6119717"/>
              <a:gd name="connsiteY241" fmla="*/ 988981 h 1868996"/>
              <a:gd name="connsiteX242" fmla="*/ 2846927 w 6119717"/>
              <a:gd name="connsiteY242" fmla="*/ 969359 h 1868996"/>
              <a:gd name="connsiteX243" fmla="*/ 2830925 w 6119717"/>
              <a:gd name="connsiteY243" fmla="*/ 969359 h 1868996"/>
              <a:gd name="connsiteX244" fmla="*/ 2830925 w 6119717"/>
              <a:gd name="connsiteY244" fmla="*/ 952595 h 1868996"/>
              <a:gd name="connsiteX245" fmla="*/ 2778538 w 6119717"/>
              <a:gd name="connsiteY245" fmla="*/ 952595 h 1868996"/>
              <a:gd name="connsiteX246" fmla="*/ 2778538 w 6119717"/>
              <a:gd name="connsiteY246" fmla="*/ 944594 h 1868996"/>
              <a:gd name="connsiteX247" fmla="*/ 2749391 w 6119717"/>
              <a:gd name="connsiteY247" fmla="*/ 944594 h 1868996"/>
              <a:gd name="connsiteX248" fmla="*/ 2749391 w 6119717"/>
              <a:gd name="connsiteY248" fmla="*/ 938022 h 1868996"/>
              <a:gd name="connsiteX249" fmla="*/ 2723198 w 6119717"/>
              <a:gd name="connsiteY249" fmla="*/ 938022 h 1868996"/>
              <a:gd name="connsiteX250" fmla="*/ 2723198 w 6119717"/>
              <a:gd name="connsiteY250" fmla="*/ 926402 h 1868996"/>
              <a:gd name="connsiteX251" fmla="*/ 2676620 w 6119717"/>
              <a:gd name="connsiteY251" fmla="*/ 926402 h 1868996"/>
              <a:gd name="connsiteX252" fmla="*/ 2676620 w 6119717"/>
              <a:gd name="connsiteY252" fmla="*/ 908209 h 1868996"/>
              <a:gd name="connsiteX253" fmla="*/ 2647474 w 6119717"/>
              <a:gd name="connsiteY253" fmla="*/ 908209 h 1868996"/>
              <a:gd name="connsiteX254" fmla="*/ 2647474 w 6119717"/>
              <a:gd name="connsiteY254" fmla="*/ 894398 h 1868996"/>
              <a:gd name="connsiteX255" fmla="*/ 2579084 w 6119717"/>
              <a:gd name="connsiteY255" fmla="*/ 894398 h 1868996"/>
              <a:gd name="connsiteX256" fmla="*/ 2579084 w 6119717"/>
              <a:gd name="connsiteY256" fmla="*/ 876967 h 1868996"/>
              <a:gd name="connsiteX257" fmla="*/ 2539079 w 6119717"/>
              <a:gd name="connsiteY257" fmla="*/ 876967 h 1868996"/>
              <a:gd name="connsiteX258" fmla="*/ 2539079 w 6119717"/>
              <a:gd name="connsiteY258" fmla="*/ 857345 h 1868996"/>
              <a:gd name="connsiteX259" fmla="*/ 2516505 w 6119717"/>
              <a:gd name="connsiteY259" fmla="*/ 857345 h 1868996"/>
              <a:gd name="connsiteX260" fmla="*/ 2516505 w 6119717"/>
              <a:gd name="connsiteY260" fmla="*/ 842772 h 1868996"/>
              <a:gd name="connsiteX261" fmla="*/ 2486692 w 6119717"/>
              <a:gd name="connsiteY261" fmla="*/ 842772 h 1868996"/>
              <a:gd name="connsiteX262" fmla="*/ 2486692 w 6119717"/>
              <a:gd name="connsiteY262" fmla="*/ 810768 h 1868996"/>
              <a:gd name="connsiteX263" fmla="*/ 2467070 w 6119717"/>
              <a:gd name="connsiteY263" fmla="*/ 810768 h 1868996"/>
              <a:gd name="connsiteX264" fmla="*/ 2467070 w 6119717"/>
              <a:gd name="connsiteY264" fmla="*/ 794766 h 1868996"/>
              <a:gd name="connsiteX265" fmla="*/ 2391347 w 6119717"/>
              <a:gd name="connsiteY265" fmla="*/ 794766 h 1868996"/>
              <a:gd name="connsiteX266" fmla="*/ 2391347 w 6119717"/>
              <a:gd name="connsiteY266" fmla="*/ 764191 h 1868996"/>
              <a:gd name="connsiteX267" fmla="*/ 2362962 w 6119717"/>
              <a:gd name="connsiteY267" fmla="*/ 764191 h 1868996"/>
              <a:gd name="connsiteX268" fmla="*/ 2344989 w 6119717"/>
              <a:gd name="connsiteY268" fmla="*/ 728383 h 1868996"/>
              <a:gd name="connsiteX269" fmla="*/ 2312003 w 6119717"/>
              <a:gd name="connsiteY269" fmla="*/ 721233 h 1868996"/>
              <a:gd name="connsiteX270" fmla="*/ 2312003 w 6119717"/>
              <a:gd name="connsiteY270" fmla="*/ 698659 h 1868996"/>
              <a:gd name="connsiteX271" fmla="*/ 2290191 w 6119717"/>
              <a:gd name="connsiteY271" fmla="*/ 698659 h 1868996"/>
              <a:gd name="connsiteX272" fmla="*/ 2290191 w 6119717"/>
              <a:gd name="connsiteY272" fmla="*/ 688467 h 1868996"/>
              <a:gd name="connsiteX273" fmla="*/ 2263997 w 6119717"/>
              <a:gd name="connsiteY273" fmla="*/ 688467 h 1868996"/>
              <a:gd name="connsiteX274" fmla="*/ 2263997 w 6119717"/>
              <a:gd name="connsiteY274" fmla="*/ 657892 h 1868996"/>
              <a:gd name="connsiteX275" fmla="*/ 2247233 w 6119717"/>
              <a:gd name="connsiteY275" fmla="*/ 657892 h 1868996"/>
              <a:gd name="connsiteX276" fmla="*/ 2247233 w 6119717"/>
              <a:gd name="connsiteY276" fmla="*/ 652748 h 1868996"/>
              <a:gd name="connsiteX277" fmla="*/ 2218087 w 6119717"/>
              <a:gd name="connsiteY277" fmla="*/ 652748 h 1868996"/>
              <a:gd name="connsiteX278" fmla="*/ 2218087 w 6119717"/>
              <a:gd name="connsiteY278" fmla="*/ 629412 h 1868996"/>
              <a:gd name="connsiteX279" fmla="*/ 2151126 w 6119717"/>
              <a:gd name="connsiteY279" fmla="*/ 629412 h 1868996"/>
              <a:gd name="connsiteX280" fmla="*/ 2151126 w 6119717"/>
              <a:gd name="connsiteY280" fmla="*/ 618458 h 1868996"/>
              <a:gd name="connsiteX281" fmla="*/ 2142363 w 6119717"/>
              <a:gd name="connsiteY281" fmla="*/ 618458 h 1868996"/>
              <a:gd name="connsiteX282" fmla="*/ 2142363 w 6119717"/>
              <a:gd name="connsiteY282" fmla="*/ 587883 h 1868996"/>
              <a:gd name="connsiteX283" fmla="*/ 2116836 w 6119717"/>
              <a:gd name="connsiteY283" fmla="*/ 587883 h 1868996"/>
              <a:gd name="connsiteX284" fmla="*/ 2116836 w 6119717"/>
              <a:gd name="connsiteY284" fmla="*/ 576263 h 1868996"/>
              <a:gd name="connsiteX285" fmla="*/ 2009775 w 6119717"/>
              <a:gd name="connsiteY285" fmla="*/ 576263 h 1868996"/>
              <a:gd name="connsiteX286" fmla="*/ 2009775 w 6119717"/>
              <a:gd name="connsiteY286" fmla="*/ 546449 h 1868996"/>
              <a:gd name="connsiteX287" fmla="*/ 1983581 w 6119717"/>
              <a:gd name="connsiteY287" fmla="*/ 546449 h 1868996"/>
              <a:gd name="connsiteX288" fmla="*/ 1983581 w 6119717"/>
              <a:gd name="connsiteY288" fmla="*/ 526066 h 1868996"/>
              <a:gd name="connsiteX289" fmla="*/ 1940623 w 6119717"/>
              <a:gd name="connsiteY289" fmla="*/ 526066 h 1868996"/>
              <a:gd name="connsiteX290" fmla="*/ 1940623 w 6119717"/>
              <a:gd name="connsiteY290" fmla="*/ 505682 h 1868996"/>
              <a:gd name="connsiteX291" fmla="*/ 1920240 w 6119717"/>
              <a:gd name="connsiteY291" fmla="*/ 505682 h 1868996"/>
              <a:gd name="connsiteX292" fmla="*/ 1920240 w 6119717"/>
              <a:gd name="connsiteY292" fmla="*/ 487490 h 1868996"/>
              <a:gd name="connsiteX293" fmla="*/ 1901285 w 6119717"/>
              <a:gd name="connsiteY293" fmla="*/ 487490 h 1868996"/>
              <a:gd name="connsiteX294" fmla="*/ 1901285 w 6119717"/>
              <a:gd name="connsiteY294" fmla="*/ 475869 h 1868996"/>
              <a:gd name="connsiteX295" fmla="*/ 1832134 w 6119717"/>
              <a:gd name="connsiteY295" fmla="*/ 475869 h 1868996"/>
              <a:gd name="connsiteX296" fmla="*/ 1832134 w 6119717"/>
              <a:gd name="connsiteY296" fmla="*/ 442341 h 1868996"/>
              <a:gd name="connsiteX297" fmla="*/ 1762220 w 6119717"/>
              <a:gd name="connsiteY297" fmla="*/ 442341 h 1868996"/>
              <a:gd name="connsiteX298" fmla="*/ 1762220 w 6119717"/>
              <a:gd name="connsiteY298" fmla="*/ 429959 h 1868996"/>
              <a:gd name="connsiteX299" fmla="*/ 1725835 w 6119717"/>
              <a:gd name="connsiteY299" fmla="*/ 429959 h 1868996"/>
              <a:gd name="connsiteX300" fmla="*/ 1725835 w 6119717"/>
              <a:gd name="connsiteY300" fmla="*/ 418338 h 1868996"/>
              <a:gd name="connsiteX301" fmla="*/ 1694498 w 6119717"/>
              <a:gd name="connsiteY301" fmla="*/ 418338 h 1868996"/>
              <a:gd name="connsiteX302" fmla="*/ 1694498 w 6119717"/>
              <a:gd name="connsiteY302" fmla="*/ 399383 h 1868996"/>
              <a:gd name="connsiteX303" fmla="*/ 1654493 w 6119717"/>
              <a:gd name="connsiteY303" fmla="*/ 399383 h 1868996"/>
              <a:gd name="connsiteX304" fmla="*/ 1654493 w 6119717"/>
              <a:gd name="connsiteY304" fmla="*/ 379762 h 1868996"/>
              <a:gd name="connsiteX305" fmla="*/ 1552575 w 6119717"/>
              <a:gd name="connsiteY305" fmla="*/ 379762 h 1868996"/>
              <a:gd name="connsiteX306" fmla="*/ 1552575 w 6119717"/>
              <a:gd name="connsiteY306" fmla="*/ 354997 h 1868996"/>
              <a:gd name="connsiteX307" fmla="*/ 1465898 w 6119717"/>
              <a:gd name="connsiteY307" fmla="*/ 354997 h 1868996"/>
              <a:gd name="connsiteX308" fmla="*/ 1465898 w 6119717"/>
              <a:gd name="connsiteY308" fmla="*/ 345567 h 1868996"/>
              <a:gd name="connsiteX309" fmla="*/ 1364742 w 6119717"/>
              <a:gd name="connsiteY309" fmla="*/ 345567 h 1868996"/>
              <a:gd name="connsiteX310" fmla="*/ 1364742 w 6119717"/>
              <a:gd name="connsiteY310" fmla="*/ 333185 h 1868996"/>
              <a:gd name="connsiteX311" fmla="*/ 1313783 w 6119717"/>
              <a:gd name="connsiteY311" fmla="*/ 333185 h 1868996"/>
              <a:gd name="connsiteX312" fmla="*/ 1313783 w 6119717"/>
              <a:gd name="connsiteY312" fmla="*/ 310610 h 1868996"/>
              <a:gd name="connsiteX313" fmla="*/ 1215485 w 6119717"/>
              <a:gd name="connsiteY313" fmla="*/ 310610 h 1868996"/>
              <a:gd name="connsiteX314" fmla="*/ 1215485 w 6119717"/>
              <a:gd name="connsiteY314" fmla="*/ 296037 h 1868996"/>
              <a:gd name="connsiteX315" fmla="*/ 1133189 w 6119717"/>
              <a:gd name="connsiteY315" fmla="*/ 296037 h 1868996"/>
              <a:gd name="connsiteX316" fmla="*/ 1133189 w 6119717"/>
              <a:gd name="connsiteY316" fmla="*/ 280702 h 1868996"/>
              <a:gd name="connsiteX317" fmla="*/ 1051655 w 6119717"/>
              <a:gd name="connsiteY317" fmla="*/ 280702 h 1868996"/>
              <a:gd name="connsiteX318" fmla="*/ 1051655 w 6119717"/>
              <a:gd name="connsiteY318" fmla="*/ 267557 h 1868996"/>
              <a:gd name="connsiteX319" fmla="*/ 1012317 w 6119717"/>
              <a:gd name="connsiteY319" fmla="*/ 267557 h 1868996"/>
              <a:gd name="connsiteX320" fmla="*/ 1012317 w 6119717"/>
              <a:gd name="connsiteY320" fmla="*/ 258127 h 1868996"/>
              <a:gd name="connsiteX321" fmla="*/ 991172 w 6119717"/>
              <a:gd name="connsiteY321" fmla="*/ 258127 h 1868996"/>
              <a:gd name="connsiteX322" fmla="*/ 991172 w 6119717"/>
              <a:gd name="connsiteY322" fmla="*/ 236982 h 1868996"/>
              <a:gd name="connsiteX323" fmla="*/ 905256 w 6119717"/>
              <a:gd name="connsiteY323" fmla="*/ 236982 h 1868996"/>
              <a:gd name="connsiteX324" fmla="*/ 905256 w 6119717"/>
              <a:gd name="connsiteY324" fmla="*/ 210026 h 1868996"/>
              <a:gd name="connsiteX325" fmla="*/ 750951 w 6119717"/>
              <a:gd name="connsiteY325" fmla="*/ 210026 h 1868996"/>
              <a:gd name="connsiteX326" fmla="*/ 750951 w 6119717"/>
              <a:gd name="connsiteY326" fmla="*/ 198406 h 1868996"/>
              <a:gd name="connsiteX327" fmla="*/ 641795 w 6119717"/>
              <a:gd name="connsiteY327" fmla="*/ 198406 h 1868996"/>
              <a:gd name="connsiteX328" fmla="*/ 641795 w 6119717"/>
              <a:gd name="connsiteY328" fmla="*/ 183071 h 1868996"/>
              <a:gd name="connsiteX329" fmla="*/ 600266 w 6119717"/>
              <a:gd name="connsiteY329" fmla="*/ 183071 h 1868996"/>
              <a:gd name="connsiteX330" fmla="*/ 600266 w 6119717"/>
              <a:gd name="connsiteY330" fmla="*/ 169926 h 1868996"/>
              <a:gd name="connsiteX331" fmla="*/ 512159 w 6119717"/>
              <a:gd name="connsiteY331" fmla="*/ 169926 h 1868996"/>
              <a:gd name="connsiteX332" fmla="*/ 512159 w 6119717"/>
              <a:gd name="connsiteY332" fmla="*/ 147352 h 1868996"/>
              <a:gd name="connsiteX333" fmla="*/ 483013 w 6119717"/>
              <a:gd name="connsiteY333" fmla="*/ 147352 h 1868996"/>
              <a:gd name="connsiteX334" fmla="*/ 483013 w 6119717"/>
              <a:gd name="connsiteY334" fmla="*/ 132778 h 1868996"/>
              <a:gd name="connsiteX335" fmla="*/ 437102 w 6119717"/>
              <a:gd name="connsiteY335" fmla="*/ 132778 h 1868996"/>
              <a:gd name="connsiteX336" fmla="*/ 437102 w 6119717"/>
              <a:gd name="connsiteY336" fmla="*/ 113157 h 1868996"/>
              <a:gd name="connsiteX337" fmla="*/ 380333 w 6119717"/>
              <a:gd name="connsiteY337" fmla="*/ 113157 h 1868996"/>
              <a:gd name="connsiteX338" fmla="*/ 380333 w 6119717"/>
              <a:gd name="connsiteY338" fmla="*/ 100775 h 1868996"/>
              <a:gd name="connsiteX339" fmla="*/ 223075 w 6119717"/>
              <a:gd name="connsiteY339" fmla="*/ 100775 h 1868996"/>
              <a:gd name="connsiteX340" fmla="*/ 223075 w 6119717"/>
              <a:gd name="connsiteY340" fmla="*/ 82582 h 1868996"/>
              <a:gd name="connsiteX341" fmla="*/ 161925 w 6119717"/>
              <a:gd name="connsiteY341" fmla="*/ 82582 h 1868996"/>
              <a:gd name="connsiteX342" fmla="*/ 161925 w 6119717"/>
              <a:gd name="connsiteY342" fmla="*/ 58579 h 1868996"/>
              <a:gd name="connsiteX343" fmla="*/ 113157 w 6119717"/>
              <a:gd name="connsiteY343" fmla="*/ 58579 h 1868996"/>
              <a:gd name="connsiteX344" fmla="*/ 113157 w 6119717"/>
              <a:gd name="connsiteY344" fmla="*/ 41815 h 1868996"/>
              <a:gd name="connsiteX345" fmla="*/ 81820 w 6119717"/>
              <a:gd name="connsiteY345" fmla="*/ 41815 h 1868996"/>
              <a:gd name="connsiteX346" fmla="*/ 81820 w 6119717"/>
              <a:gd name="connsiteY346" fmla="*/ 21431 h 1868996"/>
              <a:gd name="connsiteX347" fmla="*/ 20669 w 6119717"/>
              <a:gd name="connsiteY347" fmla="*/ 21431 h 1868996"/>
              <a:gd name="connsiteX348" fmla="*/ 20669 w 6119717"/>
              <a:gd name="connsiteY348" fmla="*/ 10477 h 1868996"/>
              <a:gd name="connsiteX349" fmla="*/ 0 w 6119717"/>
              <a:gd name="connsiteY349" fmla="*/ 10477 h 1868996"/>
              <a:gd name="connsiteX350" fmla="*/ 0 w 6119717"/>
              <a:gd name="connsiteY350" fmla="*/ 476 h 1868996"/>
              <a:gd name="connsiteX351" fmla="*/ 476 w 6119717"/>
              <a:gd name="connsiteY351" fmla="*/ 0 h 1868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Lst>
            <a:rect l="l" t="t" r="r" b="b"/>
            <a:pathLst>
              <a:path w="6119717" h="1868996">
                <a:moveTo>
                  <a:pt x="476" y="0"/>
                </a:moveTo>
                <a:lnTo>
                  <a:pt x="104584" y="0"/>
                </a:lnTo>
                <a:lnTo>
                  <a:pt x="104584" y="17335"/>
                </a:lnTo>
                <a:lnTo>
                  <a:pt x="150876" y="17335"/>
                </a:lnTo>
                <a:lnTo>
                  <a:pt x="150876" y="46291"/>
                </a:lnTo>
                <a:lnTo>
                  <a:pt x="263652" y="46291"/>
                </a:lnTo>
                <a:lnTo>
                  <a:pt x="263652" y="69437"/>
                </a:lnTo>
                <a:lnTo>
                  <a:pt x="390906" y="69437"/>
                </a:lnTo>
                <a:lnTo>
                  <a:pt x="390906" y="95440"/>
                </a:lnTo>
                <a:lnTo>
                  <a:pt x="390906" y="69437"/>
                </a:lnTo>
                <a:lnTo>
                  <a:pt x="390906" y="95440"/>
                </a:lnTo>
                <a:lnTo>
                  <a:pt x="457391" y="95440"/>
                </a:lnTo>
                <a:lnTo>
                  <a:pt x="457391" y="109918"/>
                </a:lnTo>
                <a:lnTo>
                  <a:pt x="558641" y="109918"/>
                </a:lnTo>
                <a:lnTo>
                  <a:pt x="558641" y="133064"/>
                </a:lnTo>
                <a:lnTo>
                  <a:pt x="839152" y="133064"/>
                </a:lnTo>
                <a:lnTo>
                  <a:pt x="839152" y="156210"/>
                </a:lnTo>
                <a:lnTo>
                  <a:pt x="986600" y="156210"/>
                </a:lnTo>
                <a:lnTo>
                  <a:pt x="986600" y="199549"/>
                </a:lnTo>
                <a:lnTo>
                  <a:pt x="1165860" y="199549"/>
                </a:lnTo>
                <a:lnTo>
                  <a:pt x="1165860" y="214027"/>
                </a:lnTo>
                <a:lnTo>
                  <a:pt x="1249680" y="214027"/>
                </a:lnTo>
                <a:lnTo>
                  <a:pt x="1249680" y="228505"/>
                </a:lnTo>
                <a:lnTo>
                  <a:pt x="1365314" y="228505"/>
                </a:lnTo>
                <a:lnTo>
                  <a:pt x="1365314" y="257461"/>
                </a:lnTo>
                <a:lnTo>
                  <a:pt x="1428941" y="257461"/>
                </a:lnTo>
                <a:lnTo>
                  <a:pt x="1428941" y="283464"/>
                </a:lnTo>
                <a:lnTo>
                  <a:pt x="1515713" y="283464"/>
                </a:lnTo>
                <a:lnTo>
                  <a:pt x="1515713" y="309467"/>
                </a:lnTo>
                <a:lnTo>
                  <a:pt x="1556195" y="309467"/>
                </a:lnTo>
                <a:lnTo>
                  <a:pt x="1556195" y="338423"/>
                </a:lnTo>
                <a:lnTo>
                  <a:pt x="1590866" y="338423"/>
                </a:lnTo>
                <a:lnTo>
                  <a:pt x="1590866" y="370237"/>
                </a:lnTo>
                <a:lnTo>
                  <a:pt x="1668971" y="370237"/>
                </a:lnTo>
                <a:lnTo>
                  <a:pt x="1668971" y="387572"/>
                </a:lnTo>
                <a:lnTo>
                  <a:pt x="1799082" y="387572"/>
                </a:lnTo>
                <a:lnTo>
                  <a:pt x="1799082" y="410718"/>
                </a:lnTo>
                <a:lnTo>
                  <a:pt x="1828038" y="410718"/>
                </a:lnTo>
                <a:lnTo>
                  <a:pt x="1828038" y="431006"/>
                </a:lnTo>
                <a:lnTo>
                  <a:pt x="1854041" y="431006"/>
                </a:lnTo>
                <a:lnTo>
                  <a:pt x="1854041" y="445484"/>
                </a:lnTo>
                <a:lnTo>
                  <a:pt x="1929194" y="445484"/>
                </a:lnTo>
                <a:lnTo>
                  <a:pt x="1929194" y="462820"/>
                </a:lnTo>
                <a:lnTo>
                  <a:pt x="2128742" y="462820"/>
                </a:lnTo>
                <a:lnTo>
                  <a:pt x="2128742" y="497491"/>
                </a:lnTo>
                <a:lnTo>
                  <a:pt x="2160556" y="497491"/>
                </a:lnTo>
                <a:lnTo>
                  <a:pt x="2167745" y="500526"/>
                </a:lnTo>
                <a:lnTo>
                  <a:pt x="2241518" y="514826"/>
                </a:lnTo>
                <a:lnTo>
                  <a:pt x="2248706" y="510713"/>
                </a:lnTo>
                <a:lnTo>
                  <a:pt x="2325338" y="532162"/>
                </a:lnTo>
                <a:lnTo>
                  <a:pt x="2325338" y="552450"/>
                </a:lnTo>
                <a:lnTo>
                  <a:pt x="2362962" y="552450"/>
                </a:lnTo>
                <a:lnTo>
                  <a:pt x="2362962" y="566928"/>
                </a:lnTo>
                <a:lnTo>
                  <a:pt x="2441067" y="566928"/>
                </a:lnTo>
                <a:lnTo>
                  <a:pt x="2441067" y="587216"/>
                </a:lnTo>
                <a:lnTo>
                  <a:pt x="2478691" y="587216"/>
                </a:lnTo>
                <a:lnTo>
                  <a:pt x="2500258" y="603212"/>
                </a:lnTo>
                <a:lnTo>
                  <a:pt x="2559653" y="610362"/>
                </a:lnTo>
                <a:lnTo>
                  <a:pt x="2559653" y="662464"/>
                </a:lnTo>
                <a:lnTo>
                  <a:pt x="2579941" y="662464"/>
                </a:lnTo>
                <a:lnTo>
                  <a:pt x="2579941" y="676942"/>
                </a:lnTo>
                <a:lnTo>
                  <a:pt x="2724531" y="676942"/>
                </a:lnTo>
                <a:lnTo>
                  <a:pt x="2724531" y="717423"/>
                </a:lnTo>
                <a:lnTo>
                  <a:pt x="2753487" y="717423"/>
                </a:lnTo>
                <a:lnTo>
                  <a:pt x="2753487" y="731901"/>
                </a:lnTo>
                <a:lnTo>
                  <a:pt x="2854738" y="731901"/>
                </a:lnTo>
                <a:lnTo>
                  <a:pt x="2854738" y="757904"/>
                </a:lnTo>
                <a:lnTo>
                  <a:pt x="2878741" y="757904"/>
                </a:lnTo>
                <a:lnTo>
                  <a:pt x="2878741" y="778193"/>
                </a:lnTo>
                <a:lnTo>
                  <a:pt x="3080385" y="778193"/>
                </a:lnTo>
                <a:lnTo>
                  <a:pt x="3080385" y="812863"/>
                </a:lnTo>
                <a:lnTo>
                  <a:pt x="3103531" y="812863"/>
                </a:lnTo>
                <a:lnTo>
                  <a:pt x="3114314" y="836187"/>
                </a:lnTo>
                <a:lnTo>
                  <a:pt x="3193161" y="850487"/>
                </a:lnTo>
                <a:lnTo>
                  <a:pt x="3193161" y="882301"/>
                </a:lnTo>
                <a:lnTo>
                  <a:pt x="3222117" y="882301"/>
                </a:lnTo>
                <a:lnTo>
                  <a:pt x="3222117" y="899636"/>
                </a:lnTo>
                <a:lnTo>
                  <a:pt x="3360896" y="899636"/>
                </a:lnTo>
                <a:lnTo>
                  <a:pt x="3360896" y="931450"/>
                </a:lnTo>
                <a:lnTo>
                  <a:pt x="3418713" y="931450"/>
                </a:lnTo>
                <a:lnTo>
                  <a:pt x="3418713" y="954596"/>
                </a:lnTo>
                <a:lnTo>
                  <a:pt x="3499675" y="954596"/>
                </a:lnTo>
                <a:lnTo>
                  <a:pt x="3506587" y="961136"/>
                </a:lnTo>
                <a:lnTo>
                  <a:pt x="3548824" y="974884"/>
                </a:lnTo>
                <a:lnTo>
                  <a:pt x="3548824" y="1006697"/>
                </a:lnTo>
                <a:lnTo>
                  <a:pt x="3586448" y="1006697"/>
                </a:lnTo>
                <a:lnTo>
                  <a:pt x="3608016" y="1014826"/>
                </a:lnTo>
                <a:lnTo>
                  <a:pt x="3699224" y="1032701"/>
                </a:lnTo>
                <a:lnTo>
                  <a:pt x="3699224" y="1050036"/>
                </a:lnTo>
                <a:lnTo>
                  <a:pt x="3716560" y="1050036"/>
                </a:lnTo>
                <a:lnTo>
                  <a:pt x="3748912" y="1066749"/>
                </a:lnTo>
                <a:lnTo>
                  <a:pt x="3806190" y="1070324"/>
                </a:lnTo>
                <a:lnTo>
                  <a:pt x="3823468" y="1082580"/>
                </a:lnTo>
                <a:lnTo>
                  <a:pt x="3849529" y="1096328"/>
                </a:lnTo>
                <a:lnTo>
                  <a:pt x="3881881" y="1107650"/>
                </a:lnTo>
                <a:lnTo>
                  <a:pt x="3933444" y="1121950"/>
                </a:lnTo>
                <a:lnTo>
                  <a:pt x="3933444" y="1150334"/>
                </a:lnTo>
                <a:lnTo>
                  <a:pt x="3961066" y="1150334"/>
                </a:lnTo>
                <a:lnTo>
                  <a:pt x="3993417" y="1172952"/>
                </a:lnTo>
                <a:lnTo>
                  <a:pt x="4079748" y="1176528"/>
                </a:lnTo>
                <a:lnTo>
                  <a:pt x="4079748" y="1191101"/>
                </a:lnTo>
                <a:lnTo>
                  <a:pt x="4111085" y="1191101"/>
                </a:lnTo>
                <a:lnTo>
                  <a:pt x="4111085" y="1205675"/>
                </a:lnTo>
                <a:lnTo>
                  <a:pt x="4132898" y="1205675"/>
                </a:lnTo>
                <a:lnTo>
                  <a:pt x="4132898" y="1215866"/>
                </a:lnTo>
                <a:lnTo>
                  <a:pt x="4160520" y="1215866"/>
                </a:lnTo>
                <a:lnTo>
                  <a:pt x="4181255" y="1222383"/>
                </a:lnTo>
                <a:lnTo>
                  <a:pt x="4196906" y="1246442"/>
                </a:lnTo>
                <a:lnTo>
                  <a:pt x="4196906" y="1254443"/>
                </a:lnTo>
                <a:lnTo>
                  <a:pt x="4226052" y="1254443"/>
                </a:lnTo>
                <a:lnTo>
                  <a:pt x="4226052" y="1275588"/>
                </a:lnTo>
                <a:lnTo>
                  <a:pt x="4286441" y="1275588"/>
                </a:lnTo>
                <a:lnTo>
                  <a:pt x="4303720" y="1260960"/>
                </a:lnTo>
                <a:lnTo>
                  <a:pt x="4371594" y="1285018"/>
                </a:lnTo>
                <a:lnTo>
                  <a:pt x="4385418" y="1290709"/>
                </a:lnTo>
                <a:lnTo>
                  <a:pt x="4433507" y="1301020"/>
                </a:lnTo>
                <a:lnTo>
                  <a:pt x="4433507" y="1325785"/>
                </a:lnTo>
                <a:lnTo>
                  <a:pt x="4503420" y="1325785"/>
                </a:lnTo>
                <a:lnTo>
                  <a:pt x="4557338" y="1326864"/>
                </a:lnTo>
                <a:lnTo>
                  <a:pt x="4585716" y="1344739"/>
                </a:lnTo>
                <a:lnTo>
                  <a:pt x="4589311" y="1340631"/>
                </a:lnTo>
                <a:lnTo>
                  <a:pt x="4684234" y="1333481"/>
                </a:lnTo>
                <a:lnTo>
                  <a:pt x="4738153" y="1357395"/>
                </a:lnTo>
                <a:lnTo>
                  <a:pt x="4739355" y="1371695"/>
                </a:lnTo>
                <a:lnTo>
                  <a:pt x="4739355" y="1388459"/>
                </a:lnTo>
                <a:lnTo>
                  <a:pt x="4763358" y="1388459"/>
                </a:lnTo>
                <a:lnTo>
                  <a:pt x="4763358" y="1398651"/>
                </a:lnTo>
                <a:lnTo>
                  <a:pt x="4809268" y="1398651"/>
                </a:lnTo>
                <a:lnTo>
                  <a:pt x="4809268" y="1409605"/>
                </a:lnTo>
                <a:lnTo>
                  <a:pt x="4833271" y="1409605"/>
                </a:lnTo>
                <a:lnTo>
                  <a:pt x="4833271" y="1435132"/>
                </a:lnTo>
                <a:lnTo>
                  <a:pt x="4927949" y="1435132"/>
                </a:lnTo>
                <a:lnTo>
                  <a:pt x="4927949" y="1453325"/>
                </a:lnTo>
                <a:lnTo>
                  <a:pt x="5056061" y="1453325"/>
                </a:lnTo>
                <a:lnTo>
                  <a:pt x="5056061" y="1469327"/>
                </a:lnTo>
                <a:lnTo>
                  <a:pt x="5115783" y="1469327"/>
                </a:lnTo>
                <a:lnTo>
                  <a:pt x="5115783" y="1486091"/>
                </a:lnTo>
                <a:lnTo>
                  <a:pt x="5182743" y="1486091"/>
                </a:lnTo>
                <a:lnTo>
                  <a:pt x="5182743" y="1513046"/>
                </a:lnTo>
                <a:lnTo>
                  <a:pt x="5206746" y="1513046"/>
                </a:lnTo>
                <a:lnTo>
                  <a:pt x="5206746" y="1530477"/>
                </a:lnTo>
                <a:lnTo>
                  <a:pt x="6119717" y="1530477"/>
                </a:lnTo>
                <a:lnTo>
                  <a:pt x="6119717" y="1868996"/>
                </a:lnTo>
                <a:lnTo>
                  <a:pt x="5758625" y="1868996"/>
                </a:lnTo>
                <a:lnTo>
                  <a:pt x="5758625" y="1802035"/>
                </a:lnTo>
                <a:lnTo>
                  <a:pt x="5391722" y="1802035"/>
                </a:lnTo>
                <a:lnTo>
                  <a:pt x="5391722" y="1779460"/>
                </a:lnTo>
                <a:lnTo>
                  <a:pt x="5249799" y="1779460"/>
                </a:lnTo>
                <a:lnTo>
                  <a:pt x="5249799" y="1761268"/>
                </a:lnTo>
                <a:lnTo>
                  <a:pt x="5198840" y="1761268"/>
                </a:lnTo>
                <a:lnTo>
                  <a:pt x="5198840" y="1738693"/>
                </a:lnTo>
                <a:lnTo>
                  <a:pt x="5097685" y="1738693"/>
                </a:lnTo>
                <a:lnTo>
                  <a:pt x="5097685" y="1719072"/>
                </a:lnTo>
                <a:lnTo>
                  <a:pt x="5044535" y="1719072"/>
                </a:lnTo>
                <a:lnTo>
                  <a:pt x="5044535" y="1676876"/>
                </a:lnTo>
                <a:lnTo>
                  <a:pt x="4878515" y="1676876"/>
                </a:lnTo>
                <a:lnTo>
                  <a:pt x="4878515" y="1637538"/>
                </a:lnTo>
                <a:lnTo>
                  <a:pt x="4762786" y="1637538"/>
                </a:lnTo>
                <a:lnTo>
                  <a:pt x="4762786" y="1629537"/>
                </a:lnTo>
                <a:lnTo>
                  <a:pt x="4697254" y="1629537"/>
                </a:lnTo>
                <a:lnTo>
                  <a:pt x="4697254" y="1614964"/>
                </a:lnTo>
                <a:lnTo>
                  <a:pt x="4654296" y="1614964"/>
                </a:lnTo>
                <a:lnTo>
                  <a:pt x="4654296" y="1606201"/>
                </a:lnTo>
                <a:lnTo>
                  <a:pt x="4502849" y="1606201"/>
                </a:lnTo>
                <a:lnTo>
                  <a:pt x="4502849" y="1581436"/>
                </a:lnTo>
                <a:lnTo>
                  <a:pt x="4459891" y="1581436"/>
                </a:lnTo>
                <a:lnTo>
                  <a:pt x="4459891" y="1565434"/>
                </a:lnTo>
                <a:lnTo>
                  <a:pt x="4391501" y="1565434"/>
                </a:lnTo>
                <a:lnTo>
                  <a:pt x="4391501" y="1548670"/>
                </a:lnTo>
                <a:lnTo>
                  <a:pt x="4328160" y="1548670"/>
                </a:lnTo>
                <a:lnTo>
                  <a:pt x="4328160" y="1527524"/>
                </a:lnTo>
                <a:lnTo>
                  <a:pt x="4212431" y="1527524"/>
                </a:lnTo>
                <a:lnTo>
                  <a:pt x="4212431" y="1494758"/>
                </a:lnTo>
                <a:lnTo>
                  <a:pt x="4189095" y="1494758"/>
                </a:lnTo>
                <a:lnTo>
                  <a:pt x="4189095" y="1476566"/>
                </a:lnTo>
                <a:lnTo>
                  <a:pt x="4175284" y="1476566"/>
                </a:lnTo>
                <a:lnTo>
                  <a:pt x="4175284" y="1464945"/>
                </a:lnTo>
                <a:lnTo>
                  <a:pt x="4127945" y="1464945"/>
                </a:lnTo>
                <a:lnTo>
                  <a:pt x="4127945" y="1451134"/>
                </a:lnTo>
                <a:lnTo>
                  <a:pt x="4049363" y="1451134"/>
                </a:lnTo>
                <a:lnTo>
                  <a:pt x="4049363" y="1442371"/>
                </a:lnTo>
                <a:lnTo>
                  <a:pt x="4020979" y="1442371"/>
                </a:lnTo>
                <a:lnTo>
                  <a:pt x="4020979" y="1428560"/>
                </a:lnTo>
                <a:lnTo>
                  <a:pt x="3900869" y="1428560"/>
                </a:lnTo>
                <a:lnTo>
                  <a:pt x="3900869" y="1411796"/>
                </a:lnTo>
                <a:lnTo>
                  <a:pt x="3869531" y="1411796"/>
                </a:lnTo>
                <a:lnTo>
                  <a:pt x="3862292" y="1404557"/>
                </a:lnTo>
                <a:lnTo>
                  <a:pt x="3819335" y="1404557"/>
                </a:lnTo>
                <a:lnTo>
                  <a:pt x="3819335" y="1391412"/>
                </a:lnTo>
                <a:lnTo>
                  <a:pt x="3800380" y="1391412"/>
                </a:lnTo>
                <a:lnTo>
                  <a:pt x="3800380" y="1379792"/>
                </a:lnTo>
                <a:lnTo>
                  <a:pt x="3702082" y="1379792"/>
                </a:lnTo>
                <a:lnTo>
                  <a:pt x="3702082" y="1367409"/>
                </a:lnTo>
                <a:lnTo>
                  <a:pt x="3683127" y="1367409"/>
                </a:lnTo>
                <a:lnTo>
                  <a:pt x="3683127" y="1359408"/>
                </a:lnTo>
                <a:lnTo>
                  <a:pt x="3616833" y="1359408"/>
                </a:lnTo>
                <a:lnTo>
                  <a:pt x="3616833" y="1345597"/>
                </a:lnTo>
                <a:lnTo>
                  <a:pt x="3608070" y="1345597"/>
                </a:lnTo>
                <a:lnTo>
                  <a:pt x="3608070" y="1319403"/>
                </a:lnTo>
                <a:lnTo>
                  <a:pt x="3569494" y="1319403"/>
                </a:lnTo>
                <a:lnTo>
                  <a:pt x="3569494" y="1310640"/>
                </a:lnTo>
                <a:lnTo>
                  <a:pt x="3549872" y="1310640"/>
                </a:lnTo>
                <a:lnTo>
                  <a:pt x="3549872" y="1296067"/>
                </a:lnTo>
                <a:lnTo>
                  <a:pt x="3510534" y="1296067"/>
                </a:lnTo>
                <a:lnTo>
                  <a:pt x="3510534" y="1274255"/>
                </a:lnTo>
                <a:lnTo>
                  <a:pt x="3485769" y="1274255"/>
                </a:lnTo>
                <a:lnTo>
                  <a:pt x="3485769" y="1257491"/>
                </a:lnTo>
                <a:lnTo>
                  <a:pt x="3464624" y="1257491"/>
                </a:lnTo>
                <a:lnTo>
                  <a:pt x="3464624" y="1248061"/>
                </a:lnTo>
                <a:lnTo>
                  <a:pt x="3447860" y="1248061"/>
                </a:lnTo>
                <a:lnTo>
                  <a:pt x="3447860" y="1228439"/>
                </a:lnTo>
                <a:lnTo>
                  <a:pt x="3412141" y="1228439"/>
                </a:lnTo>
                <a:lnTo>
                  <a:pt x="3412141" y="1213866"/>
                </a:lnTo>
                <a:lnTo>
                  <a:pt x="3354610" y="1213866"/>
                </a:lnTo>
                <a:lnTo>
                  <a:pt x="3354610" y="1205865"/>
                </a:lnTo>
                <a:lnTo>
                  <a:pt x="3294888" y="1205865"/>
                </a:lnTo>
                <a:lnTo>
                  <a:pt x="3294888" y="1187672"/>
                </a:lnTo>
                <a:lnTo>
                  <a:pt x="3276695" y="1187672"/>
                </a:lnTo>
                <a:lnTo>
                  <a:pt x="3276695" y="1151954"/>
                </a:lnTo>
                <a:lnTo>
                  <a:pt x="3254121" y="1151954"/>
                </a:lnTo>
                <a:lnTo>
                  <a:pt x="3254121" y="1113377"/>
                </a:lnTo>
                <a:lnTo>
                  <a:pt x="3176969" y="1113377"/>
                </a:lnTo>
                <a:lnTo>
                  <a:pt x="3176969" y="1098804"/>
                </a:lnTo>
                <a:lnTo>
                  <a:pt x="3131058" y="1098804"/>
                </a:lnTo>
                <a:lnTo>
                  <a:pt x="3131058" y="1088612"/>
                </a:lnTo>
                <a:lnTo>
                  <a:pt x="3044381" y="1088612"/>
                </a:lnTo>
                <a:lnTo>
                  <a:pt x="3044381" y="1076992"/>
                </a:lnTo>
                <a:lnTo>
                  <a:pt x="3027616" y="1076992"/>
                </a:lnTo>
                <a:lnTo>
                  <a:pt x="3027616" y="1067562"/>
                </a:lnTo>
                <a:lnTo>
                  <a:pt x="3006471" y="1067562"/>
                </a:lnTo>
                <a:lnTo>
                  <a:pt x="3006471" y="1055180"/>
                </a:lnTo>
                <a:lnTo>
                  <a:pt x="3001328" y="1055180"/>
                </a:lnTo>
                <a:lnTo>
                  <a:pt x="3001328" y="1043559"/>
                </a:lnTo>
                <a:lnTo>
                  <a:pt x="2982373" y="1043559"/>
                </a:lnTo>
                <a:lnTo>
                  <a:pt x="2982373" y="1028986"/>
                </a:lnTo>
                <a:lnTo>
                  <a:pt x="2906649" y="1028986"/>
                </a:lnTo>
                <a:lnTo>
                  <a:pt x="2906649" y="1014413"/>
                </a:lnTo>
                <a:lnTo>
                  <a:pt x="2895029" y="1014413"/>
                </a:lnTo>
                <a:lnTo>
                  <a:pt x="2895029" y="1007174"/>
                </a:lnTo>
                <a:lnTo>
                  <a:pt x="2857881" y="1007174"/>
                </a:lnTo>
                <a:lnTo>
                  <a:pt x="2857881" y="988981"/>
                </a:lnTo>
                <a:lnTo>
                  <a:pt x="2846927" y="988981"/>
                </a:lnTo>
                <a:lnTo>
                  <a:pt x="2846927" y="969359"/>
                </a:lnTo>
                <a:lnTo>
                  <a:pt x="2830925" y="969359"/>
                </a:lnTo>
                <a:lnTo>
                  <a:pt x="2830925" y="952595"/>
                </a:lnTo>
                <a:lnTo>
                  <a:pt x="2778538" y="952595"/>
                </a:lnTo>
                <a:lnTo>
                  <a:pt x="2778538" y="944594"/>
                </a:lnTo>
                <a:lnTo>
                  <a:pt x="2749391" y="944594"/>
                </a:lnTo>
                <a:lnTo>
                  <a:pt x="2749391" y="938022"/>
                </a:lnTo>
                <a:lnTo>
                  <a:pt x="2723198" y="938022"/>
                </a:lnTo>
                <a:lnTo>
                  <a:pt x="2723198" y="926402"/>
                </a:lnTo>
                <a:lnTo>
                  <a:pt x="2676620" y="926402"/>
                </a:lnTo>
                <a:lnTo>
                  <a:pt x="2676620" y="908209"/>
                </a:lnTo>
                <a:lnTo>
                  <a:pt x="2647474" y="908209"/>
                </a:lnTo>
                <a:lnTo>
                  <a:pt x="2647474" y="894398"/>
                </a:lnTo>
                <a:lnTo>
                  <a:pt x="2579084" y="894398"/>
                </a:lnTo>
                <a:lnTo>
                  <a:pt x="2579084" y="876967"/>
                </a:lnTo>
                <a:lnTo>
                  <a:pt x="2539079" y="876967"/>
                </a:lnTo>
                <a:lnTo>
                  <a:pt x="2539079" y="857345"/>
                </a:lnTo>
                <a:lnTo>
                  <a:pt x="2516505" y="857345"/>
                </a:lnTo>
                <a:lnTo>
                  <a:pt x="2516505" y="842772"/>
                </a:lnTo>
                <a:lnTo>
                  <a:pt x="2486692" y="842772"/>
                </a:lnTo>
                <a:lnTo>
                  <a:pt x="2486692" y="810768"/>
                </a:lnTo>
                <a:lnTo>
                  <a:pt x="2467070" y="810768"/>
                </a:lnTo>
                <a:lnTo>
                  <a:pt x="2467070" y="794766"/>
                </a:lnTo>
                <a:lnTo>
                  <a:pt x="2391347" y="794766"/>
                </a:lnTo>
                <a:lnTo>
                  <a:pt x="2391347" y="764191"/>
                </a:lnTo>
                <a:lnTo>
                  <a:pt x="2362962" y="764191"/>
                </a:lnTo>
                <a:lnTo>
                  <a:pt x="2344989" y="728383"/>
                </a:lnTo>
                <a:lnTo>
                  <a:pt x="2312003" y="721233"/>
                </a:lnTo>
                <a:lnTo>
                  <a:pt x="2312003" y="698659"/>
                </a:lnTo>
                <a:lnTo>
                  <a:pt x="2290191" y="698659"/>
                </a:lnTo>
                <a:lnTo>
                  <a:pt x="2290191" y="688467"/>
                </a:lnTo>
                <a:lnTo>
                  <a:pt x="2263997" y="688467"/>
                </a:lnTo>
                <a:cubicBezTo>
                  <a:pt x="2263997" y="688467"/>
                  <a:pt x="2266188" y="657892"/>
                  <a:pt x="2263997" y="657892"/>
                </a:cubicBezTo>
                <a:lnTo>
                  <a:pt x="2247233" y="657892"/>
                </a:lnTo>
                <a:lnTo>
                  <a:pt x="2247233" y="652748"/>
                </a:lnTo>
                <a:lnTo>
                  <a:pt x="2218087" y="652748"/>
                </a:lnTo>
                <a:lnTo>
                  <a:pt x="2218087" y="629412"/>
                </a:lnTo>
                <a:lnTo>
                  <a:pt x="2151126" y="629412"/>
                </a:lnTo>
                <a:lnTo>
                  <a:pt x="2151126" y="618458"/>
                </a:lnTo>
                <a:lnTo>
                  <a:pt x="2142363" y="618458"/>
                </a:lnTo>
                <a:lnTo>
                  <a:pt x="2142363" y="587883"/>
                </a:lnTo>
                <a:lnTo>
                  <a:pt x="2116836" y="587883"/>
                </a:lnTo>
                <a:lnTo>
                  <a:pt x="2116836" y="576263"/>
                </a:lnTo>
                <a:lnTo>
                  <a:pt x="2009775" y="576263"/>
                </a:lnTo>
                <a:lnTo>
                  <a:pt x="2009775" y="546449"/>
                </a:lnTo>
                <a:lnTo>
                  <a:pt x="1983581" y="546449"/>
                </a:lnTo>
                <a:lnTo>
                  <a:pt x="1983581" y="526066"/>
                </a:lnTo>
                <a:lnTo>
                  <a:pt x="1940623" y="526066"/>
                </a:lnTo>
                <a:lnTo>
                  <a:pt x="1940623" y="505682"/>
                </a:lnTo>
                <a:lnTo>
                  <a:pt x="1920240" y="505682"/>
                </a:lnTo>
                <a:lnTo>
                  <a:pt x="1920240" y="487490"/>
                </a:lnTo>
                <a:lnTo>
                  <a:pt x="1901285" y="487490"/>
                </a:lnTo>
                <a:lnTo>
                  <a:pt x="1901285" y="475869"/>
                </a:lnTo>
                <a:lnTo>
                  <a:pt x="1832134" y="475869"/>
                </a:lnTo>
                <a:lnTo>
                  <a:pt x="1832134" y="442341"/>
                </a:lnTo>
                <a:lnTo>
                  <a:pt x="1762220" y="442341"/>
                </a:lnTo>
                <a:lnTo>
                  <a:pt x="1762220" y="429959"/>
                </a:lnTo>
                <a:lnTo>
                  <a:pt x="1725835" y="429959"/>
                </a:lnTo>
                <a:lnTo>
                  <a:pt x="1725835" y="418338"/>
                </a:lnTo>
                <a:lnTo>
                  <a:pt x="1694498" y="418338"/>
                </a:lnTo>
                <a:lnTo>
                  <a:pt x="1694498" y="399383"/>
                </a:lnTo>
                <a:lnTo>
                  <a:pt x="1654493" y="399383"/>
                </a:lnTo>
                <a:lnTo>
                  <a:pt x="1654493" y="379762"/>
                </a:lnTo>
                <a:lnTo>
                  <a:pt x="1552575" y="379762"/>
                </a:lnTo>
                <a:lnTo>
                  <a:pt x="1552575" y="354997"/>
                </a:lnTo>
                <a:lnTo>
                  <a:pt x="1465898" y="354997"/>
                </a:lnTo>
                <a:lnTo>
                  <a:pt x="1465898" y="345567"/>
                </a:lnTo>
                <a:cubicBezTo>
                  <a:pt x="1465898" y="345567"/>
                  <a:pt x="1362170" y="342995"/>
                  <a:pt x="1364742" y="345567"/>
                </a:cubicBezTo>
                <a:lnTo>
                  <a:pt x="1364742" y="333185"/>
                </a:lnTo>
                <a:lnTo>
                  <a:pt x="1313783" y="333185"/>
                </a:lnTo>
                <a:lnTo>
                  <a:pt x="1313783" y="310610"/>
                </a:lnTo>
                <a:lnTo>
                  <a:pt x="1215485" y="310610"/>
                </a:lnTo>
                <a:lnTo>
                  <a:pt x="1215485" y="296037"/>
                </a:lnTo>
                <a:lnTo>
                  <a:pt x="1133189" y="296037"/>
                </a:lnTo>
                <a:lnTo>
                  <a:pt x="1133189" y="280702"/>
                </a:lnTo>
                <a:lnTo>
                  <a:pt x="1051655" y="280702"/>
                </a:lnTo>
                <a:lnTo>
                  <a:pt x="1051655" y="267557"/>
                </a:lnTo>
                <a:lnTo>
                  <a:pt x="1012317" y="267557"/>
                </a:lnTo>
                <a:lnTo>
                  <a:pt x="1012317" y="258127"/>
                </a:lnTo>
                <a:lnTo>
                  <a:pt x="991172" y="258127"/>
                </a:lnTo>
                <a:lnTo>
                  <a:pt x="991172" y="236982"/>
                </a:lnTo>
                <a:lnTo>
                  <a:pt x="905256" y="236982"/>
                </a:lnTo>
                <a:lnTo>
                  <a:pt x="905256" y="210026"/>
                </a:lnTo>
                <a:lnTo>
                  <a:pt x="750951" y="210026"/>
                </a:lnTo>
                <a:lnTo>
                  <a:pt x="750951" y="198406"/>
                </a:lnTo>
                <a:lnTo>
                  <a:pt x="641795" y="198406"/>
                </a:lnTo>
                <a:lnTo>
                  <a:pt x="641795" y="183071"/>
                </a:lnTo>
                <a:lnTo>
                  <a:pt x="600266" y="183071"/>
                </a:lnTo>
                <a:lnTo>
                  <a:pt x="600266" y="169926"/>
                </a:lnTo>
                <a:lnTo>
                  <a:pt x="512159" y="169926"/>
                </a:lnTo>
                <a:lnTo>
                  <a:pt x="512159" y="147352"/>
                </a:lnTo>
                <a:lnTo>
                  <a:pt x="483013" y="147352"/>
                </a:lnTo>
                <a:lnTo>
                  <a:pt x="483013" y="132778"/>
                </a:lnTo>
                <a:lnTo>
                  <a:pt x="437102" y="132778"/>
                </a:lnTo>
                <a:lnTo>
                  <a:pt x="437102" y="113157"/>
                </a:lnTo>
                <a:lnTo>
                  <a:pt x="380333" y="113157"/>
                </a:lnTo>
                <a:lnTo>
                  <a:pt x="380333" y="100775"/>
                </a:lnTo>
                <a:lnTo>
                  <a:pt x="223075" y="100775"/>
                </a:lnTo>
                <a:lnTo>
                  <a:pt x="223075" y="82582"/>
                </a:lnTo>
                <a:lnTo>
                  <a:pt x="161925" y="82582"/>
                </a:lnTo>
                <a:lnTo>
                  <a:pt x="161925" y="58579"/>
                </a:lnTo>
                <a:lnTo>
                  <a:pt x="113157" y="58579"/>
                </a:lnTo>
                <a:lnTo>
                  <a:pt x="113157" y="41815"/>
                </a:lnTo>
                <a:lnTo>
                  <a:pt x="81820" y="41815"/>
                </a:lnTo>
                <a:lnTo>
                  <a:pt x="81820" y="21431"/>
                </a:lnTo>
                <a:lnTo>
                  <a:pt x="20669" y="21431"/>
                </a:lnTo>
                <a:lnTo>
                  <a:pt x="20669" y="10477"/>
                </a:lnTo>
                <a:lnTo>
                  <a:pt x="0" y="10477"/>
                </a:lnTo>
                <a:lnTo>
                  <a:pt x="0" y="476"/>
                </a:lnTo>
                <a:lnTo>
                  <a:pt x="476" y="0"/>
                </a:lnTo>
                <a:close/>
              </a:path>
            </a:pathLst>
          </a:custGeom>
          <a:gradFill flip="none" rotWithShape="1">
            <a:gsLst>
              <a:gs pos="0">
                <a:schemeClr val="accent6">
                  <a:alpha val="61000"/>
                </a:schemeClr>
              </a:gs>
              <a:gs pos="88000">
                <a:schemeClr val="accent4">
                  <a:alpha val="21000"/>
                </a:schemeClr>
              </a:gs>
            </a:gsLst>
            <a:lin ang="10800000" scaled="1"/>
            <a:tileRect/>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Rectangle: Rounded Corners 5">
            <a:extLst>
              <a:ext uri="{FF2B5EF4-FFF2-40B4-BE49-F238E27FC236}">
                <a16:creationId xmlns:a16="http://schemas.microsoft.com/office/drawing/2014/main" id="{35270B9B-67CE-6BED-B1C6-5DC4424746C1}"/>
              </a:ext>
            </a:extLst>
          </p:cNvPr>
          <p:cNvSpPr/>
          <p:nvPr/>
        </p:nvSpPr>
        <p:spPr>
          <a:xfrm>
            <a:off x="10118785" y="203659"/>
            <a:ext cx="1551426"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LAURA2</a:t>
            </a:r>
          </a:p>
        </p:txBody>
      </p:sp>
      <p:grpSp>
        <p:nvGrpSpPr>
          <p:cNvPr id="8" name="Group 7">
            <a:extLst>
              <a:ext uri="{FF2B5EF4-FFF2-40B4-BE49-F238E27FC236}">
                <a16:creationId xmlns:a16="http://schemas.microsoft.com/office/drawing/2014/main" id="{4D9E8460-2155-A1F3-A223-E10FE5828D85}"/>
              </a:ext>
            </a:extLst>
          </p:cNvPr>
          <p:cNvGrpSpPr/>
          <p:nvPr/>
        </p:nvGrpSpPr>
        <p:grpSpPr>
          <a:xfrm>
            <a:off x="11442807" y="48345"/>
            <a:ext cx="645342" cy="645342"/>
            <a:chOff x="11442807" y="48345"/>
            <a:chExt cx="645342" cy="645342"/>
          </a:xfrm>
        </p:grpSpPr>
        <p:sp>
          <p:nvSpPr>
            <p:cNvPr id="9" name="Oval 8">
              <a:extLst>
                <a:ext uri="{FF2B5EF4-FFF2-40B4-BE49-F238E27FC236}">
                  <a16:creationId xmlns:a16="http://schemas.microsoft.com/office/drawing/2014/main" id="{ABEC9594-B1EB-164D-5AB1-FB9030E4A10B}"/>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12" name="Graphic 11" descr="Signal outline">
              <a:extLst>
                <a:ext uri="{FF2B5EF4-FFF2-40B4-BE49-F238E27FC236}">
                  <a16:creationId xmlns:a16="http://schemas.microsoft.com/office/drawing/2014/main" id="{2958C179-AE7E-B541-7543-F6D48152DCE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492045" y="96048"/>
              <a:ext cx="506740" cy="506740"/>
            </a:xfrm>
            <a:prstGeom prst="rect">
              <a:avLst/>
            </a:prstGeom>
          </p:spPr>
        </p:pic>
      </p:grpSp>
    </p:spTree>
    <p:extLst>
      <p:ext uri="{BB962C8B-B14F-4D97-AF65-F5344CB8AC3E}">
        <p14:creationId xmlns:p14="http://schemas.microsoft.com/office/powerpoint/2010/main" val="9107688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F3B11-2939-D04B-DC0A-E9217EEC9801}"/>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743D3497-6E7D-391E-AEBD-18ABA2EC12ED}"/>
              </a:ext>
            </a:extLst>
          </p:cNvPr>
          <p:cNvGrpSpPr/>
          <p:nvPr/>
        </p:nvGrpSpPr>
        <p:grpSpPr>
          <a:xfrm>
            <a:off x="0" y="5389390"/>
            <a:ext cx="11758910" cy="1026586"/>
            <a:chOff x="-1" y="5183761"/>
            <a:chExt cx="11758910" cy="1026586"/>
          </a:xfrm>
        </p:grpSpPr>
        <p:sp>
          <p:nvSpPr>
            <p:cNvPr id="17" name="Rectangle 16">
              <a:extLst>
                <a:ext uri="{FF2B5EF4-FFF2-40B4-BE49-F238E27FC236}">
                  <a16:creationId xmlns:a16="http://schemas.microsoft.com/office/drawing/2014/main" id="{F1E7A213-5281-3BDB-AB86-FA0022046FDA}"/>
                </a:ext>
              </a:extLst>
            </p:cNvPr>
            <p:cNvSpPr/>
            <p:nvPr/>
          </p:nvSpPr>
          <p:spPr>
            <a:xfrm>
              <a:off x="296883" y="5325052"/>
              <a:ext cx="11462026" cy="720000"/>
            </a:xfrm>
            <a:prstGeom prst="rect">
              <a:avLst/>
            </a:prstGeom>
            <a:gradFill flip="none" rotWithShape="1">
              <a:gsLst>
                <a:gs pos="8000">
                  <a:schemeClr val="bg1"/>
                </a:gs>
                <a:gs pos="0">
                  <a:schemeClr val="accent1"/>
                </a:gs>
                <a:gs pos="90000">
                  <a:schemeClr val="bg1"/>
                </a:gs>
                <a:gs pos="99000">
                  <a:schemeClr val="accent1"/>
                </a:gs>
              </a:gsLst>
              <a:lin ang="0" scaled="1"/>
              <a:tileRect/>
            </a:gra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8" name="Group 17">
              <a:extLst>
                <a:ext uri="{FF2B5EF4-FFF2-40B4-BE49-F238E27FC236}">
                  <a16:creationId xmlns:a16="http://schemas.microsoft.com/office/drawing/2014/main" id="{A2335510-C100-E75B-3DCE-862526B84F56}"/>
                </a:ext>
              </a:extLst>
            </p:cNvPr>
            <p:cNvGrpSpPr/>
            <p:nvPr/>
          </p:nvGrpSpPr>
          <p:grpSpPr>
            <a:xfrm>
              <a:off x="-1" y="5183761"/>
              <a:ext cx="425473" cy="1026586"/>
              <a:chOff x="0" y="5282896"/>
              <a:chExt cx="436762" cy="1241728"/>
            </a:xfrm>
          </p:grpSpPr>
          <p:sp>
            <p:nvSpPr>
              <p:cNvPr id="277" name="Freeform 14">
                <a:extLst>
                  <a:ext uri="{FF2B5EF4-FFF2-40B4-BE49-F238E27FC236}">
                    <a16:creationId xmlns:a16="http://schemas.microsoft.com/office/drawing/2014/main" id="{4DC2EBA9-70EF-0455-5F80-1AA07BB6CCAE}"/>
                  </a:ext>
                </a:extLst>
              </p:cNvPr>
              <p:cNvSpPr>
                <a:spLocks/>
              </p:cNvSpPr>
              <p:nvPr/>
            </p:nvSpPr>
            <p:spPr bwMode="auto">
              <a:xfrm>
                <a:off x="17982" y="5313808"/>
                <a:ext cx="393085" cy="1197236"/>
              </a:xfrm>
              <a:custGeom>
                <a:avLst/>
                <a:gdLst>
                  <a:gd name="T0" fmla="*/ 153 w 153"/>
                  <a:gd name="T1" fmla="*/ 0 h 1032"/>
                  <a:gd name="T2" fmla="*/ 150 w 153"/>
                  <a:gd name="T3" fmla="*/ 1032 h 1032"/>
                  <a:gd name="T4" fmla="*/ 0 w 153"/>
                  <a:gd name="T5" fmla="*/ 1032 h 1032"/>
                  <a:gd name="T6" fmla="*/ 0 w 153"/>
                  <a:gd name="T7" fmla="*/ 0 h 1032"/>
                  <a:gd name="T8" fmla="*/ 153 w 153"/>
                  <a:gd name="T9" fmla="*/ 0 h 1032"/>
                </a:gdLst>
                <a:ahLst/>
                <a:cxnLst>
                  <a:cxn ang="0">
                    <a:pos x="T0" y="T1"/>
                  </a:cxn>
                  <a:cxn ang="0">
                    <a:pos x="T2" y="T3"/>
                  </a:cxn>
                  <a:cxn ang="0">
                    <a:pos x="T4" y="T5"/>
                  </a:cxn>
                  <a:cxn ang="0">
                    <a:pos x="T6" y="T7"/>
                  </a:cxn>
                  <a:cxn ang="0">
                    <a:pos x="T8" y="T9"/>
                  </a:cxn>
                </a:cxnLst>
                <a:rect l="0" t="0" r="r" b="b"/>
                <a:pathLst>
                  <a:path w="153" h="1032">
                    <a:moveTo>
                      <a:pt x="153" y="0"/>
                    </a:moveTo>
                    <a:lnTo>
                      <a:pt x="150" y="1032"/>
                    </a:lnTo>
                    <a:lnTo>
                      <a:pt x="0" y="1032"/>
                    </a:lnTo>
                    <a:lnTo>
                      <a:pt x="0" y="0"/>
                    </a:lnTo>
                    <a:lnTo>
                      <a:pt x="153" y="0"/>
                    </a:lnTo>
                    <a:close/>
                  </a:path>
                </a:pathLst>
              </a:custGeom>
              <a:gradFill flip="none" rotWithShape="1">
                <a:gsLst>
                  <a:gs pos="0">
                    <a:sysClr val="window" lastClr="FFFFFF">
                      <a:alpha val="0"/>
                    </a:sysClr>
                  </a:gs>
                  <a:gs pos="50000">
                    <a:sysClr val="window" lastClr="FFFFFF"/>
                  </a:gs>
                  <a:gs pos="100000">
                    <a:sysClr val="window" lastClr="FFFFFF">
                      <a:alpha val="0"/>
                    </a:sysClr>
                  </a:gs>
                </a:gsLst>
                <a:lin ang="5400000" scaled="0"/>
                <a:tileRect/>
              </a:gradFill>
              <a:ln w="12700" cap="flat" cmpd="sng" algn="ctr">
                <a:noFill/>
                <a:prstDash val="solid"/>
                <a:miter lim="800000"/>
              </a:ln>
              <a:effectLst>
                <a:outerShdw blurRad="101600" dist="88900" sx="95000" sy="95000" algn="tl" rotWithShape="0">
                  <a:prstClr val="black">
                    <a:alpha val="5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8" name="Rectangle 277">
                <a:extLst>
                  <a:ext uri="{FF2B5EF4-FFF2-40B4-BE49-F238E27FC236}">
                    <a16:creationId xmlns:a16="http://schemas.microsoft.com/office/drawing/2014/main" id="{87ED50DA-CD65-A592-5192-B5A2DA38CE54}"/>
                  </a:ext>
                </a:extLst>
              </p:cNvPr>
              <p:cNvSpPr/>
              <p:nvPr/>
            </p:nvSpPr>
            <p:spPr>
              <a:xfrm>
                <a:off x="0" y="5282896"/>
                <a:ext cx="436762" cy="1241728"/>
              </a:xfrm>
              <a:prstGeom prst="rect">
                <a:avLst/>
              </a:prstGeom>
              <a:solidFill>
                <a:srgbClr val="F6F5F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228" name="Picture 2" descr="Data Icon 2500462">
              <a:extLst>
                <a:ext uri="{FF2B5EF4-FFF2-40B4-BE49-F238E27FC236}">
                  <a16:creationId xmlns:a16="http://schemas.microsoft.com/office/drawing/2014/main" id="{A646ADA8-57C7-77F7-1CC4-D29C135B00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03282" y="5239419"/>
              <a:ext cx="891266" cy="891266"/>
            </a:xfrm>
            <a:prstGeom prst="rect">
              <a:avLst/>
            </a:prstGeom>
            <a:noFill/>
            <a:extLst>
              <a:ext uri="{909E8E84-426E-40DD-AFC4-6F175D3DCCD1}">
                <a14:hiddenFill xmlns:a14="http://schemas.microsoft.com/office/drawing/2010/main">
                  <a:solidFill>
                    <a:srgbClr val="FFFFFF"/>
                  </a:solidFill>
                </a14:hiddenFill>
              </a:ext>
            </a:extLst>
          </p:spPr>
        </p:pic>
        <p:sp>
          <p:nvSpPr>
            <p:cNvPr id="276" name="TextBox 275">
              <a:extLst>
                <a:ext uri="{FF2B5EF4-FFF2-40B4-BE49-F238E27FC236}">
                  <a16:creationId xmlns:a16="http://schemas.microsoft.com/office/drawing/2014/main" id="{FE2A2E10-6AA1-E7E1-AD49-03732866DB84}"/>
                </a:ext>
              </a:extLst>
            </p:cNvPr>
            <p:cNvSpPr txBox="1"/>
            <p:nvPr/>
          </p:nvSpPr>
          <p:spPr>
            <a:xfrm>
              <a:off x="1178969" y="5369446"/>
              <a:ext cx="963006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L osimertinib + ChT demonstrated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improved CNS efficacy</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b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s osimertinib monotherapy</a:t>
              </a:r>
              <a:r>
                <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grpSp>
      <p:sp>
        <p:nvSpPr>
          <p:cNvPr id="2" name="Title 1">
            <a:extLst>
              <a:ext uri="{FF2B5EF4-FFF2-40B4-BE49-F238E27FC236}">
                <a16:creationId xmlns:a16="http://schemas.microsoft.com/office/drawing/2014/main" id="{A75DB17F-730E-655F-193C-812B26F9B8A8}"/>
              </a:ext>
            </a:extLst>
          </p:cNvPr>
          <p:cNvSpPr>
            <a:spLocks noGrp="1"/>
          </p:cNvSpPr>
          <p:nvPr>
            <p:ph type="title"/>
          </p:nvPr>
        </p:nvSpPr>
        <p:spPr/>
        <p:txBody>
          <a:bodyPr/>
          <a:lstStyle/>
          <a:p>
            <a:r>
              <a:rPr lang="en-GB" noProof="0" dirty="0"/>
              <a:t>Osimertinib + ChT: CNS PFS by BICR</a:t>
            </a:r>
          </a:p>
        </p:txBody>
      </p:sp>
      <p:sp>
        <p:nvSpPr>
          <p:cNvPr id="4" name="Text Placeholder 3">
            <a:extLst>
              <a:ext uri="{FF2B5EF4-FFF2-40B4-BE49-F238E27FC236}">
                <a16:creationId xmlns:a16="http://schemas.microsoft.com/office/drawing/2014/main" id="{51EC30CC-1377-C80A-CA36-15285FD3FFA1}"/>
              </a:ext>
            </a:extLst>
          </p:cNvPr>
          <p:cNvSpPr>
            <a:spLocks noGrp="1"/>
          </p:cNvSpPr>
          <p:nvPr>
            <p:ph type="body" sz="quarter" idx="13"/>
          </p:nvPr>
        </p:nvSpPr>
        <p:spPr>
          <a:xfrm>
            <a:off x="7063740" y="6524625"/>
            <a:ext cx="4695170" cy="230832"/>
          </a:xfrm>
        </p:spPr>
        <p:txBody>
          <a:bodyPr/>
          <a:lstStyle/>
          <a:p>
            <a:r>
              <a:rPr lang="en-GB" noProof="0" dirty="0"/>
              <a:t>1L, first-line; BICR, blinded independent central review; ChT, chemotherapy; CNS, central nervous system; </a:t>
            </a:r>
            <a:br>
              <a:rPr lang="en-GB" noProof="0" dirty="0"/>
            </a:br>
            <a:r>
              <a:rPr lang="en-GB" noProof="0" dirty="0"/>
              <a:t>CT, computed tomography; HR, hazard ratio; MRI, magnetic resonance imaging; NC, not calculable; </a:t>
            </a:r>
            <a:br>
              <a:rPr lang="en-GB" noProof="0" dirty="0"/>
            </a:br>
            <a:r>
              <a:rPr lang="en-GB" noProof="0" dirty="0"/>
              <a:t>PD, progressive disease; RECIST, Response Evaluation Criteria in Solid Tumours.</a:t>
            </a:r>
          </a:p>
        </p:txBody>
      </p:sp>
      <p:sp>
        <p:nvSpPr>
          <p:cNvPr id="5" name="Text Placeholder 4">
            <a:extLst>
              <a:ext uri="{FF2B5EF4-FFF2-40B4-BE49-F238E27FC236}">
                <a16:creationId xmlns:a16="http://schemas.microsoft.com/office/drawing/2014/main" id="{062FDCDA-9019-63E4-79DB-565DC6F938C5}"/>
              </a:ext>
            </a:extLst>
          </p:cNvPr>
          <p:cNvSpPr>
            <a:spLocks noGrp="1"/>
          </p:cNvSpPr>
          <p:nvPr>
            <p:ph type="body" sz="quarter" idx="15"/>
          </p:nvPr>
        </p:nvSpPr>
        <p:spPr/>
        <p:txBody>
          <a:bodyPr/>
          <a:lstStyle/>
          <a:p>
            <a:r>
              <a:rPr lang="en-GB" noProof="0" dirty="0"/>
              <a:t>1. Jänne PA, et al. </a:t>
            </a:r>
            <a:r>
              <a:rPr lang="en-GB" i="1" noProof="0" dirty="0"/>
              <a:t>J Clin Oncol</a:t>
            </a:r>
            <a:r>
              <a:rPr lang="en-GB" noProof="0" dirty="0"/>
              <a:t>. 2024;42:808–20; 2. Planchard D, et al. </a:t>
            </a:r>
            <a:r>
              <a:rPr lang="en-GB" i="1" noProof="0" dirty="0"/>
              <a:t>N Engl J Med</a:t>
            </a:r>
            <a:r>
              <a:rPr lang="en-GB" noProof="0" dirty="0"/>
              <a:t>. 2023;389:1935–48 (Study protocol).</a:t>
            </a:r>
          </a:p>
        </p:txBody>
      </p:sp>
      <p:sp>
        <p:nvSpPr>
          <p:cNvPr id="14" name="Rectangle 13">
            <a:extLst>
              <a:ext uri="{FF2B5EF4-FFF2-40B4-BE49-F238E27FC236}">
                <a16:creationId xmlns:a16="http://schemas.microsoft.com/office/drawing/2014/main" id="{8785AEB6-4FBB-D142-1096-10D2BCC2B08A}"/>
              </a:ext>
            </a:extLst>
          </p:cNvPr>
          <p:cNvSpPr/>
          <p:nvPr/>
        </p:nvSpPr>
        <p:spPr>
          <a:xfrm>
            <a:off x="441511" y="1080722"/>
            <a:ext cx="6399236" cy="4286992"/>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386AC67B-4792-D64B-895D-B95499CF81E0}"/>
              </a:ext>
            </a:extLst>
          </p:cNvPr>
          <p:cNvSpPr txBox="1"/>
          <p:nvPr/>
        </p:nvSpPr>
        <p:spPr>
          <a:xfrm>
            <a:off x="442799" y="1066058"/>
            <a:ext cx="6399236" cy="355276"/>
          </a:xfrm>
          <a:prstGeom prst="rect">
            <a:avLst/>
          </a:prstGeom>
          <a:gradFill>
            <a:gsLst>
              <a:gs pos="0">
                <a:schemeClr val="accent6"/>
              </a:gs>
              <a:gs pos="100000">
                <a:schemeClr val="accent6"/>
              </a:gs>
              <a:gs pos="93000">
                <a:schemeClr val="accent4"/>
              </a:gs>
              <a:gs pos="7000">
                <a:schemeClr val="accent4"/>
              </a:gs>
            </a:gsLst>
            <a:lin ang="0" scaled="1"/>
          </a:gradFill>
        </p:spPr>
        <p:txBody>
          <a:bodyPr wrap="square" lIns="108000" tIns="54000" rIns="108000" bIns="54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NS PFS in the CNS full analysis set</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a:t>
            </a:r>
          </a:p>
        </p:txBody>
      </p:sp>
      <p:graphicFrame>
        <p:nvGraphicFramePr>
          <p:cNvPr id="16" name="Table 8">
            <a:extLst>
              <a:ext uri="{FF2B5EF4-FFF2-40B4-BE49-F238E27FC236}">
                <a16:creationId xmlns:a16="http://schemas.microsoft.com/office/drawing/2014/main" id="{526BD8C3-99F2-C629-34EA-BA1BFE6B4071}"/>
              </a:ext>
            </a:extLst>
          </p:cNvPr>
          <p:cNvGraphicFramePr>
            <a:graphicFrameLocks noGrp="1"/>
          </p:cNvGraphicFramePr>
          <p:nvPr/>
        </p:nvGraphicFramePr>
        <p:xfrm>
          <a:off x="642143" y="4486433"/>
          <a:ext cx="6037914" cy="822960"/>
        </p:xfrm>
        <a:graphic>
          <a:graphicData uri="http://schemas.openxmlformats.org/drawingml/2006/table">
            <a:tbl>
              <a:tblPr firstRow="1">
                <a:effectLst/>
              </a:tblPr>
              <a:tblGrid>
                <a:gridCol w="1717914">
                  <a:extLst>
                    <a:ext uri="{9D8B030D-6E8A-4147-A177-3AD203B41FA5}">
                      <a16:colId xmlns:a16="http://schemas.microsoft.com/office/drawing/2014/main" val="3609005308"/>
                    </a:ext>
                  </a:extLst>
                </a:gridCol>
                <a:gridCol w="1692000">
                  <a:extLst>
                    <a:ext uri="{9D8B030D-6E8A-4147-A177-3AD203B41FA5}">
                      <a16:colId xmlns:a16="http://schemas.microsoft.com/office/drawing/2014/main" val="3388733588"/>
                    </a:ext>
                  </a:extLst>
                </a:gridCol>
                <a:gridCol w="2628000">
                  <a:extLst>
                    <a:ext uri="{9D8B030D-6E8A-4147-A177-3AD203B41FA5}">
                      <a16:colId xmlns:a16="http://schemas.microsoft.com/office/drawing/2014/main" val="531657196"/>
                    </a:ext>
                  </a:extLst>
                </a:gridCol>
              </a:tblGrid>
              <a:tr h="0">
                <a:tc gridSpan="3">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l"/>
                      <a:r>
                        <a:rPr lang="en-GB" sz="1200" noProof="0" dirty="0">
                          <a:solidFill>
                            <a:schemeClr val="bg1"/>
                          </a:solidFill>
                          <a:latin typeface="Arial" panose="020B0604020202020204" pitchFamily="34" charset="0"/>
                          <a:cs typeface="Arial" panose="020B0604020202020204" pitchFamily="34" charset="0"/>
                        </a:rPr>
                        <a:t>Median CNS PFS,</a:t>
                      </a:r>
                      <a:r>
                        <a:rPr lang="en-GB" sz="1200" baseline="0" noProof="0" dirty="0">
                          <a:solidFill>
                            <a:schemeClr val="bg1"/>
                          </a:solidFill>
                          <a:latin typeface="Arial" panose="020B0604020202020204" pitchFamily="34" charset="0"/>
                          <a:cs typeface="Arial" panose="020B0604020202020204" pitchFamily="34" charset="0"/>
                        </a:rPr>
                        <a:t> </a:t>
                      </a:r>
                      <a:r>
                        <a:rPr lang="en-GB" sz="1200" b="1" noProof="0" dirty="0">
                          <a:solidFill>
                            <a:schemeClr val="bg1"/>
                          </a:solidFill>
                          <a:latin typeface="Arial" panose="020B0604020202020204" pitchFamily="34" charset="0"/>
                          <a:cs typeface="Arial" panose="020B0604020202020204" pitchFamily="34" charset="0"/>
                        </a:rPr>
                        <a:t>months </a:t>
                      </a:r>
                      <a:r>
                        <a:rPr lang="en-GB" sz="1200" b="0" noProof="0" dirty="0">
                          <a:solidFill>
                            <a:schemeClr val="bg1"/>
                          </a:solidFill>
                          <a:latin typeface="Arial" panose="020B0604020202020204" pitchFamily="34" charset="0"/>
                          <a:cs typeface="Arial" panose="020B0604020202020204" pitchFamily="34" charset="0"/>
                        </a:rPr>
                        <a:t>(95% CI)</a:t>
                      </a:r>
                      <a:endParaRPr lang="en-GB" sz="1200" b="0" baseline="30000" noProof="0" dirty="0">
                        <a:solidFill>
                          <a:schemeClr val="bg1"/>
                        </a:solidFill>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a:endParaRPr lang="en-US" sz="1400" b="0">
                        <a:solidFill>
                          <a:schemeClr val="bg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15754074"/>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GB" sz="1200" b="1" noProof="0">
                          <a:solidFill>
                            <a:schemeClr val="bg1"/>
                          </a:solidFill>
                          <a:latin typeface="Arial" panose="020B0604020202020204" pitchFamily="34" charset="0"/>
                          <a:cs typeface="Arial" panose="020B0604020202020204" pitchFamily="34" charset="0"/>
                        </a:rPr>
                        <a:t>Osimertinib + ChT</a:t>
                      </a:r>
                    </a:p>
                  </a:txBody>
                  <a:tcPr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rgbClr val="000000"/>
                          </a:solidFill>
                          <a:latin typeface="Arial" panose="020B0604020202020204" pitchFamily="34" charset="0"/>
                          <a:cs typeface="Arial" panose="020B0604020202020204" pitchFamily="34" charset="0"/>
                        </a:rPr>
                        <a:t>30.2</a:t>
                      </a:r>
                      <a:r>
                        <a:rPr lang="en-GB" sz="1200" noProof="0" dirty="0">
                          <a:solidFill>
                            <a:srgbClr val="000000"/>
                          </a:solidFill>
                          <a:latin typeface="Arial" panose="020B0604020202020204" pitchFamily="34" charset="0"/>
                          <a:cs typeface="Arial" panose="020B0604020202020204" pitchFamily="34" charset="0"/>
                        </a:rPr>
                        <a:t> (28.4–N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kern="1200" noProof="0" dirty="0">
                          <a:solidFill>
                            <a:srgbClr val="000000"/>
                          </a:solidFill>
                          <a:latin typeface="Arial" panose="020B0604020202020204" pitchFamily="34" charset="0"/>
                          <a:ea typeface="+mn-ea"/>
                          <a:cs typeface="Arial" panose="020B0604020202020204" pitchFamily="34" charset="0"/>
                        </a:rPr>
                        <a:t>HR, 0.58 </a:t>
                      </a:r>
                      <a:r>
                        <a:rPr lang="en-GB" sz="1200" i="0" kern="1200" noProof="0" dirty="0">
                          <a:solidFill>
                            <a:srgbClr val="000000"/>
                          </a:solidFill>
                          <a:latin typeface="Arial" panose="020B0604020202020204" pitchFamily="34" charset="0"/>
                          <a:ea typeface="+mn-ea"/>
                          <a:cs typeface="Arial" panose="020B0604020202020204" pitchFamily="34" charset="0"/>
                        </a:rPr>
                        <a:t>(95% CI, 0.33</a:t>
                      </a:r>
                      <a:r>
                        <a:rPr lang="en-GB" sz="1200" i="0" noProof="0" dirty="0">
                          <a:solidFill>
                            <a:srgbClr val="000000"/>
                          </a:solidFill>
                          <a:latin typeface="Arial" panose="020B0604020202020204" pitchFamily="34" charset="0"/>
                          <a:cs typeface="Arial" panose="020B0604020202020204" pitchFamily="34" charset="0"/>
                        </a:rPr>
                        <a:t>–</a:t>
                      </a:r>
                      <a:r>
                        <a:rPr lang="en-GB" sz="1200" i="0" kern="1200" noProof="0" dirty="0">
                          <a:solidFill>
                            <a:srgbClr val="000000"/>
                          </a:solidFill>
                          <a:latin typeface="Arial" panose="020B0604020202020204" pitchFamily="34" charset="0"/>
                          <a:ea typeface="+mn-ea"/>
                          <a:cs typeface="Arial" panose="020B0604020202020204" pitchFamily="34" charset="0"/>
                        </a:rPr>
                        <a:t>1.01)</a:t>
                      </a:r>
                      <a:r>
                        <a:rPr lang="en-GB" sz="1200" b="1" i="0" kern="1200" noProof="0" dirty="0">
                          <a:solidFill>
                            <a:srgbClr val="000000"/>
                          </a:solidFill>
                          <a:latin typeface="Arial" panose="020B0604020202020204" pitchFamily="34" charset="0"/>
                          <a:ea typeface="+mn-ea"/>
                          <a:cs typeface="Arial" panose="020B0604020202020204" pitchFamily="34" charset="0"/>
                        </a:rPr>
                        <a:t>; p=0.0548</a:t>
                      </a:r>
                    </a:p>
                  </a:txBody>
                  <a:tcPr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6F5F4"/>
                    </a:solidFill>
                  </a:tcPr>
                </a:tc>
                <a:extLst>
                  <a:ext uri="{0D108BD9-81ED-4DB2-BD59-A6C34878D82A}">
                    <a16:rowId xmlns:a16="http://schemas.microsoft.com/office/drawing/2014/main" val="1300018867"/>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GB" sz="1200" b="1" noProof="0">
                          <a:solidFill>
                            <a:schemeClr val="bg1"/>
                          </a:solidFill>
                          <a:latin typeface="Arial" panose="020B0604020202020204" pitchFamily="34" charset="0"/>
                          <a:cs typeface="Arial" panose="020B0604020202020204" pitchFamily="34" charset="0"/>
                        </a:rPr>
                        <a:t>Osimertinib</a:t>
                      </a:r>
                    </a:p>
                  </a:txBody>
                  <a:tcPr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rgbClr val="000000"/>
                          </a:solidFill>
                          <a:latin typeface="Arial" panose="020B0604020202020204" pitchFamily="34" charset="0"/>
                          <a:cs typeface="Arial" panose="020B0604020202020204" pitchFamily="34" charset="0"/>
                        </a:rPr>
                        <a:t>27.6 </a:t>
                      </a:r>
                      <a:r>
                        <a:rPr lang="en-GB" sz="1200" noProof="0" dirty="0">
                          <a:solidFill>
                            <a:srgbClr val="000000"/>
                          </a:solidFill>
                          <a:latin typeface="Arial" panose="020B0604020202020204" pitchFamily="34" charset="0"/>
                          <a:cs typeface="Arial" panose="020B0604020202020204" pitchFamily="34" charset="0"/>
                        </a:rPr>
                        <a:t>(22.1–N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pPr algn="ctr"/>
                      <a:endParaRPr lang="en-US" sz="140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914406"/>
                  </a:ext>
                </a:extLst>
              </a:tr>
            </a:tbl>
          </a:graphicData>
        </a:graphic>
      </p:graphicFrame>
      <p:sp>
        <p:nvSpPr>
          <p:cNvPr id="7" name="TextBox 6">
            <a:extLst>
              <a:ext uri="{FF2B5EF4-FFF2-40B4-BE49-F238E27FC236}">
                <a16:creationId xmlns:a16="http://schemas.microsoft.com/office/drawing/2014/main" id="{FEB4A1B6-75F6-E7A9-295E-81D0D56F0955}"/>
              </a:ext>
            </a:extLst>
          </p:cNvPr>
          <p:cNvSpPr txBox="1"/>
          <p:nvPr/>
        </p:nvSpPr>
        <p:spPr>
          <a:xfrm>
            <a:off x="970218" y="4050249"/>
            <a:ext cx="394659"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4</a:t>
            </a:r>
          </a:p>
        </p:txBody>
      </p:sp>
      <p:sp>
        <p:nvSpPr>
          <p:cNvPr id="8" name="TextBox 7">
            <a:extLst>
              <a:ext uri="{FF2B5EF4-FFF2-40B4-BE49-F238E27FC236}">
                <a16:creationId xmlns:a16="http://schemas.microsoft.com/office/drawing/2014/main" id="{158F2066-BED0-F8D5-064D-26B57F5EC404}"/>
              </a:ext>
            </a:extLst>
          </p:cNvPr>
          <p:cNvSpPr txBox="1"/>
          <p:nvPr/>
        </p:nvSpPr>
        <p:spPr>
          <a:xfrm>
            <a:off x="6431280" y="4050249"/>
            <a:ext cx="25519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9" name="TextBox 8">
            <a:extLst>
              <a:ext uri="{FF2B5EF4-FFF2-40B4-BE49-F238E27FC236}">
                <a16:creationId xmlns:a16="http://schemas.microsoft.com/office/drawing/2014/main" id="{33DD032B-3FE6-EA69-7815-CA55283B5080}"/>
              </a:ext>
            </a:extLst>
          </p:cNvPr>
          <p:cNvSpPr txBox="1"/>
          <p:nvPr/>
        </p:nvSpPr>
        <p:spPr>
          <a:xfrm>
            <a:off x="1417892" y="4050249"/>
            <a:ext cx="397866"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1</a:t>
            </a:r>
          </a:p>
        </p:txBody>
      </p:sp>
      <p:sp>
        <p:nvSpPr>
          <p:cNvPr id="10" name="TextBox 9">
            <a:extLst>
              <a:ext uri="{FF2B5EF4-FFF2-40B4-BE49-F238E27FC236}">
                <a16:creationId xmlns:a16="http://schemas.microsoft.com/office/drawing/2014/main" id="{A0D34AAE-EAD0-5E28-05B5-833702F1D85B}"/>
              </a:ext>
            </a:extLst>
          </p:cNvPr>
          <p:cNvSpPr txBox="1"/>
          <p:nvPr/>
        </p:nvSpPr>
        <p:spPr>
          <a:xfrm>
            <a:off x="1903238" y="4050249"/>
            <a:ext cx="3257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1</a:t>
            </a:r>
          </a:p>
        </p:txBody>
      </p:sp>
      <p:sp>
        <p:nvSpPr>
          <p:cNvPr id="11" name="TextBox 10">
            <a:extLst>
              <a:ext uri="{FF2B5EF4-FFF2-40B4-BE49-F238E27FC236}">
                <a16:creationId xmlns:a16="http://schemas.microsoft.com/office/drawing/2014/main" id="{BDCB0152-A352-D7A5-98CF-B40D69DD055A}"/>
              </a:ext>
            </a:extLst>
          </p:cNvPr>
          <p:cNvSpPr txBox="1"/>
          <p:nvPr/>
        </p:nvSpPr>
        <p:spPr>
          <a:xfrm>
            <a:off x="2346103" y="4050249"/>
            <a:ext cx="338554"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2</a:t>
            </a:r>
          </a:p>
        </p:txBody>
      </p:sp>
      <p:sp>
        <p:nvSpPr>
          <p:cNvPr id="12" name="TextBox 11">
            <a:extLst>
              <a:ext uri="{FF2B5EF4-FFF2-40B4-BE49-F238E27FC236}">
                <a16:creationId xmlns:a16="http://schemas.microsoft.com/office/drawing/2014/main" id="{F025323D-8807-8E2A-6CD1-FC91DD2C3DBC}"/>
              </a:ext>
            </a:extLst>
          </p:cNvPr>
          <p:cNvSpPr txBox="1"/>
          <p:nvPr/>
        </p:nvSpPr>
        <p:spPr>
          <a:xfrm>
            <a:off x="2801793" y="4050249"/>
            <a:ext cx="3257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1</a:t>
            </a:r>
          </a:p>
        </p:txBody>
      </p:sp>
      <p:sp>
        <p:nvSpPr>
          <p:cNvPr id="13" name="TextBox 12">
            <a:extLst>
              <a:ext uri="{FF2B5EF4-FFF2-40B4-BE49-F238E27FC236}">
                <a16:creationId xmlns:a16="http://schemas.microsoft.com/office/drawing/2014/main" id="{CA048A6A-B0D0-6D3E-9707-27FD40C136AD}"/>
              </a:ext>
            </a:extLst>
          </p:cNvPr>
          <p:cNvSpPr txBox="1"/>
          <p:nvPr/>
        </p:nvSpPr>
        <p:spPr>
          <a:xfrm>
            <a:off x="3251069" y="4050249"/>
            <a:ext cx="3257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p>
        </p:txBody>
      </p:sp>
      <p:sp>
        <p:nvSpPr>
          <p:cNvPr id="279" name="TextBox 278">
            <a:extLst>
              <a:ext uri="{FF2B5EF4-FFF2-40B4-BE49-F238E27FC236}">
                <a16:creationId xmlns:a16="http://schemas.microsoft.com/office/drawing/2014/main" id="{69E5A2DF-6F14-F2DB-BD9C-21E394226C30}"/>
              </a:ext>
            </a:extLst>
          </p:cNvPr>
          <p:cNvSpPr txBox="1"/>
          <p:nvPr/>
        </p:nvSpPr>
        <p:spPr>
          <a:xfrm>
            <a:off x="3700348" y="4050249"/>
            <a:ext cx="3257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a:t>
            </a:r>
          </a:p>
        </p:txBody>
      </p:sp>
      <p:sp>
        <p:nvSpPr>
          <p:cNvPr id="280" name="TextBox 279">
            <a:extLst>
              <a:ext uri="{FF2B5EF4-FFF2-40B4-BE49-F238E27FC236}">
                <a16:creationId xmlns:a16="http://schemas.microsoft.com/office/drawing/2014/main" id="{C3A4BD43-BF84-84EC-8C53-46E751BE2D2C}"/>
              </a:ext>
            </a:extLst>
          </p:cNvPr>
          <p:cNvSpPr txBox="1"/>
          <p:nvPr/>
        </p:nvSpPr>
        <p:spPr>
          <a:xfrm>
            <a:off x="4143213" y="4050249"/>
            <a:ext cx="338554"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a:t>
            </a:r>
          </a:p>
        </p:txBody>
      </p:sp>
      <p:sp>
        <p:nvSpPr>
          <p:cNvPr id="281" name="TextBox 280">
            <a:extLst>
              <a:ext uri="{FF2B5EF4-FFF2-40B4-BE49-F238E27FC236}">
                <a16:creationId xmlns:a16="http://schemas.microsoft.com/office/drawing/2014/main" id="{3952360A-274A-6886-5349-2B952589CD77}"/>
              </a:ext>
            </a:extLst>
          </p:cNvPr>
          <p:cNvSpPr txBox="1"/>
          <p:nvPr/>
        </p:nvSpPr>
        <p:spPr>
          <a:xfrm>
            <a:off x="4592490" y="4050249"/>
            <a:ext cx="338554"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282" name="TextBox 281">
            <a:extLst>
              <a:ext uri="{FF2B5EF4-FFF2-40B4-BE49-F238E27FC236}">
                <a16:creationId xmlns:a16="http://schemas.microsoft.com/office/drawing/2014/main" id="{DCD7B787-3406-A0FB-5B62-B875B33DFE19}"/>
              </a:ext>
            </a:extLst>
          </p:cNvPr>
          <p:cNvSpPr txBox="1"/>
          <p:nvPr/>
        </p:nvSpPr>
        <p:spPr>
          <a:xfrm>
            <a:off x="5048180" y="4050249"/>
            <a:ext cx="325731"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283" name="TextBox 282">
            <a:extLst>
              <a:ext uri="{FF2B5EF4-FFF2-40B4-BE49-F238E27FC236}">
                <a16:creationId xmlns:a16="http://schemas.microsoft.com/office/drawing/2014/main" id="{3AD0D3E4-98DD-40B8-0277-7F7B95FF60EA}"/>
              </a:ext>
            </a:extLst>
          </p:cNvPr>
          <p:cNvSpPr txBox="1"/>
          <p:nvPr/>
        </p:nvSpPr>
        <p:spPr>
          <a:xfrm>
            <a:off x="5528716" y="4050249"/>
            <a:ext cx="263213"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284" name="TextBox 283">
            <a:extLst>
              <a:ext uri="{FF2B5EF4-FFF2-40B4-BE49-F238E27FC236}">
                <a16:creationId xmlns:a16="http://schemas.microsoft.com/office/drawing/2014/main" id="{F27EE3D0-B949-D365-A508-C0C7AB41B41B}"/>
              </a:ext>
            </a:extLst>
          </p:cNvPr>
          <p:cNvSpPr txBox="1"/>
          <p:nvPr/>
        </p:nvSpPr>
        <p:spPr>
          <a:xfrm>
            <a:off x="5979596" y="4050249"/>
            <a:ext cx="26000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285" name="TextBox 284">
            <a:extLst>
              <a:ext uri="{FF2B5EF4-FFF2-40B4-BE49-F238E27FC236}">
                <a16:creationId xmlns:a16="http://schemas.microsoft.com/office/drawing/2014/main" id="{CD8F5E50-36B0-6A99-6E1B-88F325421D90}"/>
              </a:ext>
            </a:extLst>
          </p:cNvPr>
          <p:cNvSpPr txBox="1"/>
          <p:nvPr/>
        </p:nvSpPr>
        <p:spPr>
          <a:xfrm rot="16200000">
            <a:off x="-267144" y="2422494"/>
            <a:ext cx="1880643"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bability of CNS PFS</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2" name="TextBox 291">
            <a:extLst>
              <a:ext uri="{FF2B5EF4-FFF2-40B4-BE49-F238E27FC236}">
                <a16:creationId xmlns:a16="http://schemas.microsoft.com/office/drawing/2014/main" id="{03DE3B75-3E27-27E7-A382-34A8C6D1010D}"/>
              </a:ext>
            </a:extLst>
          </p:cNvPr>
          <p:cNvSpPr txBox="1"/>
          <p:nvPr/>
        </p:nvSpPr>
        <p:spPr>
          <a:xfrm>
            <a:off x="3503938" y="3782658"/>
            <a:ext cx="73289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ths</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95" name="Group 294">
            <a:extLst>
              <a:ext uri="{FF2B5EF4-FFF2-40B4-BE49-F238E27FC236}">
                <a16:creationId xmlns:a16="http://schemas.microsoft.com/office/drawing/2014/main" id="{A0DEBAFC-5E0D-C263-EE27-C45A00376D99}"/>
              </a:ext>
            </a:extLst>
          </p:cNvPr>
          <p:cNvGrpSpPr/>
          <p:nvPr/>
        </p:nvGrpSpPr>
        <p:grpSpPr>
          <a:xfrm>
            <a:off x="1043153" y="3548019"/>
            <a:ext cx="248786" cy="267561"/>
            <a:chOff x="1251367" y="3256727"/>
            <a:chExt cx="188948" cy="244758"/>
          </a:xfrm>
        </p:grpSpPr>
        <p:sp>
          <p:nvSpPr>
            <p:cNvPr id="296" name="TextBox 295">
              <a:extLst>
                <a:ext uri="{FF2B5EF4-FFF2-40B4-BE49-F238E27FC236}">
                  <a16:creationId xmlns:a16="http://schemas.microsoft.com/office/drawing/2014/main" id="{FE16569C-811F-C71C-ED7C-E0BF43AF63B2}"/>
                </a:ext>
              </a:extLst>
            </p:cNvPr>
            <p:cNvSpPr txBox="1"/>
            <p:nvPr/>
          </p:nvSpPr>
          <p:spPr>
            <a:xfrm>
              <a:off x="1251367" y="3290326"/>
              <a:ext cx="188948"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cxnSp>
          <p:nvCxnSpPr>
            <p:cNvPr id="297" name="Straight Connector 296">
              <a:extLst>
                <a:ext uri="{FF2B5EF4-FFF2-40B4-BE49-F238E27FC236}">
                  <a16:creationId xmlns:a16="http://schemas.microsoft.com/office/drawing/2014/main" id="{66037966-15BF-98D4-F043-7C90EC2A52C6}"/>
                </a:ext>
              </a:extLst>
            </p:cNvPr>
            <p:cNvCxnSpPr>
              <a:cxnSpLocks/>
            </p:cNvCxnSpPr>
            <p:nvPr/>
          </p:nvCxnSpPr>
          <p:spPr>
            <a:xfrm>
              <a:off x="1344895" y="3256727"/>
              <a:ext cx="1" cy="64800"/>
            </a:xfrm>
            <a:prstGeom prst="line">
              <a:avLst/>
            </a:prstGeom>
            <a:noFill/>
            <a:ln w="12700" cap="flat" cmpd="sng" algn="ctr">
              <a:solidFill>
                <a:schemeClr val="tx1"/>
              </a:solidFill>
              <a:prstDash val="solid"/>
              <a:miter lim="800000"/>
            </a:ln>
            <a:effectLst/>
          </p:spPr>
        </p:cxnSp>
      </p:grpSp>
      <p:sp>
        <p:nvSpPr>
          <p:cNvPr id="298" name="Freeform: Shape 297">
            <a:extLst>
              <a:ext uri="{FF2B5EF4-FFF2-40B4-BE49-F238E27FC236}">
                <a16:creationId xmlns:a16="http://schemas.microsoft.com/office/drawing/2014/main" id="{B317DBBD-48B9-9F89-1BB4-0CB61B2DF765}"/>
              </a:ext>
            </a:extLst>
          </p:cNvPr>
          <p:cNvSpPr/>
          <p:nvPr/>
        </p:nvSpPr>
        <p:spPr>
          <a:xfrm>
            <a:off x="1165782" y="1640898"/>
            <a:ext cx="5383603" cy="1906500"/>
          </a:xfrm>
          <a:custGeom>
            <a:avLst/>
            <a:gdLst>
              <a:gd name="connsiteX0" fmla="*/ 0 w 5341434"/>
              <a:gd name="connsiteY0" fmla="*/ 0 h 2219093"/>
              <a:gd name="connsiteX1" fmla="*/ 0 w 5341434"/>
              <a:gd name="connsiteY1" fmla="*/ 2219093 h 2219093"/>
              <a:gd name="connsiteX2" fmla="*/ 133815 w 5341434"/>
              <a:gd name="connsiteY2" fmla="*/ 2219093 h 2219093"/>
              <a:gd name="connsiteX3" fmla="*/ 5341434 w 5341434"/>
              <a:gd name="connsiteY3" fmla="*/ 2219093 h 2219093"/>
            </a:gdLst>
            <a:ahLst/>
            <a:cxnLst>
              <a:cxn ang="0">
                <a:pos x="connsiteX0" y="connsiteY0"/>
              </a:cxn>
              <a:cxn ang="0">
                <a:pos x="connsiteX1" y="connsiteY1"/>
              </a:cxn>
              <a:cxn ang="0">
                <a:pos x="connsiteX2" y="connsiteY2"/>
              </a:cxn>
              <a:cxn ang="0">
                <a:pos x="connsiteX3" y="connsiteY3"/>
              </a:cxn>
            </a:cxnLst>
            <a:rect l="l" t="t" r="r" b="b"/>
            <a:pathLst>
              <a:path w="5341434" h="2219093">
                <a:moveTo>
                  <a:pt x="0" y="0"/>
                </a:moveTo>
                <a:lnTo>
                  <a:pt x="0" y="2219093"/>
                </a:lnTo>
                <a:lnTo>
                  <a:pt x="133815" y="2219093"/>
                </a:lnTo>
                <a:lnTo>
                  <a:pt x="5341434" y="2219093"/>
                </a:lnTo>
              </a:path>
            </a:pathLst>
          </a:custGeom>
          <a:noFill/>
          <a:ln w="1270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99" name="Group 298">
            <a:extLst>
              <a:ext uri="{FF2B5EF4-FFF2-40B4-BE49-F238E27FC236}">
                <a16:creationId xmlns:a16="http://schemas.microsoft.com/office/drawing/2014/main" id="{DBF25492-3E55-4A76-08AA-9F8A43C47D09}"/>
              </a:ext>
            </a:extLst>
          </p:cNvPr>
          <p:cNvGrpSpPr/>
          <p:nvPr/>
        </p:nvGrpSpPr>
        <p:grpSpPr>
          <a:xfrm>
            <a:off x="892978" y="3429662"/>
            <a:ext cx="270241" cy="230832"/>
            <a:chOff x="1164014" y="1819812"/>
            <a:chExt cx="205242" cy="211159"/>
          </a:xfrm>
        </p:grpSpPr>
        <p:cxnSp>
          <p:nvCxnSpPr>
            <p:cNvPr id="300" name="Straight Connector 299">
              <a:extLst>
                <a:ext uri="{FF2B5EF4-FFF2-40B4-BE49-F238E27FC236}">
                  <a16:creationId xmlns:a16="http://schemas.microsoft.com/office/drawing/2014/main" id="{07AD5237-3DFB-A766-D298-8B57DFB5D9CE}"/>
                </a:ext>
              </a:extLst>
            </p:cNvPr>
            <p:cNvCxnSpPr>
              <a:cxnSpLocks/>
            </p:cNvCxnSpPr>
            <p:nvPr/>
          </p:nvCxnSpPr>
          <p:spPr>
            <a:xfrm>
              <a:off x="1304919" y="1927569"/>
              <a:ext cx="64337" cy="0"/>
            </a:xfrm>
            <a:prstGeom prst="line">
              <a:avLst/>
            </a:prstGeom>
            <a:noFill/>
            <a:ln w="12700" cap="flat" cmpd="sng" algn="ctr">
              <a:solidFill>
                <a:schemeClr val="tx1"/>
              </a:solidFill>
              <a:prstDash val="solid"/>
              <a:miter lim="800000"/>
            </a:ln>
            <a:effectLst/>
          </p:spPr>
        </p:cxnSp>
        <p:sp>
          <p:nvSpPr>
            <p:cNvPr id="301" name="TextBox 300">
              <a:extLst>
                <a:ext uri="{FF2B5EF4-FFF2-40B4-BE49-F238E27FC236}">
                  <a16:creationId xmlns:a16="http://schemas.microsoft.com/office/drawing/2014/main" id="{88799D57-24B5-F49A-5FC4-4A5F7E4F99A4}"/>
                </a:ext>
              </a:extLst>
            </p:cNvPr>
            <p:cNvSpPr txBox="1"/>
            <p:nvPr/>
          </p:nvSpPr>
          <p:spPr>
            <a:xfrm>
              <a:off x="1164014" y="1819812"/>
              <a:ext cx="188948" cy="21115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grpSp>
      <p:grpSp>
        <p:nvGrpSpPr>
          <p:cNvPr id="302" name="Group 301">
            <a:extLst>
              <a:ext uri="{FF2B5EF4-FFF2-40B4-BE49-F238E27FC236}">
                <a16:creationId xmlns:a16="http://schemas.microsoft.com/office/drawing/2014/main" id="{43266D3E-CD64-61CB-CA07-186A03123A89}"/>
              </a:ext>
            </a:extLst>
          </p:cNvPr>
          <p:cNvGrpSpPr/>
          <p:nvPr/>
        </p:nvGrpSpPr>
        <p:grpSpPr>
          <a:xfrm>
            <a:off x="796793" y="2287074"/>
            <a:ext cx="366420" cy="230832"/>
            <a:chOff x="1090967" y="1819812"/>
            <a:chExt cx="278289" cy="211159"/>
          </a:xfrm>
        </p:grpSpPr>
        <p:cxnSp>
          <p:nvCxnSpPr>
            <p:cNvPr id="303" name="Straight Connector 302">
              <a:extLst>
                <a:ext uri="{FF2B5EF4-FFF2-40B4-BE49-F238E27FC236}">
                  <a16:creationId xmlns:a16="http://schemas.microsoft.com/office/drawing/2014/main" id="{A154AB06-7118-9120-8D4D-E80A10B9FD6C}"/>
                </a:ext>
              </a:extLst>
            </p:cNvPr>
            <p:cNvCxnSpPr>
              <a:cxnSpLocks/>
            </p:cNvCxnSpPr>
            <p:nvPr/>
          </p:nvCxnSpPr>
          <p:spPr>
            <a:xfrm>
              <a:off x="1304919" y="1925391"/>
              <a:ext cx="64337" cy="0"/>
            </a:xfrm>
            <a:prstGeom prst="line">
              <a:avLst/>
            </a:prstGeom>
            <a:noFill/>
            <a:ln w="12700" cap="flat" cmpd="sng" algn="ctr">
              <a:solidFill>
                <a:schemeClr val="tx1"/>
              </a:solidFill>
              <a:prstDash val="solid"/>
              <a:miter lim="800000"/>
            </a:ln>
            <a:effectLst/>
          </p:spPr>
        </p:cxnSp>
        <p:sp>
          <p:nvSpPr>
            <p:cNvPr id="304" name="TextBox 303">
              <a:extLst>
                <a:ext uri="{FF2B5EF4-FFF2-40B4-BE49-F238E27FC236}">
                  <a16:creationId xmlns:a16="http://schemas.microsoft.com/office/drawing/2014/main" id="{A23A323F-1C70-02E0-4849-E3323CBEA0C5}"/>
                </a:ext>
              </a:extLst>
            </p:cNvPr>
            <p:cNvSpPr txBox="1"/>
            <p:nvPr/>
          </p:nvSpPr>
          <p:spPr>
            <a:xfrm>
              <a:off x="1090967" y="1819812"/>
              <a:ext cx="261995" cy="21115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a:t>
              </a:r>
            </a:p>
          </p:txBody>
        </p:sp>
      </p:grpSp>
      <p:grpSp>
        <p:nvGrpSpPr>
          <p:cNvPr id="305" name="Group 304">
            <a:extLst>
              <a:ext uri="{FF2B5EF4-FFF2-40B4-BE49-F238E27FC236}">
                <a16:creationId xmlns:a16="http://schemas.microsoft.com/office/drawing/2014/main" id="{B132580A-7917-2140-77DF-2CFC042F61FA}"/>
              </a:ext>
            </a:extLst>
          </p:cNvPr>
          <p:cNvGrpSpPr/>
          <p:nvPr/>
        </p:nvGrpSpPr>
        <p:grpSpPr>
          <a:xfrm>
            <a:off x="1941711" y="3548019"/>
            <a:ext cx="248786" cy="267561"/>
            <a:chOff x="1933803" y="3256727"/>
            <a:chExt cx="188948" cy="244758"/>
          </a:xfrm>
        </p:grpSpPr>
        <p:sp>
          <p:nvSpPr>
            <p:cNvPr id="306" name="TextBox 305">
              <a:extLst>
                <a:ext uri="{FF2B5EF4-FFF2-40B4-BE49-F238E27FC236}">
                  <a16:creationId xmlns:a16="http://schemas.microsoft.com/office/drawing/2014/main" id="{AAED8469-45A2-39EC-C5A2-99AF6DF2EB73}"/>
                </a:ext>
              </a:extLst>
            </p:cNvPr>
            <p:cNvSpPr txBox="1"/>
            <p:nvPr/>
          </p:nvSpPr>
          <p:spPr>
            <a:xfrm>
              <a:off x="1933803" y="3290326"/>
              <a:ext cx="188948"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cxnSp>
          <p:nvCxnSpPr>
            <p:cNvPr id="307" name="Straight Connector 306">
              <a:extLst>
                <a:ext uri="{FF2B5EF4-FFF2-40B4-BE49-F238E27FC236}">
                  <a16:creationId xmlns:a16="http://schemas.microsoft.com/office/drawing/2014/main" id="{187611BC-9EC1-181C-FCF5-A3203B319AB8}"/>
                </a:ext>
              </a:extLst>
            </p:cNvPr>
            <p:cNvCxnSpPr>
              <a:cxnSpLocks/>
            </p:cNvCxnSpPr>
            <p:nvPr/>
          </p:nvCxnSpPr>
          <p:spPr>
            <a:xfrm>
              <a:off x="2027332" y="3256727"/>
              <a:ext cx="1" cy="64800"/>
            </a:xfrm>
            <a:prstGeom prst="line">
              <a:avLst/>
            </a:prstGeom>
            <a:noFill/>
            <a:ln w="12700" cap="flat" cmpd="sng" algn="ctr">
              <a:solidFill>
                <a:schemeClr val="tx1"/>
              </a:solidFill>
              <a:prstDash val="solid"/>
              <a:miter lim="800000"/>
            </a:ln>
            <a:effectLst/>
          </p:spPr>
        </p:cxnSp>
      </p:grpSp>
      <p:grpSp>
        <p:nvGrpSpPr>
          <p:cNvPr id="308" name="Group 307">
            <a:extLst>
              <a:ext uri="{FF2B5EF4-FFF2-40B4-BE49-F238E27FC236}">
                <a16:creationId xmlns:a16="http://schemas.microsoft.com/office/drawing/2014/main" id="{3FC6E615-7C3A-6BE0-A5B6-72662B2D5570}"/>
              </a:ext>
            </a:extLst>
          </p:cNvPr>
          <p:cNvGrpSpPr/>
          <p:nvPr/>
        </p:nvGrpSpPr>
        <p:grpSpPr>
          <a:xfrm>
            <a:off x="2808212" y="3548019"/>
            <a:ext cx="312907" cy="267561"/>
            <a:chOff x="2591890" y="3256727"/>
            <a:chExt cx="237646" cy="244758"/>
          </a:xfrm>
        </p:grpSpPr>
        <p:sp>
          <p:nvSpPr>
            <p:cNvPr id="309" name="TextBox 308">
              <a:extLst>
                <a:ext uri="{FF2B5EF4-FFF2-40B4-BE49-F238E27FC236}">
                  <a16:creationId xmlns:a16="http://schemas.microsoft.com/office/drawing/2014/main" id="{81546339-A1AE-B576-98B3-F2EFBEA8B5E4}"/>
                </a:ext>
              </a:extLst>
            </p:cNvPr>
            <p:cNvSpPr txBox="1"/>
            <p:nvPr/>
          </p:nvSpPr>
          <p:spPr>
            <a:xfrm>
              <a:off x="2591890" y="3290326"/>
              <a:ext cx="237646"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cxnSp>
          <p:nvCxnSpPr>
            <p:cNvPr id="310" name="Straight Connector 309">
              <a:extLst>
                <a:ext uri="{FF2B5EF4-FFF2-40B4-BE49-F238E27FC236}">
                  <a16:creationId xmlns:a16="http://schemas.microsoft.com/office/drawing/2014/main" id="{2238EA1B-0451-A706-1DC6-C4D2351C3D78}"/>
                </a:ext>
              </a:extLst>
            </p:cNvPr>
            <p:cNvCxnSpPr>
              <a:cxnSpLocks/>
            </p:cNvCxnSpPr>
            <p:nvPr/>
          </p:nvCxnSpPr>
          <p:spPr>
            <a:xfrm>
              <a:off x="2709767" y="3256727"/>
              <a:ext cx="1" cy="64800"/>
            </a:xfrm>
            <a:prstGeom prst="line">
              <a:avLst/>
            </a:prstGeom>
            <a:noFill/>
            <a:ln w="12700" cap="flat" cmpd="sng" algn="ctr">
              <a:solidFill>
                <a:schemeClr val="tx1"/>
              </a:solidFill>
              <a:prstDash val="solid"/>
              <a:miter lim="800000"/>
            </a:ln>
            <a:effectLst/>
          </p:spPr>
        </p:cxnSp>
      </p:grpSp>
      <p:grpSp>
        <p:nvGrpSpPr>
          <p:cNvPr id="311" name="Group 310">
            <a:extLst>
              <a:ext uri="{FF2B5EF4-FFF2-40B4-BE49-F238E27FC236}">
                <a16:creationId xmlns:a16="http://schemas.microsoft.com/office/drawing/2014/main" id="{0CD0802A-1439-248D-01C5-9683EB05BB70}"/>
              </a:ext>
            </a:extLst>
          </p:cNvPr>
          <p:cNvGrpSpPr/>
          <p:nvPr/>
        </p:nvGrpSpPr>
        <p:grpSpPr>
          <a:xfrm>
            <a:off x="3706768" y="3548019"/>
            <a:ext cx="312907" cy="267561"/>
            <a:chOff x="3274324" y="3256727"/>
            <a:chExt cx="237646" cy="244758"/>
          </a:xfrm>
        </p:grpSpPr>
        <p:sp>
          <p:nvSpPr>
            <p:cNvPr id="312" name="TextBox 311">
              <a:extLst>
                <a:ext uri="{FF2B5EF4-FFF2-40B4-BE49-F238E27FC236}">
                  <a16:creationId xmlns:a16="http://schemas.microsoft.com/office/drawing/2014/main" id="{C03B24DA-0511-2D41-3D88-B0E27F26B624}"/>
                </a:ext>
              </a:extLst>
            </p:cNvPr>
            <p:cNvSpPr txBox="1"/>
            <p:nvPr/>
          </p:nvSpPr>
          <p:spPr>
            <a:xfrm>
              <a:off x="3274324" y="3290326"/>
              <a:ext cx="237646"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cxnSp>
          <p:nvCxnSpPr>
            <p:cNvPr id="313" name="Straight Connector 312">
              <a:extLst>
                <a:ext uri="{FF2B5EF4-FFF2-40B4-BE49-F238E27FC236}">
                  <a16:creationId xmlns:a16="http://schemas.microsoft.com/office/drawing/2014/main" id="{24D03372-807A-01B2-161F-A439316260FA}"/>
                </a:ext>
              </a:extLst>
            </p:cNvPr>
            <p:cNvCxnSpPr>
              <a:cxnSpLocks/>
            </p:cNvCxnSpPr>
            <p:nvPr/>
          </p:nvCxnSpPr>
          <p:spPr>
            <a:xfrm>
              <a:off x="3392202" y="3256727"/>
              <a:ext cx="1" cy="64800"/>
            </a:xfrm>
            <a:prstGeom prst="line">
              <a:avLst/>
            </a:prstGeom>
            <a:noFill/>
            <a:ln w="12700" cap="flat" cmpd="sng" algn="ctr">
              <a:solidFill>
                <a:schemeClr val="tx1"/>
              </a:solidFill>
              <a:prstDash val="solid"/>
              <a:miter lim="800000"/>
            </a:ln>
            <a:effectLst/>
          </p:spPr>
        </p:cxnSp>
      </p:grpSp>
      <p:grpSp>
        <p:nvGrpSpPr>
          <p:cNvPr id="314" name="Group 313">
            <a:extLst>
              <a:ext uri="{FF2B5EF4-FFF2-40B4-BE49-F238E27FC236}">
                <a16:creationId xmlns:a16="http://schemas.microsoft.com/office/drawing/2014/main" id="{EF0AB5F3-DE75-AB66-F238-616E90A15F1C}"/>
              </a:ext>
            </a:extLst>
          </p:cNvPr>
          <p:cNvGrpSpPr/>
          <p:nvPr/>
        </p:nvGrpSpPr>
        <p:grpSpPr>
          <a:xfrm>
            <a:off x="4605315" y="3548019"/>
            <a:ext cx="312906" cy="267561"/>
            <a:chOff x="3956759" y="3256727"/>
            <a:chExt cx="237646" cy="244758"/>
          </a:xfrm>
        </p:grpSpPr>
        <p:sp>
          <p:nvSpPr>
            <p:cNvPr id="315" name="TextBox 314">
              <a:extLst>
                <a:ext uri="{FF2B5EF4-FFF2-40B4-BE49-F238E27FC236}">
                  <a16:creationId xmlns:a16="http://schemas.microsoft.com/office/drawing/2014/main" id="{FF9C6890-0885-07B0-B6C4-08430DA426ED}"/>
                </a:ext>
              </a:extLst>
            </p:cNvPr>
            <p:cNvSpPr txBox="1"/>
            <p:nvPr/>
          </p:nvSpPr>
          <p:spPr>
            <a:xfrm>
              <a:off x="3956759" y="3290326"/>
              <a:ext cx="237646"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cxnSp>
          <p:nvCxnSpPr>
            <p:cNvPr id="316" name="Straight Connector 315">
              <a:extLst>
                <a:ext uri="{FF2B5EF4-FFF2-40B4-BE49-F238E27FC236}">
                  <a16:creationId xmlns:a16="http://schemas.microsoft.com/office/drawing/2014/main" id="{F4F22F02-9331-E779-7349-9AC87F150314}"/>
                </a:ext>
              </a:extLst>
            </p:cNvPr>
            <p:cNvCxnSpPr>
              <a:cxnSpLocks/>
            </p:cNvCxnSpPr>
            <p:nvPr/>
          </p:nvCxnSpPr>
          <p:spPr>
            <a:xfrm>
              <a:off x="4074636" y="3256727"/>
              <a:ext cx="1" cy="64800"/>
            </a:xfrm>
            <a:prstGeom prst="line">
              <a:avLst/>
            </a:prstGeom>
            <a:noFill/>
            <a:ln w="12700" cap="flat" cmpd="sng" algn="ctr">
              <a:solidFill>
                <a:schemeClr val="tx1"/>
              </a:solidFill>
              <a:prstDash val="solid"/>
              <a:miter lim="800000"/>
            </a:ln>
            <a:effectLst/>
          </p:spPr>
        </p:cxnSp>
      </p:grpSp>
      <p:grpSp>
        <p:nvGrpSpPr>
          <p:cNvPr id="317" name="Group 316">
            <a:extLst>
              <a:ext uri="{FF2B5EF4-FFF2-40B4-BE49-F238E27FC236}">
                <a16:creationId xmlns:a16="http://schemas.microsoft.com/office/drawing/2014/main" id="{842C73BA-9AEF-C6EE-A972-D21B2C25C1DE}"/>
              </a:ext>
            </a:extLst>
          </p:cNvPr>
          <p:cNvGrpSpPr/>
          <p:nvPr/>
        </p:nvGrpSpPr>
        <p:grpSpPr>
          <a:xfrm>
            <a:off x="5503867" y="3548019"/>
            <a:ext cx="312906" cy="267561"/>
            <a:chOff x="4639192" y="3256727"/>
            <a:chExt cx="237646" cy="244758"/>
          </a:xfrm>
        </p:grpSpPr>
        <p:sp>
          <p:nvSpPr>
            <p:cNvPr id="318" name="TextBox 317">
              <a:extLst>
                <a:ext uri="{FF2B5EF4-FFF2-40B4-BE49-F238E27FC236}">
                  <a16:creationId xmlns:a16="http://schemas.microsoft.com/office/drawing/2014/main" id="{5C616974-5767-E267-DB77-8683DC220180}"/>
                </a:ext>
              </a:extLst>
            </p:cNvPr>
            <p:cNvSpPr txBox="1"/>
            <p:nvPr/>
          </p:nvSpPr>
          <p:spPr>
            <a:xfrm>
              <a:off x="4639192" y="3290326"/>
              <a:ext cx="237646"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cxnSp>
          <p:nvCxnSpPr>
            <p:cNvPr id="319" name="Straight Connector 318">
              <a:extLst>
                <a:ext uri="{FF2B5EF4-FFF2-40B4-BE49-F238E27FC236}">
                  <a16:creationId xmlns:a16="http://schemas.microsoft.com/office/drawing/2014/main" id="{EAAD045F-09D5-7F62-AACF-F349FC90424D}"/>
                </a:ext>
              </a:extLst>
            </p:cNvPr>
            <p:cNvCxnSpPr>
              <a:cxnSpLocks/>
            </p:cNvCxnSpPr>
            <p:nvPr/>
          </p:nvCxnSpPr>
          <p:spPr>
            <a:xfrm>
              <a:off x="4757069" y="3256727"/>
              <a:ext cx="1" cy="64800"/>
            </a:xfrm>
            <a:prstGeom prst="line">
              <a:avLst/>
            </a:prstGeom>
            <a:noFill/>
            <a:ln w="12700" cap="flat" cmpd="sng" algn="ctr">
              <a:solidFill>
                <a:schemeClr val="tx1"/>
              </a:solidFill>
              <a:prstDash val="solid"/>
              <a:miter lim="800000"/>
            </a:ln>
            <a:effectLst/>
          </p:spPr>
        </p:cxnSp>
      </p:grpSp>
      <p:grpSp>
        <p:nvGrpSpPr>
          <p:cNvPr id="320" name="Group 319">
            <a:extLst>
              <a:ext uri="{FF2B5EF4-FFF2-40B4-BE49-F238E27FC236}">
                <a16:creationId xmlns:a16="http://schemas.microsoft.com/office/drawing/2014/main" id="{1C0CD229-06F7-05C7-6932-243BCF5C62ED}"/>
              </a:ext>
            </a:extLst>
          </p:cNvPr>
          <p:cNvGrpSpPr/>
          <p:nvPr/>
        </p:nvGrpSpPr>
        <p:grpSpPr>
          <a:xfrm>
            <a:off x="796793" y="2667937"/>
            <a:ext cx="366420" cy="230832"/>
            <a:chOff x="1090967" y="1819812"/>
            <a:chExt cx="278289" cy="211159"/>
          </a:xfrm>
        </p:grpSpPr>
        <p:cxnSp>
          <p:nvCxnSpPr>
            <p:cNvPr id="321" name="Straight Connector 320">
              <a:extLst>
                <a:ext uri="{FF2B5EF4-FFF2-40B4-BE49-F238E27FC236}">
                  <a16:creationId xmlns:a16="http://schemas.microsoft.com/office/drawing/2014/main" id="{2CBFA3F5-2F4D-ACB1-395D-BB3DF89E23A9}"/>
                </a:ext>
              </a:extLst>
            </p:cNvPr>
            <p:cNvCxnSpPr>
              <a:cxnSpLocks/>
            </p:cNvCxnSpPr>
            <p:nvPr/>
          </p:nvCxnSpPr>
          <p:spPr>
            <a:xfrm>
              <a:off x="1304919" y="1925391"/>
              <a:ext cx="64337" cy="0"/>
            </a:xfrm>
            <a:prstGeom prst="line">
              <a:avLst/>
            </a:prstGeom>
            <a:noFill/>
            <a:ln w="12700" cap="flat" cmpd="sng" algn="ctr">
              <a:solidFill>
                <a:schemeClr val="tx1"/>
              </a:solidFill>
              <a:prstDash val="solid"/>
              <a:miter lim="800000"/>
            </a:ln>
            <a:effectLst/>
          </p:spPr>
        </p:cxnSp>
        <p:sp>
          <p:nvSpPr>
            <p:cNvPr id="322" name="TextBox 321">
              <a:extLst>
                <a:ext uri="{FF2B5EF4-FFF2-40B4-BE49-F238E27FC236}">
                  <a16:creationId xmlns:a16="http://schemas.microsoft.com/office/drawing/2014/main" id="{2084CEC8-0F66-2720-D267-64BC1FD73111}"/>
                </a:ext>
              </a:extLst>
            </p:cNvPr>
            <p:cNvSpPr txBox="1"/>
            <p:nvPr/>
          </p:nvSpPr>
          <p:spPr>
            <a:xfrm>
              <a:off x="1090967" y="1819812"/>
              <a:ext cx="261995" cy="21115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4</a:t>
              </a:r>
            </a:p>
          </p:txBody>
        </p:sp>
      </p:grpSp>
      <p:grpSp>
        <p:nvGrpSpPr>
          <p:cNvPr id="323" name="Group 322">
            <a:extLst>
              <a:ext uri="{FF2B5EF4-FFF2-40B4-BE49-F238E27FC236}">
                <a16:creationId xmlns:a16="http://schemas.microsoft.com/office/drawing/2014/main" id="{489C2B09-108C-545B-155C-8E52684DF597}"/>
              </a:ext>
            </a:extLst>
          </p:cNvPr>
          <p:cNvGrpSpPr/>
          <p:nvPr/>
        </p:nvGrpSpPr>
        <p:grpSpPr>
          <a:xfrm>
            <a:off x="796796" y="3048799"/>
            <a:ext cx="366421" cy="230832"/>
            <a:chOff x="1090967" y="1819812"/>
            <a:chExt cx="278289" cy="211159"/>
          </a:xfrm>
        </p:grpSpPr>
        <p:cxnSp>
          <p:nvCxnSpPr>
            <p:cNvPr id="324" name="Straight Connector 323">
              <a:extLst>
                <a:ext uri="{FF2B5EF4-FFF2-40B4-BE49-F238E27FC236}">
                  <a16:creationId xmlns:a16="http://schemas.microsoft.com/office/drawing/2014/main" id="{B88BC9AE-5A8E-7FB1-8085-A49455D4A6B0}"/>
                </a:ext>
              </a:extLst>
            </p:cNvPr>
            <p:cNvCxnSpPr>
              <a:cxnSpLocks/>
            </p:cNvCxnSpPr>
            <p:nvPr/>
          </p:nvCxnSpPr>
          <p:spPr>
            <a:xfrm>
              <a:off x="1304919" y="1925391"/>
              <a:ext cx="64337" cy="0"/>
            </a:xfrm>
            <a:prstGeom prst="line">
              <a:avLst/>
            </a:prstGeom>
            <a:noFill/>
            <a:ln w="12700" cap="flat" cmpd="sng" algn="ctr">
              <a:solidFill>
                <a:schemeClr val="tx1"/>
              </a:solidFill>
              <a:prstDash val="solid"/>
              <a:miter lim="800000"/>
            </a:ln>
            <a:effectLst/>
          </p:spPr>
        </p:cxnSp>
        <p:sp>
          <p:nvSpPr>
            <p:cNvPr id="325" name="TextBox 324">
              <a:extLst>
                <a:ext uri="{FF2B5EF4-FFF2-40B4-BE49-F238E27FC236}">
                  <a16:creationId xmlns:a16="http://schemas.microsoft.com/office/drawing/2014/main" id="{2489F283-7BAD-0F7C-C654-39DE7A5ED895}"/>
                </a:ext>
              </a:extLst>
            </p:cNvPr>
            <p:cNvSpPr txBox="1"/>
            <p:nvPr/>
          </p:nvSpPr>
          <p:spPr>
            <a:xfrm>
              <a:off x="1090967" y="1819812"/>
              <a:ext cx="261995" cy="21115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2</a:t>
              </a:r>
            </a:p>
          </p:txBody>
        </p:sp>
      </p:grpSp>
      <p:grpSp>
        <p:nvGrpSpPr>
          <p:cNvPr id="326" name="Group 325">
            <a:extLst>
              <a:ext uri="{FF2B5EF4-FFF2-40B4-BE49-F238E27FC236}">
                <a16:creationId xmlns:a16="http://schemas.microsoft.com/office/drawing/2014/main" id="{8E7326EB-A0BA-B00C-18F8-47F15C117B71}"/>
              </a:ext>
            </a:extLst>
          </p:cNvPr>
          <p:cNvGrpSpPr/>
          <p:nvPr/>
        </p:nvGrpSpPr>
        <p:grpSpPr>
          <a:xfrm>
            <a:off x="6402419" y="3548019"/>
            <a:ext cx="312906" cy="267561"/>
            <a:chOff x="5321624" y="3256727"/>
            <a:chExt cx="237646" cy="244758"/>
          </a:xfrm>
        </p:grpSpPr>
        <p:sp>
          <p:nvSpPr>
            <p:cNvPr id="327" name="TextBox 326">
              <a:extLst>
                <a:ext uri="{FF2B5EF4-FFF2-40B4-BE49-F238E27FC236}">
                  <a16:creationId xmlns:a16="http://schemas.microsoft.com/office/drawing/2014/main" id="{79060776-8DC6-71A6-3417-38EB0C764870}"/>
                </a:ext>
              </a:extLst>
            </p:cNvPr>
            <p:cNvSpPr txBox="1"/>
            <p:nvPr/>
          </p:nvSpPr>
          <p:spPr>
            <a:xfrm>
              <a:off x="5321624" y="3290326"/>
              <a:ext cx="237646"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cxnSp>
          <p:nvCxnSpPr>
            <p:cNvPr id="328" name="Straight Connector 327">
              <a:extLst>
                <a:ext uri="{FF2B5EF4-FFF2-40B4-BE49-F238E27FC236}">
                  <a16:creationId xmlns:a16="http://schemas.microsoft.com/office/drawing/2014/main" id="{BC4737D4-EA57-0230-3765-772645AC8577}"/>
                </a:ext>
              </a:extLst>
            </p:cNvPr>
            <p:cNvCxnSpPr>
              <a:cxnSpLocks/>
            </p:cNvCxnSpPr>
            <p:nvPr/>
          </p:nvCxnSpPr>
          <p:spPr>
            <a:xfrm>
              <a:off x="5439501" y="3256727"/>
              <a:ext cx="1" cy="64800"/>
            </a:xfrm>
            <a:prstGeom prst="line">
              <a:avLst/>
            </a:prstGeom>
            <a:noFill/>
            <a:ln w="12700" cap="flat" cmpd="sng" algn="ctr">
              <a:solidFill>
                <a:schemeClr val="tx1"/>
              </a:solidFill>
              <a:prstDash val="solid"/>
              <a:miter lim="800000"/>
            </a:ln>
            <a:effectLst/>
          </p:spPr>
        </p:cxnSp>
      </p:grpSp>
      <p:cxnSp>
        <p:nvCxnSpPr>
          <p:cNvPr id="329" name="Straight Connector 328">
            <a:extLst>
              <a:ext uri="{FF2B5EF4-FFF2-40B4-BE49-F238E27FC236}">
                <a16:creationId xmlns:a16="http://schemas.microsoft.com/office/drawing/2014/main" id="{9777FC38-27DA-8AC6-D7D3-77207F050A56}"/>
              </a:ext>
            </a:extLst>
          </p:cNvPr>
          <p:cNvCxnSpPr>
            <a:cxnSpLocks/>
          </p:cNvCxnSpPr>
          <p:nvPr/>
        </p:nvCxnSpPr>
        <p:spPr>
          <a:xfrm>
            <a:off x="2961487" y="1708150"/>
            <a:ext cx="0" cy="1846077"/>
          </a:xfrm>
          <a:prstGeom prst="line">
            <a:avLst/>
          </a:prstGeom>
          <a:noFill/>
          <a:ln w="12700" cap="flat" cmpd="sng" algn="ctr">
            <a:solidFill>
              <a:schemeClr val="tx1"/>
            </a:solidFill>
            <a:prstDash val="dash"/>
            <a:miter lim="800000"/>
          </a:ln>
          <a:effectLst/>
        </p:spPr>
      </p:cxnSp>
      <p:cxnSp>
        <p:nvCxnSpPr>
          <p:cNvPr id="330" name="Straight Connector 329">
            <a:extLst>
              <a:ext uri="{FF2B5EF4-FFF2-40B4-BE49-F238E27FC236}">
                <a16:creationId xmlns:a16="http://schemas.microsoft.com/office/drawing/2014/main" id="{0B3C3C70-8890-EC63-74B0-1977CAB7F00F}"/>
              </a:ext>
            </a:extLst>
          </p:cNvPr>
          <p:cNvCxnSpPr>
            <a:cxnSpLocks/>
          </p:cNvCxnSpPr>
          <p:nvPr/>
        </p:nvCxnSpPr>
        <p:spPr>
          <a:xfrm>
            <a:off x="4763361" y="1971675"/>
            <a:ext cx="0" cy="1604776"/>
          </a:xfrm>
          <a:prstGeom prst="line">
            <a:avLst/>
          </a:prstGeom>
          <a:noFill/>
          <a:ln w="12700" cap="flat" cmpd="sng" algn="ctr">
            <a:solidFill>
              <a:schemeClr val="tx1"/>
            </a:solidFill>
            <a:prstDash val="dash"/>
            <a:miter lim="800000"/>
          </a:ln>
          <a:effectLst/>
        </p:spPr>
      </p:cxnSp>
      <p:grpSp>
        <p:nvGrpSpPr>
          <p:cNvPr id="331" name="Group 330">
            <a:extLst>
              <a:ext uri="{FF2B5EF4-FFF2-40B4-BE49-F238E27FC236}">
                <a16:creationId xmlns:a16="http://schemas.microsoft.com/office/drawing/2014/main" id="{59B752E4-ED1F-C9C2-4BBA-A0AF1D79B0B1}"/>
              </a:ext>
            </a:extLst>
          </p:cNvPr>
          <p:cNvGrpSpPr/>
          <p:nvPr/>
        </p:nvGrpSpPr>
        <p:grpSpPr>
          <a:xfrm>
            <a:off x="1492433" y="3548019"/>
            <a:ext cx="248786" cy="267561"/>
            <a:chOff x="1592585" y="3256727"/>
            <a:chExt cx="188948" cy="244758"/>
          </a:xfrm>
        </p:grpSpPr>
        <p:sp>
          <p:nvSpPr>
            <p:cNvPr id="332" name="TextBox 331">
              <a:extLst>
                <a:ext uri="{FF2B5EF4-FFF2-40B4-BE49-F238E27FC236}">
                  <a16:creationId xmlns:a16="http://schemas.microsoft.com/office/drawing/2014/main" id="{D974B49A-5E28-CECE-6C92-67491FFC1D8E}"/>
                </a:ext>
              </a:extLst>
            </p:cNvPr>
            <p:cNvSpPr txBox="1"/>
            <p:nvPr/>
          </p:nvSpPr>
          <p:spPr>
            <a:xfrm>
              <a:off x="1592585" y="3290326"/>
              <a:ext cx="188948"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cxnSp>
          <p:nvCxnSpPr>
            <p:cNvPr id="333" name="Straight Connector 332">
              <a:extLst>
                <a:ext uri="{FF2B5EF4-FFF2-40B4-BE49-F238E27FC236}">
                  <a16:creationId xmlns:a16="http://schemas.microsoft.com/office/drawing/2014/main" id="{9F820DF6-8986-1312-0BE6-B18E2F28DDB2}"/>
                </a:ext>
              </a:extLst>
            </p:cNvPr>
            <p:cNvCxnSpPr>
              <a:cxnSpLocks/>
            </p:cNvCxnSpPr>
            <p:nvPr/>
          </p:nvCxnSpPr>
          <p:spPr>
            <a:xfrm>
              <a:off x="1686114" y="3256727"/>
              <a:ext cx="1" cy="64800"/>
            </a:xfrm>
            <a:prstGeom prst="line">
              <a:avLst/>
            </a:prstGeom>
            <a:noFill/>
            <a:ln w="12700" cap="flat" cmpd="sng" algn="ctr">
              <a:solidFill>
                <a:schemeClr val="tx1"/>
              </a:solidFill>
              <a:prstDash val="solid"/>
              <a:miter lim="800000"/>
            </a:ln>
            <a:effectLst/>
          </p:spPr>
        </p:cxnSp>
      </p:grpSp>
      <p:grpSp>
        <p:nvGrpSpPr>
          <p:cNvPr id="334" name="Group 333">
            <a:extLst>
              <a:ext uri="{FF2B5EF4-FFF2-40B4-BE49-F238E27FC236}">
                <a16:creationId xmlns:a16="http://schemas.microsoft.com/office/drawing/2014/main" id="{3AAEFF6C-0601-E253-DCE1-CA218B8D3E75}"/>
              </a:ext>
            </a:extLst>
          </p:cNvPr>
          <p:cNvGrpSpPr/>
          <p:nvPr/>
        </p:nvGrpSpPr>
        <p:grpSpPr>
          <a:xfrm>
            <a:off x="2390990" y="3548019"/>
            <a:ext cx="248786" cy="267561"/>
            <a:chOff x="2275021" y="3256727"/>
            <a:chExt cx="188948" cy="244758"/>
          </a:xfrm>
        </p:grpSpPr>
        <p:sp>
          <p:nvSpPr>
            <p:cNvPr id="335" name="TextBox 334">
              <a:extLst>
                <a:ext uri="{FF2B5EF4-FFF2-40B4-BE49-F238E27FC236}">
                  <a16:creationId xmlns:a16="http://schemas.microsoft.com/office/drawing/2014/main" id="{05737FBE-3146-937F-176E-54CB0B9F1207}"/>
                </a:ext>
              </a:extLst>
            </p:cNvPr>
            <p:cNvSpPr txBox="1"/>
            <p:nvPr/>
          </p:nvSpPr>
          <p:spPr>
            <a:xfrm>
              <a:off x="2275021" y="3290326"/>
              <a:ext cx="188948"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p>
          </p:txBody>
        </p:sp>
        <p:cxnSp>
          <p:nvCxnSpPr>
            <p:cNvPr id="336" name="Straight Connector 335">
              <a:extLst>
                <a:ext uri="{FF2B5EF4-FFF2-40B4-BE49-F238E27FC236}">
                  <a16:creationId xmlns:a16="http://schemas.microsoft.com/office/drawing/2014/main" id="{F54CEF28-66A2-CBFE-0E9F-4A1EB2C67969}"/>
                </a:ext>
              </a:extLst>
            </p:cNvPr>
            <p:cNvCxnSpPr>
              <a:cxnSpLocks/>
            </p:cNvCxnSpPr>
            <p:nvPr/>
          </p:nvCxnSpPr>
          <p:spPr>
            <a:xfrm>
              <a:off x="2368549" y="3256727"/>
              <a:ext cx="1" cy="64800"/>
            </a:xfrm>
            <a:prstGeom prst="line">
              <a:avLst/>
            </a:prstGeom>
            <a:noFill/>
            <a:ln w="12700" cap="flat" cmpd="sng" algn="ctr">
              <a:solidFill>
                <a:schemeClr val="tx1"/>
              </a:solidFill>
              <a:prstDash val="solid"/>
              <a:miter lim="800000"/>
            </a:ln>
            <a:effectLst/>
          </p:spPr>
        </p:cxnSp>
      </p:grpSp>
      <p:grpSp>
        <p:nvGrpSpPr>
          <p:cNvPr id="337" name="Group 336">
            <a:extLst>
              <a:ext uri="{FF2B5EF4-FFF2-40B4-BE49-F238E27FC236}">
                <a16:creationId xmlns:a16="http://schemas.microsoft.com/office/drawing/2014/main" id="{BEFA1DAC-1171-42A5-F226-9F0064A142F4}"/>
              </a:ext>
            </a:extLst>
          </p:cNvPr>
          <p:cNvGrpSpPr/>
          <p:nvPr/>
        </p:nvGrpSpPr>
        <p:grpSpPr>
          <a:xfrm>
            <a:off x="3257481" y="3548019"/>
            <a:ext cx="312906" cy="267561"/>
            <a:chOff x="2933107" y="3256727"/>
            <a:chExt cx="237646" cy="244758"/>
          </a:xfrm>
        </p:grpSpPr>
        <p:sp>
          <p:nvSpPr>
            <p:cNvPr id="338" name="TextBox 337">
              <a:extLst>
                <a:ext uri="{FF2B5EF4-FFF2-40B4-BE49-F238E27FC236}">
                  <a16:creationId xmlns:a16="http://schemas.microsoft.com/office/drawing/2014/main" id="{774002C0-B920-64B8-9C4D-0FBDAC68F267}"/>
                </a:ext>
              </a:extLst>
            </p:cNvPr>
            <p:cNvSpPr txBox="1"/>
            <p:nvPr/>
          </p:nvSpPr>
          <p:spPr>
            <a:xfrm>
              <a:off x="2933107" y="3290326"/>
              <a:ext cx="237646"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cxnSp>
          <p:nvCxnSpPr>
            <p:cNvPr id="339" name="Straight Connector 338">
              <a:extLst>
                <a:ext uri="{FF2B5EF4-FFF2-40B4-BE49-F238E27FC236}">
                  <a16:creationId xmlns:a16="http://schemas.microsoft.com/office/drawing/2014/main" id="{634ED21F-9078-AE19-D5DA-F942191A05C9}"/>
                </a:ext>
              </a:extLst>
            </p:cNvPr>
            <p:cNvCxnSpPr>
              <a:cxnSpLocks/>
            </p:cNvCxnSpPr>
            <p:nvPr/>
          </p:nvCxnSpPr>
          <p:spPr>
            <a:xfrm>
              <a:off x="3050984" y="3256727"/>
              <a:ext cx="1" cy="64800"/>
            </a:xfrm>
            <a:prstGeom prst="line">
              <a:avLst/>
            </a:prstGeom>
            <a:noFill/>
            <a:ln w="12700" cap="flat" cmpd="sng" algn="ctr">
              <a:solidFill>
                <a:schemeClr val="tx1"/>
              </a:solidFill>
              <a:prstDash val="solid"/>
              <a:miter lim="800000"/>
            </a:ln>
            <a:effectLst/>
          </p:spPr>
        </p:cxnSp>
      </p:grpSp>
      <p:grpSp>
        <p:nvGrpSpPr>
          <p:cNvPr id="340" name="Group 339">
            <a:extLst>
              <a:ext uri="{FF2B5EF4-FFF2-40B4-BE49-F238E27FC236}">
                <a16:creationId xmlns:a16="http://schemas.microsoft.com/office/drawing/2014/main" id="{B0F0BA27-0512-5603-3FC2-D463452B3CFD}"/>
              </a:ext>
            </a:extLst>
          </p:cNvPr>
          <p:cNvGrpSpPr/>
          <p:nvPr/>
        </p:nvGrpSpPr>
        <p:grpSpPr>
          <a:xfrm>
            <a:off x="4156047" y="3548019"/>
            <a:ext cx="312907" cy="267561"/>
            <a:chOff x="3615542" y="3256727"/>
            <a:chExt cx="237646" cy="244758"/>
          </a:xfrm>
        </p:grpSpPr>
        <p:sp>
          <p:nvSpPr>
            <p:cNvPr id="341" name="TextBox 340">
              <a:extLst>
                <a:ext uri="{FF2B5EF4-FFF2-40B4-BE49-F238E27FC236}">
                  <a16:creationId xmlns:a16="http://schemas.microsoft.com/office/drawing/2014/main" id="{BF667A6C-4FB3-F544-8B9F-2A1BE401916C}"/>
                </a:ext>
              </a:extLst>
            </p:cNvPr>
            <p:cNvSpPr txBox="1"/>
            <p:nvPr/>
          </p:nvSpPr>
          <p:spPr>
            <a:xfrm>
              <a:off x="3615542" y="3290326"/>
              <a:ext cx="237646"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a:t>
              </a:r>
            </a:p>
          </p:txBody>
        </p:sp>
        <p:cxnSp>
          <p:nvCxnSpPr>
            <p:cNvPr id="342" name="Straight Connector 341">
              <a:extLst>
                <a:ext uri="{FF2B5EF4-FFF2-40B4-BE49-F238E27FC236}">
                  <a16:creationId xmlns:a16="http://schemas.microsoft.com/office/drawing/2014/main" id="{EF3A4745-714E-0AEA-5BC3-42982A7880F9}"/>
                </a:ext>
              </a:extLst>
            </p:cNvPr>
            <p:cNvCxnSpPr>
              <a:cxnSpLocks/>
            </p:cNvCxnSpPr>
            <p:nvPr/>
          </p:nvCxnSpPr>
          <p:spPr>
            <a:xfrm>
              <a:off x="3733419" y="3256727"/>
              <a:ext cx="1" cy="64800"/>
            </a:xfrm>
            <a:prstGeom prst="line">
              <a:avLst/>
            </a:prstGeom>
            <a:noFill/>
            <a:ln w="12700" cap="flat" cmpd="sng" algn="ctr">
              <a:solidFill>
                <a:schemeClr val="tx1"/>
              </a:solidFill>
              <a:prstDash val="solid"/>
              <a:miter lim="800000"/>
            </a:ln>
            <a:effectLst/>
          </p:spPr>
        </p:cxnSp>
      </p:grpSp>
      <p:grpSp>
        <p:nvGrpSpPr>
          <p:cNvPr id="343" name="Group 342">
            <a:extLst>
              <a:ext uri="{FF2B5EF4-FFF2-40B4-BE49-F238E27FC236}">
                <a16:creationId xmlns:a16="http://schemas.microsoft.com/office/drawing/2014/main" id="{9E9A0901-84BE-0D2B-077C-B96C50936D6F}"/>
              </a:ext>
            </a:extLst>
          </p:cNvPr>
          <p:cNvGrpSpPr/>
          <p:nvPr/>
        </p:nvGrpSpPr>
        <p:grpSpPr>
          <a:xfrm>
            <a:off x="5054589" y="3548019"/>
            <a:ext cx="312905" cy="267561"/>
            <a:chOff x="4297975" y="3256727"/>
            <a:chExt cx="237645" cy="244758"/>
          </a:xfrm>
        </p:grpSpPr>
        <p:sp>
          <p:nvSpPr>
            <p:cNvPr id="344" name="TextBox 343">
              <a:extLst>
                <a:ext uri="{FF2B5EF4-FFF2-40B4-BE49-F238E27FC236}">
                  <a16:creationId xmlns:a16="http://schemas.microsoft.com/office/drawing/2014/main" id="{AE45161B-B40A-4A58-D5C7-552D97210480}"/>
                </a:ext>
              </a:extLst>
            </p:cNvPr>
            <p:cNvSpPr txBox="1"/>
            <p:nvPr/>
          </p:nvSpPr>
          <p:spPr>
            <a:xfrm>
              <a:off x="4297975" y="3290326"/>
              <a:ext cx="237645"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a:t>
              </a:r>
            </a:p>
          </p:txBody>
        </p:sp>
        <p:cxnSp>
          <p:nvCxnSpPr>
            <p:cNvPr id="345" name="Straight Connector 344">
              <a:extLst>
                <a:ext uri="{FF2B5EF4-FFF2-40B4-BE49-F238E27FC236}">
                  <a16:creationId xmlns:a16="http://schemas.microsoft.com/office/drawing/2014/main" id="{44E5007D-0C93-2482-F6AB-144586724FCB}"/>
                </a:ext>
              </a:extLst>
            </p:cNvPr>
            <p:cNvCxnSpPr>
              <a:cxnSpLocks/>
            </p:cNvCxnSpPr>
            <p:nvPr/>
          </p:nvCxnSpPr>
          <p:spPr>
            <a:xfrm>
              <a:off x="4415852" y="3256727"/>
              <a:ext cx="1" cy="64800"/>
            </a:xfrm>
            <a:prstGeom prst="line">
              <a:avLst/>
            </a:prstGeom>
            <a:noFill/>
            <a:ln w="12700" cap="flat" cmpd="sng" algn="ctr">
              <a:solidFill>
                <a:schemeClr val="tx1"/>
              </a:solidFill>
              <a:prstDash val="solid"/>
              <a:miter lim="800000"/>
            </a:ln>
            <a:effectLst/>
          </p:spPr>
        </p:cxnSp>
      </p:grpSp>
      <p:grpSp>
        <p:nvGrpSpPr>
          <p:cNvPr id="346" name="Group 345">
            <a:extLst>
              <a:ext uri="{FF2B5EF4-FFF2-40B4-BE49-F238E27FC236}">
                <a16:creationId xmlns:a16="http://schemas.microsoft.com/office/drawing/2014/main" id="{81BB61AF-7191-0C6C-5B8B-0E52BE40E8BD}"/>
              </a:ext>
            </a:extLst>
          </p:cNvPr>
          <p:cNvGrpSpPr/>
          <p:nvPr/>
        </p:nvGrpSpPr>
        <p:grpSpPr>
          <a:xfrm>
            <a:off x="5953144" y="3548019"/>
            <a:ext cx="312906" cy="267561"/>
            <a:chOff x="4980408" y="3256727"/>
            <a:chExt cx="237646" cy="244758"/>
          </a:xfrm>
        </p:grpSpPr>
        <p:sp>
          <p:nvSpPr>
            <p:cNvPr id="347" name="TextBox 346">
              <a:extLst>
                <a:ext uri="{FF2B5EF4-FFF2-40B4-BE49-F238E27FC236}">
                  <a16:creationId xmlns:a16="http://schemas.microsoft.com/office/drawing/2014/main" id="{F1F088ED-7BB6-5A73-0B04-BC763E560AC2}"/>
                </a:ext>
              </a:extLst>
            </p:cNvPr>
            <p:cNvSpPr txBox="1"/>
            <p:nvPr/>
          </p:nvSpPr>
          <p:spPr>
            <a:xfrm>
              <a:off x="4980408" y="3290326"/>
              <a:ext cx="237646" cy="2111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3</a:t>
              </a:r>
            </a:p>
          </p:txBody>
        </p:sp>
        <p:cxnSp>
          <p:nvCxnSpPr>
            <p:cNvPr id="348" name="Straight Connector 347">
              <a:extLst>
                <a:ext uri="{FF2B5EF4-FFF2-40B4-BE49-F238E27FC236}">
                  <a16:creationId xmlns:a16="http://schemas.microsoft.com/office/drawing/2014/main" id="{D4EC3512-D1D7-4871-8AFE-0B5BC0B057AC}"/>
                </a:ext>
              </a:extLst>
            </p:cNvPr>
            <p:cNvCxnSpPr>
              <a:cxnSpLocks/>
            </p:cNvCxnSpPr>
            <p:nvPr/>
          </p:nvCxnSpPr>
          <p:spPr>
            <a:xfrm>
              <a:off x="5098285" y="3256727"/>
              <a:ext cx="1" cy="64800"/>
            </a:xfrm>
            <a:prstGeom prst="line">
              <a:avLst/>
            </a:prstGeom>
            <a:noFill/>
            <a:ln w="12700" cap="flat" cmpd="sng" algn="ctr">
              <a:solidFill>
                <a:schemeClr val="tx1"/>
              </a:solidFill>
              <a:prstDash val="solid"/>
              <a:miter lim="800000"/>
            </a:ln>
            <a:effectLst/>
          </p:spPr>
        </p:cxnSp>
      </p:grpSp>
      <p:grpSp>
        <p:nvGrpSpPr>
          <p:cNvPr id="349" name="Group 348">
            <a:extLst>
              <a:ext uri="{FF2B5EF4-FFF2-40B4-BE49-F238E27FC236}">
                <a16:creationId xmlns:a16="http://schemas.microsoft.com/office/drawing/2014/main" id="{720CCE96-9F4C-36D2-68A8-AEDA6C3CDEDF}"/>
              </a:ext>
            </a:extLst>
          </p:cNvPr>
          <p:cNvGrpSpPr/>
          <p:nvPr/>
        </p:nvGrpSpPr>
        <p:grpSpPr>
          <a:xfrm>
            <a:off x="796793" y="1906212"/>
            <a:ext cx="366420" cy="230832"/>
            <a:chOff x="1090967" y="1819812"/>
            <a:chExt cx="278289" cy="211159"/>
          </a:xfrm>
        </p:grpSpPr>
        <p:cxnSp>
          <p:nvCxnSpPr>
            <p:cNvPr id="350" name="Straight Connector 349">
              <a:extLst>
                <a:ext uri="{FF2B5EF4-FFF2-40B4-BE49-F238E27FC236}">
                  <a16:creationId xmlns:a16="http://schemas.microsoft.com/office/drawing/2014/main" id="{830678F1-F266-A85E-4A4C-B0E410A00F92}"/>
                </a:ext>
              </a:extLst>
            </p:cNvPr>
            <p:cNvCxnSpPr>
              <a:cxnSpLocks/>
            </p:cNvCxnSpPr>
            <p:nvPr/>
          </p:nvCxnSpPr>
          <p:spPr>
            <a:xfrm>
              <a:off x="1304919" y="1925391"/>
              <a:ext cx="64337" cy="0"/>
            </a:xfrm>
            <a:prstGeom prst="line">
              <a:avLst/>
            </a:prstGeom>
            <a:noFill/>
            <a:ln w="12700" cap="flat" cmpd="sng" algn="ctr">
              <a:solidFill>
                <a:schemeClr val="tx1"/>
              </a:solidFill>
              <a:prstDash val="solid"/>
              <a:miter lim="800000"/>
            </a:ln>
            <a:effectLst/>
          </p:spPr>
        </p:cxnSp>
        <p:sp>
          <p:nvSpPr>
            <p:cNvPr id="351" name="TextBox 350">
              <a:extLst>
                <a:ext uri="{FF2B5EF4-FFF2-40B4-BE49-F238E27FC236}">
                  <a16:creationId xmlns:a16="http://schemas.microsoft.com/office/drawing/2014/main" id="{D3352DB4-1D17-E87F-A83B-E6E0F9E6AC59}"/>
                </a:ext>
              </a:extLst>
            </p:cNvPr>
            <p:cNvSpPr txBox="1"/>
            <p:nvPr/>
          </p:nvSpPr>
          <p:spPr>
            <a:xfrm>
              <a:off x="1090967" y="1819812"/>
              <a:ext cx="261995" cy="21115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8</a:t>
              </a:r>
            </a:p>
          </p:txBody>
        </p:sp>
      </p:grpSp>
      <p:grpSp>
        <p:nvGrpSpPr>
          <p:cNvPr id="352" name="Group 351">
            <a:extLst>
              <a:ext uri="{FF2B5EF4-FFF2-40B4-BE49-F238E27FC236}">
                <a16:creationId xmlns:a16="http://schemas.microsoft.com/office/drawing/2014/main" id="{B6609BAE-2514-4813-8FA7-3BC238D2299B}"/>
              </a:ext>
            </a:extLst>
          </p:cNvPr>
          <p:cNvGrpSpPr/>
          <p:nvPr/>
        </p:nvGrpSpPr>
        <p:grpSpPr>
          <a:xfrm>
            <a:off x="792031" y="1525350"/>
            <a:ext cx="366422" cy="230832"/>
            <a:chOff x="1090966" y="1819812"/>
            <a:chExt cx="278290" cy="211159"/>
          </a:xfrm>
        </p:grpSpPr>
        <p:cxnSp>
          <p:nvCxnSpPr>
            <p:cNvPr id="353" name="Straight Connector 352">
              <a:extLst>
                <a:ext uri="{FF2B5EF4-FFF2-40B4-BE49-F238E27FC236}">
                  <a16:creationId xmlns:a16="http://schemas.microsoft.com/office/drawing/2014/main" id="{2DB3A3A1-4ACF-B7FC-F913-BB27AACDB984}"/>
                </a:ext>
              </a:extLst>
            </p:cNvPr>
            <p:cNvCxnSpPr>
              <a:cxnSpLocks/>
            </p:cNvCxnSpPr>
            <p:nvPr/>
          </p:nvCxnSpPr>
          <p:spPr>
            <a:xfrm>
              <a:off x="1304919" y="1925391"/>
              <a:ext cx="64337" cy="0"/>
            </a:xfrm>
            <a:prstGeom prst="line">
              <a:avLst/>
            </a:prstGeom>
            <a:noFill/>
            <a:ln w="12700" cap="flat" cmpd="sng" algn="ctr">
              <a:solidFill>
                <a:schemeClr val="tx1"/>
              </a:solidFill>
              <a:prstDash val="solid"/>
              <a:miter lim="800000"/>
            </a:ln>
            <a:effectLst/>
          </p:spPr>
        </p:cxnSp>
        <p:sp>
          <p:nvSpPr>
            <p:cNvPr id="354" name="TextBox 353">
              <a:extLst>
                <a:ext uri="{FF2B5EF4-FFF2-40B4-BE49-F238E27FC236}">
                  <a16:creationId xmlns:a16="http://schemas.microsoft.com/office/drawing/2014/main" id="{E85E0661-C3F5-67BF-F1C9-89373453FF4A}"/>
                </a:ext>
              </a:extLst>
            </p:cNvPr>
            <p:cNvSpPr txBox="1"/>
            <p:nvPr/>
          </p:nvSpPr>
          <p:spPr>
            <a:xfrm>
              <a:off x="1090966" y="1819812"/>
              <a:ext cx="261994" cy="21115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grpSp>
      <p:sp>
        <p:nvSpPr>
          <p:cNvPr id="356" name="Freeform: Shape 355">
            <a:extLst>
              <a:ext uri="{FF2B5EF4-FFF2-40B4-BE49-F238E27FC236}">
                <a16:creationId xmlns:a16="http://schemas.microsoft.com/office/drawing/2014/main" id="{5C48846C-79C3-E9D5-6C8F-C02876697FD2}"/>
              </a:ext>
            </a:extLst>
          </p:cNvPr>
          <p:cNvSpPr/>
          <p:nvPr/>
        </p:nvSpPr>
        <p:spPr>
          <a:xfrm>
            <a:off x="1154718" y="1648114"/>
            <a:ext cx="4969871" cy="1020195"/>
          </a:xfrm>
          <a:custGeom>
            <a:avLst/>
            <a:gdLst>
              <a:gd name="connsiteX0" fmla="*/ 0 w 10917141"/>
              <a:gd name="connsiteY0" fmla="*/ 0 h 3506525"/>
              <a:gd name="connsiteX1" fmla="*/ 373712 w 10917141"/>
              <a:gd name="connsiteY1" fmla="*/ 0 h 3506525"/>
              <a:gd name="connsiteX2" fmla="*/ 373712 w 10917141"/>
              <a:gd name="connsiteY2" fmla="*/ 95415 h 3506525"/>
              <a:gd name="connsiteX3" fmla="*/ 485030 w 10917141"/>
              <a:gd name="connsiteY3" fmla="*/ 95415 h 3506525"/>
              <a:gd name="connsiteX4" fmla="*/ 485030 w 10917141"/>
              <a:gd name="connsiteY4" fmla="*/ 143123 h 3506525"/>
              <a:gd name="connsiteX5" fmla="*/ 572494 w 10917141"/>
              <a:gd name="connsiteY5" fmla="*/ 143123 h 3506525"/>
              <a:gd name="connsiteX6" fmla="*/ 572494 w 10917141"/>
              <a:gd name="connsiteY6" fmla="*/ 198782 h 3506525"/>
              <a:gd name="connsiteX7" fmla="*/ 683812 w 10917141"/>
              <a:gd name="connsiteY7" fmla="*/ 198782 h 3506525"/>
              <a:gd name="connsiteX8" fmla="*/ 683812 w 10917141"/>
              <a:gd name="connsiteY8" fmla="*/ 278295 h 3506525"/>
              <a:gd name="connsiteX9" fmla="*/ 898498 w 10917141"/>
              <a:gd name="connsiteY9" fmla="*/ 278295 h 3506525"/>
              <a:gd name="connsiteX10" fmla="*/ 898498 w 10917141"/>
              <a:gd name="connsiteY10" fmla="*/ 405516 h 3506525"/>
              <a:gd name="connsiteX11" fmla="*/ 1637969 w 10917141"/>
              <a:gd name="connsiteY11" fmla="*/ 405516 h 3506525"/>
              <a:gd name="connsiteX12" fmla="*/ 1637969 w 10917141"/>
              <a:gd name="connsiteY12" fmla="*/ 485029 h 3506525"/>
              <a:gd name="connsiteX13" fmla="*/ 1757238 w 10917141"/>
              <a:gd name="connsiteY13" fmla="*/ 485029 h 3506525"/>
              <a:gd name="connsiteX14" fmla="*/ 1757238 w 10917141"/>
              <a:gd name="connsiteY14" fmla="*/ 548640 h 3506525"/>
              <a:gd name="connsiteX15" fmla="*/ 1852654 w 10917141"/>
              <a:gd name="connsiteY15" fmla="*/ 548640 h 3506525"/>
              <a:gd name="connsiteX16" fmla="*/ 1852654 w 10917141"/>
              <a:gd name="connsiteY16" fmla="*/ 548640 h 3506525"/>
              <a:gd name="connsiteX17" fmla="*/ 1916264 w 10917141"/>
              <a:gd name="connsiteY17" fmla="*/ 612250 h 3506525"/>
              <a:gd name="connsiteX18" fmla="*/ 1987826 w 10917141"/>
              <a:gd name="connsiteY18" fmla="*/ 683812 h 3506525"/>
              <a:gd name="connsiteX19" fmla="*/ 2592125 w 10917141"/>
              <a:gd name="connsiteY19" fmla="*/ 683812 h 3506525"/>
              <a:gd name="connsiteX20" fmla="*/ 2592125 w 10917141"/>
              <a:gd name="connsiteY20" fmla="*/ 771276 h 3506525"/>
              <a:gd name="connsiteX21" fmla="*/ 2759103 w 10917141"/>
              <a:gd name="connsiteY21" fmla="*/ 771276 h 3506525"/>
              <a:gd name="connsiteX22" fmla="*/ 2759103 w 10917141"/>
              <a:gd name="connsiteY22" fmla="*/ 906448 h 3506525"/>
              <a:gd name="connsiteX23" fmla="*/ 2934032 w 10917141"/>
              <a:gd name="connsiteY23" fmla="*/ 906448 h 3506525"/>
              <a:gd name="connsiteX24" fmla="*/ 2934032 w 10917141"/>
              <a:gd name="connsiteY24" fmla="*/ 993913 h 3506525"/>
              <a:gd name="connsiteX25" fmla="*/ 3673503 w 10917141"/>
              <a:gd name="connsiteY25" fmla="*/ 993913 h 3506525"/>
              <a:gd name="connsiteX26" fmla="*/ 3673503 w 10917141"/>
              <a:gd name="connsiteY26" fmla="*/ 1144988 h 3506525"/>
              <a:gd name="connsiteX27" fmla="*/ 4190338 w 10917141"/>
              <a:gd name="connsiteY27" fmla="*/ 1144988 h 3506525"/>
              <a:gd name="connsiteX28" fmla="*/ 4190338 w 10917141"/>
              <a:gd name="connsiteY28" fmla="*/ 1232452 h 3506525"/>
              <a:gd name="connsiteX29" fmla="*/ 4556098 w 10917141"/>
              <a:gd name="connsiteY29" fmla="*/ 1232452 h 3506525"/>
              <a:gd name="connsiteX30" fmla="*/ 4556098 w 10917141"/>
              <a:gd name="connsiteY30" fmla="*/ 1343770 h 3506525"/>
              <a:gd name="connsiteX31" fmla="*/ 4603805 w 10917141"/>
              <a:gd name="connsiteY31" fmla="*/ 1343770 h 3506525"/>
              <a:gd name="connsiteX32" fmla="*/ 4603805 w 10917141"/>
              <a:gd name="connsiteY32" fmla="*/ 1526650 h 3506525"/>
              <a:gd name="connsiteX33" fmla="*/ 4635611 w 10917141"/>
              <a:gd name="connsiteY33" fmla="*/ 1526650 h 3506525"/>
              <a:gd name="connsiteX34" fmla="*/ 4635611 w 10917141"/>
              <a:gd name="connsiteY34" fmla="*/ 1622066 h 3506525"/>
              <a:gd name="connsiteX35" fmla="*/ 5112689 w 10917141"/>
              <a:gd name="connsiteY35" fmla="*/ 1622066 h 3506525"/>
              <a:gd name="connsiteX36" fmla="*/ 5112689 w 10917141"/>
              <a:gd name="connsiteY36" fmla="*/ 1733384 h 3506525"/>
              <a:gd name="connsiteX37" fmla="*/ 5176299 w 10917141"/>
              <a:gd name="connsiteY37" fmla="*/ 1733384 h 3506525"/>
              <a:gd name="connsiteX38" fmla="*/ 5176299 w 10917141"/>
              <a:gd name="connsiteY38" fmla="*/ 1836751 h 3506525"/>
              <a:gd name="connsiteX39" fmla="*/ 5438692 w 10917141"/>
              <a:gd name="connsiteY39" fmla="*/ 1836751 h 3506525"/>
              <a:gd name="connsiteX40" fmla="*/ 5438692 w 10917141"/>
              <a:gd name="connsiteY40" fmla="*/ 1932167 h 3506525"/>
              <a:gd name="connsiteX41" fmla="*/ 5709037 w 10917141"/>
              <a:gd name="connsiteY41" fmla="*/ 1932167 h 3506525"/>
              <a:gd name="connsiteX42" fmla="*/ 5709037 w 10917141"/>
              <a:gd name="connsiteY42" fmla="*/ 2067339 h 3506525"/>
              <a:gd name="connsiteX43" fmla="*/ 6361044 w 10917141"/>
              <a:gd name="connsiteY43" fmla="*/ 2067339 h 3506525"/>
              <a:gd name="connsiteX44" fmla="*/ 6361044 w 10917141"/>
              <a:gd name="connsiteY44" fmla="*/ 2202511 h 3506525"/>
              <a:gd name="connsiteX45" fmla="*/ 6814268 w 10917141"/>
              <a:gd name="connsiteY45" fmla="*/ 2202511 h 3506525"/>
              <a:gd name="connsiteX46" fmla="*/ 6814268 w 10917141"/>
              <a:gd name="connsiteY46" fmla="*/ 2385391 h 3506525"/>
              <a:gd name="connsiteX47" fmla="*/ 7291346 w 10917141"/>
              <a:gd name="connsiteY47" fmla="*/ 2385391 h 3506525"/>
              <a:gd name="connsiteX48" fmla="*/ 7291346 w 10917141"/>
              <a:gd name="connsiteY48" fmla="*/ 2520563 h 3506525"/>
              <a:gd name="connsiteX49" fmla="*/ 7331103 w 10917141"/>
              <a:gd name="connsiteY49" fmla="*/ 2520563 h 3506525"/>
              <a:gd name="connsiteX50" fmla="*/ 7331103 w 10917141"/>
              <a:gd name="connsiteY50" fmla="*/ 2568271 h 3506525"/>
              <a:gd name="connsiteX51" fmla="*/ 7394713 w 10917141"/>
              <a:gd name="connsiteY51" fmla="*/ 2568271 h 3506525"/>
              <a:gd name="connsiteX52" fmla="*/ 7394713 w 10917141"/>
              <a:gd name="connsiteY52" fmla="*/ 2790908 h 3506525"/>
              <a:gd name="connsiteX53" fmla="*/ 7513983 w 10917141"/>
              <a:gd name="connsiteY53" fmla="*/ 2790908 h 3506525"/>
              <a:gd name="connsiteX54" fmla="*/ 7513983 w 10917141"/>
              <a:gd name="connsiteY54" fmla="*/ 2989690 h 3506525"/>
              <a:gd name="connsiteX55" fmla="*/ 9144000 w 10917141"/>
              <a:gd name="connsiteY55" fmla="*/ 2989690 h 3506525"/>
              <a:gd name="connsiteX56" fmla="*/ 9144000 w 10917141"/>
              <a:gd name="connsiteY56" fmla="*/ 3506525 h 3506525"/>
              <a:gd name="connsiteX57" fmla="*/ 10917141 w 10917141"/>
              <a:gd name="connsiteY57" fmla="*/ 3506525 h 3506525"/>
              <a:gd name="connsiteX0" fmla="*/ 0 w 10917141"/>
              <a:gd name="connsiteY0" fmla="*/ 0 h 3506525"/>
              <a:gd name="connsiteX1" fmla="*/ 373712 w 10917141"/>
              <a:gd name="connsiteY1" fmla="*/ 0 h 3506525"/>
              <a:gd name="connsiteX2" fmla="*/ 373712 w 10917141"/>
              <a:gd name="connsiteY2" fmla="*/ 95415 h 3506525"/>
              <a:gd name="connsiteX3" fmla="*/ 485030 w 10917141"/>
              <a:gd name="connsiteY3" fmla="*/ 95415 h 3506525"/>
              <a:gd name="connsiteX4" fmla="*/ 485030 w 10917141"/>
              <a:gd name="connsiteY4" fmla="*/ 143123 h 3506525"/>
              <a:gd name="connsiteX5" fmla="*/ 572494 w 10917141"/>
              <a:gd name="connsiteY5" fmla="*/ 143123 h 3506525"/>
              <a:gd name="connsiteX6" fmla="*/ 572494 w 10917141"/>
              <a:gd name="connsiteY6" fmla="*/ 198782 h 3506525"/>
              <a:gd name="connsiteX7" fmla="*/ 683812 w 10917141"/>
              <a:gd name="connsiteY7" fmla="*/ 198782 h 3506525"/>
              <a:gd name="connsiteX8" fmla="*/ 683812 w 10917141"/>
              <a:gd name="connsiteY8" fmla="*/ 278295 h 3506525"/>
              <a:gd name="connsiteX9" fmla="*/ 898498 w 10917141"/>
              <a:gd name="connsiteY9" fmla="*/ 278295 h 3506525"/>
              <a:gd name="connsiteX10" fmla="*/ 898498 w 10917141"/>
              <a:gd name="connsiteY10" fmla="*/ 405516 h 3506525"/>
              <a:gd name="connsiteX11" fmla="*/ 1637969 w 10917141"/>
              <a:gd name="connsiteY11" fmla="*/ 405516 h 3506525"/>
              <a:gd name="connsiteX12" fmla="*/ 1637969 w 10917141"/>
              <a:gd name="connsiteY12" fmla="*/ 485029 h 3506525"/>
              <a:gd name="connsiteX13" fmla="*/ 1757238 w 10917141"/>
              <a:gd name="connsiteY13" fmla="*/ 485029 h 3506525"/>
              <a:gd name="connsiteX14" fmla="*/ 1757238 w 10917141"/>
              <a:gd name="connsiteY14" fmla="*/ 548640 h 3506525"/>
              <a:gd name="connsiteX15" fmla="*/ 1852654 w 10917141"/>
              <a:gd name="connsiteY15" fmla="*/ 548640 h 3506525"/>
              <a:gd name="connsiteX16" fmla="*/ 1852654 w 10917141"/>
              <a:gd name="connsiteY16" fmla="*/ 548640 h 3506525"/>
              <a:gd name="connsiteX17" fmla="*/ 1852654 w 10917141"/>
              <a:gd name="connsiteY17" fmla="*/ 644056 h 3506525"/>
              <a:gd name="connsiteX18" fmla="*/ 1987826 w 10917141"/>
              <a:gd name="connsiteY18" fmla="*/ 683812 h 3506525"/>
              <a:gd name="connsiteX19" fmla="*/ 2592125 w 10917141"/>
              <a:gd name="connsiteY19" fmla="*/ 683812 h 3506525"/>
              <a:gd name="connsiteX20" fmla="*/ 2592125 w 10917141"/>
              <a:gd name="connsiteY20" fmla="*/ 771276 h 3506525"/>
              <a:gd name="connsiteX21" fmla="*/ 2759103 w 10917141"/>
              <a:gd name="connsiteY21" fmla="*/ 771276 h 3506525"/>
              <a:gd name="connsiteX22" fmla="*/ 2759103 w 10917141"/>
              <a:gd name="connsiteY22" fmla="*/ 906448 h 3506525"/>
              <a:gd name="connsiteX23" fmla="*/ 2934032 w 10917141"/>
              <a:gd name="connsiteY23" fmla="*/ 906448 h 3506525"/>
              <a:gd name="connsiteX24" fmla="*/ 2934032 w 10917141"/>
              <a:gd name="connsiteY24" fmla="*/ 993913 h 3506525"/>
              <a:gd name="connsiteX25" fmla="*/ 3673503 w 10917141"/>
              <a:gd name="connsiteY25" fmla="*/ 993913 h 3506525"/>
              <a:gd name="connsiteX26" fmla="*/ 3673503 w 10917141"/>
              <a:gd name="connsiteY26" fmla="*/ 1144988 h 3506525"/>
              <a:gd name="connsiteX27" fmla="*/ 4190338 w 10917141"/>
              <a:gd name="connsiteY27" fmla="*/ 1144988 h 3506525"/>
              <a:gd name="connsiteX28" fmla="*/ 4190338 w 10917141"/>
              <a:gd name="connsiteY28" fmla="*/ 1232452 h 3506525"/>
              <a:gd name="connsiteX29" fmla="*/ 4556098 w 10917141"/>
              <a:gd name="connsiteY29" fmla="*/ 1232452 h 3506525"/>
              <a:gd name="connsiteX30" fmla="*/ 4556098 w 10917141"/>
              <a:gd name="connsiteY30" fmla="*/ 1343770 h 3506525"/>
              <a:gd name="connsiteX31" fmla="*/ 4603805 w 10917141"/>
              <a:gd name="connsiteY31" fmla="*/ 1343770 h 3506525"/>
              <a:gd name="connsiteX32" fmla="*/ 4603805 w 10917141"/>
              <a:gd name="connsiteY32" fmla="*/ 1526650 h 3506525"/>
              <a:gd name="connsiteX33" fmla="*/ 4635611 w 10917141"/>
              <a:gd name="connsiteY33" fmla="*/ 1526650 h 3506525"/>
              <a:gd name="connsiteX34" fmla="*/ 4635611 w 10917141"/>
              <a:gd name="connsiteY34" fmla="*/ 1622066 h 3506525"/>
              <a:gd name="connsiteX35" fmla="*/ 5112689 w 10917141"/>
              <a:gd name="connsiteY35" fmla="*/ 1622066 h 3506525"/>
              <a:gd name="connsiteX36" fmla="*/ 5112689 w 10917141"/>
              <a:gd name="connsiteY36" fmla="*/ 1733384 h 3506525"/>
              <a:gd name="connsiteX37" fmla="*/ 5176299 w 10917141"/>
              <a:gd name="connsiteY37" fmla="*/ 1733384 h 3506525"/>
              <a:gd name="connsiteX38" fmla="*/ 5176299 w 10917141"/>
              <a:gd name="connsiteY38" fmla="*/ 1836751 h 3506525"/>
              <a:gd name="connsiteX39" fmla="*/ 5438692 w 10917141"/>
              <a:gd name="connsiteY39" fmla="*/ 1836751 h 3506525"/>
              <a:gd name="connsiteX40" fmla="*/ 5438692 w 10917141"/>
              <a:gd name="connsiteY40" fmla="*/ 1932167 h 3506525"/>
              <a:gd name="connsiteX41" fmla="*/ 5709037 w 10917141"/>
              <a:gd name="connsiteY41" fmla="*/ 1932167 h 3506525"/>
              <a:gd name="connsiteX42" fmla="*/ 5709037 w 10917141"/>
              <a:gd name="connsiteY42" fmla="*/ 2067339 h 3506525"/>
              <a:gd name="connsiteX43" fmla="*/ 6361044 w 10917141"/>
              <a:gd name="connsiteY43" fmla="*/ 2067339 h 3506525"/>
              <a:gd name="connsiteX44" fmla="*/ 6361044 w 10917141"/>
              <a:gd name="connsiteY44" fmla="*/ 2202511 h 3506525"/>
              <a:gd name="connsiteX45" fmla="*/ 6814268 w 10917141"/>
              <a:gd name="connsiteY45" fmla="*/ 2202511 h 3506525"/>
              <a:gd name="connsiteX46" fmla="*/ 6814268 w 10917141"/>
              <a:gd name="connsiteY46" fmla="*/ 2385391 h 3506525"/>
              <a:gd name="connsiteX47" fmla="*/ 7291346 w 10917141"/>
              <a:gd name="connsiteY47" fmla="*/ 2385391 h 3506525"/>
              <a:gd name="connsiteX48" fmla="*/ 7291346 w 10917141"/>
              <a:gd name="connsiteY48" fmla="*/ 2520563 h 3506525"/>
              <a:gd name="connsiteX49" fmla="*/ 7331103 w 10917141"/>
              <a:gd name="connsiteY49" fmla="*/ 2520563 h 3506525"/>
              <a:gd name="connsiteX50" fmla="*/ 7331103 w 10917141"/>
              <a:gd name="connsiteY50" fmla="*/ 2568271 h 3506525"/>
              <a:gd name="connsiteX51" fmla="*/ 7394713 w 10917141"/>
              <a:gd name="connsiteY51" fmla="*/ 2568271 h 3506525"/>
              <a:gd name="connsiteX52" fmla="*/ 7394713 w 10917141"/>
              <a:gd name="connsiteY52" fmla="*/ 2790908 h 3506525"/>
              <a:gd name="connsiteX53" fmla="*/ 7513983 w 10917141"/>
              <a:gd name="connsiteY53" fmla="*/ 2790908 h 3506525"/>
              <a:gd name="connsiteX54" fmla="*/ 7513983 w 10917141"/>
              <a:gd name="connsiteY54" fmla="*/ 2989690 h 3506525"/>
              <a:gd name="connsiteX55" fmla="*/ 9144000 w 10917141"/>
              <a:gd name="connsiteY55" fmla="*/ 2989690 h 3506525"/>
              <a:gd name="connsiteX56" fmla="*/ 9144000 w 10917141"/>
              <a:gd name="connsiteY56" fmla="*/ 3506525 h 3506525"/>
              <a:gd name="connsiteX57" fmla="*/ 10917141 w 10917141"/>
              <a:gd name="connsiteY57" fmla="*/ 3506525 h 3506525"/>
              <a:gd name="connsiteX0" fmla="*/ 0 w 10917141"/>
              <a:gd name="connsiteY0" fmla="*/ 0 h 3506525"/>
              <a:gd name="connsiteX1" fmla="*/ 373712 w 10917141"/>
              <a:gd name="connsiteY1" fmla="*/ 0 h 3506525"/>
              <a:gd name="connsiteX2" fmla="*/ 373712 w 10917141"/>
              <a:gd name="connsiteY2" fmla="*/ 95415 h 3506525"/>
              <a:gd name="connsiteX3" fmla="*/ 485030 w 10917141"/>
              <a:gd name="connsiteY3" fmla="*/ 95415 h 3506525"/>
              <a:gd name="connsiteX4" fmla="*/ 485030 w 10917141"/>
              <a:gd name="connsiteY4" fmla="*/ 143123 h 3506525"/>
              <a:gd name="connsiteX5" fmla="*/ 572494 w 10917141"/>
              <a:gd name="connsiteY5" fmla="*/ 143123 h 3506525"/>
              <a:gd name="connsiteX6" fmla="*/ 572494 w 10917141"/>
              <a:gd name="connsiteY6" fmla="*/ 198782 h 3506525"/>
              <a:gd name="connsiteX7" fmla="*/ 683812 w 10917141"/>
              <a:gd name="connsiteY7" fmla="*/ 198782 h 3506525"/>
              <a:gd name="connsiteX8" fmla="*/ 683812 w 10917141"/>
              <a:gd name="connsiteY8" fmla="*/ 278295 h 3506525"/>
              <a:gd name="connsiteX9" fmla="*/ 898498 w 10917141"/>
              <a:gd name="connsiteY9" fmla="*/ 278295 h 3506525"/>
              <a:gd name="connsiteX10" fmla="*/ 898498 w 10917141"/>
              <a:gd name="connsiteY10" fmla="*/ 405516 h 3506525"/>
              <a:gd name="connsiteX11" fmla="*/ 1637969 w 10917141"/>
              <a:gd name="connsiteY11" fmla="*/ 405516 h 3506525"/>
              <a:gd name="connsiteX12" fmla="*/ 1637969 w 10917141"/>
              <a:gd name="connsiteY12" fmla="*/ 485029 h 3506525"/>
              <a:gd name="connsiteX13" fmla="*/ 1757238 w 10917141"/>
              <a:gd name="connsiteY13" fmla="*/ 485029 h 3506525"/>
              <a:gd name="connsiteX14" fmla="*/ 1757238 w 10917141"/>
              <a:gd name="connsiteY14" fmla="*/ 548640 h 3506525"/>
              <a:gd name="connsiteX15" fmla="*/ 1852654 w 10917141"/>
              <a:gd name="connsiteY15" fmla="*/ 548640 h 3506525"/>
              <a:gd name="connsiteX16" fmla="*/ 1852654 w 10917141"/>
              <a:gd name="connsiteY16" fmla="*/ 548640 h 3506525"/>
              <a:gd name="connsiteX17" fmla="*/ 1852654 w 10917141"/>
              <a:gd name="connsiteY17" fmla="*/ 644056 h 3506525"/>
              <a:gd name="connsiteX18" fmla="*/ 1979875 w 10917141"/>
              <a:gd name="connsiteY18" fmla="*/ 648031 h 3506525"/>
              <a:gd name="connsiteX19" fmla="*/ 1987826 w 10917141"/>
              <a:gd name="connsiteY19" fmla="*/ 683812 h 3506525"/>
              <a:gd name="connsiteX20" fmla="*/ 2592125 w 10917141"/>
              <a:gd name="connsiteY20" fmla="*/ 683812 h 3506525"/>
              <a:gd name="connsiteX21" fmla="*/ 2592125 w 10917141"/>
              <a:gd name="connsiteY21" fmla="*/ 771276 h 3506525"/>
              <a:gd name="connsiteX22" fmla="*/ 2759103 w 10917141"/>
              <a:gd name="connsiteY22" fmla="*/ 771276 h 3506525"/>
              <a:gd name="connsiteX23" fmla="*/ 2759103 w 10917141"/>
              <a:gd name="connsiteY23" fmla="*/ 906448 h 3506525"/>
              <a:gd name="connsiteX24" fmla="*/ 2934032 w 10917141"/>
              <a:gd name="connsiteY24" fmla="*/ 906448 h 3506525"/>
              <a:gd name="connsiteX25" fmla="*/ 2934032 w 10917141"/>
              <a:gd name="connsiteY25" fmla="*/ 993913 h 3506525"/>
              <a:gd name="connsiteX26" fmla="*/ 3673503 w 10917141"/>
              <a:gd name="connsiteY26" fmla="*/ 993913 h 3506525"/>
              <a:gd name="connsiteX27" fmla="*/ 3673503 w 10917141"/>
              <a:gd name="connsiteY27" fmla="*/ 1144988 h 3506525"/>
              <a:gd name="connsiteX28" fmla="*/ 4190338 w 10917141"/>
              <a:gd name="connsiteY28" fmla="*/ 1144988 h 3506525"/>
              <a:gd name="connsiteX29" fmla="*/ 4190338 w 10917141"/>
              <a:gd name="connsiteY29" fmla="*/ 1232452 h 3506525"/>
              <a:gd name="connsiteX30" fmla="*/ 4556098 w 10917141"/>
              <a:gd name="connsiteY30" fmla="*/ 1232452 h 3506525"/>
              <a:gd name="connsiteX31" fmla="*/ 4556098 w 10917141"/>
              <a:gd name="connsiteY31" fmla="*/ 1343770 h 3506525"/>
              <a:gd name="connsiteX32" fmla="*/ 4603805 w 10917141"/>
              <a:gd name="connsiteY32" fmla="*/ 1343770 h 3506525"/>
              <a:gd name="connsiteX33" fmla="*/ 4603805 w 10917141"/>
              <a:gd name="connsiteY33" fmla="*/ 1526650 h 3506525"/>
              <a:gd name="connsiteX34" fmla="*/ 4635611 w 10917141"/>
              <a:gd name="connsiteY34" fmla="*/ 1526650 h 3506525"/>
              <a:gd name="connsiteX35" fmla="*/ 4635611 w 10917141"/>
              <a:gd name="connsiteY35" fmla="*/ 1622066 h 3506525"/>
              <a:gd name="connsiteX36" fmla="*/ 5112689 w 10917141"/>
              <a:gd name="connsiteY36" fmla="*/ 1622066 h 3506525"/>
              <a:gd name="connsiteX37" fmla="*/ 5112689 w 10917141"/>
              <a:gd name="connsiteY37" fmla="*/ 1733384 h 3506525"/>
              <a:gd name="connsiteX38" fmla="*/ 5176299 w 10917141"/>
              <a:gd name="connsiteY38" fmla="*/ 1733384 h 3506525"/>
              <a:gd name="connsiteX39" fmla="*/ 5176299 w 10917141"/>
              <a:gd name="connsiteY39" fmla="*/ 1836751 h 3506525"/>
              <a:gd name="connsiteX40" fmla="*/ 5438692 w 10917141"/>
              <a:gd name="connsiteY40" fmla="*/ 1836751 h 3506525"/>
              <a:gd name="connsiteX41" fmla="*/ 5438692 w 10917141"/>
              <a:gd name="connsiteY41" fmla="*/ 1932167 h 3506525"/>
              <a:gd name="connsiteX42" fmla="*/ 5709037 w 10917141"/>
              <a:gd name="connsiteY42" fmla="*/ 1932167 h 3506525"/>
              <a:gd name="connsiteX43" fmla="*/ 5709037 w 10917141"/>
              <a:gd name="connsiteY43" fmla="*/ 2067339 h 3506525"/>
              <a:gd name="connsiteX44" fmla="*/ 6361044 w 10917141"/>
              <a:gd name="connsiteY44" fmla="*/ 2067339 h 3506525"/>
              <a:gd name="connsiteX45" fmla="*/ 6361044 w 10917141"/>
              <a:gd name="connsiteY45" fmla="*/ 2202511 h 3506525"/>
              <a:gd name="connsiteX46" fmla="*/ 6814268 w 10917141"/>
              <a:gd name="connsiteY46" fmla="*/ 2202511 h 3506525"/>
              <a:gd name="connsiteX47" fmla="*/ 6814268 w 10917141"/>
              <a:gd name="connsiteY47" fmla="*/ 2385391 h 3506525"/>
              <a:gd name="connsiteX48" fmla="*/ 7291346 w 10917141"/>
              <a:gd name="connsiteY48" fmla="*/ 2385391 h 3506525"/>
              <a:gd name="connsiteX49" fmla="*/ 7291346 w 10917141"/>
              <a:gd name="connsiteY49" fmla="*/ 2520563 h 3506525"/>
              <a:gd name="connsiteX50" fmla="*/ 7331103 w 10917141"/>
              <a:gd name="connsiteY50" fmla="*/ 2520563 h 3506525"/>
              <a:gd name="connsiteX51" fmla="*/ 7331103 w 10917141"/>
              <a:gd name="connsiteY51" fmla="*/ 2568271 h 3506525"/>
              <a:gd name="connsiteX52" fmla="*/ 7394713 w 10917141"/>
              <a:gd name="connsiteY52" fmla="*/ 2568271 h 3506525"/>
              <a:gd name="connsiteX53" fmla="*/ 7394713 w 10917141"/>
              <a:gd name="connsiteY53" fmla="*/ 2790908 h 3506525"/>
              <a:gd name="connsiteX54" fmla="*/ 7513983 w 10917141"/>
              <a:gd name="connsiteY54" fmla="*/ 2790908 h 3506525"/>
              <a:gd name="connsiteX55" fmla="*/ 7513983 w 10917141"/>
              <a:gd name="connsiteY55" fmla="*/ 2989690 h 3506525"/>
              <a:gd name="connsiteX56" fmla="*/ 9144000 w 10917141"/>
              <a:gd name="connsiteY56" fmla="*/ 2989690 h 3506525"/>
              <a:gd name="connsiteX57" fmla="*/ 9144000 w 10917141"/>
              <a:gd name="connsiteY57" fmla="*/ 3506525 h 3506525"/>
              <a:gd name="connsiteX58" fmla="*/ 10917141 w 10917141"/>
              <a:gd name="connsiteY58" fmla="*/ 3506525 h 350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917141" h="3506525">
                <a:moveTo>
                  <a:pt x="0" y="0"/>
                </a:moveTo>
                <a:lnTo>
                  <a:pt x="373712" y="0"/>
                </a:lnTo>
                <a:lnTo>
                  <a:pt x="373712" y="95415"/>
                </a:lnTo>
                <a:lnTo>
                  <a:pt x="485030" y="95415"/>
                </a:lnTo>
                <a:lnTo>
                  <a:pt x="485030" y="143123"/>
                </a:lnTo>
                <a:lnTo>
                  <a:pt x="572494" y="143123"/>
                </a:lnTo>
                <a:lnTo>
                  <a:pt x="572494" y="198782"/>
                </a:lnTo>
                <a:lnTo>
                  <a:pt x="683812" y="198782"/>
                </a:lnTo>
                <a:lnTo>
                  <a:pt x="683812" y="278295"/>
                </a:lnTo>
                <a:lnTo>
                  <a:pt x="898498" y="278295"/>
                </a:lnTo>
                <a:lnTo>
                  <a:pt x="898498" y="405516"/>
                </a:lnTo>
                <a:lnTo>
                  <a:pt x="1637969" y="405516"/>
                </a:lnTo>
                <a:lnTo>
                  <a:pt x="1637969" y="485029"/>
                </a:lnTo>
                <a:lnTo>
                  <a:pt x="1757238" y="485029"/>
                </a:lnTo>
                <a:lnTo>
                  <a:pt x="1757238" y="548640"/>
                </a:lnTo>
                <a:lnTo>
                  <a:pt x="1852654" y="548640"/>
                </a:lnTo>
                <a:lnTo>
                  <a:pt x="1852654" y="548640"/>
                </a:lnTo>
                <a:lnTo>
                  <a:pt x="1852654" y="644056"/>
                </a:lnTo>
                <a:cubicBezTo>
                  <a:pt x="1873471" y="651731"/>
                  <a:pt x="1959058" y="640356"/>
                  <a:pt x="1979875" y="648031"/>
                </a:cubicBezTo>
                <a:lnTo>
                  <a:pt x="1987826" y="683812"/>
                </a:lnTo>
                <a:lnTo>
                  <a:pt x="2592125" y="683812"/>
                </a:lnTo>
                <a:lnTo>
                  <a:pt x="2592125" y="771276"/>
                </a:lnTo>
                <a:lnTo>
                  <a:pt x="2759103" y="771276"/>
                </a:lnTo>
                <a:lnTo>
                  <a:pt x="2759103" y="906448"/>
                </a:lnTo>
                <a:lnTo>
                  <a:pt x="2934032" y="906448"/>
                </a:lnTo>
                <a:lnTo>
                  <a:pt x="2934032" y="993913"/>
                </a:lnTo>
                <a:lnTo>
                  <a:pt x="3673503" y="993913"/>
                </a:lnTo>
                <a:lnTo>
                  <a:pt x="3673503" y="1144988"/>
                </a:lnTo>
                <a:lnTo>
                  <a:pt x="4190338" y="1144988"/>
                </a:lnTo>
                <a:lnTo>
                  <a:pt x="4190338" y="1232452"/>
                </a:lnTo>
                <a:lnTo>
                  <a:pt x="4556098" y="1232452"/>
                </a:lnTo>
                <a:lnTo>
                  <a:pt x="4556098" y="1343770"/>
                </a:lnTo>
                <a:lnTo>
                  <a:pt x="4603805" y="1343770"/>
                </a:lnTo>
                <a:lnTo>
                  <a:pt x="4603805" y="1526650"/>
                </a:lnTo>
                <a:lnTo>
                  <a:pt x="4635611" y="1526650"/>
                </a:lnTo>
                <a:lnTo>
                  <a:pt x="4635611" y="1622066"/>
                </a:lnTo>
                <a:lnTo>
                  <a:pt x="5112689" y="1622066"/>
                </a:lnTo>
                <a:lnTo>
                  <a:pt x="5112689" y="1733384"/>
                </a:lnTo>
                <a:lnTo>
                  <a:pt x="5176299" y="1733384"/>
                </a:lnTo>
                <a:lnTo>
                  <a:pt x="5176299" y="1836751"/>
                </a:lnTo>
                <a:lnTo>
                  <a:pt x="5438692" y="1836751"/>
                </a:lnTo>
                <a:lnTo>
                  <a:pt x="5438692" y="1932167"/>
                </a:lnTo>
                <a:lnTo>
                  <a:pt x="5709037" y="1932167"/>
                </a:lnTo>
                <a:lnTo>
                  <a:pt x="5709037" y="2067339"/>
                </a:lnTo>
                <a:lnTo>
                  <a:pt x="6361044" y="2067339"/>
                </a:lnTo>
                <a:lnTo>
                  <a:pt x="6361044" y="2202511"/>
                </a:lnTo>
                <a:lnTo>
                  <a:pt x="6814268" y="2202511"/>
                </a:lnTo>
                <a:lnTo>
                  <a:pt x="6814268" y="2385391"/>
                </a:lnTo>
                <a:lnTo>
                  <a:pt x="7291346" y="2385391"/>
                </a:lnTo>
                <a:lnTo>
                  <a:pt x="7291346" y="2520563"/>
                </a:lnTo>
                <a:lnTo>
                  <a:pt x="7331103" y="2520563"/>
                </a:lnTo>
                <a:lnTo>
                  <a:pt x="7331103" y="2568271"/>
                </a:lnTo>
                <a:lnTo>
                  <a:pt x="7394713" y="2568271"/>
                </a:lnTo>
                <a:lnTo>
                  <a:pt x="7394713" y="2790908"/>
                </a:lnTo>
                <a:lnTo>
                  <a:pt x="7513983" y="2790908"/>
                </a:lnTo>
                <a:lnTo>
                  <a:pt x="7513983" y="2989690"/>
                </a:lnTo>
                <a:lnTo>
                  <a:pt x="9144000" y="2989690"/>
                </a:lnTo>
                <a:lnTo>
                  <a:pt x="9144000" y="3506525"/>
                </a:lnTo>
                <a:lnTo>
                  <a:pt x="10917141" y="3506525"/>
                </a:lnTo>
              </a:path>
            </a:pathLst>
          </a:custGeom>
          <a:no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7" name="Freeform: Shape 356">
            <a:extLst>
              <a:ext uri="{FF2B5EF4-FFF2-40B4-BE49-F238E27FC236}">
                <a16:creationId xmlns:a16="http://schemas.microsoft.com/office/drawing/2014/main" id="{1C60A3A6-3C4F-7F52-777B-44A544671765}"/>
              </a:ext>
            </a:extLst>
          </p:cNvPr>
          <p:cNvSpPr/>
          <p:nvPr/>
        </p:nvSpPr>
        <p:spPr>
          <a:xfrm>
            <a:off x="1165215" y="1645107"/>
            <a:ext cx="5011859" cy="989658"/>
          </a:xfrm>
          <a:custGeom>
            <a:avLst/>
            <a:gdLst>
              <a:gd name="connsiteX0" fmla="*/ 0 w 11009376"/>
              <a:gd name="connsiteY0" fmla="*/ 0 h 3401568"/>
              <a:gd name="connsiteX1" fmla="*/ 137160 w 11009376"/>
              <a:gd name="connsiteY1" fmla="*/ 0 h 3401568"/>
              <a:gd name="connsiteX2" fmla="*/ 137160 w 11009376"/>
              <a:gd name="connsiteY2" fmla="*/ 164592 h 3401568"/>
              <a:gd name="connsiteX3" fmla="*/ 402336 w 11009376"/>
              <a:gd name="connsiteY3" fmla="*/ 164592 h 3401568"/>
              <a:gd name="connsiteX4" fmla="*/ 402336 w 11009376"/>
              <a:gd name="connsiteY4" fmla="*/ 256032 h 3401568"/>
              <a:gd name="connsiteX5" fmla="*/ 512064 w 11009376"/>
              <a:gd name="connsiteY5" fmla="*/ 256032 h 3401568"/>
              <a:gd name="connsiteX6" fmla="*/ 512064 w 11009376"/>
              <a:gd name="connsiteY6" fmla="*/ 301752 h 3401568"/>
              <a:gd name="connsiteX7" fmla="*/ 585216 w 11009376"/>
              <a:gd name="connsiteY7" fmla="*/ 301752 h 3401568"/>
              <a:gd name="connsiteX8" fmla="*/ 585216 w 11009376"/>
              <a:gd name="connsiteY8" fmla="*/ 338328 h 3401568"/>
              <a:gd name="connsiteX9" fmla="*/ 868680 w 11009376"/>
              <a:gd name="connsiteY9" fmla="*/ 338328 h 3401568"/>
              <a:gd name="connsiteX10" fmla="*/ 868680 w 11009376"/>
              <a:gd name="connsiteY10" fmla="*/ 356616 h 3401568"/>
              <a:gd name="connsiteX11" fmla="*/ 1472184 w 11009376"/>
              <a:gd name="connsiteY11" fmla="*/ 356616 h 3401568"/>
              <a:gd name="connsiteX12" fmla="*/ 1472184 w 11009376"/>
              <a:gd name="connsiteY12" fmla="*/ 411480 h 3401568"/>
              <a:gd name="connsiteX13" fmla="*/ 2459736 w 11009376"/>
              <a:gd name="connsiteY13" fmla="*/ 411480 h 3401568"/>
              <a:gd name="connsiteX14" fmla="*/ 2459736 w 11009376"/>
              <a:gd name="connsiteY14" fmla="*/ 484632 h 3401568"/>
              <a:gd name="connsiteX15" fmla="*/ 2834640 w 11009376"/>
              <a:gd name="connsiteY15" fmla="*/ 484632 h 3401568"/>
              <a:gd name="connsiteX16" fmla="*/ 2834640 w 11009376"/>
              <a:gd name="connsiteY16" fmla="*/ 484632 h 3401568"/>
              <a:gd name="connsiteX17" fmla="*/ 2834640 w 11009376"/>
              <a:gd name="connsiteY17" fmla="*/ 557784 h 3401568"/>
              <a:gd name="connsiteX18" fmla="*/ 3026664 w 11009376"/>
              <a:gd name="connsiteY18" fmla="*/ 557784 h 3401568"/>
              <a:gd name="connsiteX19" fmla="*/ 3026664 w 11009376"/>
              <a:gd name="connsiteY19" fmla="*/ 630936 h 3401568"/>
              <a:gd name="connsiteX20" fmla="*/ 3602736 w 11009376"/>
              <a:gd name="connsiteY20" fmla="*/ 630936 h 3401568"/>
              <a:gd name="connsiteX21" fmla="*/ 3575304 w 11009376"/>
              <a:gd name="connsiteY21" fmla="*/ 658368 h 3401568"/>
              <a:gd name="connsiteX22" fmla="*/ 3721608 w 11009376"/>
              <a:gd name="connsiteY22" fmla="*/ 658368 h 3401568"/>
              <a:gd name="connsiteX23" fmla="*/ 3721608 w 11009376"/>
              <a:gd name="connsiteY23" fmla="*/ 813816 h 3401568"/>
              <a:gd name="connsiteX24" fmla="*/ 3867912 w 11009376"/>
              <a:gd name="connsiteY24" fmla="*/ 813816 h 3401568"/>
              <a:gd name="connsiteX25" fmla="*/ 3867912 w 11009376"/>
              <a:gd name="connsiteY25" fmla="*/ 868680 h 3401568"/>
              <a:gd name="connsiteX26" fmla="*/ 4754880 w 11009376"/>
              <a:gd name="connsiteY26" fmla="*/ 868680 h 3401568"/>
              <a:gd name="connsiteX27" fmla="*/ 4754880 w 11009376"/>
              <a:gd name="connsiteY27" fmla="*/ 960120 h 3401568"/>
              <a:gd name="connsiteX28" fmla="*/ 5184648 w 11009376"/>
              <a:gd name="connsiteY28" fmla="*/ 960120 h 3401568"/>
              <a:gd name="connsiteX29" fmla="*/ 5184648 w 11009376"/>
              <a:gd name="connsiteY29" fmla="*/ 1024128 h 3401568"/>
              <a:gd name="connsiteX30" fmla="*/ 5431536 w 11009376"/>
              <a:gd name="connsiteY30" fmla="*/ 1024128 h 3401568"/>
              <a:gd name="connsiteX31" fmla="*/ 5431536 w 11009376"/>
              <a:gd name="connsiteY31" fmla="*/ 1097280 h 3401568"/>
              <a:gd name="connsiteX32" fmla="*/ 5550408 w 11009376"/>
              <a:gd name="connsiteY32" fmla="*/ 1097280 h 3401568"/>
              <a:gd name="connsiteX33" fmla="*/ 5550408 w 11009376"/>
              <a:gd name="connsiteY33" fmla="*/ 1152144 h 3401568"/>
              <a:gd name="connsiteX34" fmla="*/ 6089904 w 11009376"/>
              <a:gd name="connsiteY34" fmla="*/ 1152144 h 3401568"/>
              <a:gd name="connsiteX35" fmla="*/ 6089904 w 11009376"/>
              <a:gd name="connsiteY35" fmla="*/ 1261872 h 3401568"/>
              <a:gd name="connsiteX36" fmla="*/ 6382512 w 11009376"/>
              <a:gd name="connsiteY36" fmla="*/ 1261872 h 3401568"/>
              <a:gd name="connsiteX37" fmla="*/ 6382512 w 11009376"/>
              <a:gd name="connsiteY37" fmla="*/ 1344168 h 3401568"/>
              <a:gd name="connsiteX38" fmla="*/ 6455664 w 11009376"/>
              <a:gd name="connsiteY38" fmla="*/ 1344168 h 3401568"/>
              <a:gd name="connsiteX39" fmla="*/ 6455664 w 11009376"/>
              <a:gd name="connsiteY39" fmla="*/ 1408176 h 3401568"/>
              <a:gd name="connsiteX40" fmla="*/ 6931152 w 11009376"/>
              <a:gd name="connsiteY40" fmla="*/ 1408176 h 3401568"/>
              <a:gd name="connsiteX41" fmla="*/ 6931152 w 11009376"/>
              <a:gd name="connsiteY41" fmla="*/ 1508760 h 3401568"/>
              <a:gd name="connsiteX42" fmla="*/ 7260336 w 11009376"/>
              <a:gd name="connsiteY42" fmla="*/ 1508760 h 3401568"/>
              <a:gd name="connsiteX43" fmla="*/ 7260336 w 11009376"/>
              <a:gd name="connsiteY43" fmla="*/ 1591056 h 3401568"/>
              <a:gd name="connsiteX44" fmla="*/ 7589520 w 11009376"/>
              <a:gd name="connsiteY44" fmla="*/ 1591056 h 3401568"/>
              <a:gd name="connsiteX45" fmla="*/ 7589520 w 11009376"/>
              <a:gd name="connsiteY45" fmla="*/ 1728216 h 3401568"/>
              <a:gd name="connsiteX46" fmla="*/ 8266176 w 11009376"/>
              <a:gd name="connsiteY46" fmla="*/ 1728216 h 3401568"/>
              <a:gd name="connsiteX47" fmla="*/ 8266176 w 11009376"/>
              <a:gd name="connsiteY47" fmla="*/ 1929384 h 3401568"/>
              <a:gd name="connsiteX48" fmla="*/ 9052560 w 11009376"/>
              <a:gd name="connsiteY48" fmla="*/ 1929384 h 3401568"/>
              <a:gd name="connsiteX49" fmla="*/ 9052560 w 11009376"/>
              <a:gd name="connsiteY49" fmla="*/ 2249424 h 3401568"/>
              <a:gd name="connsiteX50" fmla="*/ 9372600 w 11009376"/>
              <a:gd name="connsiteY50" fmla="*/ 2249424 h 3401568"/>
              <a:gd name="connsiteX51" fmla="*/ 9372600 w 11009376"/>
              <a:gd name="connsiteY51" fmla="*/ 2788920 h 3401568"/>
              <a:gd name="connsiteX52" fmla="*/ 9957816 w 11009376"/>
              <a:gd name="connsiteY52" fmla="*/ 2788920 h 3401568"/>
              <a:gd name="connsiteX53" fmla="*/ 9957816 w 11009376"/>
              <a:gd name="connsiteY53" fmla="*/ 3401568 h 3401568"/>
              <a:gd name="connsiteX54" fmla="*/ 11009376 w 11009376"/>
              <a:gd name="connsiteY54" fmla="*/ 3401568 h 340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1009376" h="3401568">
                <a:moveTo>
                  <a:pt x="0" y="0"/>
                </a:moveTo>
                <a:lnTo>
                  <a:pt x="137160" y="0"/>
                </a:lnTo>
                <a:lnTo>
                  <a:pt x="137160" y="164592"/>
                </a:lnTo>
                <a:lnTo>
                  <a:pt x="402336" y="164592"/>
                </a:lnTo>
                <a:lnTo>
                  <a:pt x="402336" y="256032"/>
                </a:lnTo>
                <a:lnTo>
                  <a:pt x="512064" y="256032"/>
                </a:lnTo>
                <a:lnTo>
                  <a:pt x="512064" y="301752"/>
                </a:lnTo>
                <a:lnTo>
                  <a:pt x="585216" y="301752"/>
                </a:lnTo>
                <a:lnTo>
                  <a:pt x="585216" y="338328"/>
                </a:lnTo>
                <a:lnTo>
                  <a:pt x="868680" y="338328"/>
                </a:lnTo>
                <a:lnTo>
                  <a:pt x="868680" y="356616"/>
                </a:lnTo>
                <a:lnTo>
                  <a:pt x="1472184" y="356616"/>
                </a:lnTo>
                <a:lnTo>
                  <a:pt x="1472184" y="411480"/>
                </a:lnTo>
                <a:lnTo>
                  <a:pt x="2459736" y="411480"/>
                </a:lnTo>
                <a:lnTo>
                  <a:pt x="2459736" y="484632"/>
                </a:lnTo>
                <a:lnTo>
                  <a:pt x="2834640" y="484632"/>
                </a:lnTo>
                <a:lnTo>
                  <a:pt x="2834640" y="484632"/>
                </a:lnTo>
                <a:lnTo>
                  <a:pt x="2834640" y="557784"/>
                </a:lnTo>
                <a:lnTo>
                  <a:pt x="3026664" y="557784"/>
                </a:lnTo>
                <a:lnTo>
                  <a:pt x="3026664" y="630936"/>
                </a:lnTo>
                <a:lnTo>
                  <a:pt x="3602736" y="630936"/>
                </a:lnTo>
                <a:lnTo>
                  <a:pt x="3575304" y="658368"/>
                </a:lnTo>
                <a:lnTo>
                  <a:pt x="3721608" y="658368"/>
                </a:lnTo>
                <a:lnTo>
                  <a:pt x="3721608" y="813816"/>
                </a:lnTo>
                <a:lnTo>
                  <a:pt x="3867912" y="813816"/>
                </a:lnTo>
                <a:lnTo>
                  <a:pt x="3867912" y="868680"/>
                </a:lnTo>
                <a:lnTo>
                  <a:pt x="4754880" y="868680"/>
                </a:lnTo>
                <a:lnTo>
                  <a:pt x="4754880" y="960120"/>
                </a:lnTo>
                <a:lnTo>
                  <a:pt x="5184648" y="960120"/>
                </a:lnTo>
                <a:lnTo>
                  <a:pt x="5184648" y="1024128"/>
                </a:lnTo>
                <a:lnTo>
                  <a:pt x="5431536" y="1024128"/>
                </a:lnTo>
                <a:lnTo>
                  <a:pt x="5431536" y="1097280"/>
                </a:lnTo>
                <a:lnTo>
                  <a:pt x="5550408" y="1097280"/>
                </a:lnTo>
                <a:lnTo>
                  <a:pt x="5550408" y="1152144"/>
                </a:lnTo>
                <a:lnTo>
                  <a:pt x="6089904" y="1152144"/>
                </a:lnTo>
                <a:lnTo>
                  <a:pt x="6089904" y="1261872"/>
                </a:lnTo>
                <a:lnTo>
                  <a:pt x="6382512" y="1261872"/>
                </a:lnTo>
                <a:lnTo>
                  <a:pt x="6382512" y="1344168"/>
                </a:lnTo>
                <a:lnTo>
                  <a:pt x="6455664" y="1344168"/>
                </a:lnTo>
                <a:lnTo>
                  <a:pt x="6455664" y="1408176"/>
                </a:lnTo>
                <a:lnTo>
                  <a:pt x="6931152" y="1408176"/>
                </a:lnTo>
                <a:lnTo>
                  <a:pt x="6931152" y="1508760"/>
                </a:lnTo>
                <a:lnTo>
                  <a:pt x="7260336" y="1508760"/>
                </a:lnTo>
                <a:lnTo>
                  <a:pt x="7260336" y="1591056"/>
                </a:lnTo>
                <a:lnTo>
                  <a:pt x="7589520" y="1591056"/>
                </a:lnTo>
                <a:lnTo>
                  <a:pt x="7589520" y="1728216"/>
                </a:lnTo>
                <a:lnTo>
                  <a:pt x="8266176" y="1728216"/>
                </a:lnTo>
                <a:lnTo>
                  <a:pt x="8266176" y="1929384"/>
                </a:lnTo>
                <a:lnTo>
                  <a:pt x="9052560" y="1929384"/>
                </a:lnTo>
                <a:lnTo>
                  <a:pt x="9052560" y="2249424"/>
                </a:lnTo>
                <a:lnTo>
                  <a:pt x="9372600" y="2249424"/>
                </a:lnTo>
                <a:lnTo>
                  <a:pt x="9372600" y="2788920"/>
                </a:lnTo>
                <a:lnTo>
                  <a:pt x="9957816" y="2788920"/>
                </a:lnTo>
                <a:lnTo>
                  <a:pt x="9957816" y="3401568"/>
                </a:lnTo>
                <a:lnTo>
                  <a:pt x="11009376" y="3401568"/>
                </a:lnTo>
              </a:path>
            </a:pathLst>
          </a:custGeom>
          <a:noFill/>
          <a:ln w="19050" cap="rnd">
            <a:solidFill>
              <a:schemeClr val="accent4"/>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358" name="Group 357">
            <a:extLst>
              <a:ext uri="{FF2B5EF4-FFF2-40B4-BE49-F238E27FC236}">
                <a16:creationId xmlns:a16="http://schemas.microsoft.com/office/drawing/2014/main" id="{E694C492-3A19-5738-680E-0C4B03918B86}"/>
              </a:ext>
            </a:extLst>
          </p:cNvPr>
          <p:cNvGrpSpPr/>
          <p:nvPr/>
        </p:nvGrpSpPr>
        <p:grpSpPr>
          <a:xfrm>
            <a:off x="1169378" y="1597219"/>
            <a:ext cx="5002324" cy="1084288"/>
            <a:chOff x="246888" y="0"/>
            <a:chExt cx="10988430" cy="3726823"/>
          </a:xfrm>
        </p:grpSpPr>
        <p:cxnSp>
          <p:nvCxnSpPr>
            <p:cNvPr id="359" name="Straight Connector 358">
              <a:extLst>
                <a:ext uri="{FF2B5EF4-FFF2-40B4-BE49-F238E27FC236}">
                  <a16:creationId xmlns:a16="http://schemas.microsoft.com/office/drawing/2014/main" id="{5577B81C-9FDA-1083-4501-6EB4E52CD1EA}"/>
                </a:ext>
              </a:extLst>
            </p:cNvPr>
            <p:cNvCxnSpPr/>
            <p:nvPr/>
          </p:nvCxnSpPr>
          <p:spPr>
            <a:xfrm>
              <a:off x="246888" y="0"/>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38243BA6-C4B1-DD84-C959-B9DBF75F2EBD}"/>
                </a:ext>
              </a:extLst>
            </p:cNvPr>
            <p:cNvCxnSpPr/>
            <p:nvPr/>
          </p:nvCxnSpPr>
          <p:spPr>
            <a:xfrm>
              <a:off x="704088" y="2557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3A33E597-21E4-1F83-8287-BDD154EA3C84}"/>
                </a:ext>
              </a:extLst>
            </p:cNvPr>
            <p:cNvCxnSpPr/>
            <p:nvPr/>
          </p:nvCxnSpPr>
          <p:spPr>
            <a:xfrm>
              <a:off x="813503" y="314392"/>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38D67C8C-A5D9-4EE5-B731-8D39A7C38E0F}"/>
                </a:ext>
              </a:extLst>
            </p:cNvPr>
            <p:cNvCxnSpPr/>
            <p:nvPr/>
          </p:nvCxnSpPr>
          <p:spPr>
            <a:xfrm>
              <a:off x="1145657" y="330023"/>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873A0A3E-F5C4-DE37-9C9D-3A04E954F10B}"/>
                </a:ext>
              </a:extLst>
            </p:cNvPr>
            <p:cNvCxnSpPr/>
            <p:nvPr/>
          </p:nvCxnSpPr>
          <p:spPr>
            <a:xfrm>
              <a:off x="1684919" y="330023"/>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19F3B127-2CB4-2D0E-BE14-7DAA31A58794}"/>
                </a:ext>
              </a:extLst>
            </p:cNvPr>
            <p:cNvCxnSpPr/>
            <p:nvPr/>
          </p:nvCxnSpPr>
          <p:spPr>
            <a:xfrm>
              <a:off x="2595412" y="400362"/>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3A188C9E-9061-413D-EAF6-900082CFA961}"/>
                </a:ext>
              </a:extLst>
            </p:cNvPr>
            <p:cNvCxnSpPr/>
            <p:nvPr/>
          </p:nvCxnSpPr>
          <p:spPr>
            <a:xfrm>
              <a:off x="2978366" y="466793"/>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CFDCBC7A-0B6D-29E6-D338-AFD16A62221B}"/>
                </a:ext>
              </a:extLst>
            </p:cNvPr>
            <p:cNvCxnSpPr/>
            <p:nvPr/>
          </p:nvCxnSpPr>
          <p:spPr>
            <a:xfrm>
              <a:off x="3021351" y="466793"/>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08B7FBF5-2704-088D-139A-B7156BB55B66}"/>
                </a:ext>
              </a:extLst>
            </p:cNvPr>
            <p:cNvCxnSpPr/>
            <p:nvPr/>
          </p:nvCxnSpPr>
          <p:spPr>
            <a:xfrm>
              <a:off x="3822428" y="642639"/>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15630E9-C77F-C302-8630-18B5F417CDA0}"/>
                </a:ext>
              </a:extLst>
            </p:cNvPr>
            <p:cNvCxnSpPr/>
            <p:nvPr/>
          </p:nvCxnSpPr>
          <p:spPr>
            <a:xfrm>
              <a:off x="3841967" y="642639"/>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6895E3B7-2ECB-6868-8F78-D13401B8DBD6}"/>
                </a:ext>
              </a:extLst>
            </p:cNvPr>
            <p:cNvCxnSpPr/>
            <p:nvPr/>
          </p:nvCxnSpPr>
          <p:spPr>
            <a:xfrm>
              <a:off x="3873228" y="642639"/>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C34E3D41-DDA2-E8C3-C2DC-794A91A0FA96}"/>
                </a:ext>
              </a:extLst>
            </p:cNvPr>
            <p:cNvCxnSpPr/>
            <p:nvPr/>
          </p:nvCxnSpPr>
          <p:spPr>
            <a:xfrm>
              <a:off x="4185843" y="861469"/>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274BB12D-288A-D4A6-6EB1-E37821010D5C}"/>
                </a:ext>
              </a:extLst>
            </p:cNvPr>
            <p:cNvCxnSpPr/>
            <p:nvPr/>
          </p:nvCxnSpPr>
          <p:spPr>
            <a:xfrm>
              <a:off x="4713382" y="861469"/>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221B100-7F8E-106D-CFDB-88DA523AE3A1}"/>
                </a:ext>
              </a:extLst>
            </p:cNvPr>
            <p:cNvCxnSpPr/>
            <p:nvPr/>
          </p:nvCxnSpPr>
          <p:spPr>
            <a:xfrm>
              <a:off x="4803259" y="861469"/>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AAE3F432-A901-41BE-089B-7D9774067C00}"/>
                </a:ext>
              </a:extLst>
            </p:cNvPr>
            <p:cNvCxnSpPr/>
            <p:nvPr/>
          </p:nvCxnSpPr>
          <p:spPr>
            <a:xfrm>
              <a:off x="4854059" y="861469"/>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E938B27-BBB9-8884-2357-DFF67DE74E15}"/>
                </a:ext>
              </a:extLst>
            </p:cNvPr>
            <p:cNvCxnSpPr/>
            <p:nvPr/>
          </p:nvCxnSpPr>
          <p:spPr>
            <a:xfrm>
              <a:off x="5041628" y="947438"/>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1C6669AC-762E-4C12-5246-300A6FD0577D}"/>
                </a:ext>
              </a:extLst>
            </p:cNvPr>
            <p:cNvCxnSpPr/>
            <p:nvPr/>
          </p:nvCxnSpPr>
          <p:spPr>
            <a:xfrm>
              <a:off x="5197936" y="947438"/>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AE90477-AC9A-3692-B924-B2358B9DC3A5}"/>
                </a:ext>
              </a:extLst>
            </p:cNvPr>
            <p:cNvCxnSpPr/>
            <p:nvPr/>
          </p:nvCxnSpPr>
          <p:spPr>
            <a:xfrm>
              <a:off x="5780182" y="11193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AD68D74-2D2D-08D2-1732-6BA14C3CAD5A}"/>
                </a:ext>
              </a:extLst>
            </p:cNvPr>
            <p:cNvCxnSpPr/>
            <p:nvPr/>
          </p:nvCxnSpPr>
          <p:spPr>
            <a:xfrm>
              <a:off x="6549997" y="1248330"/>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3BACD9DB-3854-2109-0F95-36CC5018F82D}"/>
                </a:ext>
              </a:extLst>
            </p:cNvPr>
            <p:cNvCxnSpPr/>
            <p:nvPr/>
          </p:nvCxnSpPr>
          <p:spPr>
            <a:xfrm>
              <a:off x="6628151" y="1299130"/>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9FE8ADF1-F7B7-C7E4-5D16-4924E96332D5}"/>
                </a:ext>
              </a:extLst>
            </p:cNvPr>
            <p:cNvCxnSpPr/>
            <p:nvPr/>
          </p:nvCxnSpPr>
          <p:spPr>
            <a:xfrm>
              <a:off x="6682859" y="135774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7720E060-574D-600E-43BB-1C5786F23DF5}"/>
                </a:ext>
              </a:extLst>
            </p:cNvPr>
            <p:cNvCxnSpPr/>
            <p:nvPr/>
          </p:nvCxnSpPr>
          <p:spPr>
            <a:xfrm>
              <a:off x="6858705" y="140854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DE719344-9A4A-B5DA-7EDC-DF29E73D86D2}"/>
                </a:ext>
              </a:extLst>
            </p:cNvPr>
            <p:cNvCxnSpPr/>
            <p:nvPr/>
          </p:nvCxnSpPr>
          <p:spPr>
            <a:xfrm>
              <a:off x="7222120" y="1498423"/>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B4C8F4AD-CD56-C516-5D7A-78B778145F8C}"/>
                </a:ext>
              </a:extLst>
            </p:cNvPr>
            <p:cNvCxnSpPr/>
            <p:nvPr/>
          </p:nvCxnSpPr>
          <p:spPr>
            <a:xfrm>
              <a:off x="7499566" y="15765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6A0A7E0E-ED9E-8C13-948C-C0F05FC11A2E}"/>
                </a:ext>
              </a:extLst>
            </p:cNvPr>
            <p:cNvCxnSpPr/>
            <p:nvPr/>
          </p:nvCxnSpPr>
          <p:spPr>
            <a:xfrm>
              <a:off x="7534735" y="15765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D8DA075E-C230-EE5E-6907-83AA1AC51938}"/>
                </a:ext>
              </a:extLst>
            </p:cNvPr>
            <p:cNvCxnSpPr/>
            <p:nvPr/>
          </p:nvCxnSpPr>
          <p:spPr>
            <a:xfrm>
              <a:off x="7573812" y="15765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5CB32361-6AA6-93EC-CA87-583FA523F9FA}"/>
                </a:ext>
              </a:extLst>
            </p:cNvPr>
            <p:cNvCxnSpPr/>
            <p:nvPr/>
          </p:nvCxnSpPr>
          <p:spPr>
            <a:xfrm>
              <a:off x="7722305" y="15765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8BB694C7-4227-395D-BB50-6E1D0BE37BEF}"/>
                </a:ext>
              </a:extLst>
            </p:cNvPr>
            <p:cNvCxnSpPr/>
            <p:nvPr/>
          </p:nvCxnSpPr>
          <p:spPr>
            <a:xfrm>
              <a:off x="7894243" y="17289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91B43C3C-4B22-F14D-14D0-A0FC656159B3}"/>
                </a:ext>
              </a:extLst>
            </p:cNvPr>
            <p:cNvCxnSpPr/>
            <p:nvPr/>
          </p:nvCxnSpPr>
          <p:spPr>
            <a:xfrm>
              <a:off x="8394428" y="17289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BD34500A-3F96-29D5-3435-E8731B87ED94}"/>
                </a:ext>
              </a:extLst>
            </p:cNvPr>
            <p:cNvCxnSpPr/>
            <p:nvPr/>
          </p:nvCxnSpPr>
          <p:spPr>
            <a:xfrm>
              <a:off x="8417874" y="17289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D9E90978-CBBF-2E86-2804-232C877D0E68}"/>
                </a:ext>
              </a:extLst>
            </p:cNvPr>
            <p:cNvCxnSpPr/>
            <p:nvPr/>
          </p:nvCxnSpPr>
          <p:spPr>
            <a:xfrm>
              <a:off x="8445227" y="17289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5C6DFD30-F49F-61E0-B589-21779F65BB69}"/>
                </a:ext>
              </a:extLst>
            </p:cNvPr>
            <p:cNvCxnSpPr/>
            <p:nvPr/>
          </p:nvCxnSpPr>
          <p:spPr>
            <a:xfrm>
              <a:off x="8476488" y="17289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5EB1E8AE-DCD3-24DF-FC5E-CE659EF95F1B}"/>
                </a:ext>
              </a:extLst>
            </p:cNvPr>
            <p:cNvCxnSpPr/>
            <p:nvPr/>
          </p:nvCxnSpPr>
          <p:spPr>
            <a:xfrm>
              <a:off x="8507749" y="1920453"/>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5602728C-A851-2AD2-3F95-1E2D30D22407}"/>
                </a:ext>
              </a:extLst>
            </p:cNvPr>
            <p:cNvCxnSpPr/>
            <p:nvPr/>
          </p:nvCxnSpPr>
          <p:spPr>
            <a:xfrm>
              <a:off x="9289287" y="1920453"/>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861D2250-3121-562E-06B3-659316EAF4AA}"/>
                </a:ext>
              </a:extLst>
            </p:cNvPr>
            <p:cNvCxnSpPr/>
            <p:nvPr/>
          </p:nvCxnSpPr>
          <p:spPr>
            <a:xfrm>
              <a:off x="9402610" y="2236976"/>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56967469-59BB-3C87-8FF2-C8F91B9C4DFA}"/>
                </a:ext>
              </a:extLst>
            </p:cNvPr>
            <p:cNvCxnSpPr/>
            <p:nvPr/>
          </p:nvCxnSpPr>
          <p:spPr>
            <a:xfrm>
              <a:off x="9949687" y="2776237"/>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A1621108-E56F-2081-B46F-FDECAD72297E}"/>
                </a:ext>
              </a:extLst>
            </p:cNvPr>
            <p:cNvCxnSpPr/>
            <p:nvPr/>
          </p:nvCxnSpPr>
          <p:spPr>
            <a:xfrm>
              <a:off x="10231040" y="3370207"/>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980A121F-E02A-6364-F2C2-2BBBB1542248}"/>
                </a:ext>
              </a:extLst>
            </p:cNvPr>
            <p:cNvCxnSpPr/>
            <p:nvPr/>
          </p:nvCxnSpPr>
          <p:spPr>
            <a:xfrm>
              <a:off x="10270117" y="3370207"/>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9476C488-F5B2-D5C3-6418-F73B0DE5D7DF}"/>
                </a:ext>
              </a:extLst>
            </p:cNvPr>
            <p:cNvCxnSpPr/>
            <p:nvPr/>
          </p:nvCxnSpPr>
          <p:spPr>
            <a:xfrm>
              <a:off x="10328733" y="3370207"/>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B9D3EBFE-B526-9D5A-4DB8-4CBEA13B1E9E}"/>
                </a:ext>
              </a:extLst>
            </p:cNvPr>
            <p:cNvCxnSpPr/>
            <p:nvPr/>
          </p:nvCxnSpPr>
          <p:spPr>
            <a:xfrm>
              <a:off x="11114179" y="3370207"/>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3843F145-E4A2-A38B-C2A4-C71C003D3D03}"/>
                </a:ext>
              </a:extLst>
            </p:cNvPr>
            <p:cNvCxnSpPr/>
            <p:nvPr/>
          </p:nvCxnSpPr>
          <p:spPr>
            <a:xfrm>
              <a:off x="11235318" y="3370207"/>
              <a:ext cx="0" cy="35661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400" name="Group 399">
            <a:extLst>
              <a:ext uri="{FF2B5EF4-FFF2-40B4-BE49-F238E27FC236}">
                <a16:creationId xmlns:a16="http://schemas.microsoft.com/office/drawing/2014/main" id="{D8936103-48CF-73AF-7406-80547BDE663B}"/>
              </a:ext>
            </a:extLst>
          </p:cNvPr>
          <p:cNvGrpSpPr/>
          <p:nvPr/>
        </p:nvGrpSpPr>
        <p:grpSpPr>
          <a:xfrm>
            <a:off x="1360860" y="1623823"/>
            <a:ext cx="4762361" cy="1093080"/>
            <a:chOff x="667512" y="91440"/>
            <a:chExt cx="10461311" cy="3757042"/>
          </a:xfrm>
        </p:grpSpPr>
        <p:cxnSp>
          <p:nvCxnSpPr>
            <p:cNvPr id="401" name="Straight Connector 400">
              <a:extLst>
                <a:ext uri="{FF2B5EF4-FFF2-40B4-BE49-F238E27FC236}">
                  <a16:creationId xmlns:a16="http://schemas.microsoft.com/office/drawing/2014/main" id="{34F5FE7A-5252-D529-95BC-BE9F1C565A5F}"/>
                </a:ext>
              </a:extLst>
            </p:cNvPr>
            <p:cNvCxnSpPr/>
            <p:nvPr/>
          </p:nvCxnSpPr>
          <p:spPr>
            <a:xfrm>
              <a:off x="667512" y="91440"/>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1DE57C85-8FC5-25CF-0626-4F6ACAEE6431}"/>
                </a:ext>
              </a:extLst>
            </p:cNvPr>
            <p:cNvCxnSpPr/>
            <p:nvPr/>
          </p:nvCxnSpPr>
          <p:spPr>
            <a:xfrm>
              <a:off x="1093280" y="26574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163A1C27-6A91-CD37-7339-27C17253D5C0}"/>
                </a:ext>
              </a:extLst>
            </p:cNvPr>
            <p:cNvCxnSpPr/>
            <p:nvPr/>
          </p:nvCxnSpPr>
          <p:spPr>
            <a:xfrm>
              <a:off x="1967675" y="500063"/>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39FDE937-C314-9C64-7B2C-D2E43BC5FCAE}"/>
                </a:ext>
              </a:extLst>
            </p:cNvPr>
            <p:cNvCxnSpPr/>
            <p:nvPr/>
          </p:nvCxnSpPr>
          <p:spPr>
            <a:xfrm>
              <a:off x="2030540" y="54006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6A25FDCB-15C1-1613-B8A4-9C24C61BEE22}"/>
                </a:ext>
              </a:extLst>
            </p:cNvPr>
            <p:cNvCxnSpPr/>
            <p:nvPr/>
          </p:nvCxnSpPr>
          <p:spPr>
            <a:xfrm>
              <a:off x="2076260" y="591503"/>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a:extLst>
                <a:ext uri="{FF2B5EF4-FFF2-40B4-BE49-F238E27FC236}">
                  <a16:creationId xmlns:a16="http://schemas.microsoft.com/office/drawing/2014/main" id="{609647D2-AB91-D6A4-B7C1-DDEF9E9A1B7F}"/>
                </a:ext>
              </a:extLst>
            </p:cNvPr>
            <p:cNvCxnSpPr/>
            <p:nvPr/>
          </p:nvCxnSpPr>
          <p:spPr>
            <a:xfrm>
              <a:off x="2307718" y="682943"/>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3DB2B172-BF20-F9D1-5F9C-C8566F02784B}"/>
                </a:ext>
              </a:extLst>
            </p:cNvPr>
            <p:cNvCxnSpPr/>
            <p:nvPr/>
          </p:nvCxnSpPr>
          <p:spPr>
            <a:xfrm>
              <a:off x="2950656" y="760096"/>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5FFD6C37-648A-B013-5E86-0E64CC26EC81}"/>
                </a:ext>
              </a:extLst>
            </p:cNvPr>
            <p:cNvCxnSpPr/>
            <p:nvPr/>
          </p:nvCxnSpPr>
          <p:spPr>
            <a:xfrm>
              <a:off x="3004948" y="877253"/>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9" name="Straight Connector 408">
              <a:extLst>
                <a:ext uri="{FF2B5EF4-FFF2-40B4-BE49-F238E27FC236}">
                  <a16:creationId xmlns:a16="http://schemas.microsoft.com/office/drawing/2014/main" id="{3C0B40DB-5804-437A-D7AC-B321A2652627}"/>
                </a:ext>
              </a:extLst>
            </p:cNvPr>
            <p:cNvCxnSpPr/>
            <p:nvPr/>
          </p:nvCxnSpPr>
          <p:spPr>
            <a:xfrm>
              <a:off x="3842196" y="994411"/>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0" name="Straight Connector 409">
              <a:extLst>
                <a:ext uri="{FF2B5EF4-FFF2-40B4-BE49-F238E27FC236}">
                  <a16:creationId xmlns:a16="http://schemas.microsoft.com/office/drawing/2014/main" id="{DBBFAAB4-1355-CBB3-C16D-04E92B3362BF}"/>
                </a:ext>
              </a:extLst>
            </p:cNvPr>
            <p:cNvCxnSpPr/>
            <p:nvPr/>
          </p:nvCxnSpPr>
          <p:spPr>
            <a:xfrm>
              <a:off x="3916491" y="1143001"/>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47D16D93-8E35-1148-72E5-BFF0C6BE0A15}"/>
                </a:ext>
              </a:extLst>
            </p:cNvPr>
            <p:cNvCxnSpPr/>
            <p:nvPr/>
          </p:nvCxnSpPr>
          <p:spPr>
            <a:xfrm>
              <a:off x="3956496" y="1143001"/>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2" name="Straight Connector 411">
              <a:extLst>
                <a:ext uri="{FF2B5EF4-FFF2-40B4-BE49-F238E27FC236}">
                  <a16:creationId xmlns:a16="http://schemas.microsoft.com/office/drawing/2014/main" id="{DF3AD522-B3BF-BCB9-2C52-20B6B1AC842D}"/>
                </a:ext>
              </a:extLst>
            </p:cNvPr>
            <p:cNvCxnSpPr/>
            <p:nvPr/>
          </p:nvCxnSpPr>
          <p:spPr>
            <a:xfrm>
              <a:off x="4050794" y="1143001"/>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3" name="Straight Connector 412">
              <a:extLst>
                <a:ext uri="{FF2B5EF4-FFF2-40B4-BE49-F238E27FC236}">
                  <a16:creationId xmlns:a16="http://schemas.microsoft.com/office/drawing/2014/main" id="{4EE68DD4-B6CD-1C95-4B01-949DD090522B}"/>
                </a:ext>
              </a:extLst>
            </p:cNvPr>
            <p:cNvCxnSpPr/>
            <p:nvPr/>
          </p:nvCxnSpPr>
          <p:spPr>
            <a:xfrm>
              <a:off x="4582289" y="123729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4" name="Straight Connector 413">
              <a:extLst>
                <a:ext uri="{FF2B5EF4-FFF2-40B4-BE49-F238E27FC236}">
                  <a16:creationId xmlns:a16="http://schemas.microsoft.com/office/drawing/2014/main" id="{1074A3E3-A7B2-4124-256D-1D905B1D07AA}"/>
                </a:ext>
              </a:extLst>
            </p:cNvPr>
            <p:cNvCxnSpPr/>
            <p:nvPr/>
          </p:nvCxnSpPr>
          <p:spPr>
            <a:xfrm>
              <a:off x="4710877" y="123729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5" name="Straight Connector 414">
              <a:extLst>
                <a:ext uri="{FF2B5EF4-FFF2-40B4-BE49-F238E27FC236}">
                  <a16:creationId xmlns:a16="http://schemas.microsoft.com/office/drawing/2014/main" id="{F6F2D688-DCB8-2AE0-87A4-57E553688069}"/>
                </a:ext>
              </a:extLst>
            </p:cNvPr>
            <p:cNvCxnSpPr/>
            <p:nvPr/>
          </p:nvCxnSpPr>
          <p:spPr>
            <a:xfrm>
              <a:off x="4799460" y="132873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B840BE60-978F-34CB-D6BB-047977F26FF7}"/>
                </a:ext>
              </a:extLst>
            </p:cNvPr>
            <p:cNvCxnSpPr/>
            <p:nvPr/>
          </p:nvCxnSpPr>
          <p:spPr>
            <a:xfrm>
              <a:off x="4876612" y="161448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C43F4ACC-B465-0A16-854A-610ED3EB0D54}"/>
                </a:ext>
              </a:extLst>
            </p:cNvPr>
            <p:cNvCxnSpPr/>
            <p:nvPr/>
          </p:nvCxnSpPr>
          <p:spPr>
            <a:xfrm>
              <a:off x="5413822" y="183165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E6DA3C23-8CC6-80E4-8A63-E66854267616}"/>
                </a:ext>
              </a:extLst>
            </p:cNvPr>
            <p:cNvCxnSpPr/>
            <p:nvPr/>
          </p:nvCxnSpPr>
          <p:spPr>
            <a:xfrm>
              <a:off x="5625277" y="183165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9" name="Straight Connector 418">
              <a:extLst>
                <a:ext uri="{FF2B5EF4-FFF2-40B4-BE49-F238E27FC236}">
                  <a16:creationId xmlns:a16="http://schemas.microsoft.com/office/drawing/2014/main" id="{A78989BF-7915-C436-C723-2A8A01BBA5B6}"/>
                </a:ext>
              </a:extLst>
            </p:cNvPr>
            <p:cNvCxnSpPr/>
            <p:nvPr/>
          </p:nvCxnSpPr>
          <p:spPr>
            <a:xfrm>
              <a:off x="5650995" y="183165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DA067196-C6AB-4F26-D30C-79D9BCE02AC6}"/>
                </a:ext>
              </a:extLst>
            </p:cNvPr>
            <p:cNvCxnSpPr/>
            <p:nvPr/>
          </p:nvCxnSpPr>
          <p:spPr>
            <a:xfrm>
              <a:off x="5742435" y="194595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7F716E64-D11D-ACCF-CDD2-FB0254D42093}"/>
                </a:ext>
              </a:extLst>
            </p:cNvPr>
            <p:cNvCxnSpPr/>
            <p:nvPr/>
          </p:nvCxnSpPr>
          <p:spPr>
            <a:xfrm>
              <a:off x="5908170" y="194595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A950DB53-7EBC-3794-4AB1-666FFDDDB0EE}"/>
                </a:ext>
              </a:extLst>
            </p:cNvPr>
            <p:cNvCxnSpPr/>
            <p:nvPr/>
          </p:nvCxnSpPr>
          <p:spPr>
            <a:xfrm>
              <a:off x="6559680" y="2065973"/>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4B9A46B8-2287-1263-E86E-9B6579AFF56E}"/>
                </a:ext>
              </a:extLst>
            </p:cNvPr>
            <p:cNvCxnSpPr/>
            <p:nvPr/>
          </p:nvCxnSpPr>
          <p:spPr>
            <a:xfrm>
              <a:off x="6625402" y="220884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49C4A71A-41BF-F7D4-0F3B-B2C91374F437}"/>
                </a:ext>
              </a:extLst>
            </p:cNvPr>
            <p:cNvCxnSpPr/>
            <p:nvPr/>
          </p:nvCxnSpPr>
          <p:spPr>
            <a:xfrm>
              <a:off x="6725414" y="2208848"/>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42B9482C-37CD-8A5C-DF30-EEEEF1C9AB3C}"/>
                </a:ext>
              </a:extLst>
            </p:cNvPr>
            <p:cNvCxnSpPr/>
            <p:nvPr/>
          </p:nvCxnSpPr>
          <p:spPr>
            <a:xfrm>
              <a:off x="7505512" y="2388871"/>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F93B1FEB-0C56-BCFC-1FA6-B8C089FC07E8}"/>
                </a:ext>
              </a:extLst>
            </p:cNvPr>
            <p:cNvCxnSpPr/>
            <p:nvPr/>
          </p:nvCxnSpPr>
          <p:spPr>
            <a:xfrm>
              <a:off x="7542659" y="2537461"/>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EDC182E1-E63C-2ED9-B69C-01C83EAD9F08}"/>
                </a:ext>
              </a:extLst>
            </p:cNvPr>
            <p:cNvCxnSpPr/>
            <p:nvPr/>
          </p:nvCxnSpPr>
          <p:spPr>
            <a:xfrm>
              <a:off x="7608382" y="2766061"/>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3203537C-C6C6-FDD8-3B9B-4F3997799B2E}"/>
                </a:ext>
              </a:extLst>
            </p:cNvPr>
            <p:cNvCxnSpPr/>
            <p:nvPr/>
          </p:nvCxnSpPr>
          <p:spPr>
            <a:xfrm>
              <a:off x="8377050" y="2986089"/>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5F732C22-60F5-3058-0F89-973603B48614}"/>
                </a:ext>
              </a:extLst>
            </p:cNvPr>
            <p:cNvCxnSpPr/>
            <p:nvPr/>
          </p:nvCxnSpPr>
          <p:spPr>
            <a:xfrm>
              <a:off x="8402767" y="2986089"/>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E4FD38B6-0769-F582-47F3-5F09F279D4D5}"/>
                </a:ext>
              </a:extLst>
            </p:cNvPr>
            <p:cNvCxnSpPr/>
            <p:nvPr/>
          </p:nvCxnSpPr>
          <p:spPr>
            <a:xfrm>
              <a:off x="8459917" y="2986089"/>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3B3E1FAC-8532-1CC5-F7CF-99F932AF2013}"/>
                </a:ext>
              </a:extLst>
            </p:cNvPr>
            <p:cNvCxnSpPr/>
            <p:nvPr/>
          </p:nvCxnSpPr>
          <p:spPr>
            <a:xfrm>
              <a:off x="8611365" y="2986089"/>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F5176AD1-DFFB-8D2C-80CA-C3EAE83B02EE}"/>
                </a:ext>
              </a:extLst>
            </p:cNvPr>
            <p:cNvCxnSpPr/>
            <p:nvPr/>
          </p:nvCxnSpPr>
          <p:spPr>
            <a:xfrm>
              <a:off x="9314310" y="2986089"/>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CE4397DC-3913-8026-E051-09109282DE55}"/>
                </a:ext>
              </a:extLst>
            </p:cNvPr>
            <p:cNvCxnSpPr/>
            <p:nvPr/>
          </p:nvCxnSpPr>
          <p:spPr>
            <a:xfrm>
              <a:off x="9400035" y="3491866"/>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A83EB7F8-B030-9699-74C4-6B0121768289}"/>
                </a:ext>
              </a:extLst>
            </p:cNvPr>
            <p:cNvCxnSpPr/>
            <p:nvPr/>
          </p:nvCxnSpPr>
          <p:spPr>
            <a:xfrm>
              <a:off x="10205850" y="3491866"/>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A4ECC064-B2C0-67F0-EBF2-419452F99864}"/>
                </a:ext>
              </a:extLst>
            </p:cNvPr>
            <p:cNvCxnSpPr/>
            <p:nvPr/>
          </p:nvCxnSpPr>
          <p:spPr>
            <a:xfrm>
              <a:off x="11128823" y="3491866"/>
              <a:ext cx="0" cy="35661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41" name="Group 440">
            <a:extLst>
              <a:ext uri="{FF2B5EF4-FFF2-40B4-BE49-F238E27FC236}">
                <a16:creationId xmlns:a16="http://schemas.microsoft.com/office/drawing/2014/main" id="{B61BAEFE-EBC4-1DCF-E886-80CB8497FC1B}"/>
              </a:ext>
            </a:extLst>
          </p:cNvPr>
          <p:cNvGrpSpPr/>
          <p:nvPr/>
        </p:nvGrpSpPr>
        <p:grpSpPr>
          <a:xfrm>
            <a:off x="2894025" y="1523286"/>
            <a:ext cx="543739" cy="307777"/>
            <a:chOff x="2269991" y="2315169"/>
            <a:chExt cx="543739" cy="307777"/>
          </a:xfrm>
        </p:grpSpPr>
        <p:sp>
          <p:nvSpPr>
            <p:cNvPr id="442" name="Freeform: Shape 441">
              <a:extLst>
                <a:ext uri="{FF2B5EF4-FFF2-40B4-BE49-F238E27FC236}">
                  <a16:creationId xmlns:a16="http://schemas.microsoft.com/office/drawing/2014/main" id="{1442BF19-1525-1EE0-7467-093897E5E903}"/>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3" name="TextBox 442">
              <a:extLst>
                <a:ext uri="{FF2B5EF4-FFF2-40B4-BE49-F238E27FC236}">
                  <a16:creationId xmlns:a16="http://schemas.microsoft.com/office/drawing/2014/main" id="{25AFC463-1B92-2E4A-CC91-C3BC90AEA0F1}"/>
                </a:ext>
              </a:extLst>
            </p:cNvPr>
            <p:cNvSpPr txBox="1"/>
            <p:nvPr/>
          </p:nvSpPr>
          <p:spPr>
            <a:xfrm flipH="1">
              <a:off x="2269991" y="2315169"/>
              <a:ext cx="543739"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87%</a:t>
              </a:r>
            </a:p>
          </p:txBody>
        </p:sp>
      </p:grpSp>
      <p:grpSp>
        <p:nvGrpSpPr>
          <p:cNvPr id="444" name="Group 443">
            <a:extLst>
              <a:ext uri="{FF2B5EF4-FFF2-40B4-BE49-F238E27FC236}">
                <a16:creationId xmlns:a16="http://schemas.microsoft.com/office/drawing/2014/main" id="{7EC2D1E8-93C7-7C18-6829-490BB5E2FC6E}"/>
              </a:ext>
            </a:extLst>
          </p:cNvPr>
          <p:cNvGrpSpPr/>
          <p:nvPr/>
        </p:nvGrpSpPr>
        <p:grpSpPr>
          <a:xfrm>
            <a:off x="2485146" y="2052592"/>
            <a:ext cx="553357" cy="307777"/>
            <a:chOff x="2269991" y="2315169"/>
            <a:chExt cx="553357" cy="307777"/>
          </a:xfrm>
        </p:grpSpPr>
        <p:sp>
          <p:nvSpPr>
            <p:cNvPr id="445" name="Freeform: Shape 444">
              <a:extLst>
                <a:ext uri="{FF2B5EF4-FFF2-40B4-BE49-F238E27FC236}">
                  <a16:creationId xmlns:a16="http://schemas.microsoft.com/office/drawing/2014/main" id="{7B597D66-EBE1-0758-4540-4D228B8627C3}"/>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6" name="TextBox 445">
              <a:extLst>
                <a:ext uri="{FF2B5EF4-FFF2-40B4-BE49-F238E27FC236}">
                  <a16:creationId xmlns:a16="http://schemas.microsoft.com/office/drawing/2014/main" id="{E3553336-784D-8B65-D2D0-ABAB109FBC74}"/>
                </a:ext>
              </a:extLst>
            </p:cNvPr>
            <p:cNvSpPr txBox="1"/>
            <p:nvPr/>
          </p:nvSpPr>
          <p:spPr>
            <a:xfrm flipH="1">
              <a:off x="2269991" y="2315169"/>
              <a:ext cx="553357"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83%</a:t>
              </a:r>
            </a:p>
          </p:txBody>
        </p:sp>
      </p:grpSp>
      <p:grpSp>
        <p:nvGrpSpPr>
          <p:cNvPr id="447" name="Group 446">
            <a:extLst>
              <a:ext uri="{FF2B5EF4-FFF2-40B4-BE49-F238E27FC236}">
                <a16:creationId xmlns:a16="http://schemas.microsoft.com/office/drawing/2014/main" id="{0EA7ECA8-FC0D-D927-B77A-4C72BF1715A8}"/>
              </a:ext>
            </a:extLst>
          </p:cNvPr>
          <p:cNvGrpSpPr/>
          <p:nvPr/>
        </p:nvGrpSpPr>
        <p:grpSpPr>
          <a:xfrm>
            <a:off x="4698850" y="1786811"/>
            <a:ext cx="548548" cy="307777"/>
            <a:chOff x="2269991" y="2315169"/>
            <a:chExt cx="548548" cy="307777"/>
          </a:xfrm>
        </p:grpSpPr>
        <p:sp>
          <p:nvSpPr>
            <p:cNvPr id="448" name="Freeform: Shape 447">
              <a:extLst>
                <a:ext uri="{FF2B5EF4-FFF2-40B4-BE49-F238E27FC236}">
                  <a16:creationId xmlns:a16="http://schemas.microsoft.com/office/drawing/2014/main" id="{66FDBB03-B491-16B8-5B34-FFE6825E51AA}"/>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9" name="TextBox 448">
              <a:extLst>
                <a:ext uri="{FF2B5EF4-FFF2-40B4-BE49-F238E27FC236}">
                  <a16:creationId xmlns:a16="http://schemas.microsoft.com/office/drawing/2014/main" id="{ADDABB43-8DFA-4FFF-A216-5EFC6084C108}"/>
                </a:ext>
              </a:extLst>
            </p:cNvPr>
            <p:cNvSpPr txBox="1"/>
            <p:nvPr/>
          </p:nvSpPr>
          <p:spPr>
            <a:xfrm flipH="1">
              <a:off x="2269991" y="2315169"/>
              <a:ext cx="548548"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4%</a:t>
              </a:r>
            </a:p>
          </p:txBody>
        </p:sp>
      </p:grpSp>
      <p:grpSp>
        <p:nvGrpSpPr>
          <p:cNvPr id="450" name="Group 449">
            <a:extLst>
              <a:ext uri="{FF2B5EF4-FFF2-40B4-BE49-F238E27FC236}">
                <a16:creationId xmlns:a16="http://schemas.microsoft.com/office/drawing/2014/main" id="{B049AD5E-8FF9-E0DE-1577-7990C5C1F64F}"/>
              </a:ext>
            </a:extLst>
          </p:cNvPr>
          <p:cNvGrpSpPr/>
          <p:nvPr/>
        </p:nvGrpSpPr>
        <p:grpSpPr>
          <a:xfrm>
            <a:off x="4283915" y="2559399"/>
            <a:ext cx="558166" cy="307777"/>
            <a:chOff x="2269991" y="2315169"/>
            <a:chExt cx="558166" cy="307777"/>
          </a:xfrm>
        </p:grpSpPr>
        <p:sp>
          <p:nvSpPr>
            <p:cNvPr id="451" name="Freeform: Shape 450">
              <a:extLst>
                <a:ext uri="{FF2B5EF4-FFF2-40B4-BE49-F238E27FC236}">
                  <a16:creationId xmlns:a16="http://schemas.microsoft.com/office/drawing/2014/main" id="{5CEAE61D-E724-2DB6-A440-02B426A11872}"/>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2" name="TextBox 451">
              <a:extLst>
                <a:ext uri="{FF2B5EF4-FFF2-40B4-BE49-F238E27FC236}">
                  <a16:creationId xmlns:a16="http://schemas.microsoft.com/office/drawing/2014/main" id="{5B4BA3D8-C1E3-648D-2245-E849154823DD}"/>
                </a:ext>
              </a:extLst>
            </p:cNvPr>
            <p:cNvSpPr txBox="1"/>
            <p:nvPr/>
          </p:nvSpPr>
          <p:spPr>
            <a:xfrm flipH="1">
              <a:off x="2269991" y="2315169"/>
              <a:ext cx="558166"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4%</a:t>
              </a:r>
            </a:p>
          </p:txBody>
        </p:sp>
      </p:grpSp>
      <p:grpSp>
        <p:nvGrpSpPr>
          <p:cNvPr id="456" name="Group 455">
            <a:extLst>
              <a:ext uri="{FF2B5EF4-FFF2-40B4-BE49-F238E27FC236}">
                <a16:creationId xmlns:a16="http://schemas.microsoft.com/office/drawing/2014/main" id="{17B94B6D-2C5A-1A14-EF8F-D700EF8FD471}"/>
              </a:ext>
            </a:extLst>
          </p:cNvPr>
          <p:cNvGrpSpPr/>
          <p:nvPr/>
        </p:nvGrpSpPr>
        <p:grpSpPr>
          <a:xfrm>
            <a:off x="5355195" y="1475710"/>
            <a:ext cx="1539165" cy="471799"/>
            <a:chOff x="4000639" y="1628827"/>
            <a:chExt cx="1539165" cy="471799"/>
          </a:xfrm>
        </p:grpSpPr>
        <p:sp>
          <p:nvSpPr>
            <p:cNvPr id="457" name="Rectangle 456">
              <a:extLst>
                <a:ext uri="{FF2B5EF4-FFF2-40B4-BE49-F238E27FC236}">
                  <a16:creationId xmlns:a16="http://schemas.microsoft.com/office/drawing/2014/main" id="{594F3688-C408-4A37-F83D-97845691E520}"/>
                </a:ext>
              </a:extLst>
            </p:cNvPr>
            <p:cNvSpPr/>
            <p:nvPr/>
          </p:nvSpPr>
          <p:spPr>
            <a:xfrm>
              <a:off x="4000639" y="1708897"/>
              <a:ext cx="129052" cy="11685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8" name="Rectangle 457">
              <a:extLst>
                <a:ext uri="{FF2B5EF4-FFF2-40B4-BE49-F238E27FC236}">
                  <a16:creationId xmlns:a16="http://schemas.microsoft.com/office/drawing/2014/main" id="{92DBCE99-76A4-3F49-6A43-BDDB7041BE96}"/>
                </a:ext>
              </a:extLst>
            </p:cNvPr>
            <p:cNvSpPr/>
            <p:nvPr/>
          </p:nvSpPr>
          <p:spPr>
            <a:xfrm>
              <a:off x="4000639" y="1903697"/>
              <a:ext cx="129052" cy="116859"/>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9" name="TextBox 458">
              <a:extLst>
                <a:ext uri="{FF2B5EF4-FFF2-40B4-BE49-F238E27FC236}">
                  <a16:creationId xmlns:a16="http://schemas.microsoft.com/office/drawing/2014/main" id="{67A131AF-7F26-CDF4-1488-8CF3D5F1E468}"/>
                </a:ext>
              </a:extLst>
            </p:cNvPr>
            <p:cNvSpPr txBox="1"/>
            <p:nvPr/>
          </p:nvSpPr>
          <p:spPr>
            <a:xfrm>
              <a:off x="4080285" y="1628827"/>
              <a:ext cx="145951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simertinib + ChT</a:t>
              </a:r>
            </a:p>
          </p:txBody>
        </p:sp>
        <p:sp>
          <p:nvSpPr>
            <p:cNvPr id="460" name="TextBox 459">
              <a:extLst>
                <a:ext uri="{FF2B5EF4-FFF2-40B4-BE49-F238E27FC236}">
                  <a16:creationId xmlns:a16="http://schemas.microsoft.com/office/drawing/2014/main" id="{EB5BE04D-B0F1-2D61-6610-4A94C1B022A2}"/>
                </a:ext>
              </a:extLst>
            </p:cNvPr>
            <p:cNvSpPr txBox="1"/>
            <p:nvPr/>
          </p:nvSpPr>
          <p:spPr>
            <a:xfrm>
              <a:off x="4079654" y="1823627"/>
              <a:ext cx="137641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461" name="TextBox 460">
            <a:extLst>
              <a:ext uri="{FF2B5EF4-FFF2-40B4-BE49-F238E27FC236}">
                <a16:creationId xmlns:a16="http://schemas.microsoft.com/office/drawing/2014/main" id="{D2BC76EB-934B-000C-BC37-31F86B6EF10A}"/>
              </a:ext>
            </a:extLst>
          </p:cNvPr>
          <p:cNvSpPr txBox="1"/>
          <p:nvPr/>
        </p:nvSpPr>
        <p:spPr>
          <a:xfrm>
            <a:off x="795484" y="3874593"/>
            <a:ext cx="137602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at risk:</a:t>
            </a:r>
          </a:p>
        </p:txBody>
      </p:sp>
      <p:sp>
        <p:nvSpPr>
          <p:cNvPr id="462" name="Rectangle 461">
            <a:extLst>
              <a:ext uri="{FF2B5EF4-FFF2-40B4-BE49-F238E27FC236}">
                <a16:creationId xmlns:a16="http://schemas.microsoft.com/office/drawing/2014/main" id="{06AF74E9-23F8-94A1-171B-813989E8DB50}"/>
              </a:ext>
            </a:extLst>
          </p:cNvPr>
          <p:cNvSpPr/>
          <p:nvPr/>
        </p:nvSpPr>
        <p:spPr>
          <a:xfrm>
            <a:off x="895367" y="4116504"/>
            <a:ext cx="108000" cy="10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3" name="Rectangle 462">
            <a:extLst>
              <a:ext uri="{FF2B5EF4-FFF2-40B4-BE49-F238E27FC236}">
                <a16:creationId xmlns:a16="http://schemas.microsoft.com/office/drawing/2014/main" id="{0EF3863E-FD4D-AA07-D6FD-7267374A1B07}"/>
              </a:ext>
            </a:extLst>
          </p:cNvPr>
          <p:cNvSpPr/>
          <p:nvPr/>
        </p:nvSpPr>
        <p:spPr>
          <a:xfrm>
            <a:off x="895367" y="4273776"/>
            <a:ext cx="108000" cy="10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Rounded Corners 18">
            <a:extLst>
              <a:ext uri="{FF2B5EF4-FFF2-40B4-BE49-F238E27FC236}">
                <a16:creationId xmlns:a16="http://schemas.microsoft.com/office/drawing/2014/main" id="{5AF49C8E-B688-5CCA-B0D4-2FFBBC946D4A}"/>
              </a:ext>
            </a:extLst>
          </p:cNvPr>
          <p:cNvSpPr/>
          <p:nvPr/>
        </p:nvSpPr>
        <p:spPr>
          <a:xfrm>
            <a:off x="10118785" y="203659"/>
            <a:ext cx="1551426"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LAURA2</a:t>
            </a:r>
          </a:p>
        </p:txBody>
      </p:sp>
      <p:grpSp>
        <p:nvGrpSpPr>
          <p:cNvPr id="20" name="Group 19">
            <a:extLst>
              <a:ext uri="{FF2B5EF4-FFF2-40B4-BE49-F238E27FC236}">
                <a16:creationId xmlns:a16="http://schemas.microsoft.com/office/drawing/2014/main" id="{756F401F-545A-AE74-30AF-7421A120D6F3}"/>
              </a:ext>
            </a:extLst>
          </p:cNvPr>
          <p:cNvGrpSpPr/>
          <p:nvPr/>
        </p:nvGrpSpPr>
        <p:grpSpPr>
          <a:xfrm>
            <a:off x="11442807" y="48345"/>
            <a:ext cx="645342" cy="645342"/>
            <a:chOff x="11442807" y="48345"/>
            <a:chExt cx="645342" cy="645342"/>
          </a:xfrm>
        </p:grpSpPr>
        <p:sp>
          <p:nvSpPr>
            <p:cNvPr id="21" name="Oval 20">
              <a:extLst>
                <a:ext uri="{FF2B5EF4-FFF2-40B4-BE49-F238E27FC236}">
                  <a16:creationId xmlns:a16="http://schemas.microsoft.com/office/drawing/2014/main" id="{2319F9BB-1C89-8C4B-4DB4-4D24DAED7657}"/>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22" name="Graphic 21" descr="Signal outline">
              <a:extLst>
                <a:ext uri="{FF2B5EF4-FFF2-40B4-BE49-F238E27FC236}">
                  <a16:creationId xmlns:a16="http://schemas.microsoft.com/office/drawing/2014/main" id="{18F49534-1B17-09FF-E9B3-BF0EFBBA9A2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492045" y="96048"/>
              <a:ext cx="506740" cy="506740"/>
            </a:xfrm>
            <a:prstGeom prst="rect">
              <a:avLst/>
            </a:prstGeom>
          </p:spPr>
        </p:pic>
      </p:grpSp>
      <p:sp>
        <p:nvSpPr>
          <p:cNvPr id="24" name="TextBox 23">
            <a:extLst>
              <a:ext uri="{FF2B5EF4-FFF2-40B4-BE49-F238E27FC236}">
                <a16:creationId xmlns:a16="http://schemas.microsoft.com/office/drawing/2014/main" id="{5F7746DF-3AD0-7732-84AF-4A11715672DF}"/>
              </a:ext>
            </a:extLst>
          </p:cNvPr>
          <p:cNvSpPr txBox="1"/>
          <p:nvPr/>
        </p:nvSpPr>
        <p:spPr>
          <a:xfrm>
            <a:off x="7063740" y="1318929"/>
            <a:ext cx="4695170" cy="1595498"/>
          </a:xfrm>
          <a:prstGeom prst="rect">
            <a:avLst/>
          </a:prstGeom>
          <a:solidFill>
            <a:schemeClr val="accent1">
              <a:lumMod val="20000"/>
              <a:lumOff val="80000"/>
              <a:alpha val="48266"/>
            </a:schemeClr>
          </a:solidFill>
          <a:ln>
            <a:noFill/>
          </a:ln>
        </p:spPr>
        <p:txBody>
          <a:bodyPr wrap="square" lIns="0" tIns="0" rIns="0" bIns="0" rtlCol="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0000"/>
              </a:solidFill>
              <a:effectLst/>
              <a:uLnTx/>
              <a:uFillTx/>
              <a:latin typeface="Johnson Text"/>
              <a:ea typeface="+mn-ea"/>
              <a:cs typeface="+mn-cs"/>
            </a:endParaRPr>
          </a:p>
        </p:txBody>
      </p:sp>
      <p:sp>
        <p:nvSpPr>
          <p:cNvPr id="25" name="TextBox 24">
            <a:extLst>
              <a:ext uri="{FF2B5EF4-FFF2-40B4-BE49-F238E27FC236}">
                <a16:creationId xmlns:a16="http://schemas.microsoft.com/office/drawing/2014/main" id="{4FC669DE-FDF0-FD8D-1F45-C8CAEBE03E29}"/>
              </a:ext>
            </a:extLst>
          </p:cNvPr>
          <p:cNvSpPr txBox="1"/>
          <p:nvPr/>
        </p:nvSpPr>
        <p:spPr>
          <a:xfrm>
            <a:off x="7064112" y="1394261"/>
            <a:ext cx="4695170" cy="1428180"/>
          </a:xfrm>
          <a:prstGeom prst="rect">
            <a:avLst/>
          </a:prstGeom>
          <a:noFill/>
        </p:spPr>
        <p:txBody>
          <a:bodyPr wrap="square" lIns="180000" tIns="180000" rIns="108000" bIns="180000" anchor="t" anchorCtr="0">
            <a:noAutofit/>
          </a:bodyPr>
          <a:lstStyle/>
          <a:p>
            <a:pPr marL="541338"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ong patients </a:t>
            </a:r>
            <a:r>
              <a:rPr kumimoji="0" lang="en-GB" sz="1500" b="1" i="0" u="sng"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with</a:t>
            </a: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rain metastases or </a:t>
            </a:r>
            <a:b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history of brain metastases at baseline:</a:t>
            </a:r>
            <a:r>
              <a:rPr kumimoji="0" lang="en-GB" sz="15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p>
          <a:p>
            <a:pPr marL="171450" marR="0" lvl="0" indent="-171450" algn="l" defTabSz="914400" rtl="0" eaLnBrk="1" fontAlgn="auto" latinLnBrk="0" hangingPunct="1">
              <a:lnSpc>
                <a:spcPct val="100000"/>
              </a:lnSpc>
              <a:spcBef>
                <a:spcPts val="0"/>
              </a:spcBef>
              <a:spcAft>
                <a:spcPts val="60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ain MRI/CT at baseline and at 6 and 12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eeks, then every 12 weeks until RECIST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1.1 defined PD</a:t>
            </a:r>
          </a:p>
        </p:txBody>
      </p:sp>
      <p:pic>
        <p:nvPicPr>
          <p:cNvPr id="26" name="Graphic 25">
            <a:extLst>
              <a:ext uri="{FF2B5EF4-FFF2-40B4-BE49-F238E27FC236}">
                <a16:creationId xmlns:a16="http://schemas.microsoft.com/office/drawing/2014/main" id="{8583C97A-D089-3D53-86C5-86C0492DCEDE}"/>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7169302" y="1504947"/>
            <a:ext cx="537603" cy="537603"/>
          </a:xfrm>
          <a:prstGeom prst="rect">
            <a:avLst/>
          </a:prstGeom>
        </p:spPr>
      </p:pic>
      <p:sp>
        <p:nvSpPr>
          <p:cNvPr id="27" name="TextBox 26">
            <a:extLst>
              <a:ext uri="{FF2B5EF4-FFF2-40B4-BE49-F238E27FC236}">
                <a16:creationId xmlns:a16="http://schemas.microsoft.com/office/drawing/2014/main" id="{E0A71128-FF09-5AE3-F57B-07E46A99EAE8}"/>
              </a:ext>
            </a:extLst>
          </p:cNvPr>
          <p:cNvSpPr txBox="1"/>
          <p:nvPr/>
        </p:nvSpPr>
        <p:spPr>
          <a:xfrm>
            <a:off x="7063740" y="3035194"/>
            <a:ext cx="4695170" cy="2124000"/>
          </a:xfrm>
          <a:prstGeom prst="rect">
            <a:avLst/>
          </a:prstGeom>
          <a:solidFill>
            <a:schemeClr val="accent6">
              <a:lumMod val="20000"/>
              <a:lumOff val="80000"/>
              <a:alpha val="48266"/>
            </a:schemeClr>
          </a:solidFill>
          <a:ln>
            <a:noFill/>
          </a:ln>
        </p:spPr>
        <p:txBody>
          <a:bodyPr wrap="square" lIns="0" tIns="0" rIns="0" bIns="0" rtlCol="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0000"/>
              </a:solidFill>
              <a:effectLst/>
              <a:uLnTx/>
              <a:uFillTx/>
              <a:latin typeface="Johnson Text"/>
              <a:ea typeface="+mn-ea"/>
              <a:cs typeface="+mn-cs"/>
            </a:endParaRPr>
          </a:p>
        </p:txBody>
      </p:sp>
      <p:grpSp>
        <p:nvGrpSpPr>
          <p:cNvPr id="28" name="Group 27">
            <a:extLst>
              <a:ext uri="{FF2B5EF4-FFF2-40B4-BE49-F238E27FC236}">
                <a16:creationId xmlns:a16="http://schemas.microsoft.com/office/drawing/2014/main" id="{6E21A0DB-F962-7F18-6269-5F160DB7043C}"/>
              </a:ext>
            </a:extLst>
          </p:cNvPr>
          <p:cNvGrpSpPr/>
          <p:nvPr/>
        </p:nvGrpSpPr>
        <p:grpSpPr>
          <a:xfrm>
            <a:off x="7083162" y="3090747"/>
            <a:ext cx="4572887" cy="1428180"/>
            <a:chOff x="7195137" y="3273791"/>
            <a:chExt cx="4572887" cy="1428180"/>
          </a:xfrm>
        </p:grpSpPr>
        <p:pic>
          <p:nvPicPr>
            <p:cNvPr id="29" name="Graphic 28">
              <a:extLst>
                <a:ext uri="{FF2B5EF4-FFF2-40B4-BE49-F238E27FC236}">
                  <a16:creationId xmlns:a16="http://schemas.microsoft.com/office/drawing/2014/main" id="{0199FE34-8342-2080-8764-D53B921392DE}"/>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7315845" y="3541545"/>
              <a:ext cx="500028" cy="500028"/>
            </a:xfrm>
            <a:prstGeom prst="rect">
              <a:avLst/>
            </a:prstGeom>
          </p:spPr>
        </p:pic>
        <p:sp>
          <p:nvSpPr>
            <p:cNvPr id="30" name="TextBox 29">
              <a:extLst>
                <a:ext uri="{FF2B5EF4-FFF2-40B4-BE49-F238E27FC236}">
                  <a16:creationId xmlns:a16="http://schemas.microsoft.com/office/drawing/2014/main" id="{EF047E27-58EF-3CFE-F318-D37C84626E07}"/>
                </a:ext>
              </a:extLst>
            </p:cNvPr>
            <p:cNvSpPr txBox="1"/>
            <p:nvPr/>
          </p:nvSpPr>
          <p:spPr>
            <a:xfrm>
              <a:off x="7195137" y="3273791"/>
              <a:ext cx="4572887" cy="1428180"/>
            </a:xfrm>
            <a:prstGeom prst="rect">
              <a:avLst/>
            </a:prstGeom>
            <a:noFill/>
          </p:spPr>
          <p:txBody>
            <a:bodyPr wrap="square" lIns="180000" tIns="180000" rIns="108000" bIns="180000" anchor="t" anchorCtr="0">
              <a:noAutofit/>
            </a:bodyPr>
            <a:lstStyle/>
            <a:p>
              <a:pPr marL="541338"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ong patients </a:t>
              </a:r>
              <a:r>
                <a:rPr kumimoji="0" lang="en-GB" sz="1500" b="1" i="0" u="sng"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without</a:t>
              </a: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rain metastases or a history of brain metastases at baseline:</a:t>
              </a:r>
              <a:r>
                <a:rPr kumimoji="0" lang="en-GB" sz="15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p>
            <a:p>
              <a:pPr marL="171450" marR="0" lvl="0" indent="-171450" algn="l" defTabSz="914400" rtl="0" eaLnBrk="1" fontAlgn="auto" latinLnBrk="0" hangingPunct="1">
                <a:lnSpc>
                  <a:spcPct val="100000"/>
                </a:lnSpc>
                <a:spcBef>
                  <a:spcPts val="0"/>
                </a:spcBef>
                <a:spcAft>
                  <a:spcPts val="600"/>
                </a:spcAft>
                <a:buClr>
                  <a:srgbClr val="54198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ain MRI/CT at baseline and then only performed when there is a suspected CNS progression and at the point of RECIST v1.1 defined extracranial progression</a:t>
              </a:r>
            </a:p>
          </p:txBody>
        </p:sp>
      </p:grpSp>
      <p:sp>
        <p:nvSpPr>
          <p:cNvPr id="3" name="TextBox 2">
            <a:extLst>
              <a:ext uri="{FF2B5EF4-FFF2-40B4-BE49-F238E27FC236}">
                <a16:creationId xmlns:a16="http://schemas.microsoft.com/office/drawing/2014/main" id="{7D362DB9-ED78-89A6-F490-BD07FF6897A0}"/>
              </a:ext>
            </a:extLst>
          </p:cNvPr>
          <p:cNvSpPr txBox="1"/>
          <p:nvPr/>
        </p:nvSpPr>
        <p:spPr>
          <a:xfrm>
            <a:off x="1237330" y="2687824"/>
            <a:ext cx="1226078" cy="80791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n follow-up: </a:t>
            </a:r>
            <a:b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05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Osimertinib + ChT 20.1 months </a:t>
            </a:r>
            <a:r>
              <a:rPr kumimoji="0" lang="en-GB" sz="105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Osimertinib </a:t>
            </a:r>
            <a:br>
              <a:rPr kumimoji="0" lang="en-GB" sz="105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br>
            <a:r>
              <a:rPr kumimoji="0" lang="en-GB" sz="105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13.9 months</a:t>
            </a:r>
          </a:p>
        </p:txBody>
      </p:sp>
    </p:spTree>
    <p:extLst>
      <p:ext uri="{BB962C8B-B14F-4D97-AF65-F5344CB8AC3E}">
        <p14:creationId xmlns:p14="http://schemas.microsoft.com/office/powerpoint/2010/main" val="30757983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16686A-D90B-F299-0E7B-0B1B047A1EBE}"/>
            </a:ext>
          </a:extLst>
        </p:cNvPr>
        <p:cNvGrpSpPr/>
        <p:nvPr/>
      </p:nvGrpSpPr>
      <p:grpSpPr>
        <a:xfrm>
          <a:off x="0" y="0"/>
          <a:ext cx="0" cy="0"/>
          <a:chOff x="0" y="0"/>
          <a:chExt cx="0" cy="0"/>
        </a:xfrm>
      </p:grpSpPr>
      <p:grpSp>
        <p:nvGrpSpPr>
          <p:cNvPr id="22" name="Group 21">
            <a:extLst>
              <a:ext uri="{FF2B5EF4-FFF2-40B4-BE49-F238E27FC236}">
                <a16:creationId xmlns:a16="http://schemas.microsoft.com/office/drawing/2014/main" id="{B1B61B25-B5A0-A4D4-F593-F754108F1FAA}"/>
              </a:ext>
            </a:extLst>
          </p:cNvPr>
          <p:cNvGrpSpPr/>
          <p:nvPr/>
        </p:nvGrpSpPr>
        <p:grpSpPr>
          <a:xfrm>
            <a:off x="9525" y="5284918"/>
            <a:ext cx="11758910" cy="1026586"/>
            <a:chOff x="-1" y="5183761"/>
            <a:chExt cx="11758910" cy="1026586"/>
          </a:xfrm>
        </p:grpSpPr>
        <p:sp>
          <p:nvSpPr>
            <p:cNvPr id="23" name="Rectangle 22">
              <a:extLst>
                <a:ext uri="{FF2B5EF4-FFF2-40B4-BE49-F238E27FC236}">
                  <a16:creationId xmlns:a16="http://schemas.microsoft.com/office/drawing/2014/main" id="{42127E4E-D9B4-0910-6F77-3747CF91B421}"/>
                </a:ext>
              </a:extLst>
            </p:cNvPr>
            <p:cNvSpPr/>
            <p:nvPr/>
          </p:nvSpPr>
          <p:spPr>
            <a:xfrm>
              <a:off x="296883" y="5325052"/>
              <a:ext cx="11462026" cy="720000"/>
            </a:xfrm>
            <a:prstGeom prst="rect">
              <a:avLst/>
            </a:prstGeom>
            <a:gradFill flip="none" rotWithShape="1">
              <a:gsLst>
                <a:gs pos="8000">
                  <a:schemeClr val="bg1"/>
                </a:gs>
                <a:gs pos="0">
                  <a:schemeClr val="accent1"/>
                </a:gs>
                <a:gs pos="90000">
                  <a:schemeClr val="bg1"/>
                </a:gs>
                <a:gs pos="99000">
                  <a:schemeClr val="accent1"/>
                </a:gs>
              </a:gsLst>
              <a:lin ang="0" scaled="1"/>
              <a:tileRect/>
            </a:gra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4" name="Group 23">
              <a:extLst>
                <a:ext uri="{FF2B5EF4-FFF2-40B4-BE49-F238E27FC236}">
                  <a16:creationId xmlns:a16="http://schemas.microsoft.com/office/drawing/2014/main" id="{8297689F-EB5E-B955-DE8D-9C1B06EE050E}"/>
                </a:ext>
              </a:extLst>
            </p:cNvPr>
            <p:cNvGrpSpPr/>
            <p:nvPr/>
          </p:nvGrpSpPr>
          <p:grpSpPr>
            <a:xfrm>
              <a:off x="-1" y="5183761"/>
              <a:ext cx="425473" cy="1026586"/>
              <a:chOff x="0" y="5282896"/>
              <a:chExt cx="436762" cy="1241728"/>
            </a:xfrm>
          </p:grpSpPr>
          <p:sp>
            <p:nvSpPr>
              <p:cNvPr id="27" name="Freeform 14">
                <a:extLst>
                  <a:ext uri="{FF2B5EF4-FFF2-40B4-BE49-F238E27FC236}">
                    <a16:creationId xmlns:a16="http://schemas.microsoft.com/office/drawing/2014/main" id="{8C3695E9-1B73-DD26-2AA2-31F1758A05FB}"/>
                  </a:ext>
                </a:extLst>
              </p:cNvPr>
              <p:cNvSpPr>
                <a:spLocks/>
              </p:cNvSpPr>
              <p:nvPr/>
            </p:nvSpPr>
            <p:spPr bwMode="auto">
              <a:xfrm>
                <a:off x="17982" y="5313808"/>
                <a:ext cx="393085" cy="1197236"/>
              </a:xfrm>
              <a:custGeom>
                <a:avLst/>
                <a:gdLst>
                  <a:gd name="T0" fmla="*/ 153 w 153"/>
                  <a:gd name="T1" fmla="*/ 0 h 1032"/>
                  <a:gd name="T2" fmla="*/ 150 w 153"/>
                  <a:gd name="T3" fmla="*/ 1032 h 1032"/>
                  <a:gd name="T4" fmla="*/ 0 w 153"/>
                  <a:gd name="T5" fmla="*/ 1032 h 1032"/>
                  <a:gd name="T6" fmla="*/ 0 w 153"/>
                  <a:gd name="T7" fmla="*/ 0 h 1032"/>
                  <a:gd name="T8" fmla="*/ 153 w 153"/>
                  <a:gd name="T9" fmla="*/ 0 h 1032"/>
                </a:gdLst>
                <a:ahLst/>
                <a:cxnLst>
                  <a:cxn ang="0">
                    <a:pos x="T0" y="T1"/>
                  </a:cxn>
                  <a:cxn ang="0">
                    <a:pos x="T2" y="T3"/>
                  </a:cxn>
                  <a:cxn ang="0">
                    <a:pos x="T4" y="T5"/>
                  </a:cxn>
                  <a:cxn ang="0">
                    <a:pos x="T6" y="T7"/>
                  </a:cxn>
                  <a:cxn ang="0">
                    <a:pos x="T8" y="T9"/>
                  </a:cxn>
                </a:cxnLst>
                <a:rect l="0" t="0" r="r" b="b"/>
                <a:pathLst>
                  <a:path w="153" h="1032">
                    <a:moveTo>
                      <a:pt x="153" y="0"/>
                    </a:moveTo>
                    <a:lnTo>
                      <a:pt x="150" y="1032"/>
                    </a:lnTo>
                    <a:lnTo>
                      <a:pt x="0" y="1032"/>
                    </a:lnTo>
                    <a:lnTo>
                      <a:pt x="0" y="0"/>
                    </a:lnTo>
                    <a:lnTo>
                      <a:pt x="153" y="0"/>
                    </a:lnTo>
                    <a:close/>
                  </a:path>
                </a:pathLst>
              </a:custGeom>
              <a:gradFill flip="none" rotWithShape="1">
                <a:gsLst>
                  <a:gs pos="0">
                    <a:sysClr val="window" lastClr="FFFFFF">
                      <a:alpha val="0"/>
                    </a:sysClr>
                  </a:gs>
                  <a:gs pos="50000">
                    <a:sysClr val="window" lastClr="FFFFFF"/>
                  </a:gs>
                  <a:gs pos="100000">
                    <a:sysClr val="window" lastClr="FFFFFF">
                      <a:alpha val="0"/>
                    </a:sysClr>
                  </a:gs>
                </a:gsLst>
                <a:lin ang="5400000" scaled="0"/>
                <a:tileRect/>
              </a:gradFill>
              <a:ln w="12700" cap="flat" cmpd="sng" algn="ctr">
                <a:noFill/>
                <a:prstDash val="solid"/>
                <a:miter lim="800000"/>
              </a:ln>
              <a:effectLst>
                <a:outerShdw blurRad="101600" dist="88900" sx="95000" sy="95000" algn="tl" rotWithShape="0">
                  <a:prstClr val="black">
                    <a:alpha val="5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3725DFE9-EF3D-9D96-D5E7-1E58E5B4E571}"/>
                  </a:ext>
                </a:extLst>
              </p:cNvPr>
              <p:cNvSpPr/>
              <p:nvPr/>
            </p:nvSpPr>
            <p:spPr>
              <a:xfrm>
                <a:off x="0" y="5282896"/>
                <a:ext cx="436762" cy="1241728"/>
              </a:xfrm>
              <a:prstGeom prst="rect">
                <a:avLst/>
              </a:prstGeom>
              <a:solidFill>
                <a:srgbClr val="F6F5F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25" name="Picture 2" descr="Data Icon 2500462">
              <a:extLst>
                <a:ext uri="{FF2B5EF4-FFF2-40B4-BE49-F238E27FC236}">
                  <a16:creationId xmlns:a16="http://schemas.microsoft.com/office/drawing/2014/main" id="{C8BF325C-4D79-4AA8-AAF5-78F7C91E69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03282" y="5239419"/>
              <a:ext cx="891266" cy="89126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E1560228-F0D4-D297-18B8-9CC79377DDC8}"/>
                </a:ext>
              </a:extLst>
            </p:cNvPr>
            <p:cNvSpPr txBox="1"/>
            <p:nvPr/>
          </p:nvSpPr>
          <p:spPr>
            <a:xfrm>
              <a:off x="1150394" y="5364590"/>
              <a:ext cx="963006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quired resistance mechanisms were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broadly similar </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th both osimertinib + ChT </a:t>
              </a:r>
              <a:b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d osimertinib monotherapy, including secondary </a:t>
              </a:r>
              <a:r>
                <a:rPr kumimoji="0" lang="en-GB" sz="18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utations and </a:t>
              </a:r>
              <a:r>
                <a:rPr kumimoji="0" lang="en-GB" sz="18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T</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mp</a:t>
              </a:r>
            </a:p>
          </p:txBody>
        </p:sp>
      </p:grpSp>
      <p:sp>
        <p:nvSpPr>
          <p:cNvPr id="2" name="Title 1">
            <a:extLst>
              <a:ext uri="{FF2B5EF4-FFF2-40B4-BE49-F238E27FC236}">
                <a16:creationId xmlns:a16="http://schemas.microsoft.com/office/drawing/2014/main" id="{0ED117BB-1395-EBF0-C2CC-EF06502F3943}"/>
              </a:ext>
            </a:extLst>
          </p:cNvPr>
          <p:cNvSpPr>
            <a:spLocks noGrp="1"/>
          </p:cNvSpPr>
          <p:nvPr>
            <p:ph type="title"/>
          </p:nvPr>
        </p:nvSpPr>
        <p:spPr/>
        <p:txBody>
          <a:bodyPr/>
          <a:lstStyle/>
          <a:p>
            <a:r>
              <a:rPr lang="en-GB" noProof="0" dirty="0">
                <a:solidFill>
                  <a:srgbClr val="000000"/>
                </a:solidFill>
              </a:rPr>
              <a:t>O</a:t>
            </a:r>
            <a:r>
              <a:rPr lang="en-GB" i="0" u="none" strike="noStrike" baseline="0" noProof="0" dirty="0">
                <a:solidFill>
                  <a:srgbClr val="000000"/>
                </a:solidFill>
              </a:rPr>
              <a:t>simertinib + </a:t>
            </a:r>
            <a:r>
              <a:rPr lang="en-GB" i="0" u="none" strike="noStrike" baseline="0" noProof="0" dirty="0" err="1">
                <a:solidFill>
                  <a:srgbClr val="000000"/>
                </a:solidFill>
              </a:rPr>
              <a:t>ChT</a:t>
            </a:r>
            <a:r>
              <a:rPr lang="en-GB" noProof="0" dirty="0">
                <a:solidFill>
                  <a:srgbClr val="000000"/>
                </a:solidFill>
              </a:rPr>
              <a:t>: </a:t>
            </a:r>
            <a:r>
              <a:rPr lang="en-GB" i="0" u="none" strike="noStrike" baseline="0" noProof="0" dirty="0">
                <a:solidFill>
                  <a:srgbClr val="000000"/>
                </a:solidFill>
              </a:rPr>
              <a:t>Resistance mechanisms (plasma)</a:t>
            </a:r>
            <a:endParaRPr lang="en-GB" noProof="0" dirty="0"/>
          </a:p>
        </p:txBody>
      </p:sp>
      <p:sp>
        <p:nvSpPr>
          <p:cNvPr id="4" name="Text Placeholder 3">
            <a:extLst>
              <a:ext uri="{FF2B5EF4-FFF2-40B4-BE49-F238E27FC236}">
                <a16:creationId xmlns:a16="http://schemas.microsoft.com/office/drawing/2014/main" id="{CCAAA8A0-FCA2-3FA8-79AE-F6097FAF2991}"/>
              </a:ext>
            </a:extLst>
          </p:cNvPr>
          <p:cNvSpPr>
            <a:spLocks noGrp="1"/>
          </p:cNvSpPr>
          <p:nvPr>
            <p:ph type="body" sz="quarter" idx="13"/>
          </p:nvPr>
        </p:nvSpPr>
        <p:spPr>
          <a:xfrm>
            <a:off x="3631721" y="6524625"/>
            <a:ext cx="8127188" cy="230832"/>
          </a:xfrm>
        </p:spPr>
        <p:txBody>
          <a:bodyPr/>
          <a:lstStyle/>
          <a:p>
            <a:r>
              <a:rPr lang="en-GB" noProof="0" dirty="0"/>
              <a:t>*At baseline; </a:t>
            </a:r>
            <a:r>
              <a:rPr lang="en-GB" baseline="30000" noProof="0" dirty="0"/>
              <a:t>†</a:t>
            </a:r>
            <a:r>
              <a:rPr lang="en-GB" noProof="0" dirty="0"/>
              <a:t>Osimertinib monotherapy arm: 1 patient had pre-existing ERBB2 amp and an acquired ERBB2 mutation and 1 patient had acquired ERBB2 amp, osimertinib + ChT arm: 1 patient </a:t>
            </a:r>
            <a:br>
              <a:rPr lang="en-GB" noProof="0" dirty="0"/>
            </a:br>
            <a:r>
              <a:rPr lang="en-GB" noProof="0" dirty="0"/>
              <a:t>had pre-existing ERBB2 amp, 1 patient had pre-existing ERBB2 mutation, and 3 patients had acquired ERBB2 amp; </a:t>
            </a:r>
            <a:r>
              <a:rPr lang="en-GB" baseline="30000" noProof="0" dirty="0"/>
              <a:t>‡</a:t>
            </a:r>
            <a:r>
              <a:rPr lang="en-GB" noProof="0" dirty="0"/>
              <a:t>TP53 alteration + RB1 loss had to be co-occurring to count as putative resistance.</a:t>
            </a:r>
          </a:p>
          <a:p>
            <a:r>
              <a:rPr lang="en-GB" noProof="0" dirty="0"/>
              <a:t>ALK, anaplastic lymphoma kinase</a:t>
            </a:r>
            <a:r>
              <a:rPr lang="en-GB" b="1" noProof="0" dirty="0"/>
              <a:t>; </a:t>
            </a:r>
            <a:r>
              <a:rPr lang="en-GB" noProof="0" dirty="0"/>
              <a:t>BRAF, v-</a:t>
            </a:r>
            <a:r>
              <a:rPr lang="en-GB" noProof="0" dirty="0" err="1"/>
              <a:t>raf</a:t>
            </a:r>
            <a:r>
              <a:rPr lang="en-GB" noProof="0" dirty="0"/>
              <a:t> murine sarcoma viral oncogene homologue B1; </a:t>
            </a:r>
            <a:r>
              <a:rPr lang="en-GB" b="0" noProof="0" dirty="0">
                <a:effectLst/>
              </a:rPr>
              <a:t>CCND2/CCNE1, G1/S-specific cyclin-D2/-E1; CDK4/6, cyclin-dependent kinase-4/-6</a:t>
            </a:r>
            <a:r>
              <a:rPr lang="en-GB" noProof="0" dirty="0"/>
              <a:t>; </a:t>
            </a:r>
            <a:r>
              <a:rPr lang="en-GB" noProof="0" dirty="0" err="1"/>
              <a:t>ChT</a:t>
            </a:r>
            <a:r>
              <a:rPr lang="en-GB" noProof="0" dirty="0"/>
              <a:t>, chemotherapy; ERBB2, Erb-B2 receptor tyrosine kinase 2; exon19del, exon 19 deletion; KRAS, Kirsten rat sarcoma viral oncogene homologue; NA, not applicable; ND, not detected; </a:t>
            </a:r>
            <a:r>
              <a:rPr lang="en-GB" noProof="0" dirty="0" err="1"/>
              <a:t>osi</a:t>
            </a:r>
            <a:r>
              <a:rPr lang="en-GB" noProof="0" dirty="0"/>
              <a:t>, </a:t>
            </a:r>
            <a:r>
              <a:rPr lang="en-GB" noProof="0" dirty="0" err="1"/>
              <a:t>osimertinib</a:t>
            </a:r>
            <a:r>
              <a:rPr lang="en-GB" noProof="0" dirty="0"/>
              <a:t>; PD, progressive disease; PIK3CA, phosphatidylinositol-4,5-bisphosphate 3-kinase catalytic subunit alpha; RB1, retinoblastoma 1; RET, rearranged during transfection; TP53, tumour protein 53.  </a:t>
            </a:r>
          </a:p>
        </p:txBody>
      </p:sp>
      <p:sp>
        <p:nvSpPr>
          <p:cNvPr id="5" name="Text Placeholder 4">
            <a:extLst>
              <a:ext uri="{FF2B5EF4-FFF2-40B4-BE49-F238E27FC236}">
                <a16:creationId xmlns:a16="http://schemas.microsoft.com/office/drawing/2014/main" id="{B468B954-350F-21EE-185E-303A9EB65B46}"/>
              </a:ext>
            </a:extLst>
          </p:cNvPr>
          <p:cNvSpPr>
            <a:spLocks noGrp="1"/>
          </p:cNvSpPr>
          <p:nvPr>
            <p:ph type="body" sz="quarter" idx="15"/>
          </p:nvPr>
        </p:nvSpPr>
        <p:spPr>
          <a:xfrm>
            <a:off x="442913" y="6524625"/>
            <a:ext cx="2317540" cy="230832"/>
          </a:xfrm>
        </p:spPr>
        <p:txBody>
          <a:bodyPr/>
          <a:lstStyle/>
          <a:p>
            <a:r>
              <a:rPr lang="en-GB" noProof="0" dirty="0"/>
              <a:t>Yang JCH, et al. Presented at WCLC 2024: MA12.03. </a:t>
            </a:r>
          </a:p>
        </p:txBody>
      </p:sp>
      <p:sp>
        <p:nvSpPr>
          <p:cNvPr id="8" name="Rectangle 7">
            <a:extLst>
              <a:ext uri="{FF2B5EF4-FFF2-40B4-BE49-F238E27FC236}">
                <a16:creationId xmlns:a16="http://schemas.microsoft.com/office/drawing/2014/main" id="{98986067-2B78-857D-26DD-9ECFE09303D8}"/>
              </a:ext>
            </a:extLst>
          </p:cNvPr>
          <p:cNvSpPr/>
          <p:nvPr/>
        </p:nvSpPr>
        <p:spPr>
          <a:xfrm>
            <a:off x="459304" y="990501"/>
            <a:ext cx="11306174" cy="4286699"/>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14" name="Table 13">
            <a:extLst>
              <a:ext uri="{FF2B5EF4-FFF2-40B4-BE49-F238E27FC236}">
                <a16:creationId xmlns:a16="http://schemas.microsoft.com/office/drawing/2014/main" id="{4954B471-94B0-F776-60CE-4CA71B96765D}"/>
              </a:ext>
            </a:extLst>
          </p:cNvPr>
          <p:cNvGraphicFramePr>
            <a:graphicFrameLocks noGrp="1"/>
          </p:cNvGraphicFramePr>
          <p:nvPr/>
        </p:nvGraphicFramePr>
        <p:xfrm>
          <a:off x="591523" y="1127936"/>
          <a:ext cx="1421639" cy="3973895"/>
        </p:xfrm>
        <a:graphic>
          <a:graphicData uri="http://schemas.openxmlformats.org/drawingml/2006/table">
            <a:tbl>
              <a:tblPr>
                <a:tableStyleId>{5C22544A-7EE6-4342-B048-85BDC9FD1C3A}</a:tableStyleId>
              </a:tblPr>
              <a:tblGrid>
                <a:gridCol w="737639">
                  <a:extLst>
                    <a:ext uri="{9D8B030D-6E8A-4147-A177-3AD203B41FA5}">
                      <a16:colId xmlns:a16="http://schemas.microsoft.com/office/drawing/2014/main" val="2763085917"/>
                    </a:ext>
                  </a:extLst>
                </a:gridCol>
                <a:gridCol w="684000">
                  <a:extLst>
                    <a:ext uri="{9D8B030D-6E8A-4147-A177-3AD203B41FA5}">
                      <a16:colId xmlns:a16="http://schemas.microsoft.com/office/drawing/2014/main" val="196100208"/>
                    </a:ext>
                  </a:extLst>
                </a:gridCol>
              </a:tblGrid>
              <a:tr h="148428">
                <a:tc gridSpan="2">
                  <a:txBody>
                    <a:bodyPr/>
                    <a:lstStyle/>
                    <a:p>
                      <a:r>
                        <a:rPr lang="en-GB" sz="800" b="1" spc="-30" noProof="0" dirty="0">
                          <a:latin typeface="Arial" panose="020B0604020202020204" pitchFamily="34" charset="0"/>
                          <a:cs typeface="Arial" panose="020B0604020202020204" pitchFamily="34" charset="0"/>
                        </a:rPr>
                        <a:t>Resistance</a:t>
                      </a:r>
                      <a:r>
                        <a:rPr lang="en-GB" sz="800" b="1" spc="45" noProof="0" dirty="0">
                          <a:latin typeface="Arial" panose="020B0604020202020204" pitchFamily="34" charset="0"/>
                          <a:cs typeface="Arial" panose="020B0604020202020204" pitchFamily="34" charset="0"/>
                        </a:rPr>
                        <a:t> </a:t>
                      </a:r>
                      <a:r>
                        <a:rPr lang="en-GB" sz="800" b="1" spc="-30" noProof="0" dirty="0">
                          <a:latin typeface="Arial" panose="020B0604020202020204" pitchFamily="34" charset="0"/>
                          <a:cs typeface="Arial" panose="020B0604020202020204" pitchFamily="34" charset="0"/>
                        </a:rPr>
                        <a:t>mechanisms,</a:t>
                      </a:r>
                      <a:r>
                        <a:rPr lang="en-GB" sz="800" b="1" spc="15" noProof="0" dirty="0">
                          <a:latin typeface="Arial" panose="020B0604020202020204" pitchFamily="34" charset="0"/>
                          <a:cs typeface="Arial" panose="020B0604020202020204" pitchFamily="34" charset="0"/>
                        </a:rPr>
                        <a:t> </a:t>
                      </a:r>
                      <a:r>
                        <a:rPr lang="en-GB" sz="800" b="1" noProof="0" dirty="0">
                          <a:latin typeface="Arial" panose="020B0604020202020204" pitchFamily="34" charset="0"/>
                          <a:cs typeface="Arial" panose="020B0604020202020204" pitchFamily="34" charset="0"/>
                        </a:rPr>
                        <a:t>n</a:t>
                      </a:r>
                      <a:r>
                        <a:rPr lang="en-GB" sz="800" b="1" spc="-25" noProof="0" dirty="0">
                          <a:latin typeface="Arial" panose="020B0604020202020204" pitchFamily="34" charset="0"/>
                          <a:cs typeface="Arial" panose="020B0604020202020204" pitchFamily="34" charset="0"/>
                        </a:rPr>
                        <a:t> </a:t>
                      </a:r>
                      <a:r>
                        <a:rPr lang="en-GB" sz="800" b="0" spc="-25" noProof="0" dirty="0">
                          <a:latin typeface="Arial" panose="020B0604020202020204" pitchFamily="34" charset="0"/>
                          <a:cs typeface="Arial" panose="020B0604020202020204" pitchFamily="34" charset="0"/>
                        </a:rPr>
                        <a:t>(%)</a:t>
                      </a:r>
                      <a:endParaRPr lang="en-GB" sz="800" b="0" noProof="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GB" sz="800"/>
                    </a:p>
                  </a:txBody>
                  <a:tcPr marL="0" marR="0" marT="0" marB="0" anchor="ct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931108752"/>
                  </a:ext>
                </a:extLst>
              </a:tr>
              <a:tr h="191012">
                <a:tc>
                  <a:txBody>
                    <a:bodyPr/>
                    <a:lstStyle/>
                    <a:p>
                      <a:pPr algn="ctr"/>
                      <a:r>
                        <a:rPr lang="en-GB" sz="800" noProof="0">
                          <a:latin typeface="Arial" panose="020B0604020202020204" pitchFamily="34" charset="0"/>
                          <a:cs typeface="Arial" panose="020B0604020202020204" pitchFamily="34" charset="0"/>
                        </a:rPr>
                        <a:t>Pre-existi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n-GB" sz="800" noProof="0" dirty="0">
                          <a:latin typeface="Arial" panose="020B0604020202020204" pitchFamily="34" charset="0"/>
                          <a:cs typeface="Arial" panose="020B0604020202020204" pitchFamily="34" charset="0"/>
                        </a:rPr>
                        <a:t>Acquire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008203680"/>
                  </a:ext>
                </a:extLst>
              </a:tr>
              <a:tr h="191012">
                <a:tc>
                  <a:txBody>
                    <a:bodyPr/>
                    <a:lstStyle/>
                    <a:p>
                      <a:pPr algn="ctr"/>
                      <a:r>
                        <a:rPr lang="en-GB" sz="800" b="1" noProof="0">
                          <a:latin typeface="Arial" panose="020B0604020202020204" pitchFamily="34" charset="0"/>
                          <a:cs typeface="Arial" panose="020B0604020202020204" pitchFamily="34" charset="0"/>
                        </a:rPr>
                        <a:t>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panose="020B0604020202020204" pitchFamily="34" charset="0"/>
                          <a:cs typeface="Arial" panose="020B0604020202020204" pitchFamily="34" charset="0"/>
                        </a:rPr>
                        <a:t>NA</a:t>
                      </a:r>
                      <a:endParaRPr lang="en-GB" sz="800" b="1"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306265957"/>
                  </a:ext>
                </a:extLst>
              </a:tr>
              <a:tr h="19735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panose="020B0604020202020204" pitchFamily="34" charset="0"/>
                          <a:cs typeface="Arial" panose="020B0604020202020204" pitchFamily="34" charset="0"/>
                        </a:rPr>
                        <a:t>NA</a:t>
                      </a:r>
                      <a:endParaRPr lang="en-GB" sz="800" b="1"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484748824"/>
                  </a:ext>
                </a:extLst>
              </a:tr>
              <a:tr h="21603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dirty="0">
                          <a:latin typeface="Arial" panose="020B0604020202020204" pitchFamily="34" charset="0"/>
                          <a:cs typeface="Arial" panose="020B0604020202020204" pitchFamily="34" charset="0"/>
                        </a:rPr>
                        <a:t>2</a:t>
                      </a:r>
                      <a:r>
                        <a:rPr lang="en-GB" sz="800" b="1" spc="-5" noProof="0" dirty="0">
                          <a:latin typeface="Arial" panose="020B0604020202020204" pitchFamily="34" charset="0"/>
                          <a:cs typeface="Arial" panose="020B0604020202020204" pitchFamily="34" charset="0"/>
                        </a:rPr>
                        <a:t> </a:t>
                      </a:r>
                      <a:r>
                        <a:rPr lang="en-GB" sz="800" spc="-25" noProof="0" dirty="0">
                          <a:latin typeface="Arial" panose="020B0604020202020204" pitchFamily="34" charset="0"/>
                          <a:cs typeface="Arial" panose="020B0604020202020204" pitchFamily="34" charset="0"/>
                        </a:rPr>
                        <a:t>(3)</a:t>
                      </a:r>
                      <a:endParaRPr lang="en-GB" sz="800" noProof="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panose="020B0604020202020204" pitchFamily="34" charset="0"/>
                          <a:cs typeface="Arial" panose="020B0604020202020204" pitchFamily="34" charset="0"/>
                        </a:rPr>
                        <a:t>ND</a:t>
                      </a:r>
                      <a:endParaRPr lang="en-GB" sz="800" b="1"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963422466"/>
                  </a:ext>
                </a:extLst>
              </a:tr>
              <a:tr h="2009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panose="020B0604020202020204" pitchFamily="34" charset="0"/>
                          <a:cs typeface="Arial" panose="020B0604020202020204" pitchFamily="34" charset="0"/>
                        </a:rPr>
                        <a:t>ND</a:t>
                      </a:r>
                      <a:endParaRPr lang="en-GB" sz="800" b="1"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2</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3)</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631580774"/>
                  </a:ext>
                </a:extLst>
              </a:tr>
              <a:tr h="2009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1</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1)</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1</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1)</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071314777"/>
                  </a:ext>
                </a:extLst>
              </a:tr>
              <a:tr h="1910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1</a:t>
                      </a:r>
                      <a:r>
                        <a:rPr lang="en-GB" sz="800" b="1"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1)</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8</a:t>
                      </a:r>
                      <a:r>
                        <a:rPr lang="en-GB" sz="800" spc="-5" noProof="0">
                          <a:latin typeface="Arial" panose="020B0604020202020204" pitchFamily="34" charset="0"/>
                          <a:cs typeface="Arial" panose="020B0604020202020204" pitchFamily="34" charset="0"/>
                        </a:rPr>
                        <a:t> </a:t>
                      </a:r>
                      <a:r>
                        <a:rPr lang="en-GB" sz="800" spc="-20" noProof="0">
                          <a:latin typeface="Arial" panose="020B0604020202020204" pitchFamily="34" charset="0"/>
                          <a:cs typeface="Arial" panose="020B0604020202020204" pitchFamily="34" charset="0"/>
                        </a:rPr>
                        <a:t>(12)</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199324847"/>
                  </a:ext>
                </a:extLst>
              </a:tr>
              <a:tr h="2158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2</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3)</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3</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4)</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739175416"/>
                  </a:ext>
                </a:extLst>
              </a:tr>
              <a:tr h="2059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panose="020B0604020202020204" pitchFamily="34" charset="0"/>
                          <a:cs typeface="Arial" panose="020B0604020202020204" pitchFamily="34" charset="0"/>
                        </a:rPr>
                        <a:t>ND</a:t>
                      </a:r>
                      <a:endParaRPr lang="en-GB" sz="800" b="1"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1</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1)</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029814752"/>
                  </a:ext>
                </a:extLst>
              </a:tr>
              <a:tr h="1910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panose="020B0604020202020204" pitchFamily="34" charset="0"/>
                          <a:cs typeface="Arial" panose="020B0604020202020204" pitchFamily="34" charset="0"/>
                        </a:rPr>
                        <a:t>ND</a:t>
                      </a:r>
                      <a:endParaRPr lang="en-GB" sz="800" b="1"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2</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3)</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227430405"/>
                  </a:ext>
                </a:extLst>
              </a:tr>
              <a:tr h="2058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panose="020B0604020202020204" pitchFamily="34" charset="0"/>
                          <a:cs typeface="Arial" panose="020B0604020202020204" pitchFamily="34" charset="0"/>
                        </a:rPr>
                        <a:t>ND</a:t>
                      </a:r>
                      <a:endParaRPr lang="en-GB" sz="800" b="1"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5</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7)</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042099490"/>
                  </a:ext>
                </a:extLst>
              </a:tr>
              <a:tr h="2110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dirty="0">
                          <a:latin typeface="Arial" panose="020B0604020202020204" pitchFamily="34" charset="0"/>
                          <a:cs typeface="Arial" panose="020B0604020202020204" pitchFamily="34" charset="0"/>
                        </a:rPr>
                        <a:t>3</a:t>
                      </a:r>
                      <a:r>
                        <a:rPr lang="en-GB" sz="800" spc="-5" noProof="0" dirty="0">
                          <a:latin typeface="Arial" panose="020B0604020202020204" pitchFamily="34" charset="0"/>
                          <a:cs typeface="Arial" panose="020B0604020202020204" pitchFamily="34" charset="0"/>
                        </a:rPr>
                        <a:t> </a:t>
                      </a:r>
                      <a:r>
                        <a:rPr lang="en-GB" sz="800" spc="-25" noProof="0" dirty="0">
                          <a:latin typeface="Arial" panose="020B0604020202020204" pitchFamily="34" charset="0"/>
                          <a:cs typeface="Arial" panose="020B0604020202020204" pitchFamily="34" charset="0"/>
                        </a:rPr>
                        <a:t>(4)</a:t>
                      </a:r>
                      <a:endParaRPr lang="en-GB" sz="800" noProof="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dirty="0">
                          <a:latin typeface="Arial" panose="020B0604020202020204" pitchFamily="34" charset="0"/>
                          <a:cs typeface="Arial" panose="020B0604020202020204" pitchFamily="34" charset="0"/>
                        </a:rPr>
                        <a:t>6</a:t>
                      </a:r>
                      <a:r>
                        <a:rPr lang="en-GB" sz="800" b="1" spc="-5" noProof="0" dirty="0">
                          <a:latin typeface="Arial" panose="020B0604020202020204" pitchFamily="34" charset="0"/>
                          <a:cs typeface="Arial" panose="020B0604020202020204" pitchFamily="34" charset="0"/>
                        </a:rPr>
                        <a:t> </a:t>
                      </a:r>
                      <a:r>
                        <a:rPr lang="en-GB" sz="800" spc="-25" noProof="0" dirty="0">
                          <a:latin typeface="Arial" panose="020B0604020202020204" pitchFamily="34" charset="0"/>
                          <a:cs typeface="Arial" panose="020B0604020202020204" pitchFamily="34" charset="0"/>
                        </a:rPr>
                        <a:t>(9)</a:t>
                      </a:r>
                      <a:endParaRPr lang="en-GB" sz="800" noProof="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57217390"/>
                  </a:ext>
                </a:extLst>
              </a:tr>
              <a:tr h="2009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3</a:t>
                      </a:r>
                      <a:r>
                        <a:rPr lang="en-GB" sz="800" b="1"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4)</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3</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4)</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573519377"/>
                  </a:ext>
                </a:extLst>
              </a:tr>
              <a:tr h="2009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panose="020B0604020202020204" pitchFamily="34" charset="0"/>
                          <a:cs typeface="Arial" panose="020B0604020202020204" pitchFamily="34" charset="0"/>
                        </a:rPr>
                        <a:t>ND</a:t>
                      </a:r>
                      <a:endParaRPr lang="en-GB" sz="800" b="1"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1</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1)</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090497374"/>
                  </a:ext>
                </a:extLst>
              </a:tr>
              <a:tr h="2160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panose="020B0604020202020204" pitchFamily="34" charset="0"/>
                          <a:cs typeface="Arial" panose="020B0604020202020204" pitchFamily="34" charset="0"/>
                        </a:rPr>
                        <a:t>ND</a:t>
                      </a:r>
                      <a:endParaRPr lang="en-GB" sz="800" b="1"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2</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3)</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710207089"/>
                  </a:ext>
                </a:extLst>
              </a:tr>
              <a:tr h="1858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panose="020B0604020202020204" pitchFamily="34" charset="0"/>
                          <a:cs typeface="Arial" panose="020B0604020202020204" pitchFamily="34" charset="0"/>
                        </a:rPr>
                        <a:t>ND</a:t>
                      </a:r>
                      <a:endParaRPr lang="en-GB" sz="800" b="1"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dirty="0">
                          <a:latin typeface="Arial" panose="020B0604020202020204" pitchFamily="34" charset="0"/>
                          <a:cs typeface="Arial" panose="020B0604020202020204" pitchFamily="34" charset="0"/>
                        </a:rPr>
                        <a:t>ND</a:t>
                      </a:r>
                      <a:endParaRPr lang="en-GB" sz="800" b="1" noProof="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672080334"/>
                  </a:ext>
                </a:extLst>
              </a:tr>
              <a:tr h="19138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2</a:t>
                      </a:r>
                      <a:r>
                        <a:rPr lang="en-GB" sz="800" b="1"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3)</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3</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4)</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087277270"/>
                  </a:ext>
                </a:extLst>
              </a:tr>
              <a:tr h="2210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1</a:t>
                      </a:r>
                      <a:r>
                        <a:rPr lang="en-GB" sz="800" b="1"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1)</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3</a:t>
                      </a:r>
                      <a:r>
                        <a:rPr lang="en-GB" sz="800" spc="-5" noProof="0">
                          <a:latin typeface="Arial" panose="020B0604020202020204" pitchFamily="34" charset="0"/>
                          <a:cs typeface="Arial" panose="020B0604020202020204" pitchFamily="34" charset="0"/>
                        </a:rPr>
                        <a:t> </a:t>
                      </a:r>
                      <a:r>
                        <a:rPr lang="en-GB" sz="800" spc="-25" noProof="0">
                          <a:latin typeface="Arial" panose="020B0604020202020204" pitchFamily="34" charset="0"/>
                          <a:cs typeface="Arial" panose="020B0604020202020204" pitchFamily="34" charset="0"/>
                        </a:rPr>
                        <a:t>(4)</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604192282"/>
                  </a:ext>
                </a:extLst>
              </a:tr>
              <a:tr h="1910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panose="020B0604020202020204" pitchFamily="34" charset="0"/>
                          <a:cs typeface="Arial" panose="020B0604020202020204" pitchFamily="34" charset="0"/>
                        </a:rPr>
                        <a:t>20</a:t>
                      </a:r>
                      <a:r>
                        <a:rPr lang="en-GB" sz="800" spc="-5" noProof="0">
                          <a:latin typeface="Arial" panose="020B0604020202020204" pitchFamily="34" charset="0"/>
                          <a:cs typeface="Arial" panose="020B0604020202020204" pitchFamily="34" charset="0"/>
                        </a:rPr>
                        <a:t> </a:t>
                      </a:r>
                      <a:r>
                        <a:rPr lang="en-GB" sz="800" spc="-20" noProof="0">
                          <a:latin typeface="Arial" panose="020B0604020202020204" pitchFamily="34" charset="0"/>
                          <a:cs typeface="Arial" panose="020B0604020202020204" pitchFamily="34" charset="0"/>
                        </a:rPr>
                        <a:t>(29)</a:t>
                      </a:r>
                      <a:endParaRPr lang="en-GB" sz="800" noProof="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dirty="0">
                          <a:latin typeface="Arial" panose="020B0604020202020204" pitchFamily="34" charset="0"/>
                          <a:cs typeface="Arial" panose="020B0604020202020204" pitchFamily="34" charset="0"/>
                        </a:rPr>
                        <a:t>8</a:t>
                      </a:r>
                      <a:r>
                        <a:rPr lang="en-GB" sz="800" spc="-5" noProof="0" dirty="0">
                          <a:latin typeface="Arial" panose="020B0604020202020204" pitchFamily="34" charset="0"/>
                          <a:cs typeface="Arial" panose="020B0604020202020204" pitchFamily="34" charset="0"/>
                        </a:rPr>
                        <a:t> </a:t>
                      </a:r>
                      <a:r>
                        <a:rPr lang="en-GB" sz="800" spc="-20" noProof="0" dirty="0">
                          <a:latin typeface="Arial" panose="020B0604020202020204" pitchFamily="34" charset="0"/>
                          <a:cs typeface="Arial" panose="020B0604020202020204" pitchFamily="34" charset="0"/>
                        </a:rPr>
                        <a:t>(12)</a:t>
                      </a:r>
                      <a:endParaRPr lang="en-GB" sz="800" noProof="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3375523"/>
                  </a:ext>
                </a:extLst>
              </a:tr>
            </a:tbl>
          </a:graphicData>
        </a:graphic>
      </p:graphicFrame>
      <p:graphicFrame>
        <p:nvGraphicFramePr>
          <p:cNvPr id="15" name="Table 14">
            <a:extLst>
              <a:ext uri="{FF2B5EF4-FFF2-40B4-BE49-F238E27FC236}">
                <a16:creationId xmlns:a16="http://schemas.microsoft.com/office/drawing/2014/main" id="{63B2D600-5A98-DB79-1B53-C95A053DCB0D}"/>
              </a:ext>
            </a:extLst>
          </p:cNvPr>
          <p:cNvGraphicFramePr>
            <a:graphicFrameLocks noGrp="1"/>
          </p:cNvGraphicFramePr>
          <p:nvPr/>
        </p:nvGraphicFramePr>
        <p:xfrm>
          <a:off x="4380732" y="1466277"/>
          <a:ext cx="1612235" cy="3657513"/>
        </p:xfrm>
        <a:graphic>
          <a:graphicData uri="http://schemas.openxmlformats.org/drawingml/2006/table">
            <a:tbl>
              <a:tblPr>
                <a:tableStyleId>{5C22544A-7EE6-4342-B048-85BDC9FD1C3A}</a:tableStyleId>
              </a:tblPr>
              <a:tblGrid>
                <a:gridCol w="1612235">
                  <a:extLst>
                    <a:ext uri="{9D8B030D-6E8A-4147-A177-3AD203B41FA5}">
                      <a16:colId xmlns:a16="http://schemas.microsoft.com/office/drawing/2014/main" val="2763085917"/>
                    </a:ext>
                  </a:extLst>
                </a:gridCol>
              </a:tblGrid>
              <a:tr h="192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50" b="1" kern="1200" noProof="0" dirty="0">
                          <a:solidFill>
                            <a:schemeClr val="dk1"/>
                          </a:solidFill>
                          <a:latin typeface="Arial" panose="020B0604020202020204" pitchFamily="34" charset="0"/>
                          <a:ea typeface="+mn-ea"/>
                          <a:cs typeface="Arial" panose="020B0604020202020204" pitchFamily="34" charset="0"/>
                        </a:rPr>
                        <a:t>ChT at PD or </a:t>
                      </a:r>
                      <a:r>
                        <a:rPr lang="en-GB" sz="750" b="1" kern="1200" noProof="0" dirty="0" err="1">
                          <a:solidFill>
                            <a:schemeClr val="dk1"/>
                          </a:solidFill>
                          <a:latin typeface="Arial" panose="020B0604020202020204" pitchFamily="34" charset="0"/>
                          <a:ea typeface="+mn-ea"/>
                          <a:cs typeface="Arial" panose="020B0604020202020204" pitchFamily="34" charset="0"/>
                        </a:rPr>
                        <a:t>osi</a:t>
                      </a:r>
                      <a:r>
                        <a:rPr lang="en-GB" sz="750" b="1" kern="1200" noProof="0" dirty="0">
                          <a:solidFill>
                            <a:schemeClr val="dk1"/>
                          </a:solidFill>
                          <a:latin typeface="Arial" panose="020B0604020202020204" pitchFamily="34" charset="0"/>
                          <a:ea typeface="+mn-ea"/>
                          <a:cs typeface="Arial" panose="020B0604020202020204" pitchFamily="34" charset="0"/>
                        </a:rPr>
                        <a:t> discontinuation </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6265957"/>
                  </a:ext>
                </a:extLst>
              </a:tr>
              <a:tr h="2088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kern="1200" noProof="0">
                          <a:solidFill>
                            <a:schemeClr val="dk1"/>
                          </a:solidFill>
                          <a:latin typeface="Arial" panose="020B0604020202020204" pitchFamily="34" charset="0"/>
                          <a:ea typeface="+mn-ea"/>
                          <a:cs typeface="Arial" panose="020B0604020202020204" pitchFamily="34" charset="0"/>
                        </a:rPr>
                        <a:t>Sensitising </a:t>
                      </a:r>
                      <a:r>
                        <a:rPr lang="en-GB" sz="800" b="1" i="1" kern="1200" noProof="0">
                          <a:solidFill>
                            <a:schemeClr val="dk1"/>
                          </a:solidFill>
                          <a:latin typeface="Arial" panose="020B0604020202020204" pitchFamily="34" charset="0"/>
                          <a:ea typeface="+mn-ea"/>
                          <a:cs typeface="Arial" panose="020B0604020202020204" pitchFamily="34" charset="0"/>
                        </a:rPr>
                        <a:t>EGFR</a:t>
                      </a:r>
                      <a:r>
                        <a:rPr lang="en-GB" sz="800" b="1" kern="1200" noProof="0">
                          <a:solidFill>
                            <a:schemeClr val="dk1"/>
                          </a:solidFill>
                          <a:latin typeface="Arial" panose="020B0604020202020204" pitchFamily="34" charset="0"/>
                          <a:ea typeface="+mn-ea"/>
                          <a:cs typeface="Arial" panose="020B0604020202020204" pitchFamily="34" charset="0"/>
                        </a:rPr>
                        <a:t> mutation</a:t>
                      </a:r>
                      <a:r>
                        <a:rPr lang="en-GB" sz="800" b="1" kern="1200" baseline="30000" noProof="0">
                          <a:solidFill>
                            <a:schemeClr val="dk1"/>
                          </a:solidFill>
                          <a:latin typeface="Arial" panose="020B0604020202020204" pitchFamily="34" charset="0"/>
                          <a:ea typeface="+mn-ea"/>
                          <a:cs typeface="Arial" panose="020B0604020202020204" pitchFamily="34" charset="0"/>
                        </a:rPr>
                        <a:t>*</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4748824"/>
                  </a:ext>
                </a:extLst>
              </a:tr>
              <a:tr h="2183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dirty="0">
                          <a:solidFill>
                            <a:schemeClr val="dk1"/>
                          </a:solidFill>
                          <a:latin typeface="Arial" panose="020B0604020202020204" pitchFamily="34" charset="0"/>
                          <a:ea typeface="+mn-ea"/>
                          <a:cs typeface="Arial" panose="020B0604020202020204" pitchFamily="34" charset="0"/>
                        </a:rPr>
                        <a:t>EGFR</a:t>
                      </a:r>
                      <a:r>
                        <a:rPr lang="en-GB" sz="800" b="1" kern="1200" noProof="0" dirty="0">
                          <a:solidFill>
                            <a:schemeClr val="dk1"/>
                          </a:solidFill>
                          <a:latin typeface="Arial" panose="020B0604020202020204" pitchFamily="34" charset="0"/>
                          <a:ea typeface="+mn-ea"/>
                          <a:cs typeface="Arial" panose="020B0604020202020204" pitchFamily="34" charset="0"/>
                        </a:rPr>
                        <a:t> T790M</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3422466"/>
                  </a:ext>
                </a:extLst>
              </a:tr>
              <a:tr h="192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a:solidFill>
                            <a:schemeClr val="dk1"/>
                          </a:solidFill>
                          <a:latin typeface="Arial" panose="020B0604020202020204" pitchFamily="34" charset="0"/>
                          <a:ea typeface="+mn-ea"/>
                          <a:cs typeface="Arial" panose="020B0604020202020204" pitchFamily="34" charset="0"/>
                        </a:rPr>
                        <a:t>EGFR</a:t>
                      </a:r>
                      <a:r>
                        <a:rPr lang="en-GB" sz="800" b="1" kern="1200" noProof="0">
                          <a:solidFill>
                            <a:schemeClr val="dk1"/>
                          </a:solidFill>
                          <a:latin typeface="Arial" panose="020B0604020202020204" pitchFamily="34" charset="0"/>
                          <a:ea typeface="+mn-ea"/>
                          <a:cs typeface="Arial" panose="020B0604020202020204" pitchFamily="34" charset="0"/>
                        </a:rPr>
                        <a:t> C797S</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1580774"/>
                  </a:ext>
                </a:extLst>
              </a:tr>
              <a:tr h="192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noProof="0">
                          <a:latin typeface="Arial" panose="020B0604020202020204" pitchFamily="34" charset="0"/>
                          <a:cs typeface="Arial" panose="020B0604020202020204" pitchFamily="34" charset="0"/>
                        </a:rPr>
                        <a:t>EGFR</a:t>
                      </a:r>
                      <a:r>
                        <a:rPr lang="en-GB" sz="800" b="1" noProof="0">
                          <a:latin typeface="Arial" panose="020B0604020202020204" pitchFamily="34" charset="0"/>
                          <a:cs typeface="Arial" panose="020B0604020202020204" pitchFamily="34" charset="0"/>
                        </a:rPr>
                        <a:t> other uncommon</a:t>
                      </a:r>
                      <a:endParaRPr lang="en-GB" sz="800" noProof="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7932946"/>
                  </a:ext>
                </a:extLst>
              </a:tr>
              <a:tr h="2294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noProof="0">
                          <a:latin typeface="Arial" panose="020B0604020202020204" pitchFamily="34" charset="0"/>
                          <a:cs typeface="Arial" panose="020B0604020202020204" pitchFamily="34" charset="0"/>
                        </a:rPr>
                        <a:t>MET</a:t>
                      </a:r>
                      <a:r>
                        <a:rPr lang="en-GB" sz="800" b="1" spc="-15" noProof="0">
                          <a:latin typeface="Arial" panose="020B0604020202020204" pitchFamily="34" charset="0"/>
                          <a:cs typeface="Arial" panose="020B0604020202020204" pitchFamily="34" charset="0"/>
                        </a:rPr>
                        <a:t> </a:t>
                      </a:r>
                      <a:r>
                        <a:rPr lang="en-GB" sz="800" b="1" spc="-10" noProof="0">
                          <a:latin typeface="Arial" panose="020B0604020202020204" pitchFamily="34" charset="0"/>
                          <a:cs typeface="Arial" panose="020B0604020202020204" pitchFamily="34" charset="0"/>
                        </a:rPr>
                        <a:t>amp</a:t>
                      </a:r>
                      <a:endParaRPr lang="en-GB" sz="800" noProof="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1314777"/>
                  </a:ext>
                </a:extLst>
              </a:tr>
              <a:tr h="192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a:solidFill>
                            <a:schemeClr val="dk1"/>
                          </a:solidFill>
                          <a:latin typeface="Arial" panose="020B0604020202020204" pitchFamily="34" charset="0"/>
                          <a:ea typeface="+mn-ea"/>
                          <a:cs typeface="Arial" panose="020B0604020202020204" pitchFamily="34" charset="0"/>
                        </a:rPr>
                        <a:t>ERBB2</a:t>
                      </a:r>
                      <a:r>
                        <a:rPr lang="en-GB" sz="800" b="1" i="0" kern="1200" baseline="30000" noProof="0">
                          <a:solidFill>
                            <a:schemeClr val="dk1"/>
                          </a:solidFill>
                          <a:latin typeface="Arial" panose="020B0604020202020204" pitchFamily="34" charset="0"/>
                          <a:ea typeface="+mn-ea"/>
                          <a:cs typeface="Arial" panose="020B0604020202020204" pitchFamily="34" charset="0"/>
                        </a:rPr>
                        <a:t>†</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324847"/>
                  </a:ext>
                </a:extLst>
              </a:tr>
              <a:tr h="192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a:solidFill>
                            <a:schemeClr val="dk1"/>
                          </a:solidFill>
                          <a:latin typeface="Arial" panose="020B0604020202020204" pitchFamily="34" charset="0"/>
                          <a:ea typeface="+mn-ea"/>
                          <a:cs typeface="Arial" panose="020B0604020202020204" pitchFamily="34" charset="0"/>
                        </a:rPr>
                        <a:t>BRAF</a:t>
                      </a:r>
                      <a:r>
                        <a:rPr lang="en-GB" sz="800" b="1" kern="1200" noProof="0">
                          <a:solidFill>
                            <a:schemeClr val="dk1"/>
                          </a:solidFill>
                          <a:latin typeface="Arial" panose="020B0604020202020204" pitchFamily="34" charset="0"/>
                          <a:ea typeface="+mn-ea"/>
                          <a:cs typeface="Arial" panose="020B0604020202020204" pitchFamily="34" charset="0"/>
                        </a:rPr>
                        <a:t> V600E</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9175416"/>
                  </a:ext>
                </a:extLst>
              </a:tr>
              <a:tr h="192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dirty="0">
                          <a:solidFill>
                            <a:schemeClr val="dk1"/>
                          </a:solidFill>
                          <a:latin typeface="Arial" panose="020B0604020202020204" pitchFamily="34" charset="0"/>
                          <a:ea typeface="+mn-ea"/>
                          <a:cs typeface="Arial" panose="020B0604020202020204" pitchFamily="34" charset="0"/>
                        </a:rPr>
                        <a:t>KRAS</a:t>
                      </a:r>
                      <a:r>
                        <a:rPr lang="en-GB" sz="800" b="1" kern="1200" noProof="0" dirty="0">
                          <a:solidFill>
                            <a:schemeClr val="dk1"/>
                          </a:solidFill>
                          <a:latin typeface="Arial" panose="020B0604020202020204" pitchFamily="34" charset="0"/>
                          <a:ea typeface="+mn-ea"/>
                          <a:cs typeface="Arial" panose="020B0604020202020204" pitchFamily="34" charset="0"/>
                        </a:rPr>
                        <a:t> mutation </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814752"/>
                  </a:ext>
                </a:extLst>
              </a:tr>
              <a:tr h="2213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a:solidFill>
                            <a:schemeClr val="dk1"/>
                          </a:solidFill>
                          <a:latin typeface="Arial" panose="020B0604020202020204" pitchFamily="34" charset="0"/>
                          <a:ea typeface="+mn-ea"/>
                          <a:cs typeface="Arial" panose="020B0604020202020204" pitchFamily="34" charset="0"/>
                        </a:rPr>
                        <a:t>PIK3CA</a:t>
                      </a:r>
                      <a:r>
                        <a:rPr lang="en-GB" sz="800" b="1" kern="1200" noProof="0">
                          <a:solidFill>
                            <a:schemeClr val="dk1"/>
                          </a:solidFill>
                          <a:latin typeface="Arial" panose="020B0604020202020204" pitchFamily="34" charset="0"/>
                          <a:ea typeface="+mn-ea"/>
                          <a:cs typeface="Arial" panose="020B0604020202020204" pitchFamily="34" charset="0"/>
                        </a:rPr>
                        <a:t> mutation</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7430405"/>
                  </a:ext>
                </a:extLst>
              </a:tr>
              <a:tr h="21836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a:solidFill>
                            <a:schemeClr val="dk1"/>
                          </a:solidFill>
                          <a:latin typeface="Arial" panose="020B0604020202020204" pitchFamily="34" charset="0"/>
                          <a:ea typeface="+mn-ea"/>
                          <a:cs typeface="Arial" panose="020B0604020202020204" pitchFamily="34" charset="0"/>
                        </a:rPr>
                        <a:t>CCND1/E1 </a:t>
                      </a:r>
                      <a:r>
                        <a:rPr lang="en-GB" sz="800" b="1" kern="1200" noProof="0">
                          <a:solidFill>
                            <a:schemeClr val="dk1"/>
                          </a:solidFill>
                          <a:latin typeface="Arial" panose="020B0604020202020204" pitchFamily="34" charset="0"/>
                          <a:ea typeface="+mn-ea"/>
                          <a:cs typeface="Arial" panose="020B0604020202020204" pitchFamily="34" charset="0"/>
                        </a:rPr>
                        <a:t>amp</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099490"/>
                  </a:ext>
                </a:extLst>
              </a:tr>
              <a:tr h="192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a:solidFill>
                            <a:schemeClr val="dk1"/>
                          </a:solidFill>
                          <a:latin typeface="Arial" panose="020B0604020202020204" pitchFamily="34" charset="0"/>
                          <a:ea typeface="+mn-ea"/>
                          <a:cs typeface="Arial" panose="020B0604020202020204" pitchFamily="34" charset="0"/>
                        </a:rPr>
                        <a:t>CDK4/6</a:t>
                      </a:r>
                      <a:r>
                        <a:rPr lang="en-GB" sz="800" b="1" kern="1200" noProof="0">
                          <a:solidFill>
                            <a:schemeClr val="dk1"/>
                          </a:solidFill>
                          <a:latin typeface="Arial" panose="020B0604020202020204" pitchFamily="34" charset="0"/>
                          <a:ea typeface="+mn-ea"/>
                          <a:cs typeface="Arial" panose="020B0604020202020204" pitchFamily="34" charset="0"/>
                        </a:rPr>
                        <a:t> amp</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7217390"/>
                  </a:ext>
                </a:extLst>
              </a:tr>
              <a:tr h="192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a:solidFill>
                            <a:schemeClr val="dk1"/>
                          </a:solidFill>
                          <a:latin typeface="Arial" panose="020B0604020202020204" pitchFamily="34" charset="0"/>
                          <a:ea typeface="+mn-ea"/>
                          <a:cs typeface="Arial" panose="020B0604020202020204" pitchFamily="34" charset="0"/>
                        </a:rPr>
                        <a:t>RET</a:t>
                      </a:r>
                      <a:r>
                        <a:rPr lang="en-GB" sz="800" b="1" kern="1200" noProof="0">
                          <a:solidFill>
                            <a:schemeClr val="dk1"/>
                          </a:solidFill>
                          <a:latin typeface="Arial" panose="020B0604020202020204" pitchFamily="34" charset="0"/>
                          <a:ea typeface="+mn-ea"/>
                          <a:cs typeface="Arial" panose="020B0604020202020204" pitchFamily="34" charset="0"/>
                        </a:rPr>
                        <a:t> fusion</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885799"/>
                  </a:ext>
                </a:extLst>
              </a:tr>
              <a:tr h="18851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a:solidFill>
                            <a:schemeClr val="dk1"/>
                          </a:solidFill>
                          <a:latin typeface="Arial" panose="020B0604020202020204" pitchFamily="34" charset="0"/>
                          <a:ea typeface="+mn-ea"/>
                          <a:cs typeface="Arial" panose="020B0604020202020204" pitchFamily="34" charset="0"/>
                        </a:rPr>
                        <a:t>BRAF</a:t>
                      </a:r>
                      <a:r>
                        <a:rPr lang="en-GB" sz="800" b="1" kern="1200" noProof="0">
                          <a:solidFill>
                            <a:schemeClr val="dk1"/>
                          </a:solidFill>
                          <a:latin typeface="Arial" panose="020B0604020202020204" pitchFamily="34" charset="0"/>
                          <a:ea typeface="+mn-ea"/>
                          <a:cs typeface="Arial" panose="020B0604020202020204" pitchFamily="34" charset="0"/>
                        </a:rPr>
                        <a:t> fusion </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0207089"/>
                  </a:ext>
                </a:extLst>
              </a:tr>
              <a:tr h="22817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a:solidFill>
                            <a:schemeClr val="dk1"/>
                          </a:solidFill>
                          <a:latin typeface="Arial" panose="020B0604020202020204" pitchFamily="34" charset="0"/>
                          <a:ea typeface="+mn-ea"/>
                          <a:cs typeface="Arial" panose="020B0604020202020204" pitchFamily="34" charset="0"/>
                        </a:rPr>
                        <a:t>ALK</a:t>
                      </a:r>
                      <a:r>
                        <a:rPr lang="en-GB" sz="800" b="1" kern="1200" noProof="0">
                          <a:solidFill>
                            <a:schemeClr val="dk1"/>
                          </a:solidFill>
                          <a:latin typeface="Arial" panose="020B0604020202020204" pitchFamily="34" charset="0"/>
                          <a:ea typeface="+mn-ea"/>
                          <a:cs typeface="Arial" panose="020B0604020202020204" pitchFamily="34" charset="0"/>
                        </a:rPr>
                        <a:t> fusion</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2080334"/>
                  </a:ext>
                </a:extLst>
              </a:tr>
              <a:tr h="2017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kern="1200" noProof="0">
                          <a:solidFill>
                            <a:schemeClr val="dk1"/>
                          </a:solidFill>
                          <a:latin typeface="Arial" panose="020B0604020202020204" pitchFamily="34" charset="0"/>
                          <a:ea typeface="+mn-ea"/>
                          <a:cs typeface="Arial" panose="020B0604020202020204" pitchFamily="34" charset="0"/>
                        </a:rPr>
                        <a:t>Other oncogenic fusion</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7277270"/>
                  </a:ext>
                </a:extLst>
              </a:tr>
              <a:tr h="2115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dirty="0">
                          <a:solidFill>
                            <a:schemeClr val="dk1"/>
                          </a:solidFill>
                          <a:latin typeface="Arial" panose="020B0604020202020204" pitchFamily="34" charset="0"/>
                          <a:ea typeface="+mn-ea"/>
                          <a:cs typeface="Arial" panose="020B0604020202020204" pitchFamily="34" charset="0"/>
                        </a:rPr>
                        <a:t>RB1</a:t>
                      </a:r>
                      <a:r>
                        <a:rPr lang="en-GB" sz="800" b="1" kern="1200" noProof="0" dirty="0">
                          <a:solidFill>
                            <a:schemeClr val="dk1"/>
                          </a:solidFill>
                          <a:latin typeface="Arial" panose="020B0604020202020204" pitchFamily="34" charset="0"/>
                          <a:ea typeface="+mn-ea"/>
                          <a:cs typeface="Arial" panose="020B0604020202020204" pitchFamily="34" charset="0"/>
                        </a:rPr>
                        <a:t> loss</a:t>
                      </a:r>
                      <a:r>
                        <a:rPr lang="en-GB" sz="800" b="1" kern="1200" baseline="30000" noProof="0" dirty="0">
                          <a:solidFill>
                            <a:schemeClr val="dk1"/>
                          </a:solidFill>
                          <a:latin typeface="Arial" panose="020B0604020202020204" pitchFamily="34" charset="0"/>
                          <a:ea typeface="+mn-ea"/>
                          <a:cs typeface="Arial" panose="020B0604020202020204" pitchFamily="34" charset="0"/>
                        </a:rPr>
                        <a:t>‡</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4192282"/>
                  </a:ext>
                </a:extLst>
              </a:tr>
              <a:tr h="192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noProof="0" dirty="0">
                          <a:solidFill>
                            <a:schemeClr val="dk1"/>
                          </a:solidFill>
                          <a:latin typeface="Arial" panose="020B0604020202020204" pitchFamily="34" charset="0"/>
                          <a:ea typeface="+mn-ea"/>
                          <a:cs typeface="Arial" panose="020B0604020202020204" pitchFamily="34" charset="0"/>
                        </a:rPr>
                        <a:t>TP53</a:t>
                      </a:r>
                      <a:r>
                        <a:rPr lang="en-GB" sz="800" b="1" kern="1200" noProof="0" dirty="0">
                          <a:solidFill>
                            <a:schemeClr val="dk1"/>
                          </a:solidFill>
                          <a:latin typeface="Arial" panose="020B0604020202020204" pitchFamily="34" charset="0"/>
                          <a:ea typeface="+mn-ea"/>
                          <a:cs typeface="Arial" panose="020B0604020202020204" pitchFamily="34" charset="0"/>
                        </a:rPr>
                        <a:t> alteration</a:t>
                      </a:r>
                      <a:r>
                        <a:rPr lang="en-GB" sz="800" b="1" kern="1200" baseline="30000" noProof="0" dirty="0">
                          <a:solidFill>
                            <a:schemeClr val="dk1"/>
                          </a:solidFill>
                          <a:latin typeface="Arial" panose="020B0604020202020204" pitchFamily="34" charset="0"/>
                          <a:ea typeface="+mn-ea"/>
                          <a:cs typeface="Arial" panose="020B0604020202020204" pitchFamily="34" charset="0"/>
                        </a:rPr>
                        <a:t>‡</a:t>
                      </a:r>
                      <a:endParaRPr lang="en-GB" sz="800" b="1" kern="1200" noProof="0" dirty="0">
                        <a:solidFill>
                          <a:schemeClr val="dk1"/>
                        </a:solidFill>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375523"/>
                  </a:ext>
                </a:extLst>
              </a:tr>
            </a:tbl>
          </a:graphicData>
        </a:graphic>
      </p:graphicFrame>
      <p:graphicFrame>
        <p:nvGraphicFramePr>
          <p:cNvPr id="16" name="Table 15">
            <a:extLst>
              <a:ext uri="{FF2B5EF4-FFF2-40B4-BE49-F238E27FC236}">
                <a16:creationId xmlns:a16="http://schemas.microsoft.com/office/drawing/2014/main" id="{C7B4A3CA-1AAF-B8F2-5B99-E79553F3C134}"/>
              </a:ext>
            </a:extLst>
          </p:cNvPr>
          <p:cNvGraphicFramePr>
            <a:graphicFrameLocks noGrp="1"/>
          </p:cNvGraphicFramePr>
          <p:nvPr/>
        </p:nvGraphicFramePr>
        <p:xfrm>
          <a:off x="8762636" y="1144165"/>
          <a:ext cx="1421639" cy="3950241"/>
        </p:xfrm>
        <a:graphic>
          <a:graphicData uri="http://schemas.openxmlformats.org/drawingml/2006/table">
            <a:tbl>
              <a:tblPr>
                <a:tableStyleId>{5C22544A-7EE6-4342-B048-85BDC9FD1C3A}</a:tableStyleId>
              </a:tblPr>
              <a:tblGrid>
                <a:gridCol w="737639">
                  <a:extLst>
                    <a:ext uri="{9D8B030D-6E8A-4147-A177-3AD203B41FA5}">
                      <a16:colId xmlns:a16="http://schemas.microsoft.com/office/drawing/2014/main" val="2763085917"/>
                    </a:ext>
                  </a:extLst>
                </a:gridCol>
                <a:gridCol w="684000">
                  <a:extLst>
                    <a:ext uri="{9D8B030D-6E8A-4147-A177-3AD203B41FA5}">
                      <a16:colId xmlns:a16="http://schemas.microsoft.com/office/drawing/2014/main" val="196100208"/>
                    </a:ext>
                  </a:extLst>
                </a:gridCol>
              </a:tblGrid>
              <a:tr h="148428">
                <a:tc gridSpan="2">
                  <a:txBody>
                    <a:bodyPr/>
                    <a:lstStyle/>
                    <a:p>
                      <a:r>
                        <a:rPr lang="en-GB" sz="800" b="1" spc="-30" noProof="0" dirty="0">
                          <a:latin typeface="Arial "/>
                          <a:cs typeface="Arial"/>
                        </a:rPr>
                        <a:t>Resistance</a:t>
                      </a:r>
                      <a:r>
                        <a:rPr lang="en-GB" sz="800" b="1" spc="45" noProof="0" dirty="0">
                          <a:latin typeface="Arial "/>
                          <a:cs typeface="Arial"/>
                        </a:rPr>
                        <a:t> </a:t>
                      </a:r>
                      <a:r>
                        <a:rPr lang="en-GB" sz="800" b="1" spc="-30" noProof="0" dirty="0">
                          <a:latin typeface="Arial "/>
                          <a:cs typeface="Arial"/>
                        </a:rPr>
                        <a:t>mechanisms,</a:t>
                      </a:r>
                      <a:r>
                        <a:rPr lang="en-GB" sz="800" b="1" spc="15" noProof="0" dirty="0">
                          <a:latin typeface="Arial "/>
                          <a:cs typeface="Arial"/>
                        </a:rPr>
                        <a:t> </a:t>
                      </a:r>
                      <a:r>
                        <a:rPr lang="en-GB" sz="800" b="1" noProof="0" dirty="0">
                          <a:latin typeface="Arial "/>
                          <a:cs typeface="Arial"/>
                        </a:rPr>
                        <a:t>n</a:t>
                      </a:r>
                      <a:r>
                        <a:rPr lang="en-GB" sz="800" b="1" spc="-25" noProof="0" dirty="0">
                          <a:latin typeface="Arial "/>
                          <a:cs typeface="Arial"/>
                        </a:rPr>
                        <a:t> </a:t>
                      </a:r>
                      <a:r>
                        <a:rPr lang="en-GB" sz="800" b="0" spc="-25" noProof="0" dirty="0">
                          <a:latin typeface="Arial "/>
                          <a:cs typeface="Arial"/>
                        </a:rPr>
                        <a:t>(%)</a:t>
                      </a:r>
                      <a:endParaRPr lang="en-GB" sz="800" b="0" noProof="0" dirty="0">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GB" sz="800"/>
                    </a:p>
                  </a:txBody>
                  <a:tcPr marL="0" marR="0" marT="0" marB="0" anchor="ct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931108752"/>
                  </a:ext>
                </a:extLst>
              </a:tr>
              <a:tr h="191013">
                <a:tc>
                  <a:txBody>
                    <a:bodyPr/>
                    <a:lstStyle/>
                    <a:p>
                      <a:pPr algn="ctr"/>
                      <a:r>
                        <a:rPr lang="en-GB" sz="800" noProof="0" dirty="0">
                          <a:latin typeface="Arial "/>
                        </a:rPr>
                        <a:t>Pre-existi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n-GB" sz="800" noProof="0" dirty="0">
                          <a:latin typeface="Arial "/>
                        </a:rPr>
                        <a:t>Acquire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008203680"/>
                  </a:ext>
                </a:extLst>
              </a:tr>
              <a:tr h="201600">
                <a:tc>
                  <a:txBody>
                    <a:bodyPr/>
                    <a:lstStyle/>
                    <a:p>
                      <a:pPr algn="ctr"/>
                      <a:r>
                        <a:rPr lang="en-GB" sz="800" b="1" noProof="0">
                          <a:latin typeface="Arial "/>
                          <a:ea typeface="Calibri" panose="020F0502020204030204" pitchFamily="34" charset="0"/>
                          <a:cs typeface="Calibri" panose="020F0502020204030204" pitchFamily="34" charset="0"/>
                        </a:rPr>
                        <a:t>–</a:t>
                      </a:r>
                      <a:endParaRPr lang="en-GB" sz="800" b="1" noProof="0">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n-GB" sz="800" b="1" noProof="0">
                          <a:latin typeface="Arial "/>
                          <a:ea typeface="Calibri" panose="020F0502020204030204" pitchFamily="34" charset="0"/>
                          <a:cs typeface="Calibri" panose="020F0502020204030204" pitchFamily="34" charset="0"/>
                        </a:rPr>
                        <a:t>–</a:t>
                      </a:r>
                      <a:endParaRPr lang="en-GB" sz="800" b="1" noProof="0">
                        <a:latin typeface="Arial "/>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306265957"/>
                  </a:ext>
                </a:extLst>
              </a:tr>
              <a:tr h="1908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rPr>
                        <a:t>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
                          <a:cs typeface="Arial"/>
                        </a:rPr>
                        <a:t>NA</a:t>
                      </a:r>
                      <a:endParaRPr lang="en-GB" sz="800" b="1"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484748824"/>
                  </a:ext>
                </a:extLst>
              </a:tr>
              <a:tr h="19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1</a:t>
                      </a:r>
                      <a:r>
                        <a:rPr lang="en-GB" sz="800" spc="-5" noProof="0">
                          <a:latin typeface="Arial "/>
                          <a:cs typeface="Arial"/>
                        </a:rPr>
                        <a:t> </a:t>
                      </a:r>
                      <a:r>
                        <a:rPr lang="en-GB" sz="800" spc="-25" noProof="0">
                          <a:latin typeface="Arial "/>
                          <a:cs typeface="Arial"/>
                        </a:rPr>
                        <a:t>(1)</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1</a:t>
                      </a:r>
                      <a:r>
                        <a:rPr lang="en-GB" sz="800" spc="-5" noProof="0">
                          <a:latin typeface="Arial "/>
                          <a:cs typeface="Arial"/>
                        </a:rPr>
                        <a:t> </a:t>
                      </a:r>
                      <a:r>
                        <a:rPr lang="en-GB" sz="800" spc="-25" noProof="0">
                          <a:latin typeface="Arial "/>
                          <a:cs typeface="Arial"/>
                        </a:rPr>
                        <a:t>(1)</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963422466"/>
                  </a:ext>
                </a:extLst>
              </a:tr>
              <a:tr h="19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dirty="0">
                          <a:latin typeface="Arial "/>
                          <a:cs typeface="Arial"/>
                        </a:rPr>
                        <a:t>ND</a:t>
                      </a:r>
                      <a:endParaRPr lang="en-GB" sz="800" b="1" noProof="0" dirty="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10</a:t>
                      </a:r>
                      <a:r>
                        <a:rPr lang="en-GB" sz="800" spc="-5" noProof="0">
                          <a:latin typeface="Arial "/>
                          <a:cs typeface="Arial"/>
                        </a:rPr>
                        <a:t> </a:t>
                      </a:r>
                      <a:r>
                        <a:rPr lang="en-GB" sz="800" spc="-25" noProof="0">
                          <a:latin typeface="Arial "/>
                          <a:cs typeface="Arial"/>
                        </a:rPr>
                        <a:t>(10)</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631580774"/>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5</a:t>
                      </a:r>
                      <a:r>
                        <a:rPr lang="en-GB" sz="800" spc="-5" noProof="0">
                          <a:latin typeface="Arial "/>
                          <a:cs typeface="Arial"/>
                        </a:rPr>
                        <a:t> </a:t>
                      </a:r>
                      <a:r>
                        <a:rPr lang="en-GB" sz="800" spc="-25" noProof="0">
                          <a:latin typeface="Arial "/>
                          <a:cs typeface="Arial"/>
                        </a:rPr>
                        <a:t>(5)</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4</a:t>
                      </a:r>
                      <a:r>
                        <a:rPr lang="en-GB" sz="800" spc="-5" noProof="0">
                          <a:latin typeface="Arial "/>
                          <a:cs typeface="Arial"/>
                        </a:rPr>
                        <a:t> </a:t>
                      </a:r>
                      <a:r>
                        <a:rPr lang="en-GB" sz="800" spc="-25" noProof="0">
                          <a:latin typeface="Arial "/>
                          <a:cs typeface="Arial"/>
                        </a:rPr>
                        <a:t>(4)</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071314777"/>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1</a:t>
                      </a:r>
                      <a:r>
                        <a:rPr lang="en-GB" sz="800" spc="-5" noProof="0">
                          <a:latin typeface="Arial "/>
                          <a:cs typeface="Arial"/>
                        </a:rPr>
                        <a:t> </a:t>
                      </a:r>
                      <a:r>
                        <a:rPr lang="en-GB" sz="800" spc="-25" noProof="0">
                          <a:latin typeface="Arial "/>
                          <a:cs typeface="Arial"/>
                        </a:rPr>
                        <a:t>(1)</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11</a:t>
                      </a:r>
                      <a:r>
                        <a:rPr lang="en-GB" sz="800" spc="-5" noProof="0">
                          <a:latin typeface="Arial "/>
                          <a:cs typeface="Arial"/>
                        </a:rPr>
                        <a:t> </a:t>
                      </a:r>
                      <a:r>
                        <a:rPr lang="en-GB" sz="800" spc="-20" noProof="0">
                          <a:latin typeface="Arial "/>
                          <a:cs typeface="Arial"/>
                        </a:rPr>
                        <a:t>(11)</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199324847"/>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1</a:t>
                      </a:r>
                      <a:r>
                        <a:rPr lang="en-GB" sz="800" spc="-5" noProof="0">
                          <a:latin typeface="Arial "/>
                          <a:cs typeface="Arial"/>
                        </a:rPr>
                        <a:t> </a:t>
                      </a:r>
                      <a:r>
                        <a:rPr lang="en-GB" sz="800" spc="-25" noProof="0">
                          <a:latin typeface="Arial "/>
                          <a:cs typeface="Arial"/>
                        </a:rPr>
                        <a:t>(1)</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2</a:t>
                      </a:r>
                      <a:r>
                        <a:rPr lang="en-GB" sz="800" spc="-5" noProof="0">
                          <a:latin typeface="Arial "/>
                          <a:cs typeface="Arial"/>
                        </a:rPr>
                        <a:t> </a:t>
                      </a:r>
                      <a:r>
                        <a:rPr lang="en-GB" sz="800" spc="-25" noProof="0">
                          <a:latin typeface="Arial "/>
                          <a:cs typeface="Arial"/>
                        </a:rPr>
                        <a:t>(2)</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739175416"/>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
                          <a:cs typeface="Arial"/>
                        </a:rPr>
                        <a:t>ND</a:t>
                      </a:r>
                      <a:endParaRPr lang="en-GB" sz="800" b="1"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5</a:t>
                      </a:r>
                      <a:r>
                        <a:rPr lang="en-GB" sz="800" noProof="0">
                          <a:latin typeface="Arial "/>
                          <a:cs typeface="Arial"/>
                        </a:rPr>
                        <a:t> </a:t>
                      </a:r>
                      <a:r>
                        <a:rPr lang="en-GB" sz="800" spc="-25" noProof="0">
                          <a:latin typeface="Arial "/>
                          <a:cs typeface="Arial"/>
                        </a:rPr>
                        <a:t>(5)</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029814752"/>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dirty="0">
                          <a:latin typeface="Arial "/>
                          <a:cs typeface="Arial"/>
                        </a:rPr>
                        <a:t>1</a:t>
                      </a:r>
                      <a:r>
                        <a:rPr lang="en-GB" sz="800" spc="-5" noProof="0" dirty="0">
                          <a:latin typeface="Arial "/>
                          <a:cs typeface="Arial"/>
                        </a:rPr>
                        <a:t> </a:t>
                      </a:r>
                      <a:r>
                        <a:rPr lang="en-GB" sz="800" spc="-25" noProof="0" dirty="0">
                          <a:latin typeface="Arial "/>
                          <a:cs typeface="Arial"/>
                        </a:rPr>
                        <a:t>(1)</a:t>
                      </a:r>
                      <a:endParaRPr lang="en-GB" sz="800" noProof="0" dirty="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8</a:t>
                      </a:r>
                      <a:r>
                        <a:rPr lang="en-GB" sz="800" spc="-5" noProof="0">
                          <a:latin typeface="Arial "/>
                          <a:cs typeface="Arial"/>
                        </a:rPr>
                        <a:t> </a:t>
                      </a:r>
                      <a:r>
                        <a:rPr lang="en-GB" sz="800" spc="-25" noProof="0">
                          <a:latin typeface="Arial "/>
                          <a:cs typeface="Arial"/>
                        </a:rPr>
                        <a:t>(8)</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227430405"/>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7</a:t>
                      </a:r>
                      <a:r>
                        <a:rPr lang="en-GB" sz="800" spc="-5" noProof="0">
                          <a:latin typeface="Arial "/>
                          <a:cs typeface="Arial"/>
                        </a:rPr>
                        <a:t> </a:t>
                      </a:r>
                      <a:r>
                        <a:rPr lang="en-GB" sz="800" spc="-25" noProof="0">
                          <a:latin typeface="Arial "/>
                          <a:cs typeface="Arial"/>
                        </a:rPr>
                        <a:t>(7)</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6</a:t>
                      </a:r>
                      <a:r>
                        <a:rPr lang="en-GB" sz="800" spc="-5" noProof="0">
                          <a:latin typeface="Arial "/>
                          <a:cs typeface="Arial"/>
                        </a:rPr>
                        <a:t> </a:t>
                      </a:r>
                      <a:r>
                        <a:rPr lang="en-GB" sz="800" spc="-25" noProof="0">
                          <a:latin typeface="Arial "/>
                          <a:cs typeface="Arial"/>
                        </a:rPr>
                        <a:t>(6)</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042099490"/>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5</a:t>
                      </a:r>
                      <a:r>
                        <a:rPr lang="en-GB" sz="800" b="1" spc="-5" noProof="0">
                          <a:latin typeface="Arial "/>
                          <a:cs typeface="Arial"/>
                        </a:rPr>
                        <a:t> </a:t>
                      </a:r>
                      <a:r>
                        <a:rPr lang="en-GB" sz="800" spc="-25" noProof="0">
                          <a:latin typeface="Arial "/>
                          <a:cs typeface="Arial"/>
                        </a:rPr>
                        <a:t>(5)</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dirty="0">
                          <a:latin typeface="Arial "/>
                          <a:cs typeface="Arial"/>
                        </a:rPr>
                        <a:t>5</a:t>
                      </a:r>
                      <a:r>
                        <a:rPr lang="en-GB" sz="800" b="1" spc="-5" noProof="0" dirty="0">
                          <a:latin typeface="Arial "/>
                          <a:cs typeface="Arial"/>
                        </a:rPr>
                        <a:t> </a:t>
                      </a:r>
                      <a:r>
                        <a:rPr lang="en-GB" sz="800" spc="-25" noProof="0" dirty="0">
                          <a:latin typeface="Arial "/>
                          <a:cs typeface="Arial"/>
                        </a:rPr>
                        <a:t>(5)</a:t>
                      </a:r>
                      <a:endParaRPr lang="en-GB" sz="800" noProof="0" dirty="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57217390"/>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4</a:t>
                      </a:r>
                      <a:r>
                        <a:rPr lang="en-GB" sz="800" spc="-5" noProof="0">
                          <a:latin typeface="Arial "/>
                          <a:cs typeface="Arial"/>
                        </a:rPr>
                        <a:t> </a:t>
                      </a:r>
                      <a:r>
                        <a:rPr lang="en-GB" sz="800" spc="-25" noProof="0">
                          <a:latin typeface="Arial "/>
                          <a:cs typeface="Arial"/>
                        </a:rPr>
                        <a:t>(4)</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5</a:t>
                      </a:r>
                      <a:r>
                        <a:rPr lang="en-GB" sz="800" spc="-5" noProof="0">
                          <a:latin typeface="Arial "/>
                          <a:cs typeface="Arial"/>
                        </a:rPr>
                        <a:t> </a:t>
                      </a:r>
                      <a:r>
                        <a:rPr lang="en-GB" sz="800" spc="-25" noProof="0">
                          <a:latin typeface="Arial "/>
                          <a:cs typeface="Arial"/>
                        </a:rPr>
                        <a:t>(5)</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573519377"/>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
                          <a:cs typeface="Arial"/>
                        </a:rPr>
                        <a:t>ND</a:t>
                      </a:r>
                      <a:endParaRPr lang="en-GB" sz="800" b="1"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3</a:t>
                      </a:r>
                      <a:r>
                        <a:rPr lang="en-GB" sz="800" noProof="0">
                          <a:latin typeface="Arial "/>
                          <a:cs typeface="Arial"/>
                        </a:rPr>
                        <a:t> </a:t>
                      </a:r>
                      <a:r>
                        <a:rPr lang="en-GB" sz="800" spc="-25" noProof="0">
                          <a:latin typeface="Arial "/>
                          <a:cs typeface="Arial"/>
                        </a:rPr>
                        <a:t>(3)</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090497374"/>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
                          <a:cs typeface="Arial"/>
                        </a:rPr>
                        <a:t>ND</a:t>
                      </a:r>
                      <a:endParaRPr lang="en-GB" sz="800" b="1"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3</a:t>
                      </a:r>
                      <a:r>
                        <a:rPr lang="en-GB" sz="800" spc="-5" noProof="0">
                          <a:latin typeface="Arial "/>
                          <a:cs typeface="Arial"/>
                        </a:rPr>
                        <a:t> </a:t>
                      </a:r>
                      <a:r>
                        <a:rPr lang="en-GB" sz="800" spc="-25" noProof="0">
                          <a:latin typeface="Arial "/>
                          <a:cs typeface="Arial"/>
                        </a:rPr>
                        <a:t>(3)</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710207089"/>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spc="-25" noProof="0">
                          <a:latin typeface="Arial "/>
                          <a:cs typeface="Arial"/>
                        </a:rPr>
                        <a:t>ND</a:t>
                      </a:r>
                      <a:endParaRPr lang="en-GB" sz="800" b="1"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3</a:t>
                      </a:r>
                      <a:r>
                        <a:rPr lang="en-GB" sz="800" spc="-5" noProof="0">
                          <a:latin typeface="Arial "/>
                          <a:cs typeface="Arial"/>
                        </a:rPr>
                        <a:t> </a:t>
                      </a:r>
                      <a:r>
                        <a:rPr lang="en-GB" sz="800" spc="-25" noProof="0">
                          <a:latin typeface="Arial "/>
                          <a:cs typeface="Arial"/>
                        </a:rPr>
                        <a:t>(3)</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672080334"/>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3</a:t>
                      </a:r>
                      <a:r>
                        <a:rPr lang="en-GB" sz="800" spc="-5" noProof="0">
                          <a:latin typeface="Arial "/>
                          <a:cs typeface="Arial"/>
                        </a:rPr>
                        <a:t> </a:t>
                      </a:r>
                      <a:r>
                        <a:rPr lang="en-GB" sz="800" spc="-25" noProof="0">
                          <a:latin typeface="Arial "/>
                          <a:cs typeface="Arial"/>
                        </a:rPr>
                        <a:t>(3)</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6</a:t>
                      </a:r>
                      <a:r>
                        <a:rPr lang="en-GB" sz="800" spc="-5" noProof="0">
                          <a:latin typeface="Arial "/>
                          <a:cs typeface="Arial"/>
                        </a:rPr>
                        <a:t> </a:t>
                      </a:r>
                      <a:r>
                        <a:rPr lang="en-GB" sz="800" spc="-25" noProof="0">
                          <a:latin typeface="Arial "/>
                          <a:cs typeface="Arial"/>
                        </a:rPr>
                        <a:t>(6)</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087277270"/>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5</a:t>
                      </a:r>
                      <a:r>
                        <a:rPr lang="en-GB" sz="800" spc="-5" noProof="0">
                          <a:latin typeface="Arial "/>
                          <a:cs typeface="Arial"/>
                        </a:rPr>
                        <a:t> </a:t>
                      </a:r>
                      <a:r>
                        <a:rPr lang="en-GB" sz="800" spc="-25" noProof="0">
                          <a:latin typeface="Arial "/>
                          <a:cs typeface="Arial"/>
                        </a:rPr>
                        <a:t>(5)</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dirty="0">
                          <a:latin typeface="Arial "/>
                          <a:cs typeface="Arial"/>
                        </a:rPr>
                        <a:t>10</a:t>
                      </a:r>
                      <a:r>
                        <a:rPr lang="en-GB" sz="800" spc="-5" noProof="0" dirty="0">
                          <a:latin typeface="Arial "/>
                          <a:cs typeface="Arial"/>
                        </a:rPr>
                        <a:t> </a:t>
                      </a:r>
                      <a:r>
                        <a:rPr lang="en-GB" sz="800" spc="-25" noProof="0" dirty="0">
                          <a:latin typeface="Arial "/>
                          <a:cs typeface="Arial"/>
                        </a:rPr>
                        <a:t>(10)</a:t>
                      </a:r>
                      <a:endParaRPr lang="en-GB" sz="800" noProof="0" dirty="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604192282"/>
                  </a:ext>
                </a:extLst>
              </a:tr>
              <a:tr h="20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a:latin typeface="Arial "/>
                          <a:cs typeface="Arial"/>
                        </a:rPr>
                        <a:t>42</a:t>
                      </a:r>
                      <a:r>
                        <a:rPr lang="en-GB" sz="800" spc="-5" noProof="0">
                          <a:latin typeface="Arial "/>
                          <a:cs typeface="Arial"/>
                        </a:rPr>
                        <a:t> </a:t>
                      </a:r>
                      <a:r>
                        <a:rPr lang="en-GB" sz="800" spc="-20" noProof="0">
                          <a:latin typeface="Arial "/>
                          <a:cs typeface="Arial"/>
                        </a:rPr>
                        <a:t>(42)</a:t>
                      </a:r>
                      <a:endParaRPr lang="en-GB" sz="800" noProof="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noProof="0" dirty="0">
                          <a:latin typeface="Arial "/>
                          <a:cs typeface="Arial"/>
                        </a:rPr>
                        <a:t>4</a:t>
                      </a:r>
                      <a:r>
                        <a:rPr lang="en-GB" sz="800" spc="-5" noProof="0" dirty="0">
                          <a:latin typeface="Arial "/>
                          <a:cs typeface="Arial"/>
                        </a:rPr>
                        <a:t> </a:t>
                      </a:r>
                      <a:r>
                        <a:rPr lang="en-GB" sz="800" spc="-20" noProof="0" dirty="0">
                          <a:latin typeface="Arial "/>
                          <a:cs typeface="Arial"/>
                        </a:rPr>
                        <a:t>(4)</a:t>
                      </a:r>
                      <a:endParaRPr lang="en-GB" sz="800" noProof="0" dirty="0">
                        <a:latin typeface="Arial "/>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3375523"/>
                  </a:ext>
                </a:extLst>
              </a:tr>
            </a:tbl>
          </a:graphicData>
        </a:graphic>
      </p:graphicFrame>
      <p:pic>
        <p:nvPicPr>
          <p:cNvPr id="44" name="Graphic 43">
            <a:extLst>
              <a:ext uri="{FF2B5EF4-FFF2-40B4-BE49-F238E27FC236}">
                <a16:creationId xmlns:a16="http://schemas.microsoft.com/office/drawing/2014/main" id="{3149FFEC-4196-CF75-AEA6-8C4AABF45E9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944956" y="1394573"/>
            <a:ext cx="6876921" cy="3821355"/>
          </a:xfrm>
          <a:prstGeom prst="rect">
            <a:avLst/>
          </a:prstGeom>
        </p:spPr>
      </p:pic>
      <p:sp>
        <p:nvSpPr>
          <p:cNvPr id="46" name="object 22">
            <a:extLst>
              <a:ext uri="{FF2B5EF4-FFF2-40B4-BE49-F238E27FC236}">
                <a16:creationId xmlns:a16="http://schemas.microsoft.com/office/drawing/2014/main" id="{847A99AF-9D36-9C32-063C-25A734288801}"/>
              </a:ext>
            </a:extLst>
          </p:cNvPr>
          <p:cNvSpPr txBox="1"/>
          <p:nvPr/>
        </p:nvSpPr>
        <p:spPr>
          <a:xfrm>
            <a:off x="2962764" y="1176402"/>
            <a:ext cx="510310" cy="246221"/>
          </a:xfrm>
          <a:prstGeom prst="rect">
            <a:avLst/>
          </a:prstGeom>
        </p:spPr>
        <p:txBody>
          <a:bodyPr vert="horz" wrap="square" lIns="0" tIns="0" rIns="0" bIns="0" rtlCol="0" anchor="ctr">
            <a:spAutoFit/>
          </a:bodyPr>
          <a:lstStyle/>
          <a:p>
            <a:pPr marL="12700" marR="0" lvl="0" indent="0" algn="ctr" defTabSz="179388"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25" normalizeH="0" baseline="-5555" noProof="0" dirty="0">
                <a:ln>
                  <a:noFill/>
                </a:ln>
                <a:solidFill>
                  <a:srgbClr val="004685"/>
                </a:solidFill>
                <a:effectLst/>
                <a:uLnTx/>
                <a:uFillTx/>
                <a:latin typeface="Arial" panose="020B0604020202020204" pitchFamily="34" charset="0"/>
                <a:ea typeface="+mn-ea"/>
                <a:cs typeface="Arial" panose="020B0604020202020204" pitchFamily="34" charset="0"/>
              </a:rPr>
              <a:t>(n=68)</a:t>
            </a:r>
            <a:endParaRPr kumimoji="0" lang="en-GB" sz="1000" b="0" i="0" u="none" strike="noStrike" kern="1200" cap="none" spc="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endParaRPr>
          </a:p>
        </p:txBody>
      </p:sp>
      <p:sp>
        <p:nvSpPr>
          <p:cNvPr id="47" name="object 22">
            <a:extLst>
              <a:ext uri="{FF2B5EF4-FFF2-40B4-BE49-F238E27FC236}">
                <a16:creationId xmlns:a16="http://schemas.microsoft.com/office/drawing/2014/main" id="{B86FDEA3-9CF8-0142-499C-9CA16F7096F5}"/>
              </a:ext>
            </a:extLst>
          </p:cNvPr>
          <p:cNvSpPr txBox="1"/>
          <p:nvPr/>
        </p:nvSpPr>
        <p:spPr>
          <a:xfrm>
            <a:off x="6231522" y="1130809"/>
            <a:ext cx="2088134" cy="153888"/>
          </a:xfrm>
          <a:prstGeom prst="rect">
            <a:avLst/>
          </a:prstGeom>
        </p:spPr>
        <p:txBody>
          <a:bodyPr vert="horz" wrap="square" lIns="0" tIns="0" rIns="0" bIns="0" rtlCol="0" anchor="ctr">
            <a:spAutoFit/>
          </a:bodyPr>
          <a:lstStyle/>
          <a:p>
            <a:pPr marL="12700" marR="0" lvl="0" indent="0" algn="ctr" defTabSz="17938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Osimertinib</a:t>
            </a:r>
            <a:endParaRPr kumimoji="0" lang="en-GB" sz="1000" b="1" i="0" u="none" strike="noStrike" kern="1200" cap="none" spc="-25"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endParaRPr>
          </a:p>
        </p:txBody>
      </p:sp>
      <p:cxnSp>
        <p:nvCxnSpPr>
          <p:cNvPr id="48" name="Straight Arrow Connector 47">
            <a:extLst>
              <a:ext uri="{FF2B5EF4-FFF2-40B4-BE49-F238E27FC236}">
                <a16:creationId xmlns:a16="http://schemas.microsoft.com/office/drawing/2014/main" id="{FB1B54E2-A65E-BB5C-FD82-34F084DEFD7F}"/>
              </a:ext>
            </a:extLst>
          </p:cNvPr>
          <p:cNvCxnSpPr>
            <a:cxnSpLocks/>
          </p:cNvCxnSpPr>
          <p:nvPr/>
        </p:nvCxnSpPr>
        <p:spPr>
          <a:xfrm flipH="1">
            <a:off x="2145564" y="1347559"/>
            <a:ext cx="793236" cy="0"/>
          </a:xfrm>
          <a:prstGeom prst="straightConnector1">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4ABA8DB0-3D28-DCED-83D2-69B538F495E0}"/>
              </a:ext>
            </a:extLst>
          </p:cNvPr>
          <p:cNvCxnSpPr>
            <a:cxnSpLocks/>
          </p:cNvCxnSpPr>
          <p:nvPr/>
        </p:nvCxnSpPr>
        <p:spPr>
          <a:xfrm>
            <a:off x="3477870" y="1347559"/>
            <a:ext cx="902862" cy="0"/>
          </a:xfrm>
          <a:prstGeom prst="straightConnector1">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0" name="object 22">
            <a:extLst>
              <a:ext uri="{FF2B5EF4-FFF2-40B4-BE49-F238E27FC236}">
                <a16:creationId xmlns:a16="http://schemas.microsoft.com/office/drawing/2014/main" id="{F829E236-D08E-91AD-636F-CCF8EB62192C}"/>
              </a:ext>
            </a:extLst>
          </p:cNvPr>
          <p:cNvSpPr txBox="1"/>
          <p:nvPr/>
        </p:nvSpPr>
        <p:spPr>
          <a:xfrm>
            <a:off x="2060492" y="1089825"/>
            <a:ext cx="2314855" cy="153888"/>
          </a:xfrm>
          <a:prstGeom prst="rect">
            <a:avLst/>
          </a:prstGeom>
        </p:spPr>
        <p:txBody>
          <a:bodyPr vert="horz" wrap="square" lIns="0" tIns="0" rIns="0" bIns="0" rtlCol="0" anchor="ctr">
            <a:spAutoFit/>
          </a:bodyPr>
          <a:lstStyle/>
          <a:p>
            <a:pPr marL="12700" marR="0" lvl="0" indent="0" algn="ctr" defTabSz="17938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Osimertinib</a:t>
            </a:r>
            <a:r>
              <a:rPr kumimoji="0" lang="en-GB" sz="1000" b="1" i="0" u="none" strike="noStrike" kern="1200" cap="none" spc="35"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rPr>
              <a:t> + </a:t>
            </a:r>
            <a:r>
              <a:rPr kumimoji="0" lang="en-GB" sz="1000" b="1" i="0" u="none" strike="noStrike" kern="1200" cap="none" spc="-25" normalizeH="0" baseline="0" noProof="0" dirty="0" err="1">
                <a:ln>
                  <a:noFill/>
                </a:ln>
                <a:solidFill>
                  <a:srgbClr val="004685"/>
                </a:solidFill>
                <a:effectLst/>
                <a:uLnTx/>
                <a:uFillTx/>
                <a:latin typeface="Arial" panose="020B0604020202020204" pitchFamily="34" charset="0"/>
                <a:ea typeface="+mn-ea"/>
                <a:cs typeface="Arial" panose="020B0604020202020204" pitchFamily="34" charset="0"/>
              </a:rPr>
              <a:t>ChT</a:t>
            </a:r>
            <a:endParaRPr kumimoji="0" lang="en-GB" sz="1000" b="1" i="0" u="none" strike="noStrike" kern="1200" cap="none" spc="-25" normalizeH="0" baseline="0" noProof="0" dirty="0">
              <a:ln>
                <a:noFill/>
              </a:ln>
              <a:solidFill>
                <a:srgbClr val="004685"/>
              </a:solidFill>
              <a:effectLst/>
              <a:uLnTx/>
              <a:uFillTx/>
              <a:latin typeface="Arial" panose="020B0604020202020204" pitchFamily="34" charset="0"/>
              <a:ea typeface="+mn-ea"/>
              <a:cs typeface="Arial" panose="020B0604020202020204" pitchFamily="34" charset="0"/>
            </a:endParaRPr>
          </a:p>
        </p:txBody>
      </p:sp>
      <p:grpSp>
        <p:nvGrpSpPr>
          <p:cNvPr id="58" name="Group 57">
            <a:extLst>
              <a:ext uri="{FF2B5EF4-FFF2-40B4-BE49-F238E27FC236}">
                <a16:creationId xmlns:a16="http://schemas.microsoft.com/office/drawing/2014/main" id="{D3B2120E-2DB8-23F7-5CED-3FDCB2A16AFA}"/>
              </a:ext>
            </a:extLst>
          </p:cNvPr>
          <p:cNvGrpSpPr/>
          <p:nvPr/>
        </p:nvGrpSpPr>
        <p:grpSpPr>
          <a:xfrm>
            <a:off x="6158005" y="1233334"/>
            <a:ext cx="2235168" cy="246221"/>
            <a:chOff x="5764512" y="1040776"/>
            <a:chExt cx="2235168" cy="246221"/>
          </a:xfrm>
        </p:grpSpPr>
        <p:sp>
          <p:nvSpPr>
            <p:cNvPr id="51" name="object 22">
              <a:extLst>
                <a:ext uri="{FF2B5EF4-FFF2-40B4-BE49-F238E27FC236}">
                  <a16:creationId xmlns:a16="http://schemas.microsoft.com/office/drawing/2014/main" id="{C2B88AFB-699A-08C2-5CE1-21236882FE41}"/>
                </a:ext>
              </a:extLst>
            </p:cNvPr>
            <p:cNvSpPr txBox="1"/>
            <p:nvPr/>
          </p:nvSpPr>
          <p:spPr>
            <a:xfrm>
              <a:off x="6594556" y="1040776"/>
              <a:ext cx="510310" cy="246221"/>
            </a:xfrm>
            <a:prstGeom prst="rect">
              <a:avLst/>
            </a:prstGeom>
          </p:spPr>
          <p:txBody>
            <a:bodyPr vert="horz" wrap="square" lIns="0" tIns="0" rIns="0" bIns="0" rtlCol="0" anchor="ctr">
              <a:spAutoFit/>
            </a:bodyPr>
            <a:lstStyle/>
            <a:p>
              <a:pPr marL="12700" marR="0" lvl="0" indent="0" algn="ctr" defTabSz="179388"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25" normalizeH="0" baseline="-5555" noProof="0" dirty="0">
                  <a:ln>
                    <a:noFill/>
                  </a:ln>
                  <a:solidFill>
                    <a:srgbClr val="541980"/>
                  </a:solidFill>
                  <a:effectLst/>
                  <a:uLnTx/>
                  <a:uFillTx/>
                  <a:latin typeface="Arial" panose="020B0604020202020204" pitchFamily="34" charset="0"/>
                  <a:ea typeface="+mn-ea"/>
                  <a:cs typeface="Arial" panose="020B0604020202020204" pitchFamily="34" charset="0"/>
                </a:rPr>
                <a:t>(n=99)</a:t>
              </a:r>
              <a:endParaRPr kumimoji="0" lang="en-GB" sz="100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endParaRPr>
            </a:p>
          </p:txBody>
        </p:sp>
        <p:cxnSp>
          <p:nvCxnSpPr>
            <p:cNvPr id="52" name="Straight Arrow Connector 51">
              <a:extLst>
                <a:ext uri="{FF2B5EF4-FFF2-40B4-BE49-F238E27FC236}">
                  <a16:creationId xmlns:a16="http://schemas.microsoft.com/office/drawing/2014/main" id="{935BC217-DC10-5AAE-5304-9C4C29B712BD}"/>
                </a:ext>
              </a:extLst>
            </p:cNvPr>
            <p:cNvCxnSpPr>
              <a:cxnSpLocks/>
            </p:cNvCxnSpPr>
            <p:nvPr/>
          </p:nvCxnSpPr>
          <p:spPr>
            <a:xfrm flipH="1">
              <a:off x="5764512" y="1211933"/>
              <a:ext cx="793236"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63FE2C83-D5BD-7F6E-C563-7326B23CE224}"/>
                </a:ext>
              </a:extLst>
            </p:cNvPr>
            <p:cNvCxnSpPr>
              <a:cxnSpLocks/>
            </p:cNvCxnSpPr>
            <p:nvPr/>
          </p:nvCxnSpPr>
          <p:spPr>
            <a:xfrm>
              <a:off x="7096818" y="1211933"/>
              <a:ext cx="902862"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41233FC8-7F3A-327C-C882-5C808BEC088D}"/>
              </a:ext>
            </a:extLst>
          </p:cNvPr>
          <p:cNvGrpSpPr/>
          <p:nvPr/>
        </p:nvGrpSpPr>
        <p:grpSpPr>
          <a:xfrm>
            <a:off x="10305874" y="2314747"/>
            <a:ext cx="1375570" cy="1638205"/>
            <a:chOff x="10327503" y="2314167"/>
            <a:chExt cx="1375570" cy="1638205"/>
          </a:xfrm>
        </p:grpSpPr>
        <p:sp>
          <p:nvSpPr>
            <p:cNvPr id="3" name="object 129">
              <a:extLst>
                <a:ext uri="{FF2B5EF4-FFF2-40B4-BE49-F238E27FC236}">
                  <a16:creationId xmlns:a16="http://schemas.microsoft.com/office/drawing/2014/main" id="{CBD30CAD-C424-B499-A738-9231C9EACE94}"/>
                </a:ext>
              </a:extLst>
            </p:cNvPr>
            <p:cNvSpPr txBox="1"/>
            <p:nvPr/>
          </p:nvSpPr>
          <p:spPr>
            <a:xfrm>
              <a:off x="10434162" y="2314167"/>
              <a:ext cx="1268911" cy="163820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43400"/>
                </a:lnSpc>
                <a:spcBef>
                  <a:spcPts val="10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a:t>
              </a:r>
              <a:r>
                <a:rPr kumimoji="0" lang="en-GB" sz="1200" b="0" i="0" u="none" strike="noStrike" kern="1200" cap="none" spc="-1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25"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hT</a:t>
              </a:r>
              <a:r>
                <a:rPr kumimoji="0" lang="en-GB" sz="1200" b="0" i="0" u="none" strike="noStrike" kern="1200" cap="none" spc="-25"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a:p>
              <a:pPr marL="12700" marR="5080" lvl="0" indent="0" algn="l" defTabSz="914400" rtl="0" eaLnBrk="1" fontAlgn="auto" latinLnBrk="0" hangingPunct="1">
                <a:lnSpc>
                  <a:spcPct val="143400"/>
                </a:lnSpc>
                <a:spcBef>
                  <a:spcPts val="10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scontinued</a:t>
              </a:r>
              <a:r>
                <a:rPr kumimoji="0" lang="en-GB" sz="1200" b="0" i="0" u="none" strike="noStrike" kern="1200" cap="none" spc="-6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25"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hT</a:t>
              </a:r>
              <a:endParaRPr kumimoji="0" lang="en-GB" sz="1200" b="0" i="0" u="none" strike="noStrike" kern="1200" cap="none" spc="-25"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2700" marR="5080" lvl="0" indent="0" algn="l" defTabSz="914400" rtl="0" eaLnBrk="1" fontAlgn="auto" latinLnBrk="0" hangingPunct="1">
                <a:lnSpc>
                  <a:spcPct val="143400"/>
                </a:lnSpc>
                <a:spcBef>
                  <a:spcPts val="100"/>
                </a:spcBef>
                <a:spcAft>
                  <a:spcPts val="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r>
                <a:rPr kumimoji="0" lang="en-GB" sz="1200" b="0" i="0" u="none" strike="noStrike" kern="1200" cap="none" spc="-35"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1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on19del</a:t>
              </a:r>
            </a:p>
            <a:p>
              <a:pPr marL="12700" marR="5080" lvl="0" indent="0" algn="l" defTabSz="914400" rtl="0" eaLnBrk="1" fontAlgn="auto" latinLnBrk="0" hangingPunct="1">
                <a:lnSpc>
                  <a:spcPct val="143400"/>
                </a:lnSpc>
                <a:spcBef>
                  <a:spcPts val="100"/>
                </a:spcBef>
                <a:spcAft>
                  <a:spcPts val="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r>
                <a:rPr kumimoji="0" lang="en-GB" sz="1200" b="0" i="1" u="none" strike="noStrike" kern="1200" cap="none" spc="-35"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1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858R</a:t>
              </a:r>
            </a:p>
            <a:p>
              <a:pPr marL="12700" marR="5080" lvl="0" indent="0" algn="l" defTabSz="914400" rtl="0" eaLnBrk="1" fontAlgn="auto" latinLnBrk="0" hangingPunct="1">
                <a:lnSpc>
                  <a:spcPct val="143400"/>
                </a:lnSpc>
                <a:spcBef>
                  <a:spcPts val="100"/>
                </a:spcBef>
                <a:spcAft>
                  <a:spcPts val="0"/>
                </a:spcAft>
                <a:buClrTx/>
                <a:buSzTx/>
                <a:buFontTx/>
                <a:buNone/>
                <a:tabLst/>
                <a:defRPr/>
              </a:pPr>
              <a:r>
                <a:rPr kumimoji="0" lang="en-GB" sz="1200" b="0" i="0" u="none" strike="noStrike" kern="1200" cap="none" spc="-1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e-existing</a:t>
              </a:r>
            </a:p>
            <a:p>
              <a:pPr marL="12700" marR="5080" lvl="0" indent="0" algn="l" defTabSz="914400" rtl="0" eaLnBrk="1" fontAlgn="auto" latinLnBrk="0" hangingPunct="1">
                <a:lnSpc>
                  <a:spcPct val="143400"/>
                </a:lnSpc>
                <a:spcBef>
                  <a:spcPts val="100"/>
                </a:spcBef>
                <a:spcAft>
                  <a:spcPts val="0"/>
                </a:spcAft>
                <a:buClrTx/>
                <a:buSzTx/>
                <a:buFontTx/>
                <a:buNone/>
                <a:tabLst/>
                <a:defRPr/>
              </a:pPr>
              <a:r>
                <a:rPr kumimoji="0" lang="en-GB" sz="1200" b="0" i="0" u="none" strike="noStrike" kern="1200" cap="none" spc="-1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quired</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object 127">
              <a:extLst>
                <a:ext uri="{FF2B5EF4-FFF2-40B4-BE49-F238E27FC236}">
                  <a16:creationId xmlns:a16="http://schemas.microsoft.com/office/drawing/2014/main" id="{567BA827-09F3-6B70-20ED-A8AD596E072F}"/>
                </a:ext>
              </a:extLst>
            </p:cNvPr>
            <p:cNvSpPr/>
            <p:nvPr/>
          </p:nvSpPr>
          <p:spPr>
            <a:xfrm>
              <a:off x="10327503" y="2375143"/>
              <a:ext cx="56515" cy="180340"/>
            </a:xfrm>
            <a:custGeom>
              <a:avLst/>
              <a:gdLst/>
              <a:ahLst/>
              <a:cxnLst/>
              <a:rect l="l" t="t" r="r" b="b"/>
              <a:pathLst>
                <a:path w="56514" h="180339">
                  <a:moveTo>
                    <a:pt x="56387" y="0"/>
                  </a:moveTo>
                  <a:lnTo>
                    <a:pt x="0" y="0"/>
                  </a:lnTo>
                  <a:lnTo>
                    <a:pt x="0" y="179832"/>
                  </a:lnTo>
                  <a:lnTo>
                    <a:pt x="56387" y="179832"/>
                  </a:lnTo>
                  <a:lnTo>
                    <a:pt x="56387" y="0"/>
                  </a:lnTo>
                  <a:close/>
                </a:path>
              </a:pathLst>
            </a:custGeom>
            <a:solidFill>
              <a:schemeClr val="accent1">
                <a:lumMod val="5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object 128">
              <a:extLst>
                <a:ext uri="{FF2B5EF4-FFF2-40B4-BE49-F238E27FC236}">
                  <a16:creationId xmlns:a16="http://schemas.microsoft.com/office/drawing/2014/main" id="{409952D3-4C58-FBEE-4E5F-2AF11BCD15B6}"/>
                </a:ext>
              </a:extLst>
            </p:cNvPr>
            <p:cNvSpPr/>
            <p:nvPr/>
          </p:nvSpPr>
          <p:spPr>
            <a:xfrm>
              <a:off x="10327503" y="2650956"/>
              <a:ext cx="56515" cy="181610"/>
            </a:xfrm>
            <a:custGeom>
              <a:avLst/>
              <a:gdLst/>
              <a:ahLst/>
              <a:cxnLst/>
              <a:rect l="l" t="t" r="r" b="b"/>
              <a:pathLst>
                <a:path w="56514" h="181610">
                  <a:moveTo>
                    <a:pt x="56387" y="0"/>
                  </a:moveTo>
                  <a:lnTo>
                    <a:pt x="0" y="0"/>
                  </a:lnTo>
                  <a:lnTo>
                    <a:pt x="0" y="181355"/>
                  </a:lnTo>
                  <a:lnTo>
                    <a:pt x="56387" y="181355"/>
                  </a:lnTo>
                  <a:lnTo>
                    <a:pt x="56387" y="0"/>
                  </a:lnTo>
                  <a:close/>
                </a:path>
              </a:pathLst>
            </a:custGeom>
            <a:solidFill>
              <a:srgbClr val="9DA7A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object 123">
              <a:extLst>
                <a:ext uri="{FF2B5EF4-FFF2-40B4-BE49-F238E27FC236}">
                  <a16:creationId xmlns:a16="http://schemas.microsoft.com/office/drawing/2014/main" id="{FF8C6DE5-D7EE-269B-A109-C0037CD69A73}"/>
                </a:ext>
              </a:extLst>
            </p:cNvPr>
            <p:cNvSpPr/>
            <p:nvPr/>
          </p:nvSpPr>
          <p:spPr>
            <a:xfrm>
              <a:off x="10327503" y="2928039"/>
              <a:ext cx="56515" cy="180340"/>
            </a:xfrm>
            <a:custGeom>
              <a:avLst/>
              <a:gdLst/>
              <a:ahLst/>
              <a:cxnLst/>
              <a:rect l="l" t="t" r="r" b="b"/>
              <a:pathLst>
                <a:path w="56514" h="180339">
                  <a:moveTo>
                    <a:pt x="56387" y="0"/>
                  </a:moveTo>
                  <a:lnTo>
                    <a:pt x="0" y="0"/>
                  </a:lnTo>
                  <a:lnTo>
                    <a:pt x="0" y="179832"/>
                  </a:lnTo>
                  <a:lnTo>
                    <a:pt x="56387" y="179832"/>
                  </a:lnTo>
                  <a:lnTo>
                    <a:pt x="56387" y="0"/>
                  </a:lnTo>
                  <a:close/>
                </a:path>
              </a:pathLst>
            </a:custGeom>
            <a:solidFill>
              <a:schemeClr val="accent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object 124">
              <a:extLst>
                <a:ext uri="{FF2B5EF4-FFF2-40B4-BE49-F238E27FC236}">
                  <a16:creationId xmlns:a16="http://schemas.microsoft.com/office/drawing/2014/main" id="{CFCAD987-86E8-DA7B-A4F1-E1AE6DD59C27}"/>
                </a:ext>
              </a:extLst>
            </p:cNvPr>
            <p:cNvSpPr/>
            <p:nvPr/>
          </p:nvSpPr>
          <p:spPr>
            <a:xfrm>
              <a:off x="10327503" y="3203852"/>
              <a:ext cx="56515" cy="180340"/>
            </a:xfrm>
            <a:custGeom>
              <a:avLst/>
              <a:gdLst/>
              <a:ahLst/>
              <a:cxnLst/>
              <a:rect l="l" t="t" r="r" b="b"/>
              <a:pathLst>
                <a:path w="56514" h="180339">
                  <a:moveTo>
                    <a:pt x="56387" y="0"/>
                  </a:moveTo>
                  <a:lnTo>
                    <a:pt x="0" y="0"/>
                  </a:lnTo>
                  <a:lnTo>
                    <a:pt x="0" y="179831"/>
                  </a:lnTo>
                  <a:lnTo>
                    <a:pt x="56387" y="179831"/>
                  </a:lnTo>
                  <a:lnTo>
                    <a:pt x="56387" y="0"/>
                  </a:lnTo>
                  <a:close/>
                </a:path>
              </a:pathLst>
            </a:custGeom>
            <a:solidFill>
              <a:schemeClr val="accent6">
                <a:lumMod val="60000"/>
                <a:lumOff val="4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object 131">
              <a:extLst>
                <a:ext uri="{FF2B5EF4-FFF2-40B4-BE49-F238E27FC236}">
                  <a16:creationId xmlns:a16="http://schemas.microsoft.com/office/drawing/2014/main" id="{DB415532-EAB0-D993-815D-51E5F943DEC7}"/>
                </a:ext>
              </a:extLst>
            </p:cNvPr>
            <p:cNvSpPr/>
            <p:nvPr/>
          </p:nvSpPr>
          <p:spPr>
            <a:xfrm>
              <a:off x="10327503" y="3479665"/>
              <a:ext cx="56515" cy="180340"/>
            </a:xfrm>
            <a:custGeom>
              <a:avLst/>
              <a:gdLst/>
              <a:ahLst/>
              <a:cxnLst/>
              <a:rect l="l" t="t" r="r" b="b"/>
              <a:pathLst>
                <a:path w="56515" h="180339">
                  <a:moveTo>
                    <a:pt x="56388" y="0"/>
                  </a:moveTo>
                  <a:lnTo>
                    <a:pt x="0" y="0"/>
                  </a:lnTo>
                  <a:lnTo>
                    <a:pt x="0" y="179832"/>
                  </a:lnTo>
                  <a:lnTo>
                    <a:pt x="56388" y="179832"/>
                  </a:lnTo>
                  <a:lnTo>
                    <a:pt x="56388" y="0"/>
                  </a:lnTo>
                  <a:close/>
                </a:path>
              </a:pathLst>
            </a:custGeom>
            <a:solidFill>
              <a:srgbClr val="69D0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object 132">
              <a:extLst>
                <a:ext uri="{FF2B5EF4-FFF2-40B4-BE49-F238E27FC236}">
                  <a16:creationId xmlns:a16="http://schemas.microsoft.com/office/drawing/2014/main" id="{2DD9CE1B-84AC-4693-9909-C03F8498B27C}"/>
                </a:ext>
              </a:extLst>
            </p:cNvPr>
            <p:cNvSpPr/>
            <p:nvPr/>
          </p:nvSpPr>
          <p:spPr>
            <a:xfrm>
              <a:off x="10327503" y="3755476"/>
              <a:ext cx="56515" cy="181610"/>
            </a:xfrm>
            <a:custGeom>
              <a:avLst/>
              <a:gdLst/>
              <a:ahLst/>
              <a:cxnLst/>
              <a:rect l="l" t="t" r="r" b="b"/>
              <a:pathLst>
                <a:path w="56515" h="181610">
                  <a:moveTo>
                    <a:pt x="56388" y="0"/>
                  </a:moveTo>
                  <a:lnTo>
                    <a:pt x="0" y="0"/>
                  </a:lnTo>
                  <a:lnTo>
                    <a:pt x="0" y="181355"/>
                  </a:lnTo>
                  <a:lnTo>
                    <a:pt x="56388" y="181355"/>
                  </a:lnTo>
                  <a:lnTo>
                    <a:pt x="56388" y="0"/>
                  </a:lnTo>
                  <a:close/>
                </a:path>
              </a:pathLst>
            </a:custGeom>
            <a:solidFill>
              <a:srgbClr val="0046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9" name="Rectangle: Rounded Corners 8">
            <a:extLst>
              <a:ext uri="{FF2B5EF4-FFF2-40B4-BE49-F238E27FC236}">
                <a16:creationId xmlns:a16="http://schemas.microsoft.com/office/drawing/2014/main" id="{B38B8605-52DF-AF62-9948-FEBB73A9EDD3}"/>
              </a:ext>
            </a:extLst>
          </p:cNvPr>
          <p:cNvSpPr/>
          <p:nvPr/>
        </p:nvSpPr>
        <p:spPr>
          <a:xfrm>
            <a:off x="10118785" y="203659"/>
            <a:ext cx="1551426"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LAURA2</a:t>
            </a:r>
          </a:p>
        </p:txBody>
      </p:sp>
      <p:grpSp>
        <p:nvGrpSpPr>
          <p:cNvPr id="29" name="Group 28">
            <a:extLst>
              <a:ext uri="{FF2B5EF4-FFF2-40B4-BE49-F238E27FC236}">
                <a16:creationId xmlns:a16="http://schemas.microsoft.com/office/drawing/2014/main" id="{658463D0-A788-6E76-109B-26AE708AA057}"/>
              </a:ext>
            </a:extLst>
          </p:cNvPr>
          <p:cNvGrpSpPr/>
          <p:nvPr/>
        </p:nvGrpSpPr>
        <p:grpSpPr>
          <a:xfrm>
            <a:off x="11442807" y="48345"/>
            <a:ext cx="645342" cy="645342"/>
            <a:chOff x="11442807" y="48345"/>
            <a:chExt cx="645342" cy="645342"/>
          </a:xfrm>
        </p:grpSpPr>
        <p:sp>
          <p:nvSpPr>
            <p:cNvPr id="30" name="Oval 29">
              <a:extLst>
                <a:ext uri="{FF2B5EF4-FFF2-40B4-BE49-F238E27FC236}">
                  <a16:creationId xmlns:a16="http://schemas.microsoft.com/office/drawing/2014/main" id="{0716F99B-C95D-86E1-DE88-BDBBC50811E3}"/>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31" name="Graphic 30" descr="Signal outline">
              <a:extLst>
                <a:ext uri="{FF2B5EF4-FFF2-40B4-BE49-F238E27FC236}">
                  <a16:creationId xmlns:a16="http://schemas.microsoft.com/office/drawing/2014/main" id="{6AD103C4-5406-B30B-6651-04BCDE0AE7A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1492045" y="96048"/>
              <a:ext cx="506740" cy="506740"/>
            </a:xfrm>
            <a:prstGeom prst="rect">
              <a:avLst/>
            </a:prstGeom>
          </p:spPr>
        </p:pic>
      </p:grpSp>
    </p:spTree>
    <p:extLst>
      <p:ext uri="{BB962C8B-B14F-4D97-AF65-F5344CB8AC3E}">
        <p14:creationId xmlns:p14="http://schemas.microsoft.com/office/powerpoint/2010/main" val="29950763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9A8C3-69CB-648B-0531-9D72BCB62897}"/>
            </a:ext>
          </a:extLst>
        </p:cNvPr>
        <p:cNvGrpSpPr/>
        <p:nvPr/>
      </p:nvGrpSpPr>
      <p:grpSpPr>
        <a:xfrm>
          <a:off x="0" y="0"/>
          <a:ext cx="0" cy="0"/>
          <a:chOff x="0" y="0"/>
          <a:chExt cx="0" cy="0"/>
        </a:xfrm>
      </p:grpSpPr>
      <p:sp>
        <p:nvSpPr>
          <p:cNvPr id="13" name="TextBox 12">
            <a:extLst>
              <a:ext uri="{FF2B5EF4-FFF2-40B4-BE49-F238E27FC236}">
                <a16:creationId xmlns:a16="http://schemas.microsoft.com/office/drawing/2014/main" id="{1BD3947D-9C72-DF0D-1E77-5A20C46BC3CD}"/>
              </a:ext>
            </a:extLst>
          </p:cNvPr>
          <p:cNvSpPr txBox="1"/>
          <p:nvPr/>
        </p:nvSpPr>
        <p:spPr>
          <a:xfrm>
            <a:off x="8079160" y="1394454"/>
            <a:ext cx="4112840" cy="4558076"/>
          </a:xfrm>
          <a:prstGeom prst="rect">
            <a:avLst/>
          </a:prstGeom>
          <a:gradFill>
            <a:gsLst>
              <a:gs pos="0">
                <a:schemeClr val="bg2">
                  <a:lumMod val="20000"/>
                  <a:lumOff val="80000"/>
                </a:schemeClr>
              </a:gs>
              <a:gs pos="100000">
                <a:srgbClr val="F6F5F4"/>
              </a:gs>
            </a:gsLst>
            <a:lin ang="0" scaled="1"/>
          </a:gradFill>
        </p:spPr>
        <p:txBody>
          <a:bodyPr wrap="square" lIns="324000" tIns="180000" rIns="108000" bIns="180000" anchor="ctr" anchorCtr="0">
            <a:noAutofit/>
          </a:bodyPr>
          <a:lstStyle/>
          <a:p>
            <a:pPr marL="225425" marR="0" lvl="0" indent="-225425" algn="l" defTabSz="914400" rtl="0" eaLnBrk="1" fontAlgn="auto" latinLnBrk="0" hangingPunct="1">
              <a:lnSpc>
                <a:spcPct val="100000"/>
              </a:lnSpc>
              <a:spcBef>
                <a:spcPts val="800"/>
              </a:spcBef>
              <a:spcAft>
                <a:spcPts val="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ince the primary analysis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t;2 years additional follow-up):</a:t>
            </a:r>
            <a:r>
              <a:rPr kumimoji="0" lang="en-GB" sz="15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2</a:t>
            </a:r>
          </a:p>
          <a:p>
            <a:pPr marL="682625" marR="0" lvl="1" indent="-225425" algn="l" defTabSz="914400" rtl="0" eaLnBrk="1" fontAlgn="auto" latinLnBrk="0" hangingPunct="1">
              <a:lnSpc>
                <a:spcPct val="100000"/>
              </a:lnSpc>
              <a:spcBef>
                <a:spcPts val="800"/>
              </a:spcBef>
              <a:spcAft>
                <a:spcPts val="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new safety signals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ere observed</a:t>
            </a:r>
          </a:p>
          <a:p>
            <a:pPr marL="682625" marR="0" lvl="1" indent="-225425" algn="l" defTabSz="914400" rtl="0" eaLnBrk="1" fontAlgn="auto" latinLnBrk="0" hangingPunct="1">
              <a:lnSpc>
                <a:spcPct val="100000"/>
              </a:lnSpc>
              <a:spcBef>
                <a:spcPts val="800"/>
              </a:spcBef>
              <a:spcAft>
                <a:spcPts val="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Es leading to discontinuation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f osimertinib remained low</a:t>
            </a:r>
          </a:p>
          <a:p>
            <a:pPr marL="682625" marR="0" lvl="1" indent="-225425" algn="l" defTabSz="914400" rtl="0" eaLnBrk="1" fontAlgn="auto" latinLnBrk="0" hangingPunct="1">
              <a:lnSpc>
                <a:spcPct val="100000"/>
              </a:lnSpc>
              <a:spcBef>
                <a:spcPts val="800"/>
              </a:spcBef>
              <a:spcAft>
                <a:spcPts val="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new treatment-related deaths were observed with osimertinib + ChT (vs 1 with osimertinib monotherapy)</a:t>
            </a:r>
          </a:p>
          <a:p>
            <a:pPr marL="225425" marR="0" lvl="0" indent="-225425" algn="l" defTabSz="914400" rtl="0" eaLnBrk="1" fontAlgn="auto" latinLnBrk="0" hangingPunct="1">
              <a:lnSpc>
                <a:spcPct val="100000"/>
              </a:lnSpc>
              <a:spcBef>
                <a:spcPts val="800"/>
              </a:spcBef>
              <a:spcAft>
                <a:spcPts val="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rade ≥3 AEs were reported in 70% of patients in the osimertinib + ChT group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s 34% in the osimertinib group</a:t>
            </a:r>
            <a:r>
              <a:rPr kumimoji="0" lang="en-GB" sz="15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p>
          <a:p>
            <a:pPr marL="225425" marR="0" lvl="0" indent="-225425" algn="l" defTabSz="914400" rtl="0" eaLnBrk="1" fontAlgn="auto" latinLnBrk="0" hangingPunct="1">
              <a:lnSpc>
                <a:spcPct val="100000"/>
              </a:lnSpc>
              <a:spcBef>
                <a:spcPts val="800"/>
              </a:spcBef>
              <a:spcAft>
                <a:spcPts val="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ematological AEs</a:t>
            </a:r>
            <a:r>
              <a:rPr kumimoji="0" lang="en-GB" sz="15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ere reported in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1% of patients in the osimertinib + ChT group vs 24% in the osimertinib group</a:t>
            </a:r>
            <a:r>
              <a:rPr kumimoji="0" lang="en-GB" sz="15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10" name="Rectangle 9">
            <a:extLst>
              <a:ext uri="{FF2B5EF4-FFF2-40B4-BE49-F238E27FC236}">
                <a16:creationId xmlns:a16="http://schemas.microsoft.com/office/drawing/2014/main" id="{7673A6B3-E8CC-E457-F0B8-55611E15D5F9}"/>
              </a:ext>
            </a:extLst>
          </p:cNvPr>
          <p:cNvSpPr/>
          <p:nvPr/>
        </p:nvSpPr>
        <p:spPr>
          <a:xfrm>
            <a:off x="441511" y="1080722"/>
            <a:ext cx="7853008" cy="5205778"/>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BBA5D904-A051-0823-B922-DEC391A73674}"/>
              </a:ext>
            </a:extLst>
          </p:cNvPr>
          <p:cNvSpPr txBox="1"/>
          <p:nvPr/>
        </p:nvSpPr>
        <p:spPr>
          <a:xfrm>
            <a:off x="442799" y="1066058"/>
            <a:ext cx="7853008" cy="355276"/>
          </a:xfrm>
          <a:prstGeom prst="rect">
            <a:avLst/>
          </a:prstGeom>
          <a:gradFill>
            <a:gsLst>
              <a:gs pos="0">
                <a:schemeClr val="accent6"/>
              </a:gs>
              <a:gs pos="100000">
                <a:schemeClr val="accent6"/>
              </a:gs>
              <a:gs pos="93000">
                <a:schemeClr val="accent4"/>
              </a:gs>
              <a:gs pos="7000">
                <a:schemeClr val="accent4"/>
              </a:gs>
            </a:gsLst>
            <a:lin ang="0" scaled="1"/>
          </a:gradFill>
        </p:spPr>
        <p:txBody>
          <a:bodyPr wrap="square" lIns="108000" tIns="54000" rIns="108000" bIns="54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st common AEs </a:t>
            </a: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0%)</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a:t>
            </a:r>
          </a:p>
        </p:txBody>
      </p:sp>
      <p:graphicFrame>
        <p:nvGraphicFramePr>
          <p:cNvPr id="55" name="Chart 54">
            <a:extLst>
              <a:ext uri="{FF2B5EF4-FFF2-40B4-BE49-F238E27FC236}">
                <a16:creationId xmlns:a16="http://schemas.microsoft.com/office/drawing/2014/main" id="{C7262CD4-7012-E98A-2AF1-D984D87780E1}"/>
              </a:ext>
            </a:extLst>
          </p:cNvPr>
          <p:cNvGraphicFramePr>
            <a:graphicFrameLocks/>
          </p:cNvGraphicFramePr>
          <p:nvPr/>
        </p:nvGraphicFramePr>
        <p:xfrm>
          <a:off x="2264902" y="1760014"/>
          <a:ext cx="6203471" cy="4356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6" name="Chart 55">
            <a:extLst>
              <a:ext uri="{FF2B5EF4-FFF2-40B4-BE49-F238E27FC236}">
                <a16:creationId xmlns:a16="http://schemas.microsoft.com/office/drawing/2014/main" id="{4A87540F-BA07-EC48-0C3E-122A4E965A4B}"/>
              </a:ext>
            </a:extLst>
          </p:cNvPr>
          <p:cNvGraphicFramePr>
            <a:graphicFrameLocks/>
          </p:cNvGraphicFramePr>
          <p:nvPr/>
        </p:nvGraphicFramePr>
        <p:xfrm>
          <a:off x="-1399137" y="1770022"/>
          <a:ext cx="6223316" cy="43488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E3F5CF3D-B287-EC63-AAFC-6A3DD3A62FC3}"/>
              </a:ext>
            </a:extLst>
          </p:cNvPr>
          <p:cNvSpPr>
            <a:spLocks noGrp="1"/>
          </p:cNvSpPr>
          <p:nvPr>
            <p:ph type="title"/>
          </p:nvPr>
        </p:nvSpPr>
        <p:spPr/>
        <p:txBody>
          <a:bodyPr/>
          <a:lstStyle/>
          <a:p>
            <a:r>
              <a:rPr lang="en-GB" dirty="0"/>
              <a:t>Osimertinib + ChT: Safety profile</a:t>
            </a:r>
          </a:p>
        </p:txBody>
      </p:sp>
      <p:sp>
        <p:nvSpPr>
          <p:cNvPr id="5" name="Text Placeholder 4">
            <a:extLst>
              <a:ext uri="{FF2B5EF4-FFF2-40B4-BE49-F238E27FC236}">
                <a16:creationId xmlns:a16="http://schemas.microsoft.com/office/drawing/2014/main" id="{F251CB3A-75DC-2D73-4F39-2F8BF9D8EC24}"/>
              </a:ext>
            </a:extLst>
          </p:cNvPr>
          <p:cNvSpPr>
            <a:spLocks noGrp="1"/>
          </p:cNvSpPr>
          <p:nvPr>
            <p:ph type="body" sz="quarter" idx="15"/>
          </p:nvPr>
        </p:nvSpPr>
        <p:spPr/>
        <p:txBody>
          <a:bodyPr/>
          <a:lstStyle/>
          <a:p>
            <a:r>
              <a:rPr lang="en-GB" dirty="0"/>
              <a:t>1. Planchard D, et al. Presented at WCLC 2025: PL02.06; 2. Planchard D, et al. </a:t>
            </a:r>
            <a:r>
              <a:rPr lang="en-GB" i="1" dirty="0"/>
              <a:t>N Engl J Med</a:t>
            </a:r>
            <a:r>
              <a:rPr lang="en-GB" dirty="0"/>
              <a:t>. 2023;389:1935–48.</a:t>
            </a:r>
          </a:p>
        </p:txBody>
      </p:sp>
      <p:grpSp>
        <p:nvGrpSpPr>
          <p:cNvPr id="19" name="Group 18">
            <a:extLst>
              <a:ext uri="{FF2B5EF4-FFF2-40B4-BE49-F238E27FC236}">
                <a16:creationId xmlns:a16="http://schemas.microsoft.com/office/drawing/2014/main" id="{980CA6ED-1987-C56A-1206-01C1E3846589}"/>
              </a:ext>
            </a:extLst>
          </p:cNvPr>
          <p:cNvGrpSpPr/>
          <p:nvPr/>
        </p:nvGrpSpPr>
        <p:grpSpPr>
          <a:xfrm>
            <a:off x="2407760" y="1625205"/>
            <a:ext cx="4422173" cy="223332"/>
            <a:chOff x="2583010" y="1570373"/>
            <a:chExt cx="3828746" cy="223332"/>
          </a:xfrm>
        </p:grpSpPr>
        <p:sp>
          <p:nvSpPr>
            <p:cNvPr id="14" name="Rectangle 13">
              <a:extLst>
                <a:ext uri="{FF2B5EF4-FFF2-40B4-BE49-F238E27FC236}">
                  <a16:creationId xmlns:a16="http://schemas.microsoft.com/office/drawing/2014/main" id="{21AF5822-068D-BAE8-60C9-175BBA8B53B4}"/>
                </a:ext>
              </a:extLst>
            </p:cNvPr>
            <p:cNvSpPr/>
            <p:nvPr/>
          </p:nvSpPr>
          <p:spPr>
            <a:xfrm>
              <a:off x="2583010" y="1570373"/>
              <a:ext cx="1905692" cy="223332"/>
            </a:xfrm>
            <a:prstGeom prst="rect">
              <a:avLst/>
            </a:prstGeom>
            <a:solidFill>
              <a:schemeClr val="accent4"/>
            </a:solidFill>
            <a:ln w="25400" cap="flat" cmpd="sng" algn="ctr">
              <a:noFill/>
              <a:prstDash val="solid"/>
            </a:ln>
            <a:effectLst/>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ヒラギノ角ゴ ProN W3"/>
                  <a:cs typeface="Arial" panose="020B0604020202020204" pitchFamily="34" charset="0"/>
                </a:rPr>
                <a:t>Osimertinib + ChT</a:t>
              </a:r>
              <a:endParaRPr kumimoji="0" lang="en-GB" sz="1000" b="0" i="0" u="none" strike="noStrike" kern="0" cap="none" spc="0" normalizeH="0" baseline="30000" noProof="0" dirty="0">
                <a:ln>
                  <a:noFill/>
                </a:ln>
                <a:solidFill>
                  <a:srgbClr val="FFFFFF"/>
                </a:solidFill>
                <a:effectLst/>
                <a:uLnTx/>
                <a:uFillTx/>
                <a:latin typeface="Arial" panose="020B0604020202020204" pitchFamily="34" charset="0"/>
                <a:ea typeface="ヒラギノ角ゴ ProN W3"/>
                <a:cs typeface="Arial" panose="020B0604020202020204" pitchFamily="34" charset="0"/>
              </a:endParaRPr>
            </a:p>
          </p:txBody>
        </p:sp>
        <p:sp>
          <p:nvSpPr>
            <p:cNvPr id="15" name="Rectangle 14">
              <a:extLst>
                <a:ext uri="{FF2B5EF4-FFF2-40B4-BE49-F238E27FC236}">
                  <a16:creationId xmlns:a16="http://schemas.microsoft.com/office/drawing/2014/main" id="{C247A7C5-048B-71BA-F311-3ADB49C75F0D}"/>
                </a:ext>
              </a:extLst>
            </p:cNvPr>
            <p:cNvSpPr/>
            <p:nvPr/>
          </p:nvSpPr>
          <p:spPr>
            <a:xfrm>
              <a:off x="4506067" y="1570373"/>
              <a:ext cx="1905689" cy="223332"/>
            </a:xfrm>
            <a:prstGeom prst="rect">
              <a:avLst/>
            </a:prstGeom>
            <a:solidFill>
              <a:schemeClr val="accent6"/>
            </a:solidFill>
            <a:ln w="25400" cap="flat" cmpd="sng" algn="ctr">
              <a:noFill/>
              <a:prstDash val="solid"/>
            </a:ln>
            <a:effectLst/>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pitchFamily="34" charset="0"/>
                  <a:ea typeface="ヒラギノ角ゴ ProN W3"/>
                  <a:cs typeface="Arial" panose="020B0604020202020204" pitchFamily="34" charset="0"/>
                </a:rPr>
                <a:t>Osimertinib </a:t>
              </a:r>
              <a:endParaRPr kumimoji="0" lang="en-GB" sz="1000" b="1" i="0" u="none" strike="noStrike" kern="0" cap="none" spc="0" normalizeH="0" baseline="30000" noProof="0">
                <a:ln>
                  <a:noFill/>
                </a:ln>
                <a:solidFill>
                  <a:srgbClr val="FFFFFF"/>
                </a:solidFill>
                <a:effectLst/>
                <a:uLnTx/>
                <a:uFillTx/>
                <a:latin typeface="Arial" panose="020B0604020202020204" pitchFamily="34" charset="0"/>
                <a:ea typeface="ヒラギノ角ゴ ProN W3"/>
                <a:cs typeface="Arial" panose="020B0604020202020204" pitchFamily="34" charset="0"/>
              </a:endParaRPr>
            </a:p>
          </p:txBody>
        </p:sp>
      </p:grpSp>
      <p:grpSp>
        <p:nvGrpSpPr>
          <p:cNvPr id="57" name="Group 56">
            <a:extLst>
              <a:ext uri="{FF2B5EF4-FFF2-40B4-BE49-F238E27FC236}">
                <a16:creationId xmlns:a16="http://schemas.microsoft.com/office/drawing/2014/main" id="{5F4B6AB7-F4F3-4155-9FB0-C872DA90AC85}"/>
              </a:ext>
            </a:extLst>
          </p:cNvPr>
          <p:cNvGrpSpPr/>
          <p:nvPr/>
        </p:nvGrpSpPr>
        <p:grpSpPr>
          <a:xfrm>
            <a:off x="5855755" y="5147968"/>
            <a:ext cx="904969" cy="453556"/>
            <a:chOff x="5903658" y="5970381"/>
            <a:chExt cx="904969" cy="453556"/>
          </a:xfrm>
        </p:grpSpPr>
        <p:sp>
          <p:nvSpPr>
            <p:cNvPr id="58" name="TextBox 57">
              <a:extLst>
                <a:ext uri="{FF2B5EF4-FFF2-40B4-BE49-F238E27FC236}">
                  <a16:creationId xmlns:a16="http://schemas.microsoft.com/office/drawing/2014/main" id="{205E7AFD-A28F-9CD8-7C3D-276BAB12D822}"/>
                </a:ext>
              </a:extLst>
            </p:cNvPr>
            <p:cNvSpPr txBox="1"/>
            <p:nvPr/>
          </p:nvSpPr>
          <p:spPr>
            <a:xfrm>
              <a:off x="6008408" y="5970381"/>
              <a:ext cx="800219" cy="246221"/>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Grade 1–2</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sp>
          <p:nvSpPr>
            <p:cNvPr id="59" name="Rectangle 58">
              <a:extLst>
                <a:ext uri="{FF2B5EF4-FFF2-40B4-BE49-F238E27FC236}">
                  <a16:creationId xmlns:a16="http://schemas.microsoft.com/office/drawing/2014/main" id="{231DAB92-5F84-EB69-3DBA-6EE6DE0BDAAE}"/>
                </a:ext>
              </a:extLst>
            </p:cNvPr>
            <p:cNvSpPr/>
            <p:nvPr/>
          </p:nvSpPr>
          <p:spPr>
            <a:xfrm>
              <a:off x="5903658" y="6041078"/>
              <a:ext cx="124438" cy="108000"/>
            </a:xfrm>
            <a:prstGeom prst="rect">
              <a:avLst/>
            </a:prstGeom>
            <a:solidFill>
              <a:srgbClr val="9E4CDC"/>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sp>
          <p:nvSpPr>
            <p:cNvPr id="60" name="TextBox 59">
              <a:extLst>
                <a:ext uri="{FF2B5EF4-FFF2-40B4-BE49-F238E27FC236}">
                  <a16:creationId xmlns:a16="http://schemas.microsoft.com/office/drawing/2014/main" id="{32032814-9006-F314-D489-B58EAA9DB1AA}"/>
                </a:ext>
              </a:extLst>
            </p:cNvPr>
            <p:cNvSpPr txBox="1"/>
            <p:nvPr/>
          </p:nvSpPr>
          <p:spPr>
            <a:xfrm>
              <a:off x="6008408" y="6177716"/>
              <a:ext cx="655949" cy="246221"/>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Grade 3</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sp>
          <p:nvSpPr>
            <p:cNvPr id="61" name="Rectangle 60">
              <a:extLst>
                <a:ext uri="{FF2B5EF4-FFF2-40B4-BE49-F238E27FC236}">
                  <a16:creationId xmlns:a16="http://schemas.microsoft.com/office/drawing/2014/main" id="{BCA789D2-8149-C1F2-4CDE-F5ED867DAB66}"/>
                </a:ext>
              </a:extLst>
            </p:cNvPr>
            <p:cNvSpPr/>
            <p:nvPr/>
          </p:nvSpPr>
          <p:spPr>
            <a:xfrm>
              <a:off x="5903658" y="6248413"/>
              <a:ext cx="124438" cy="108000"/>
            </a:xfrm>
            <a:prstGeom prst="rect">
              <a:avLst/>
            </a:prstGeom>
            <a:solidFill>
              <a:srgbClr val="541980"/>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grpSp>
      <p:grpSp>
        <p:nvGrpSpPr>
          <p:cNvPr id="62" name="Group 61">
            <a:extLst>
              <a:ext uri="{FF2B5EF4-FFF2-40B4-BE49-F238E27FC236}">
                <a16:creationId xmlns:a16="http://schemas.microsoft.com/office/drawing/2014/main" id="{F3A98E21-D24D-1284-3838-3F5D93640D0C}"/>
              </a:ext>
            </a:extLst>
          </p:cNvPr>
          <p:cNvGrpSpPr/>
          <p:nvPr/>
        </p:nvGrpSpPr>
        <p:grpSpPr>
          <a:xfrm>
            <a:off x="2412522" y="5658508"/>
            <a:ext cx="4428000" cy="72000"/>
            <a:chOff x="2894274" y="5619975"/>
            <a:chExt cx="4428000" cy="72000"/>
          </a:xfrm>
        </p:grpSpPr>
        <p:cxnSp>
          <p:nvCxnSpPr>
            <p:cNvPr id="63" name="Straight Connector 62">
              <a:extLst>
                <a:ext uri="{FF2B5EF4-FFF2-40B4-BE49-F238E27FC236}">
                  <a16:creationId xmlns:a16="http://schemas.microsoft.com/office/drawing/2014/main" id="{AB39BB06-56DD-B8FF-DF4B-A079A6FE8BAA}"/>
                </a:ext>
              </a:extLst>
            </p:cNvPr>
            <p:cNvCxnSpPr>
              <a:cxnSpLocks/>
            </p:cNvCxnSpPr>
            <p:nvPr/>
          </p:nvCxnSpPr>
          <p:spPr>
            <a:xfrm>
              <a:off x="2894274" y="5622599"/>
              <a:ext cx="4428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9D58C1B2-0520-E868-C406-BA68CD916652}"/>
                </a:ext>
              </a:extLst>
            </p:cNvPr>
            <p:cNvGrpSpPr/>
            <p:nvPr/>
          </p:nvGrpSpPr>
          <p:grpSpPr>
            <a:xfrm>
              <a:off x="2897805" y="5619975"/>
              <a:ext cx="4420938" cy="72000"/>
              <a:chOff x="2894274" y="5619975"/>
              <a:chExt cx="4420938" cy="72000"/>
            </a:xfrm>
          </p:grpSpPr>
          <p:cxnSp>
            <p:nvCxnSpPr>
              <p:cNvPr id="65" name="Straight Connector 64">
                <a:extLst>
                  <a:ext uri="{FF2B5EF4-FFF2-40B4-BE49-F238E27FC236}">
                    <a16:creationId xmlns:a16="http://schemas.microsoft.com/office/drawing/2014/main" id="{79B4482D-7DD1-2921-8AFC-2F474A68E762}"/>
                  </a:ext>
                </a:extLst>
              </p:cNvPr>
              <p:cNvCxnSpPr>
                <a:cxnSpLocks/>
              </p:cNvCxnSpPr>
              <p:nvPr/>
            </p:nvCxnSpPr>
            <p:spPr>
              <a:xfrm>
                <a:off x="2894274" y="5619975"/>
                <a:ext cx="0" cy="72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3784AD1-1E4B-46BE-8279-43B3A9C8B2B9}"/>
                  </a:ext>
                </a:extLst>
              </p:cNvPr>
              <p:cNvCxnSpPr>
                <a:cxnSpLocks/>
              </p:cNvCxnSpPr>
              <p:nvPr/>
            </p:nvCxnSpPr>
            <p:spPr>
              <a:xfrm>
                <a:off x="3643329" y="5619975"/>
                <a:ext cx="0" cy="72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3171BF6-6AE0-20AA-A097-9C131BD5E46E}"/>
                  </a:ext>
                </a:extLst>
              </p:cNvPr>
              <p:cNvCxnSpPr>
                <a:cxnSpLocks/>
              </p:cNvCxnSpPr>
              <p:nvPr/>
            </p:nvCxnSpPr>
            <p:spPr>
              <a:xfrm>
                <a:off x="4371201" y="5619975"/>
                <a:ext cx="0" cy="72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912C0C4-A278-DA1F-2760-8CE2F9F7BE91}"/>
                  </a:ext>
                </a:extLst>
              </p:cNvPr>
              <p:cNvCxnSpPr>
                <a:cxnSpLocks/>
              </p:cNvCxnSpPr>
              <p:nvPr/>
            </p:nvCxnSpPr>
            <p:spPr>
              <a:xfrm>
                <a:off x="5093627" y="5619975"/>
                <a:ext cx="0" cy="72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1BAC71D-B24D-4ED7-D00A-1FC98BA2B820}"/>
                  </a:ext>
                </a:extLst>
              </p:cNvPr>
              <p:cNvCxnSpPr>
                <a:cxnSpLocks/>
              </p:cNvCxnSpPr>
              <p:nvPr/>
            </p:nvCxnSpPr>
            <p:spPr>
              <a:xfrm>
                <a:off x="5845063" y="5619975"/>
                <a:ext cx="0" cy="72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CC28CF0-28FF-3E05-D848-FFFE97589440}"/>
                  </a:ext>
                </a:extLst>
              </p:cNvPr>
              <p:cNvCxnSpPr>
                <a:cxnSpLocks/>
              </p:cNvCxnSpPr>
              <p:nvPr/>
            </p:nvCxnSpPr>
            <p:spPr>
              <a:xfrm>
                <a:off x="6579996" y="5619975"/>
                <a:ext cx="0" cy="72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5A8CA03-F928-8217-33DA-2C319BBECFF9}"/>
                  </a:ext>
                </a:extLst>
              </p:cNvPr>
              <p:cNvCxnSpPr>
                <a:cxnSpLocks/>
              </p:cNvCxnSpPr>
              <p:nvPr/>
            </p:nvCxnSpPr>
            <p:spPr>
              <a:xfrm>
                <a:off x="7315212" y="5619975"/>
                <a:ext cx="0" cy="72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2" name="Group 71">
            <a:extLst>
              <a:ext uri="{FF2B5EF4-FFF2-40B4-BE49-F238E27FC236}">
                <a16:creationId xmlns:a16="http://schemas.microsoft.com/office/drawing/2014/main" id="{AA766C0B-4C58-0104-EE37-10AC18DE6019}"/>
              </a:ext>
            </a:extLst>
          </p:cNvPr>
          <p:cNvGrpSpPr/>
          <p:nvPr/>
        </p:nvGrpSpPr>
        <p:grpSpPr>
          <a:xfrm>
            <a:off x="2272471" y="5702839"/>
            <a:ext cx="4709268" cy="216000"/>
            <a:chOff x="2753283" y="5637056"/>
            <a:chExt cx="4709268" cy="216000"/>
          </a:xfrm>
        </p:grpSpPr>
        <p:sp>
          <p:nvSpPr>
            <p:cNvPr id="73" name="TextBox 72">
              <a:extLst>
                <a:ext uri="{FF2B5EF4-FFF2-40B4-BE49-F238E27FC236}">
                  <a16:creationId xmlns:a16="http://schemas.microsoft.com/office/drawing/2014/main" id="{CFD68D29-2F60-B604-7825-7E2968E12F0D}"/>
                </a:ext>
              </a:extLst>
            </p:cNvPr>
            <p:cNvSpPr txBox="1"/>
            <p:nvPr/>
          </p:nvSpPr>
          <p:spPr>
            <a:xfrm>
              <a:off x="2753283" y="5637056"/>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p>
          </p:txBody>
        </p:sp>
        <p:sp>
          <p:nvSpPr>
            <p:cNvPr id="74" name="TextBox 73">
              <a:extLst>
                <a:ext uri="{FF2B5EF4-FFF2-40B4-BE49-F238E27FC236}">
                  <a16:creationId xmlns:a16="http://schemas.microsoft.com/office/drawing/2014/main" id="{CB75E60F-BE51-8C97-B3A7-D72BA98A85B3}"/>
                </a:ext>
              </a:extLst>
            </p:cNvPr>
            <p:cNvSpPr txBox="1"/>
            <p:nvPr/>
          </p:nvSpPr>
          <p:spPr>
            <a:xfrm>
              <a:off x="3490161" y="5637056"/>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p>
          </p:txBody>
        </p:sp>
        <p:sp>
          <p:nvSpPr>
            <p:cNvPr id="75" name="TextBox 74">
              <a:extLst>
                <a:ext uri="{FF2B5EF4-FFF2-40B4-BE49-F238E27FC236}">
                  <a16:creationId xmlns:a16="http://schemas.microsoft.com/office/drawing/2014/main" id="{4489AAE5-320D-13D5-D011-D7B05477CE44}"/>
                </a:ext>
              </a:extLst>
            </p:cNvPr>
            <p:cNvSpPr txBox="1"/>
            <p:nvPr/>
          </p:nvSpPr>
          <p:spPr>
            <a:xfrm>
              <a:off x="4227039" y="5637056"/>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76" name="TextBox 75">
              <a:extLst>
                <a:ext uri="{FF2B5EF4-FFF2-40B4-BE49-F238E27FC236}">
                  <a16:creationId xmlns:a16="http://schemas.microsoft.com/office/drawing/2014/main" id="{A88DD4D6-682A-21AA-B676-48738FCA510A}"/>
                </a:ext>
              </a:extLst>
            </p:cNvPr>
            <p:cNvSpPr txBox="1"/>
            <p:nvPr/>
          </p:nvSpPr>
          <p:spPr>
            <a:xfrm>
              <a:off x="4954393" y="5637056"/>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77" name="TextBox 76">
              <a:extLst>
                <a:ext uri="{FF2B5EF4-FFF2-40B4-BE49-F238E27FC236}">
                  <a16:creationId xmlns:a16="http://schemas.microsoft.com/office/drawing/2014/main" id="{1934B787-689C-4F29-CFCE-38EF34B60A1D}"/>
                </a:ext>
              </a:extLst>
            </p:cNvPr>
            <p:cNvSpPr txBox="1"/>
            <p:nvPr/>
          </p:nvSpPr>
          <p:spPr>
            <a:xfrm>
              <a:off x="5700795" y="5637056"/>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78" name="TextBox 77">
              <a:extLst>
                <a:ext uri="{FF2B5EF4-FFF2-40B4-BE49-F238E27FC236}">
                  <a16:creationId xmlns:a16="http://schemas.microsoft.com/office/drawing/2014/main" id="{54CED50A-2C6A-AC9A-9170-B2C9EAA8647D}"/>
                </a:ext>
              </a:extLst>
            </p:cNvPr>
            <p:cNvSpPr txBox="1"/>
            <p:nvPr/>
          </p:nvSpPr>
          <p:spPr>
            <a:xfrm>
              <a:off x="6437673" y="5637056"/>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p>
          </p:txBody>
        </p:sp>
        <p:sp>
          <p:nvSpPr>
            <p:cNvPr id="79" name="TextBox 78">
              <a:extLst>
                <a:ext uri="{FF2B5EF4-FFF2-40B4-BE49-F238E27FC236}">
                  <a16:creationId xmlns:a16="http://schemas.microsoft.com/office/drawing/2014/main" id="{6A7FEA03-EC1E-71FA-C47C-F70411F3E07F}"/>
                </a:ext>
              </a:extLst>
            </p:cNvPr>
            <p:cNvSpPr txBox="1"/>
            <p:nvPr/>
          </p:nvSpPr>
          <p:spPr>
            <a:xfrm>
              <a:off x="7174551" y="5637056"/>
              <a:ext cx="288000"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p>
          </p:txBody>
        </p:sp>
      </p:grpSp>
      <p:sp>
        <p:nvSpPr>
          <p:cNvPr id="80" name="TextBox 79">
            <a:extLst>
              <a:ext uri="{FF2B5EF4-FFF2-40B4-BE49-F238E27FC236}">
                <a16:creationId xmlns:a16="http://schemas.microsoft.com/office/drawing/2014/main" id="{B4003DDF-889A-1AC5-A8CF-F863A482FB62}"/>
              </a:ext>
            </a:extLst>
          </p:cNvPr>
          <p:cNvSpPr txBox="1"/>
          <p:nvPr/>
        </p:nvSpPr>
        <p:spPr>
          <a:xfrm>
            <a:off x="254744" y="1945706"/>
            <a:ext cx="2065529" cy="3709613"/>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aemia</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arrhoea</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usea</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creased appetite</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stipation</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ash</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atigue</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omiting</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VID-19</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omatitis</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onychia</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utropenia</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utrophil count decrease</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T increase </a:t>
            </a:r>
          </a:p>
          <a:p>
            <a:pPr marL="0" marR="0" lvl="0" indent="0" algn="r" defTabSz="914400" rtl="0" eaLnBrk="1" fontAlgn="auto" latinLnBrk="0" hangingPunct="1">
              <a:lnSpc>
                <a:spcPct val="100000"/>
              </a:lnSpc>
              <a:spcBef>
                <a:spcPts val="0"/>
              </a:spcBef>
              <a:spcAft>
                <a:spcPts val="525"/>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ry skin</a:t>
            </a:r>
          </a:p>
        </p:txBody>
      </p:sp>
      <p:sp>
        <p:nvSpPr>
          <p:cNvPr id="81" name="TextBox 80">
            <a:extLst>
              <a:ext uri="{FF2B5EF4-FFF2-40B4-BE49-F238E27FC236}">
                <a16:creationId xmlns:a16="http://schemas.microsoft.com/office/drawing/2014/main" id="{3F708EDC-DDF3-A3B7-4C12-E95E47396B88}"/>
              </a:ext>
            </a:extLst>
          </p:cNvPr>
          <p:cNvSpPr txBox="1"/>
          <p:nvPr/>
        </p:nvSpPr>
        <p:spPr>
          <a:xfrm>
            <a:off x="3400508" y="5941495"/>
            <a:ext cx="2422978" cy="216000"/>
          </a:xfrm>
          <a:prstGeom prst="rect">
            <a:avLst/>
          </a:prstGeom>
          <a:no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tients with AEs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grpSp>
        <p:nvGrpSpPr>
          <p:cNvPr id="82" name="Group 81">
            <a:extLst>
              <a:ext uri="{FF2B5EF4-FFF2-40B4-BE49-F238E27FC236}">
                <a16:creationId xmlns:a16="http://schemas.microsoft.com/office/drawing/2014/main" id="{90888134-E683-F213-2B08-9870C980FF5D}"/>
              </a:ext>
            </a:extLst>
          </p:cNvPr>
          <p:cNvGrpSpPr/>
          <p:nvPr/>
        </p:nvGrpSpPr>
        <p:grpSpPr>
          <a:xfrm>
            <a:off x="2490020" y="4950533"/>
            <a:ext cx="892244" cy="656841"/>
            <a:chOff x="2795886" y="4059548"/>
            <a:chExt cx="892244" cy="656841"/>
          </a:xfrm>
        </p:grpSpPr>
        <p:sp>
          <p:nvSpPr>
            <p:cNvPr id="83" name="TextBox 82">
              <a:extLst>
                <a:ext uri="{FF2B5EF4-FFF2-40B4-BE49-F238E27FC236}">
                  <a16:creationId xmlns:a16="http://schemas.microsoft.com/office/drawing/2014/main" id="{9FE13706-56AA-19C5-6389-1991EEABA431}"/>
                </a:ext>
              </a:extLst>
            </p:cNvPr>
            <p:cNvSpPr txBox="1"/>
            <p:nvPr/>
          </p:nvSpPr>
          <p:spPr>
            <a:xfrm>
              <a:off x="2889199" y="4262833"/>
              <a:ext cx="655949" cy="246221"/>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Grade 3</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sp>
          <p:nvSpPr>
            <p:cNvPr id="84" name="TextBox 83">
              <a:extLst>
                <a:ext uri="{FF2B5EF4-FFF2-40B4-BE49-F238E27FC236}">
                  <a16:creationId xmlns:a16="http://schemas.microsoft.com/office/drawing/2014/main" id="{38336208-0A56-F0F1-A069-ADB077DCA141}"/>
                </a:ext>
              </a:extLst>
            </p:cNvPr>
            <p:cNvSpPr txBox="1"/>
            <p:nvPr/>
          </p:nvSpPr>
          <p:spPr>
            <a:xfrm>
              <a:off x="2889199" y="4470168"/>
              <a:ext cx="660758" cy="246221"/>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Grade 4</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sp>
          <p:nvSpPr>
            <p:cNvPr id="85" name="Rectangle 84">
              <a:extLst>
                <a:ext uri="{FF2B5EF4-FFF2-40B4-BE49-F238E27FC236}">
                  <a16:creationId xmlns:a16="http://schemas.microsoft.com/office/drawing/2014/main" id="{27BCB143-B216-5432-E80E-02C8860B5F55}"/>
                </a:ext>
              </a:extLst>
            </p:cNvPr>
            <p:cNvSpPr/>
            <p:nvPr/>
          </p:nvSpPr>
          <p:spPr>
            <a:xfrm>
              <a:off x="2795886" y="4325594"/>
              <a:ext cx="124438" cy="108000"/>
            </a:xfrm>
            <a:prstGeom prst="rect">
              <a:avLst/>
            </a:prstGeom>
            <a:solidFill>
              <a:schemeClr val="accent4"/>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sp>
          <p:nvSpPr>
            <p:cNvPr id="86" name="Rectangle 85">
              <a:extLst>
                <a:ext uri="{FF2B5EF4-FFF2-40B4-BE49-F238E27FC236}">
                  <a16:creationId xmlns:a16="http://schemas.microsoft.com/office/drawing/2014/main" id="{2798F185-891D-F8CC-1D6E-42D003A56917}"/>
                </a:ext>
              </a:extLst>
            </p:cNvPr>
            <p:cNvSpPr/>
            <p:nvPr/>
          </p:nvSpPr>
          <p:spPr>
            <a:xfrm>
              <a:off x="2795886" y="4532929"/>
              <a:ext cx="124438" cy="108000"/>
            </a:xfrm>
            <a:prstGeom prst="rect">
              <a:avLst/>
            </a:prstGeom>
            <a:solidFill>
              <a:schemeClr val="accent4">
                <a:lumMod val="50000"/>
              </a:schemeClr>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sp>
          <p:nvSpPr>
            <p:cNvPr id="87" name="TextBox 86">
              <a:extLst>
                <a:ext uri="{FF2B5EF4-FFF2-40B4-BE49-F238E27FC236}">
                  <a16:creationId xmlns:a16="http://schemas.microsoft.com/office/drawing/2014/main" id="{B555E9A4-8ADB-E328-777A-F43BB32FDF15}"/>
                </a:ext>
              </a:extLst>
            </p:cNvPr>
            <p:cNvSpPr txBox="1"/>
            <p:nvPr/>
          </p:nvSpPr>
          <p:spPr>
            <a:xfrm>
              <a:off x="2887911" y="4059548"/>
              <a:ext cx="800219" cy="246221"/>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Grade 1–2</a:t>
              </a:r>
            </a:p>
          </p:txBody>
        </p:sp>
        <p:sp>
          <p:nvSpPr>
            <p:cNvPr id="88" name="Rectangle 87">
              <a:extLst>
                <a:ext uri="{FF2B5EF4-FFF2-40B4-BE49-F238E27FC236}">
                  <a16:creationId xmlns:a16="http://schemas.microsoft.com/office/drawing/2014/main" id="{CEC90AC0-0892-D217-99FA-661CB7B19921}"/>
                </a:ext>
              </a:extLst>
            </p:cNvPr>
            <p:cNvSpPr/>
            <p:nvPr/>
          </p:nvSpPr>
          <p:spPr>
            <a:xfrm>
              <a:off x="2795886" y="4113927"/>
              <a:ext cx="124438" cy="108000"/>
            </a:xfrm>
            <a:prstGeom prst="rect">
              <a:avLst/>
            </a:prstGeom>
            <a:solidFill>
              <a:schemeClr val="accent4">
                <a:lumMod val="60000"/>
                <a:lumOff val="40000"/>
              </a:schemeClr>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7CB4"/>
                </a:solidFill>
                <a:effectLst/>
                <a:uLnTx/>
                <a:uFillTx/>
                <a:latin typeface="Arial" panose="020B0604020202020204" pitchFamily="34" charset="0"/>
                <a:ea typeface="ヒラギノ角ゴ ProN W3"/>
                <a:cs typeface="Arial" panose="020B0604020202020204" pitchFamily="34" charset="0"/>
              </a:endParaRPr>
            </a:p>
          </p:txBody>
        </p:sp>
      </p:grpSp>
      <p:sp>
        <p:nvSpPr>
          <p:cNvPr id="20" name="Text Placeholder 3">
            <a:extLst>
              <a:ext uri="{FF2B5EF4-FFF2-40B4-BE49-F238E27FC236}">
                <a16:creationId xmlns:a16="http://schemas.microsoft.com/office/drawing/2014/main" id="{A996EF28-D5F2-3D79-D1F4-7801AE516022}"/>
              </a:ext>
            </a:extLst>
          </p:cNvPr>
          <p:cNvSpPr>
            <a:spLocks noGrp="1"/>
          </p:cNvSpPr>
          <p:nvPr>
            <p:ph type="body" sz="quarter" idx="13"/>
          </p:nvPr>
        </p:nvSpPr>
        <p:spPr>
          <a:xfrm>
            <a:off x="8699500" y="6466840"/>
            <a:ext cx="3059409" cy="288617"/>
          </a:xfrm>
        </p:spPr>
        <p:txBody>
          <a:bodyPr/>
          <a:lstStyle/>
          <a:p>
            <a:r>
              <a:rPr lang="en-GB" dirty="0"/>
              <a:t>*1 patient reported a Grade 5 AE of COVID-19 in the osimertinib + ChT arm; </a:t>
            </a:r>
            <a:r>
              <a:rPr lang="en-GB" baseline="30000" dirty="0"/>
              <a:t>†</a:t>
            </a:r>
            <a:r>
              <a:rPr lang="en-GB" dirty="0"/>
              <a:t>Grouped term: Anaemia/haemoglobin decrease, thrombocytopenia/platelet count decrease, neutropenia/neutrophil count decrease, and ILD/pneumonitis/organising pneumonitis (by preferred terms).</a:t>
            </a:r>
          </a:p>
          <a:p>
            <a:r>
              <a:rPr lang="en-GB" dirty="0"/>
              <a:t>AE, adverse event; ALT, alanine aminotransferase; ChT, chemotherapy; </a:t>
            </a:r>
            <a:br>
              <a:rPr lang="en-GB" dirty="0"/>
            </a:br>
            <a:r>
              <a:rPr lang="en-GB" dirty="0"/>
              <a:t>COVID-19, coronavirus 2019; ILD, interstitial lung disease.</a:t>
            </a:r>
          </a:p>
        </p:txBody>
      </p:sp>
      <p:sp>
        <p:nvSpPr>
          <p:cNvPr id="3" name="Rectangle: Rounded Corners 2">
            <a:extLst>
              <a:ext uri="{FF2B5EF4-FFF2-40B4-BE49-F238E27FC236}">
                <a16:creationId xmlns:a16="http://schemas.microsoft.com/office/drawing/2014/main" id="{B3F13708-12AE-C90C-F0DD-97255487A12A}"/>
              </a:ext>
            </a:extLst>
          </p:cNvPr>
          <p:cNvSpPr/>
          <p:nvPr/>
        </p:nvSpPr>
        <p:spPr>
          <a:xfrm>
            <a:off x="6304502" y="2579237"/>
            <a:ext cx="1765818" cy="2425674"/>
          </a:xfrm>
          <a:prstGeom prst="roundRect">
            <a:avLst>
              <a:gd name="adj" fmla="val 7359"/>
            </a:avLst>
          </a:prstGeom>
          <a:gradFill flip="none" rotWithShape="1">
            <a:gsLst>
              <a:gs pos="0">
                <a:schemeClr val="accent6"/>
              </a:gs>
              <a:gs pos="100000">
                <a:schemeClr val="accent6"/>
              </a:gs>
              <a:gs pos="100000">
                <a:schemeClr val="accent5">
                  <a:lumMod val="50000"/>
                </a:schemeClr>
              </a:gs>
              <a:gs pos="29000">
                <a:schemeClr val="accent4"/>
              </a:gs>
            </a:gsLst>
            <a:lin ang="2700000" scaled="1"/>
            <a:tileRect/>
          </a:gradFill>
          <a:ln w="28575">
            <a:noFill/>
          </a:ln>
          <a:effectLst>
            <a:glow rad="101600">
              <a:schemeClr val="accent4">
                <a:alpha val="40000"/>
              </a:schemeClr>
            </a:glow>
          </a:effectLst>
        </p:spPr>
        <p:txBody>
          <a:bodyPr wrap="square" lIns="72000" tIns="54000" rIns="36000" bIns="72000" anchor="b" anchorCtr="0">
            <a:noAutofit/>
          </a:bodyPr>
          <a:lstStyle/>
          <a:p>
            <a:pPr marL="0" marR="0" lvl="0" indent="0" algn="l" defTabSz="914400" rtl="0" eaLnBrk="0" fontAlgn="base" latinLnBrk="0" hangingPunct="0">
              <a:lnSpc>
                <a:spcPct val="100000"/>
              </a:lnSpc>
              <a:spcBef>
                <a:spcPts val="300"/>
              </a:spcBef>
              <a:spcAft>
                <a:spcPct val="0"/>
              </a:spcAft>
              <a:buClr>
                <a:srgbClr val="6CB643"/>
              </a:buClr>
              <a:buSzTx/>
              <a:buFontTx/>
              <a:buNone/>
              <a:tabLst/>
              <a:defRPr/>
            </a:pP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edian </a:t>
            </a: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osure</a:t>
            </a: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b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o pemetrexed in the osimertinib + ChT </a:t>
            </a:r>
            <a:b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rm was 8.3 months</a:t>
            </a:r>
          </a:p>
          <a:p>
            <a:pPr marL="285750" marR="0" lvl="0" indent="-285750" algn="l" defTabSz="914400" rtl="0" eaLnBrk="0" fontAlgn="base" latinLnBrk="0" hangingPunct="0">
              <a:lnSpc>
                <a:spcPct val="100000"/>
              </a:lnSpc>
              <a:spcBef>
                <a:spcPts val="300"/>
              </a:spcBef>
              <a:spcAft>
                <a:spcPct val="0"/>
              </a:spcAft>
              <a:buClr>
                <a:srgbClr val="EB1700">
                  <a:lumMod val="40000"/>
                  <a:lumOff val="60000"/>
                </a:srgbClr>
              </a:buClr>
              <a:buSzTx/>
              <a:buFont typeface="Arial" panose="020B0604020202020204" pitchFamily="34" charset="0"/>
              <a:buChar char="•"/>
              <a:tabLst/>
              <a:defRPr/>
            </a:pP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0% of patients </a:t>
            </a: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scontinued pemetrexed</a:t>
            </a: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b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ue to AEs</a:t>
            </a:r>
          </a:p>
        </p:txBody>
      </p:sp>
      <p:pic>
        <p:nvPicPr>
          <p:cNvPr id="4" name="Graphic 3">
            <a:extLst>
              <a:ext uri="{FF2B5EF4-FFF2-40B4-BE49-F238E27FC236}">
                <a16:creationId xmlns:a16="http://schemas.microsoft.com/office/drawing/2014/main" id="{7D818E01-1F45-D73E-9BC2-71593B04B4DE}"/>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6919539" y="2687476"/>
            <a:ext cx="535744" cy="504494"/>
          </a:xfrm>
          <a:prstGeom prst="rect">
            <a:avLst/>
          </a:prstGeom>
        </p:spPr>
      </p:pic>
      <p:sp>
        <p:nvSpPr>
          <p:cNvPr id="12" name="Rectangle: Rounded Corners 11">
            <a:extLst>
              <a:ext uri="{FF2B5EF4-FFF2-40B4-BE49-F238E27FC236}">
                <a16:creationId xmlns:a16="http://schemas.microsoft.com/office/drawing/2014/main" id="{ECFD6B70-25EB-3A0F-3454-F9D64DCD98C7}"/>
              </a:ext>
            </a:extLst>
          </p:cNvPr>
          <p:cNvSpPr/>
          <p:nvPr/>
        </p:nvSpPr>
        <p:spPr>
          <a:xfrm>
            <a:off x="10118785" y="203659"/>
            <a:ext cx="1551426"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LAURA2</a:t>
            </a:r>
          </a:p>
        </p:txBody>
      </p:sp>
      <p:grpSp>
        <p:nvGrpSpPr>
          <p:cNvPr id="16" name="Group 15">
            <a:extLst>
              <a:ext uri="{FF2B5EF4-FFF2-40B4-BE49-F238E27FC236}">
                <a16:creationId xmlns:a16="http://schemas.microsoft.com/office/drawing/2014/main" id="{9E45E363-41CB-158C-B5EA-4E19FC226215}"/>
              </a:ext>
            </a:extLst>
          </p:cNvPr>
          <p:cNvGrpSpPr/>
          <p:nvPr/>
        </p:nvGrpSpPr>
        <p:grpSpPr>
          <a:xfrm>
            <a:off x="11442807" y="48345"/>
            <a:ext cx="645342" cy="645342"/>
            <a:chOff x="11442807" y="48345"/>
            <a:chExt cx="645342" cy="645342"/>
          </a:xfrm>
        </p:grpSpPr>
        <p:sp>
          <p:nvSpPr>
            <p:cNvPr id="17" name="Oval 16">
              <a:extLst>
                <a:ext uri="{FF2B5EF4-FFF2-40B4-BE49-F238E27FC236}">
                  <a16:creationId xmlns:a16="http://schemas.microsoft.com/office/drawing/2014/main" id="{30C680E5-6AD2-9603-A888-DC203F601444}"/>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18" name="Graphic 17" descr="Signal outline">
              <a:extLst>
                <a:ext uri="{FF2B5EF4-FFF2-40B4-BE49-F238E27FC236}">
                  <a16:creationId xmlns:a16="http://schemas.microsoft.com/office/drawing/2014/main" id="{F809CB39-387B-F7F1-B0D1-30038F1ACF6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492045" y="96048"/>
              <a:ext cx="506740" cy="506740"/>
            </a:xfrm>
            <a:prstGeom prst="rect">
              <a:avLst/>
            </a:prstGeom>
          </p:spPr>
        </p:pic>
      </p:grpSp>
    </p:spTree>
    <p:extLst>
      <p:ext uri="{BB962C8B-B14F-4D97-AF65-F5344CB8AC3E}">
        <p14:creationId xmlns:p14="http://schemas.microsoft.com/office/powerpoint/2010/main" val="9594386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Goldberg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838089280"/>
              </p:ext>
            </p:extLst>
          </p:nvPr>
        </p:nvGraphicFramePr>
        <p:xfrm>
          <a:off x="983432" y="1686500"/>
          <a:ext cx="10225136" cy="2972931"/>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990977">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ayer HealthCare Pharmaceuticals, </a:t>
                      </a:r>
                      <a:r>
                        <a:rPr lang="en-US" sz="1800" b="0" kern="1200" dirty="0" err="1">
                          <a:solidFill>
                            <a:schemeClr val="tx1"/>
                          </a:solidFill>
                          <a:effectLst/>
                          <a:latin typeface="+mn-lt"/>
                          <a:ea typeface="+mn-ea"/>
                          <a:cs typeface="+mn-cs"/>
                        </a:rPr>
                        <a:t>BlossomHill</a:t>
                      </a:r>
                      <a:r>
                        <a:rPr lang="en-US" sz="1800" b="0" kern="1200" dirty="0">
                          <a:solidFill>
                            <a:schemeClr val="tx1"/>
                          </a:solidFill>
                          <a:effectLst/>
                          <a:latin typeface="+mn-lt"/>
                          <a:ea typeface="+mn-ea"/>
                          <a:cs typeface="+mn-cs"/>
                        </a:rPr>
                        <a:t> Therapeutics, Daiichi Sankyo Inc, Johnson &amp; Johnson, Lilly, Merck, Regeneron Pharmaceuticals Inc, Summit Therapeutics, </a:t>
                      </a:r>
                      <a:r>
                        <a:rPr lang="en-US" sz="1800" b="0" kern="1200" dirty="0" err="1">
                          <a:solidFill>
                            <a:schemeClr val="tx1"/>
                          </a:solidFill>
                          <a:effectLst/>
                          <a:latin typeface="+mn-lt"/>
                          <a:ea typeface="+mn-ea"/>
                          <a:cs typeface="+mn-cs"/>
                        </a:rPr>
                        <a:t>Synthekine</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Tubuli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90977">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dela, AstraZeneca Pharmaceuticals LP, Boehringer Ingelheim Pharmaceuticals Inc, Mirati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990977">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Daiichi Sankyo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8866248"/>
                  </a:ext>
                </a:extLst>
              </a:tr>
            </a:tbl>
          </a:graphicData>
        </a:graphic>
      </p:graphicFrame>
    </p:spTree>
    <p:custDataLst>
      <p:tags r:id="rId1"/>
    </p:custDataLst>
    <p:extLst>
      <p:ext uri="{BB962C8B-B14F-4D97-AF65-F5344CB8AC3E}">
        <p14:creationId xmlns:p14="http://schemas.microsoft.com/office/powerpoint/2010/main" val="15838497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6BD80-6103-D837-0380-2C6F23844808}"/>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F4CD5755-B988-98FF-926E-BC376B17917A}"/>
              </a:ext>
            </a:extLst>
          </p:cNvPr>
          <p:cNvSpPr/>
          <p:nvPr/>
        </p:nvSpPr>
        <p:spPr>
          <a:xfrm>
            <a:off x="441511" y="1080722"/>
            <a:ext cx="7853008" cy="5205778"/>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AE7FF032-9191-7395-2FE0-0AB7D6F2E68A}"/>
              </a:ext>
            </a:extLst>
          </p:cNvPr>
          <p:cNvSpPr txBox="1"/>
          <p:nvPr/>
        </p:nvSpPr>
        <p:spPr>
          <a:xfrm>
            <a:off x="442799" y="1066058"/>
            <a:ext cx="7853008" cy="355276"/>
          </a:xfrm>
          <a:prstGeom prst="rect">
            <a:avLst/>
          </a:prstGeom>
          <a:gradFill>
            <a:gsLst>
              <a:gs pos="0">
                <a:schemeClr val="accent6"/>
              </a:gs>
              <a:gs pos="100000">
                <a:schemeClr val="accent6"/>
              </a:gs>
              <a:gs pos="93000">
                <a:schemeClr val="accent4"/>
              </a:gs>
              <a:gs pos="7000">
                <a:schemeClr val="accent4"/>
              </a:gs>
            </a:gsLst>
            <a:lin ang="0" scaled="1"/>
          </a:gradFill>
        </p:spPr>
        <p:txBody>
          <a:bodyPr wrap="square" lIns="108000" tIns="54000" rIns="108000" bIns="54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Johnson Text" pitchFamily="2" charset="77"/>
                <a:ea typeface="+mn-ea"/>
                <a:cs typeface="+mn-cs"/>
                <a:sym typeface="+mn-lt"/>
              </a:rPr>
              <a:t>FLAURA2 post-hoc analysis</a:t>
            </a:r>
          </a:p>
        </p:txBody>
      </p:sp>
      <p:sp>
        <p:nvSpPr>
          <p:cNvPr id="2" name="Title 1">
            <a:extLst>
              <a:ext uri="{FF2B5EF4-FFF2-40B4-BE49-F238E27FC236}">
                <a16:creationId xmlns:a16="http://schemas.microsoft.com/office/drawing/2014/main" id="{2912E74A-8BBF-5BD5-30C7-9A9BB2CDD3C9}"/>
              </a:ext>
            </a:extLst>
          </p:cNvPr>
          <p:cNvSpPr>
            <a:spLocks noGrp="1"/>
          </p:cNvSpPr>
          <p:nvPr>
            <p:ph type="title"/>
          </p:nvPr>
        </p:nvSpPr>
        <p:spPr/>
        <p:txBody>
          <a:bodyPr/>
          <a:lstStyle/>
          <a:p>
            <a:pPr defTabSz="95245">
              <a:defRPr/>
            </a:pPr>
            <a:r>
              <a:rPr lang="en-US" dirty="0"/>
              <a:t>The Role of </a:t>
            </a:r>
            <a:r>
              <a:rPr lang="en-US" dirty="0" err="1"/>
              <a:t>ChT</a:t>
            </a:r>
            <a:r>
              <a:rPr lang="en-US" dirty="0"/>
              <a:t> in the FLAURA2 regimen</a:t>
            </a:r>
          </a:p>
        </p:txBody>
      </p:sp>
      <p:sp>
        <p:nvSpPr>
          <p:cNvPr id="12" name="Rectangle: Rounded Corners 11">
            <a:extLst>
              <a:ext uri="{FF2B5EF4-FFF2-40B4-BE49-F238E27FC236}">
                <a16:creationId xmlns:a16="http://schemas.microsoft.com/office/drawing/2014/main" id="{2FB86E7C-3534-EDB1-5589-7595AE110969}"/>
              </a:ext>
            </a:extLst>
          </p:cNvPr>
          <p:cNvSpPr/>
          <p:nvPr/>
        </p:nvSpPr>
        <p:spPr>
          <a:xfrm>
            <a:off x="10118785" y="203659"/>
            <a:ext cx="1551426"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LAURA2</a:t>
            </a:r>
          </a:p>
        </p:txBody>
      </p:sp>
      <p:grpSp>
        <p:nvGrpSpPr>
          <p:cNvPr id="16" name="Group 15">
            <a:extLst>
              <a:ext uri="{FF2B5EF4-FFF2-40B4-BE49-F238E27FC236}">
                <a16:creationId xmlns:a16="http://schemas.microsoft.com/office/drawing/2014/main" id="{E1C577EB-E556-AB50-F784-9DAB30C41405}"/>
              </a:ext>
            </a:extLst>
          </p:cNvPr>
          <p:cNvGrpSpPr/>
          <p:nvPr/>
        </p:nvGrpSpPr>
        <p:grpSpPr>
          <a:xfrm>
            <a:off x="11442807" y="48345"/>
            <a:ext cx="645342" cy="645342"/>
            <a:chOff x="11442807" y="48345"/>
            <a:chExt cx="645342" cy="645342"/>
          </a:xfrm>
        </p:grpSpPr>
        <p:sp>
          <p:nvSpPr>
            <p:cNvPr id="17" name="Oval 16">
              <a:extLst>
                <a:ext uri="{FF2B5EF4-FFF2-40B4-BE49-F238E27FC236}">
                  <a16:creationId xmlns:a16="http://schemas.microsoft.com/office/drawing/2014/main" id="{1F3B1E8F-59FB-A548-A074-E0149BF297DB}"/>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18" name="Graphic 17" descr="Signal outline">
              <a:extLst>
                <a:ext uri="{FF2B5EF4-FFF2-40B4-BE49-F238E27FC236}">
                  <a16:creationId xmlns:a16="http://schemas.microsoft.com/office/drawing/2014/main" id="{B2590C3D-322A-98B9-1132-DFA69D1BA6F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492045" y="96048"/>
              <a:ext cx="506740" cy="506740"/>
            </a:xfrm>
            <a:prstGeom prst="rect">
              <a:avLst/>
            </a:prstGeom>
          </p:spPr>
        </p:pic>
      </p:grpSp>
      <p:grpSp>
        <p:nvGrpSpPr>
          <p:cNvPr id="23" name="Group 51">
            <a:extLst>
              <a:ext uri="{FF2B5EF4-FFF2-40B4-BE49-F238E27FC236}">
                <a16:creationId xmlns:a16="http://schemas.microsoft.com/office/drawing/2014/main" id="{47B70174-AF7A-B023-FDD9-CEB511168092}"/>
              </a:ext>
            </a:extLst>
          </p:cNvPr>
          <p:cNvGrpSpPr/>
          <p:nvPr/>
        </p:nvGrpSpPr>
        <p:grpSpPr>
          <a:xfrm>
            <a:off x="1034150" y="1865927"/>
            <a:ext cx="7029098" cy="2735249"/>
            <a:chOff x="697925" y="1741336"/>
            <a:chExt cx="7029098" cy="2560320"/>
          </a:xfrm>
        </p:grpSpPr>
        <p:pic>
          <p:nvPicPr>
            <p:cNvPr id="24" name="Graphic 2">
              <a:extLst>
                <a:ext uri="{FF2B5EF4-FFF2-40B4-BE49-F238E27FC236}">
                  <a16:creationId xmlns:a16="http://schemas.microsoft.com/office/drawing/2014/main" id="{BF7D3209-B522-21BD-FAB1-EA95307C3B7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97925" y="1822450"/>
              <a:ext cx="7029098" cy="2479206"/>
            </a:xfrm>
            <a:prstGeom prst="rect">
              <a:avLst/>
            </a:prstGeom>
          </p:spPr>
        </p:pic>
        <p:pic>
          <p:nvPicPr>
            <p:cNvPr id="25" name="Graphic 8">
              <a:extLst>
                <a:ext uri="{FF2B5EF4-FFF2-40B4-BE49-F238E27FC236}">
                  <a16:creationId xmlns:a16="http://schemas.microsoft.com/office/drawing/2014/main" id="{964615B1-F9A6-AED2-75F3-1D027F38671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36397" y="1801643"/>
              <a:ext cx="6490644" cy="1550079"/>
            </a:xfrm>
            <a:prstGeom prst="rect">
              <a:avLst/>
            </a:prstGeom>
          </p:spPr>
        </p:pic>
        <p:pic>
          <p:nvPicPr>
            <p:cNvPr id="26" name="Graphic 10">
              <a:extLst>
                <a:ext uri="{FF2B5EF4-FFF2-40B4-BE49-F238E27FC236}">
                  <a16:creationId xmlns:a16="http://schemas.microsoft.com/office/drawing/2014/main" id="{C79750AC-BC6C-CF1E-370A-EE04335D646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50808" y="1741336"/>
              <a:ext cx="6480893" cy="2523272"/>
            </a:xfrm>
            <a:prstGeom prst="rect">
              <a:avLst/>
            </a:prstGeom>
          </p:spPr>
        </p:pic>
        <p:pic>
          <p:nvPicPr>
            <p:cNvPr id="27" name="Graphic 19">
              <a:extLst>
                <a:ext uri="{FF2B5EF4-FFF2-40B4-BE49-F238E27FC236}">
                  <a16:creationId xmlns:a16="http://schemas.microsoft.com/office/drawing/2014/main" id="{E2E738BC-FA4C-5BF9-8E8D-F168C51E4B5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38797" y="1814497"/>
              <a:ext cx="5483088" cy="1754711"/>
            </a:xfrm>
            <a:prstGeom prst="rect">
              <a:avLst/>
            </a:prstGeom>
          </p:spPr>
        </p:pic>
        <p:pic>
          <p:nvPicPr>
            <p:cNvPr id="28" name="Graphic 15">
              <a:extLst>
                <a:ext uri="{FF2B5EF4-FFF2-40B4-BE49-F238E27FC236}">
                  <a16:creationId xmlns:a16="http://schemas.microsoft.com/office/drawing/2014/main" id="{32E4DEF4-B5DA-8D02-9C75-8B19F6C1981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99704" y="1765808"/>
              <a:ext cx="6520070" cy="1674374"/>
            </a:xfrm>
            <a:prstGeom prst="rect">
              <a:avLst/>
            </a:prstGeom>
          </p:spPr>
        </p:pic>
      </p:grpSp>
      <p:sp>
        <p:nvSpPr>
          <p:cNvPr id="29" name="TextBox 20">
            <a:extLst>
              <a:ext uri="{FF2B5EF4-FFF2-40B4-BE49-F238E27FC236}">
                <a16:creationId xmlns:a16="http://schemas.microsoft.com/office/drawing/2014/main" id="{3EA223B1-03B5-7A53-B510-E52E8AC227F9}"/>
              </a:ext>
            </a:extLst>
          </p:cNvPr>
          <p:cNvSpPr txBox="1"/>
          <p:nvPr/>
        </p:nvSpPr>
        <p:spPr>
          <a:xfrm>
            <a:off x="718502" y="1854535"/>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1.0</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30" name="TextBox 21">
            <a:extLst>
              <a:ext uri="{FF2B5EF4-FFF2-40B4-BE49-F238E27FC236}">
                <a16:creationId xmlns:a16="http://schemas.microsoft.com/office/drawing/2014/main" id="{38207ADB-76F5-E7AA-44D3-64984BA1BA44}"/>
              </a:ext>
            </a:extLst>
          </p:cNvPr>
          <p:cNvSpPr txBox="1"/>
          <p:nvPr/>
        </p:nvSpPr>
        <p:spPr>
          <a:xfrm>
            <a:off x="718502" y="2115547"/>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9</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31" name="TextBox 23">
            <a:extLst>
              <a:ext uri="{FF2B5EF4-FFF2-40B4-BE49-F238E27FC236}">
                <a16:creationId xmlns:a16="http://schemas.microsoft.com/office/drawing/2014/main" id="{D05F5F05-6EFB-8552-53AA-A16517579329}"/>
              </a:ext>
            </a:extLst>
          </p:cNvPr>
          <p:cNvSpPr txBox="1"/>
          <p:nvPr/>
        </p:nvSpPr>
        <p:spPr>
          <a:xfrm>
            <a:off x="718502" y="2376559"/>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8</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32" name="TextBox 24">
            <a:extLst>
              <a:ext uri="{FF2B5EF4-FFF2-40B4-BE49-F238E27FC236}">
                <a16:creationId xmlns:a16="http://schemas.microsoft.com/office/drawing/2014/main" id="{AEB58364-9FF7-1687-A829-D93E506A644D}"/>
              </a:ext>
            </a:extLst>
          </p:cNvPr>
          <p:cNvSpPr txBox="1"/>
          <p:nvPr/>
        </p:nvSpPr>
        <p:spPr>
          <a:xfrm>
            <a:off x="718502" y="2637571"/>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7</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33" name="TextBox 25">
            <a:extLst>
              <a:ext uri="{FF2B5EF4-FFF2-40B4-BE49-F238E27FC236}">
                <a16:creationId xmlns:a16="http://schemas.microsoft.com/office/drawing/2014/main" id="{707CE402-0ED2-7376-D703-C4E0CF534BC8}"/>
              </a:ext>
            </a:extLst>
          </p:cNvPr>
          <p:cNvSpPr txBox="1"/>
          <p:nvPr/>
        </p:nvSpPr>
        <p:spPr>
          <a:xfrm>
            <a:off x="718502" y="2898583"/>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6</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34" name="TextBox 27">
            <a:extLst>
              <a:ext uri="{FF2B5EF4-FFF2-40B4-BE49-F238E27FC236}">
                <a16:creationId xmlns:a16="http://schemas.microsoft.com/office/drawing/2014/main" id="{436710A1-2533-8280-A986-300B513B99A3}"/>
              </a:ext>
            </a:extLst>
          </p:cNvPr>
          <p:cNvSpPr txBox="1"/>
          <p:nvPr/>
        </p:nvSpPr>
        <p:spPr>
          <a:xfrm>
            <a:off x="718502" y="3159595"/>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5</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35" name="TextBox 28">
            <a:extLst>
              <a:ext uri="{FF2B5EF4-FFF2-40B4-BE49-F238E27FC236}">
                <a16:creationId xmlns:a16="http://schemas.microsoft.com/office/drawing/2014/main" id="{D624A05A-C838-0879-B17E-0DF7BE7F3388}"/>
              </a:ext>
            </a:extLst>
          </p:cNvPr>
          <p:cNvSpPr txBox="1"/>
          <p:nvPr/>
        </p:nvSpPr>
        <p:spPr>
          <a:xfrm>
            <a:off x="718502" y="3420607"/>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4</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36" name="TextBox 29">
            <a:extLst>
              <a:ext uri="{FF2B5EF4-FFF2-40B4-BE49-F238E27FC236}">
                <a16:creationId xmlns:a16="http://schemas.microsoft.com/office/drawing/2014/main" id="{38A149B4-CAE2-2181-5EE3-8BB42FE9719B}"/>
              </a:ext>
            </a:extLst>
          </p:cNvPr>
          <p:cNvSpPr txBox="1"/>
          <p:nvPr/>
        </p:nvSpPr>
        <p:spPr>
          <a:xfrm>
            <a:off x="718502" y="3681619"/>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3</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37" name="TextBox 30">
            <a:extLst>
              <a:ext uri="{FF2B5EF4-FFF2-40B4-BE49-F238E27FC236}">
                <a16:creationId xmlns:a16="http://schemas.microsoft.com/office/drawing/2014/main" id="{B4FC5D91-EE27-791A-3E69-8C532B3E1564}"/>
              </a:ext>
            </a:extLst>
          </p:cNvPr>
          <p:cNvSpPr txBox="1"/>
          <p:nvPr/>
        </p:nvSpPr>
        <p:spPr>
          <a:xfrm>
            <a:off x="718502" y="3942631"/>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2</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38" name="TextBox 31">
            <a:extLst>
              <a:ext uri="{FF2B5EF4-FFF2-40B4-BE49-F238E27FC236}">
                <a16:creationId xmlns:a16="http://schemas.microsoft.com/office/drawing/2014/main" id="{C42581E1-0D81-1363-3BE8-A33D5289EC3D}"/>
              </a:ext>
            </a:extLst>
          </p:cNvPr>
          <p:cNvSpPr txBox="1"/>
          <p:nvPr/>
        </p:nvSpPr>
        <p:spPr>
          <a:xfrm>
            <a:off x="718502" y="4203643"/>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1</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39" name="TextBox 32">
            <a:extLst>
              <a:ext uri="{FF2B5EF4-FFF2-40B4-BE49-F238E27FC236}">
                <a16:creationId xmlns:a16="http://schemas.microsoft.com/office/drawing/2014/main" id="{E4D39111-E66A-A173-AD2C-5874B3C1D6C8}"/>
              </a:ext>
            </a:extLst>
          </p:cNvPr>
          <p:cNvSpPr txBox="1"/>
          <p:nvPr/>
        </p:nvSpPr>
        <p:spPr>
          <a:xfrm>
            <a:off x="718502" y="4464653"/>
            <a:ext cx="244706" cy="184666"/>
          </a:xfrm>
          <a:prstGeom prst="rect">
            <a:avLst/>
          </a:prstGeom>
          <a:noFill/>
        </p:spPr>
        <p:txBody>
          <a:bodyPr wrap="square" lIns="0" tIns="0" rIns="0" bIns="0" rtlCol="0">
            <a:spAutoFit/>
          </a:bodyPr>
          <a:lstStyle/>
          <a:p>
            <a:pPr marL="0" marR="0" lvl="0" indent="0" algn="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40" name="TextBox 34">
            <a:extLst>
              <a:ext uri="{FF2B5EF4-FFF2-40B4-BE49-F238E27FC236}">
                <a16:creationId xmlns:a16="http://schemas.microsoft.com/office/drawing/2014/main" id="{80798EC9-934F-788C-5630-C5AA783EC016}"/>
              </a:ext>
            </a:extLst>
          </p:cNvPr>
          <p:cNvSpPr txBox="1"/>
          <p:nvPr/>
        </p:nvSpPr>
        <p:spPr>
          <a:xfrm rot="16200000">
            <a:off x="-93341" y="3245358"/>
            <a:ext cx="1325038"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Probability of PFS</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grpSp>
        <p:nvGrpSpPr>
          <p:cNvPr id="41" name="Group 50">
            <a:extLst>
              <a:ext uri="{FF2B5EF4-FFF2-40B4-BE49-F238E27FC236}">
                <a16:creationId xmlns:a16="http://schemas.microsoft.com/office/drawing/2014/main" id="{62CB093C-8DFB-C5E3-4567-B99F9CBA8B19}"/>
              </a:ext>
            </a:extLst>
          </p:cNvPr>
          <p:cNvGrpSpPr/>
          <p:nvPr/>
        </p:nvGrpSpPr>
        <p:grpSpPr>
          <a:xfrm>
            <a:off x="957893" y="4686562"/>
            <a:ext cx="7213565" cy="184666"/>
            <a:chOff x="621667" y="4152199"/>
            <a:chExt cx="7213565" cy="184666"/>
          </a:xfrm>
        </p:grpSpPr>
        <p:sp>
          <p:nvSpPr>
            <p:cNvPr id="42" name="TextBox 33">
              <a:extLst>
                <a:ext uri="{FF2B5EF4-FFF2-40B4-BE49-F238E27FC236}">
                  <a16:creationId xmlns:a16="http://schemas.microsoft.com/office/drawing/2014/main" id="{9C9DE9E7-0EB6-9FD8-A5FD-D7C2E2D8D2F5}"/>
                </a:ext>
              </a:extLst>
            </p:cNvPr>
            <p:cNvSpPr txBox="1"/>
            <p:nvPr/>
          </p:nvSpPr>
          <p:spPr>
            <a:xfrm>
              <a:off x="621667"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0</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43" name="TextBox 35">
              <a:extLst>
                <a:ext uri="{FF2B5EF4-FFF2-40B4-BE49-F238E27FC236}">
                  <a16:creationId xmlns:a16="http://schemas.microsoft.com/office/drawing/2014/main" id="{DA1C2367-7A90-E9F7-F0CB-0475BD781CE5}"/>
                </a:ext>
              </a:extLst>
            </p:cNvPr>
            <p:cNvSpPr txBox="1"/>
            <p:nvPr/>
          </p:nvSpPr>
          <p:spPr>
            <a:xfrm>
              <a:off x="1204685"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3</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44" name="TextBox 37">
              <a:extLst>
                <a:ext uri="{FF2B5EF4-FFF2-40B4-BE49-F238E27FC236}">
                  <a16:creationId xmlns:a16="http://schemas.microsoft.com/office/drawing/2014/main" id="{E32BA2C6-5B4E-1782-4497-874360DB5081}"/>
                </a:ext>
              </a:extLst>
            </p:cNvPr>
            <p:cNvSpPr txBox="1"/>
            <p:nvPr/>
          </p:nvSpPr>
          <p:spPr>
            <a:xfrm>
              <a:off x="1778844"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6</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45" name="TextBox 39">
              <a:extLst>
                <a:ext uri="{FF2B5EF4-FFF2-40B4-BE49-F238E27FC236}">
                  <a16:creationId xmlns:a16="http://schemas.microsoft.com/office/drawing/2014/main" id="{DE90F400-7495-088B-0B88-78047BF9C4FE}"/>
                </a:ext>
              </a:extLst>
            </p:cNvPr>
            <p:cNvSpPr txBox="1"/>
            <p:nvPr/>
          </p:nvSpPr>
          <p:spPr>
            <a:xfrm>
              <a:off x="2368950"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9</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46" name="TextBox 40">
              <a:extLst>
                <a:ext uri="{FF2B5EF4-FFF2-40B4-BE49-F238E27FC236}">
                  <a16:creationId xmlns:a16="http://schemas.microsoft.com/office/drawing/2014/main" id="{C9A76271-D0A2-11B5-6D84-DA074210FE0B}"/>
                </a:ext>
              </a:extLst>
            </p:cNvPr>
            <p:cNvSpPr txBox="1"/>
            <p:nvPr/>
          </p:nvSpPr>
          <p:spPr>
            <a:xfrm>
              <a:off x="2951968"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12</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47" name="TextBox 41">
              <a:extLst>
                <a:ext uri="{FF2B5EF4-FFF2-40B4-BE49-F238E27FC236}">
                  <a16:creationId xmlns:a16="http://schemas.microsoft.com/office/drawing/2014/main" id="{2E7A69BA-9EF0-2CD3-E8AF-6ACDE4036353}"/>
                </a:ext>
              </a:extLst>
            </p:cNvPr>
            <p:cNvSpPr txBox="1"/>
            <p:nvPr/>
          </p:nvSpPr>
          <p:spPr>
            <a:xfrm>
              <a:off x="3526127"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15</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48" name="TextBox 42">
              <a:extLst>
                <a:ext uri="{FF2B5EF4-FFF2-40B4-BE49-F238E27FC236}">
                  <a16:creationId xmlns:a16="http://schemas.microsoft.com/office/drawing/2014/main" id="{946F9567-B6FB-69F9-BEC7-F3DA4DF5AF85}"/>
                </a:ext>
              </a:extLst>
            </p:cNvPr>
            <p:cNvSpPr txBox="1"/>
            <p:nvPr/>
          </p:nvSpPr>
          <p:spPr>
            <a:xfrm>
              <a:off x="4111906"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18</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49" name="TextBox 43">
              <a:extLst>
                <a:ext uri="{FF2B5EF4-FFF2-40B4-BE49-F238E27FC236}">
                  <a16:creationId xmlns:a16="http://schemas.microsoft.com/office/drawing/2014/main" id="{8D827704-07C8-00D8-83DE-E7CF306E921C}"/>
                </a:ext>
              </a:extLst>
            </p:cNvPr>
            <p:cNvSpPr txBox="1"/>
            <p:nvPr/>
          </p:nvSpPr>
          <p:spPr>
            <a:xfrm>
              <a:off x="4694924"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21</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50" name="TextBox 44">
              <a:extLst>
                <a:ext uri="{FF2B5EF4-FFF2-40B4-BE49-F238E27FC236}">
                  <a16:creationId xmlns:a16="http://schemas.microsoft.com/office/drawing/2014/main" id="{6EE15900-E178-332A-5D03-DE7A512B8C28}"/>
                </a:ext>
              </a:extLst>
            </p:cNvPr>
            <p:cNvSpPr txBox="1"/>
            <p:nvPr/>
          </p:nvSpPr>
          <p:spPr>
            <a:xfrm>
              <a:off x="5269083"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24</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51" name="TextBox 45">
              <a:extLst>
                <a:ext uri="{FF2B5EF4-FFF2-40B4-BE49-F238E27FC236}">
                  <a16:creationId xmlns:a16="http://schemas.microsoft.com/office/drawing/2014/main" id="{9D5CC3F0-698F-DC20-BD3F-A2C6075D8A66}"/>
                </a:ext>
              </a:extLst>
            </p:cNvPr>
            <p:cNvSpPr txBox="1"/>
            <p:nvPr/>
          </p:nvSpPr>
          <p:spPr>
            <a:xfrm>
              <a:off x="5847570"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27</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52" name="TextBox 46">
              <a:extLst>
                <a:ext uri="{FF2B5EF4-FFF2-40B4-BE49-F238E27FC236}">
                  <a16:creationId xmlns:a16="http://schemas.microsoft.com/office/drawing/2014/main" id="{BAC1797F-F356-EF79-264D-ECD22DBDB40C}"/>
                </a:ext>
              </a:extLst>
            </p:cNvPr>
            <p:cNvSpPr txBox="1"/>
            <p:nvPr/>
          </p:nvSpPr>
          <p:spPr>
            <a:xfrm>
              <a:off x="6433349"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30</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53" name="TextBox 47">
              <a:extLst>
                <a:ext uri="{FF2B5EF4-FFF2-40B4-BE49-F238E27FC236}">
                  <a16:creationId xmlns:a16="http://schemas.microsoft.com/office/drawing/2014/main" id="{B6D92B82-FDBA-FA3E-D725-20652F140ED8}"/>
                </a:ext>
              </a:extLst>
            </p:cNvPr>
            <p:cNvSpPr txBox="1"/>
            <p:nvPr/>
          </p:nvSpPr>
          <p:spPr>
            <a:xfrm>
              <a:off x="7016367"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33</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54" name="TextBox 48">
              <a:extLst>
                <a:ext uri="{FF2B5EF4-FFF2-40B4-BE49-F238E27FC236}">
                  <a16:creationId xmlns:a16="http://schemas.microsoft.com/office/drawing/2014/main" id="{4083D648-214E-CC14-6D58-709A46638421}"/>
                </a:ext>
              </a:extLst>
            </p:cNvPr>
            <p:cNvSpPr txBox="1"/>
            <p:nvPr/>
          </p:nvSpPr>
          <p:spPr>
            <a:xfrm>
              <a:off x="7590526" y="4152199"/>
              <a:ext cx="24470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36</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grpSp>
      <p:sp>
        <p:nvSpPr>
          <p:cNvPr id="89" name="TextBox 49">
            <a:extLst>
              <a:ext uri="{FF2B5EF4-FFF2-40B4-BE49-F238E27FC236}">
                <a16:creationId xmlns:a16="http://schemas.microsoft.com/office/drawing/2014/main" id="{6AB5A05C-59D1-3D9D-A1C9-88AE08ABFE05}"/>
              </a:ext>
            </a:extLst>
          </p:cNvPr>
          <p:cNvSpPr txBox="1"/>
          <p:nvPr/>
        </p:nvSpPr>
        <p:spPr>
          <a:xfrm>
            <a:off x="3213817" y="5013539"/>
            <a:ext cx="2783736" cy="184666"/>
          </a:xfrm>
          <a:prstGeom prst="rect">
            <a:avLst/>
          </a:prstGeom>
          <a:noFill/>
        </p:spPr>
        <p:txBody>
          <a:bodyPr wrap="square" lIns="0" tIns="0" rIns="0" bIns="0" rtlCol="0">
            <a:spAutoFit/>
          </a:bodyPr>
          <a:lstStyle/>
          <a:p>
            <a:pPr marL="0" marR="0" lvl="0" indent="0" algn="ctr" defTabSz="6095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Johnson Text"/>
                <a:ea typeface="+mn-ea"/>
                <a:cs typeface="+mn-cs"/>
              </a:rPr>
              <a:t>Time from randomization (months) </a:t>
            </a:r>
            <a:endParaRPr kumimoji="0" lang="en-HK" sz="12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90" name="TextBox 53">
            <a:extLst>
              <a:ext uri="{FF2B5EF4-FFF2-40B4-BE49-F238E27FC236}">
                <a16:creationId xmlns:a16="http://schemas.microsoft.com/office/drawing/2014/main" id="{04985BBD-D7A6-8D10-3C36-56C776647051}"/>
              </a:ext>
            </a:extLst>
          </p:cNvPr>
          <p:cNvSpPr txBox="1"/>
          <p:nvPr/>
        </p:nvSpPr>
        <p:spPr>
          <a:xfrm>
            <a:off x="1069392" y="5209898"/>
            <a:ext cx="2783736" cy="123111"/>
          </a:xfrm>
          <a:prstGeom prst="rect">
            <a:avLst/>
          </a:prstGeom>
          <a:noFill/>
        </p:spPr>
        <p:txBody>
          <a:bodyPr wrap="square" lIns="0" tIns="0" rIns="0" bIns="0" rtlCol="0">
            <a:spAutoFit/>
          </a:bodyPr>
          <a:lstStyle/>
          <a:p>
            <a:pPr marL="0" marR="0" lvl="0" indent="0" algn="l" defTabSz="60950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Johnson Text"/>
                <a:ea typeface="+mn-ea"/>
                <a:cs typeface="+mn-cs"/>
              </a:rPr>
              <a:t>By investigator per RECIST 1.1</a:t>
            </a:r>
            <a:endParaRPr kumimoji="0" lang="en-HK" sz="800" b="0" i="0" u="none" strike="noStrike" kern="1200" cap="none" spc="0" normalizeH="0" baseline="0" noProof="0" dirty="0" err="1">
              <a:ln>
                <a:noFill/>
              </a:ln>
              <a:solidFill>
                <a:srgbClr val="000000"/>
              </a:solidFill>
              <a:effectLst/>
              <a:uLnTx/>
              <a:uFillTx/>
              <a:latin typeface="Johnson Text"/>
              <a:ea typeface="+mn-ea"/>
              <a:cs typeface="+mn-cs"/>
            </a:endParaRPr>
          </a:p>
        </p:txBody>
      </p:sp>
      <p:sp>
        <p:nvSpPr>
          <p:cNvPr id="91" name="TextBox 14">
            <a:extLst>
              <a:ext uri="{FF2B5EF4-FFF2-40B4-BE49-F238E27FC236}">
                <a16:creationId xmlns:a16="http://schemas.microsoft.com/office/drawing/2014/main" id="{4D340E68-07FC-C1B2-B5EB-F4D328E2A2D7}"/>
              </a:ext>
            </a:extLst>
          </p:cNvPr>
          <p:cNvSpPr txBox="1"/>
          <p:nvPr/>
        </p:nvSpPr>
        <p:spPr>
          <a:xfrm>
            <a:off x="8365461" y="1857107"/>
            <a:ext cx="3775075" cy="1510306"/>
          </a:xfrm>
          <a:prstGeom prst="rect">
            <a:avLst/>
          </a:prstGeom>
          <a:solidFill>
            <a:schemeClr val="bg1">
              <a:lumMod val="85000"/>
              <a:alpha val="48266"/>
            </a:schemeClr>
          </a:solidFill>
          <a:ln>
            <a:noFill/>
          </a:ln>
        </p:spPr>
        <p:txBody>
          <a:bodyPr wrap="square" lIns="182880" tIns="182880" rIns="182880" bIns="182880" rtlCol="0" anchor="ctr" anchorCtr="0">
            <a:noAutofit/>
          </a:bodyPr>
          <a:lstStyle/>
          <a:p>
            <a:pPr marL="0" marR="0" lvl="0" indent="0" algn="l" defTabSz="609508"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Johnson Text" pitchFamily="2" charset="77"/>
                <a:ea typeface="+mn-ea"/>
                <a:cs typeface="+mn-cs"/>
              </a:rPr>
              <a:t>Sustained exposure to pemetrexed is associated with improved efficacy demonstrated in the FLAURA2 study</a:t>
            </a:r>
          </a:p>
          <a:p>
            <a:pPr marL="0" marR="0" lvl="0" indent="0" algn="l" defTabSz="609508"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Johnson Text" pitchFamily="2" charset="77"/>
                <a:ea typeface="+mn-ea"/>
                <a:cs typeface="+mn-cs"/>
              </a:rPr>
              <a:t>Almost a quarter (23%) of patients in the FLAURA2 trial received &lt;3 cycles </a:t>
            </a:r>
            <a:br>
              <a:rPr kumimoji="0" lang="en-GB" sz="1400" b="0" i="0" u="none" strike="noStrike" kern="1200" cap="none" spc="0" normalizeH="0" baseline="0" noProof="0" dirty="0">
                <a:ln>
                  <a:noFill/>
                </a:ln>
                <a:solidFill>
                  <a:srgbClr val="000000">
                    <a:lumMod val="65000"/>
                    <a:lumOff val="35000"/>
                  </a:srgbClr>
                </a:solidFill>
                <a:effectLst/>
                <a:uLnTx/>
                <a:uFillTx/>
                <a:latin typeface="Johnson Text" pitchFamily="2" charset="77"/>
                <a:ea typeface="+mn-ea"/>
                <a:cs typeface="+mn-cs"/>
              </a:rPr>
            </a:br>
            <a:r>
              <a:rPr kumimoji="0" lang="en-GB" sz="1400" b="0" i="0" u="none" strike="noStrike" kern="1200" cap="none" spc="0" normalizeH="0" baseline="0" noProof="0" dirty="0">
                <a:ln>
                  <a:noFill/>
                </a:ln>
                <a:solidFill>
                  <a:srgbClr val="000000">
                    <a:lumMod val="65000"/>
                    <a:lumOff val="35000"/>
                  </a:srgbClr>
                </a:solidFill>
                <a:effectLst/>
                <a:uLnTx/>
                <a:uFillTx/>
                <a:latin typeface="Johnson Text" pitchFamily="2" charset="77"/>
                <a:ea typeface="+mn-ea"/>
                <a:cs typeface="+mn-cs"/>
              </a:rPr>
              <a:t>of pemetrexed</a:t>
            </a:r>
          </a:p>
        </p:txBody>
      </p:sp>
      <p:graphicFrame>
        <p:nvGraphicFramePr>
          <p:cNvPr id="92" name="Table 8">
            <a:extLst>
              <a:ext uri="{FF2B5EF4-FFF2-40B4-BE49-F238E27FC236}">
                <a16:creationId xmlns:a16="http://schemas.microsoft.com/office/drawing/2014/main" id="{6AC509B4-C760-4008-F3C8-B81F62F4379F}"/>
              </a:ext>
            </a:extLst>
          </p:cNvPr>
          <p:cNvGraphicFramePr>
            <a:graphicFrameLocks noGrp="1"/>
          </p:cNvGraphicFramePr>
          <p:nvPr/>
        </p:nvGraphicFramePr>
        <p:xfrm>
          <a:off x="8365461" y="3494883"/>
          <a:ext cx="3775075" cy="1371600"/>
        </p:xfrm>
        <a:graphic>
          <a:graphicData uri="http://schemas.openxmlformats.org/drawingml/2006/table">
            <a:tbl>
              <a:tblPr firstRow="1">
                <a:effectLst/>
              </a:tblPr>
              <a:tblGrid>
                <a:gridCol w="2131092">
                  <a:extLst>
                    <a:ext uri="{9D8B030D-6E8A-4147-A177-3AD203B41FA5}">
                      <a16:colId xmlns:a16="http://schemas.microsoft.com/office/drawing/2014/main" val="3609005308"/>
                    </a:ext>
                  </a:extLst>
                </a:gridCol>
                <a:gridCol w="1643983">
                  <a:extLst>
                    <a:ext uri="{9D8B030D-6E8A-4147-A177-3AD203B41FA5}">
                      <a16:colId xmlns:a16="http://schemas.microsoft.com/office/drawing/2014/main" val="3388733588"/>
                    </a:ext>
                  </a:extLst>
                </a:gridCol>
              </a:tblGrid>
              <a:tr h="274320">
                <a:tc gridSpan="2">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algn="l" defTabSz="914400" rtl="0" eaLnBrk="1" latinLnBrk="0" hangingPunct="1"/>
                      <a:r>
                        <a:rPr lang="en-US" sz="1200" b="0" i="0" kern="1200" noProof="0" dirty="0">
                          <a:solidFill>
                            <a:schemeClr val="tx1"/>
                          </a:solidFill>
                          <a:latin typeface="Johnson Text" pitchFamily="2" charset="77"/>
                          <a:ea typeface="+mn-ea"/>
                          <a:cs typeface="Arial" panose="020B0604020202020204" pitchFamily="34" charset="0"/>
                        </a:rPr>
                        <a:t>Median PFS, months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hMerge="1">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15754074"/>
                  </a:ext>
                </a:extLst>
              </a:tr>
              <a:tr h="27432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200" b="0" i="0" noProof="0" dirty="0">
                          <a:solidFill>
                            <a:schemeClr val="tx1"/>
                          </a:solidFill>
                          <a:latin typeface="Johnson Text" pitchFamily="2" charset="77"/>
                          <a:cs typeface="Arial" panose="020B0604020202020204" pitchFamily="34" charset="0"/>
                        </a:rPr>
                        <a:t>0</a:t>
                      </a:r>
                      <a:r>
                        <a:rPr lang="it-IT" sz="1200" b="0" i="0" kern="1200" dirty="0">
                          <a:solidFill>
                            <a:srgbClr val="000000"/>
                          </a:solidFill>
                          <a:latin typeface="Johnson Text" pitchFamily="2" charset="77"/>
                          <a:ea typeface="+mn-ea"/>
                          <a:cs typeface="Arial" panose="020B0604020202020204" pitchFamily="34" charset="0"/>
                        </a:rPr>
                        <a:t>–</a:t>
                      </a:r>
                      <a:r>
                        <a:rPr lang="en-US" sz="1200" b="0" i="0" noProof="0" dirty="0">
                          <a:solidFill>
                            <a:schemeClr val="tx1"/>
                          </a:solidFill>
                          <a:latin typeface="Johnson Text" pitchFamily="2" charset="77"/>
                          <a:cs typeface="Arial" panose="020B0604020202020204" pitchFamily="34" charset="0"/>
                        </a:rPr>
                        <a:t>&lt;3 months (n=63)</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200" b="0" i="0" kern="1200" noProof="0" dirty="0">
                          <a:solidFill>
                            <a:srgbClr val="000000"/>
                          </a:solidFill>
                          <a:latin typeface="Johnson Text" pitchFamily="2" charset="77"/>
                          <a:ea typeface="+mn-ea"/>
                          <a:cs typeface="Arial" panose="020B0604020202020204" pitchFamily="34" charset="0"/>
                        </a:rPr>
                        <a:t>13.1 (8.4</a:t>
                      </a:r>
                      <a:r>
                        <a:rPr lang="it-IT" sz="1200" b="0" i="0" kern="1200" dirty="0">
                          <a:solidFill>
                            <a:srgbClr val="000000"/>
                          </a:solidFill>
                          <a:latin typeface="Johnson Text" pitchFamily="2" charset="77"/>
                          <a:ea typeface="+mn-ea"/>
                          <a:cs typeface="Arial" panose="020B0604020202020204" pitchFamily="34" charset="0"/>
                        </a:rPr>
                        <a:t>–</a:t>
                      </a:r>
                      <a:r>
                        <a:rPr lang="en-US" sz="1200" b="0" i="0" kern="1200" noProof="0" dirty="0">
                          <a:solidFill>
                            <a:srgbClr val="000000"/>
                          </a:solidFill>
                          <a:latin typeface="Johnson Text" pitchFamily="2" charset="77"/>
                          <a:ea typeface="+mn-ea"/>
                          <a:cs typeface="Arial" panose="020B0604020202020204" pitchFamily="34" charset="0"/>
                        </a:rPr>
                        <a:t>22.2)</a:t>
                      </a:r>
                      <a:endParaRPr lang="en-US" sz="1200" b="0" i="0" kern="1200" noProof="0" dirty="0">
                        <a:solidFill>
                          <a:schemeClr val="tx1"/>
                        </a:solidFill>
                        <a:latin typeface="Johnson Text" pitchFamily="2" charset="77"/>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50000"/>
                      </a:schemeClr>
                    </a:solidFill>
                  </a:tcPr>
                </a:tc>
                <a:extLst>
                  <a:ext uri="{0D108BD9-81ED-4DB2-BD59-A6C34878D82A}">
                    <a16:rowId xmlns:a16="http://schemas.microsoft.com/office/drawing/2014/main" val="1300018867"/>
                  </a:ext>
                </a:extLst>
              </a:tr>
              <a:tr h="27432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200" b="0" i="0" noProof="0" dirty="0">
                          <a:solidFill>
                            <a:schemeClr val="tx1"/>
                          </a:solidFill>
                          <a:latin typeface="Johnson Text" pitchFamily="2" charset="77"/>
                          <a:cs typeface="Arial" panose="020B0604020202020204" pitchFamily="34" charset="0"/>
                        </a:rPr>
                        <a:t>3</a:t>
                      </a:r>
                      <a:r>
                        <a:rPr lang="it-IT" sz="1200" b="0" i="0" kern="1200" dirty="0">
                          <a:solidFill>
                            <a:srgbClr val="000000"/>
                          </a:solidFill>
                          <a:latin typeface="Johnson Text" pitchFamily="2" charset="77"/>
                          <a:ea typeface="+mn-ea"/>
                          <a:cs typeface="Arial" panose="020B0604020202020204" pitchFamily="34" charset="0"/>
                        </a:rPr>
                        <a:t>–</a:t>
                      </a:r>
                      <a:r>
                        <a:rPr lang="en-US" sz="1200" b="0" i="0" noProof="0" dirty="0">
                          <a:solidFill>
                            <a:schemeClr val="tx1"/>
                          </a:solidFill>
                          <a:latin typeface="Johnson Text" pitchFamily="2" charset="77"/>
                          <a:cs typeface="Arial" panose="020B0604020202020204" pitchFamily="34" charset="0"/>
                        </a:rPr>
                        <a:t>&lt;9 months (n=84)</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200" b="0" i="0" kern="1200" noProof="0" dirty="0">
                          <a:solidFill>
                            <a:srgbClr val="000000"/>
                          </a:solidFill>
                          <a:latin typeface="Johnson Text" pitchFamily="2" charset="77"/>
                          <a:ea typeface="+mn-ea"/>
                          <a:cs typeface="Arial" panose="020B0604020202020204" pitchFamily="34" charset="0"/>
                        </a:rPr>
                        <a:t>24.7 (19.6</a:t>
                      </a:r>
                      <a:r>
                        <a:rPr lang="it-IT" sz="1200" b="0" i="0" kern="1200" dirty="0">
                          <a:solidFill>
                            <a:srgbClr val="000000"/>
                          </a:solidFill>
                          <a:latin typeface="Johnson Text" pitchFamily="2" charset="77"/>
                          <a:ea typeface="+mn-ea"/>
                          <a:cs typeface="Arial" panose="020B0604020202020204" pitchFamily="34" charset="0"/>
                        </a:rPr>
                        <a:t>–</a:t>
                      </a:r>
                      <a:r>
                        <a:rPr lang="en-US" sz="1200" b="0" i="0" kern="1200" noProof="0" dirty="0">
                          <a:solidFill>
                            <a:srgbClr val="000000"/>
                          </a:solidFill>
                          <a:latin typeface="Johnson Text" pitchFamily="2" charset="77"/>
                          <a:ea typeface="+mn-ea"/>
                          <a:cs typeface="Arial" panose="020B0604020202020204" pitchFamily="34" charset="0"/>
                        </a:rPr>
                        <a:t>NC)</a:t>
                      </a:r>
                      <a:endParaRPr lang="en-US" sz="1200" b="0" i="0" kern="1200" noProof="0" dirty="0">
                        <a:solidFill>
                          <a:schemeClr val="tx1"/>
                        </a:solidFill>
                        <a:latin typeface="Johnson Text" pitchFamily="2" charset="77"/>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alpha val="50000"/>
                      </a:schemeClr>
                    </a:solidFill>
                  </a:tcPr>
                </a:tc>
                <a:extLst>
                  <a:ext uri="{0D108BD9-81ED-4DB2-BD59-A6C34878D82A}">
                    <a16:rowId xmlns:a16="http://schemas.microsoft.com/office/drawing/2014/main" val="341914406"/>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noProof="0" dirty="0">
                          <a:solidFill>
                            <a:schemeClr val="tx1"/>
                          </a:solidFill>
                          <a:latin typeface="Johnson Text" pitchFamily="2" charset="77"/>
                          <a:cs typeface="Arial" panose="020B0604020202020204" pitchFamily="34" charset="0"/>
                        </a:rPr>
                        <a:t>9</a:t>
                      </a:r>
                      <a:r>
                        <a:rPr lang="it-IT" sz="1200" b="0" i="0" kern="1200" dirty="0">
                          <a:solidFill>
                            <a:srgbClr val="000000"/>
                          </a:solidFill>
                          <a:latin typeface="Johnson Text" pitchFamily="2" charset="77"/>
                          <a:ea typeface="+mn-ea"/>
                          <a:cs typeface="Arial" panose="020B0604020202020204" pitchFamily="34" charset="0"/>
                        </a:rPr>
                        <a:t>–</a:t>
                      </a:r>
                      <a:r>
                        <a:rPr lang="en-US" sz="1200" b="0" i="0" noProof="0" dirty="0">
                          <a:solidFill>
                            <a:schemeClr val="tx1"/>
                          </a:solidFill>
                          <a:latin typeface="Johnson Text" pitchFamily="2" charset="77"/>
                          <a:cs typeface="Arial" panose="020B0604020202020204" pitchFamily="34" charset="0"/>
                        </a:rPr>
                        <a:t>&lt;18 months (n=49)</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en-US" sz="1200" b="0" i="0" kern="1200" noProof="0" dirty="0">
                          <a:solidFill>
                            <a:schemeClr val="tx1"/>
                          </a:solidFill>
                          <a:latin typeface="Johnson Text" pitchFamily="2" charset="77"/>
                          <a:ea typeface="+mn-ea"/>
                          <a:cs typeface="Arial" panose="020B0604020202020204" pitchFamily="34" charset="0"/>
                        </a:rPr>
                        <a:t>27.6 (16.7</a:t>
                      </a:r>
                      <a:r>
                        <a:rPr lang="it-IT" sz="1200" b="0" i="0" kern="1200" dirty="0">
                          <a:solidFill>
                            <a:srgbClr val="000000"/>
                          </a:solidFill>
                          <a:latin typeface="Johnson Text" pitchFamily="2" charset="77"/>
                          <a:ea typeface="+mn-ea"/>
                          <a:cs typeface="Arial" panose="020B0604020202020204" pitchFamily="34" charset="0"/>
                        </a:rPr>
                        <a:t>–</a:t>
                      </a:r>
                      <a:r>
                        <a:rPr lang="en-US" sz="1200" b="0" i="0" kern="1200" noProof="0" dirty="0">
                          <a:solidFill>
                            <a:schemeClr val="tx1"/>
                          </a:solidFill>
                          <a:latin typeface="Johnson Text" pitchFamily="2" charset="77"/>
                          <a:ea typeface="+mn-ea"/>
                          <a:cs typeface="Arial" panose="020B0604020202020204" pitchFamily="34" charset="0"/>
                        </a:rPr>
                        <a:t>N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50000"/>
                      </a:schemeClr>
                    </a:solidFill>
                  </a:tcPr>
                </a:tc>
                <a:extLst>
                  <a:ext uri="{0D108BD9-81ED-4DB2-BD59-A6C34878D82A}">
                    <a16:rowId xmlns:a16="http://schemas.microsoft.com/office/drawing/2014/main" val="539007641"/>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noProof="0" dirty="0">
                          <a:solidFill>
                            <a:schemeClr val="tx1"/>
                          </a:solidFill>
                          <a:latin typeface="Johnson Text" pitchFamily="2" charset="77"/>
                          <a:cs typeface="Arial" panose="020B0604020202020204" pitchFamily="34" charset="0"/>
                        </a:rPr>
                        <a:t>≥18 months (n=83)</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1200" b="0" i="0" kern="1200" noProof="0" dirty="0">
                          <a:solidFill>
                            <a:schemeClr val="tx1"/>
                          </a:solidFill>
                          <a:latin typeface="Johnson Text" pitchFamily="2" charset="77"/>
                          <a:ea typeface="+mn-ea"/>
                          <a:cs typeface="Arial" panose="020B0604020202020204" pitchFamily="34" charset="0"/>
                        </a:rPr>
                        <a:t>30.6 (27.4</a:t>
                      </a:r>
                      <a:r>
                        <a:rPr lang="it-IT" sz="1200" b="0" i="0" kern="1200" dirty="0">
                          <a:solidFill>
                            <a:srgbClr val="000000"/>
                          </a:solidFill>
                          <a:latin typeface="Johnson Text" pitchFamily="2" charset="77"/>
                          <a:ea typeface="+mn-ea"/>
                          <a:cs typeface="Arial" panose="020B0604020202020204" pitchFamily="34" charset="0"/>
                        </a:rPr>
                        <a:t>–</a:t>
                      </a:r>
                      <a:r>
                        <a:rPr lang="en-US" sz="1200" b="0" i="0" kern="1200" noProof="0" dirty="0">
                          <a:solidFill>
                            <a:schemeClr val="tx1"/>
                          </a:solidFill>
                          <a:latin typeface="Johnson Text" pitchFamily="2" charset="77"/>
                          <a:ea typeface="+mn-ea"/>
                          <a:cs typeface="Arial" panose="020B0604020202020204" pitchFamily="34" charset="0"/>
                        </a:rPr>
                        <a:t>N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50000"/>
                      </a:schemeClr>
                    </a:solidFill>
                  </a:tcPr>
                </a:tc>
                <a:extLst>
                  <a:ext uri="{0D108BD9-81ED-4DB2-BD59-A6C34878D82A}">
                    <a16:rowId xmlns:a16="http://schemas.microsoft.com/office/drawing/2014/main" val="2296057935"/>
                  </a:ext>
                </a:extLst>
              </a:tr>
            </a:tbl>
          </a:graphicData>
        </a:graphic>
      </p:graphicFrame>
      <p:sp>
        <p:nvSpPr>
          <p:cNvPr id="93" name="TextBox 54">
            <a:extLst>
              <a:ext uri="{FF2B5EF4-FFF2-40B4-BE49-F238E27FC236}">
                <a16:creationId xmlns:a16="http://schemas.microsoft.com/office/drawing/2014/main" id="{DDF9874C-8525-60C6-00C4-561A7D0241C3}"/>
              </a:ext>
            </a:extLst>
          </p:cNvPr>
          <p:cNvSpPr txBox="1"/>
          <p:nvPr/>
        </p:nvSpPr>
        <p:spPr>
          <a:xfrm>
            <a:off x="503819" y="6448423"/>
            <a:ext cx="10990176" cy="215444"/>
          </a:xfrm>
          <a:prstGeom prst="rect">
            <a:avLst/>
          </a:prstGeom>
          <a:noFill/>
        </p:spPr>
        <p:txBody>
          <a:bodyPr wrap="square" lIns="0" tIns="0" rIns="0" bIns="0" rtlCol="0">
            <a:spAutoFit/>
          </a:bodyPr>
          <a:lstStyle/>
          <a:p>
            <a:pPr marL="0" marR="0" lvl="0" indent="0" algn="l" defTabSz="60950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Johnson Text" pitchFamily="2" charset="77"/>
                <a:ea typeface="+mn-ea"/>
                <a:cs typeface="+mn-cs"/>
              </a:rPr>
              <a:t>CI, confidence interval; NC, not calculable, PFS, progression-free survival; RECIST, Response Evaluation Criteria in Solid Tumors. </a:t>
            </a:r>
            <a:r>
              <a:rPr kumimoji="0" lang="en-HK" sz="700" b="0" i="0" u="none" strike="noStrike" kern="1200" cap="none" spc="0" normalizeH="0" baseline="0" noProof="0" dirty="0">
                <a:ln>
                  <a:noFill/>
                </a:ln>
                <a:solidFill>
                  <a:srgbClr val="000000"/>
                </a:solidFill>
                <a:effectLst/>
                <a:uLnTx/>
                <a:uFillTx/>
                <a:latin typeface="Johnson Text" pitchFamily="2" charset="77"/>
                <a:ea typeface="+mn-ea"/>
                <a:cs typeface="+mn-cs"/>
              </a:rPr>
              <a:t> </a:t>
            </a:r>
            <a:br>
              <a:rPr kumimoji="0" lang="en-HK" sz="700" b="0" i="0" u="none" strike="noStrike" kern="1200" cap="none" spc="0" normalizeH="0" baseline="0" noProof="0" dirty="0">
                <a:ln>
                  <a:noFill/>
                </a:ln>
                <a:solidFill>
                  <a:srgbClr val="000000"/>
                </a:solidFill>
                <a:effectLst/>
                <a:uLnTx/>
                <a:uFillTx/>
                <a:latin typeface="Johnson Text" pitchFamily="2" charset="77"/>
                <a:ea typeface="+mn-ea"/>
                <a:cs typeface="+mn-cs"/>
              </a:rPr>
            </a:br>
            <a:r>
              <a:rPr kumimoji="0" lang="en-HK" sz="700" b="0" i="0" u="none" strike="noStrike" kern="1200" cap="none" spc="0" normalizeH="0" baseline="0" noProof="0" dirty="0">
                <a:ln>
                  <a:noFill/>
                </a:ln>
                <a:solidFill>
                  <a:srgbClr val="000000"/>
                </a:solidFill>
                <a:effectLst/>
                <a:uLnTx/>
                <a:uFillTx/>
                <a:latin typeface="Johnson Text" pitchFamily="2" charset="77"/>
                <a:ea typeface="+mn-ea"/>
                <a:cs typeface="+mn-cs"/>
              </a:rPr>
              <a:t>Planchard D, et al. Presented at ELCC 2025. Poster 53P.</a:t>
            </a:r>
            <a:r>
              <a:rPr kumimoji="0" lang="en-US" sz="700" b="0" i="0" u="none" strike="noStrike" kern="1200" cap="none" spc="0" normalizeH="0" baseline="0" noProof="0" dirty="0">
                <a:ln>
                  <a:noFill/>
                </a:ln>
                <a:solidFill>
                  <a:srgbClr val="000000"/>
                </a:solidFill>
                <a:effectLst/>
                <a:uLnTx/>
                <a:uFillTx/>
                <a:latin typeface="Johnson Text" pitchFamily="2" charset="77"/>
                <a:ea typeface="+mn-ea"/>
                <a:cs typeface="+mn-cs"/>
              </a:rPr>
              <a:t> </a:t>
            </a:r>
            <a:endParaRPr kumimoji="0" lang="en-HK" sz="700" b="0" i="0" u="none" strike="noStrike" kern="1200" cap="none" spc="0" normalizeH="0" baseline="0" noProof="0" dirty="0" err="1">
              <a:ln>
                <a:noFill/>
              </a:ln>
              <a:solidFill>
                <a:srgbClr val="000000"/>
              </a:solidFill>
              <a:effectLst/>
              <a:uLnTx/>
              <a:uFillTx/>
              <a:latin typeface="Johnson Text" pitchFamily="2" charset="77"/>
              <a:ea typeface="+mn-ea"/>
              <a:cs typeface="+mn-cs"/>
            </a:endParaRPr>
          </a:p>
        </p:txBody>
      </p:sp>
    </p:spTree>
    <p:extLst>
      <p:ext uri="{BB962C8B-B14F-4D97-AF65-F5344CB8AC3E}">
        <p14:creationId xmlns:p14="http://schemas.microsoft.com/office/powerpoint/2010/main" val="20577796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F4D9B2-C856-EBF3-98A0-15D56BF80E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393027-D2AE-FE2E-D001-4DB7E44D56BB}"/>
              </a:ext>
            </a:extLst>
          </p:cNvPr>
          <p:cNvSpPr>
            <a:spLocks noGrp="1"/>
          </p:cNvSpPr>
          <p:nvPr>
            <p:ph type="title"/>
          </p:nvPr>
        </p:nvSpPr>
        <p:spPr/>
        <p:txBody>
          <a:bodyPr/>
          <a:lstStyle/>
          <a:p>
            <a:r>
              <a:rPr lang="en-GB" noProof="0" dirty="0" err="1"/>
              <a:t>Amivantamab</a:t>
            </a:r>
            <a:r>
              <a:rPr lang="en-GB" noProof="0" dirty="0"/>
              <a:t> + </a:t>
            </a:r>
            <a:r>
              <a:rPr lang="en-GB" noProof="0" dirty="0" err="1"/>
              <a:t>lazertinib</a:t>
            </a:r>
            <a:r>
              <a:rPr lang="en-GB" noProof="0" dirty="0"/>
              <a:t>: Disease-modifying, </a:t>
            </a:r>
            <a:r>
              <a:rPr lang="en-GB" noProof="0" dirty="0" err="1"/>
              <a:t>ChT</a:t>
            </a:r>
            <a:r>
              <a:rPr lang="en-GB" noProof="0" dirty="0"/>
              <a:t>-free</a:t>
            </a:r>
            <a:r>
              <a:rPr lang="en-GB" dirty="0"/>
              <a:t>,</a:t>
            </a:r>
            <a:r>
              <a:rPr lang="en-GB" noProof="0" dirty="0"/>
              <a:t> triple MoA</a:t>
            </a:r>
            <a:r>
              <a:rPr lang="en-GB" baseline="30000" noProof="0" dirty="0"/>
              <a:t>1</a:t>
            </a:r>
            <a:r>
              <a:rPr lang="en-GB" baseline="30000" noProof="0" dirty="0">
                <a:ea typeface="Calibri" panose="020F0502020204030204" pitchFamily="34" charset="0"/>
              </a:rPr>
              <a:t>–</a:t>
            </a:r>
            <a:r>
              <a:rPr lang="en-GB" baseline="30000" noProof="0" dirty="0"/>
              <a:t>3</a:t>
            </a:r>
          </a:p>
        </p:txBody>
      </p:sp>
      <p:sp>
        <p:nvSpPr>
          <p:cNvPr id="4" name="Text Placeholder 3">
            <a:extLst>
              <a:ext uri="{FF2B5EF4-FFF2-40B4-BE49-F238E27FC236}">
                <a16:creationId xmlns:a16="http://schemas.microsoft.com/office/drawing/2014/main" id="{9842CA1A-85EF-64EA-2DDC-46D29F296866}"/>
              </a:ext>
            </a:extLst>
          </p:cNvPr>
          <p:cNvSpPr>
            <a:spLocks noGrp="1"/>
          </p:cNvSpPr>
          <p:nvPr>
            <p:ph type="body" sz="quarter" idx="13"/>
          </p:nvPr>
        </p:nvSpPr>
        <p:spPr>
          <a:xfrm>
            <a:off x="6096000" y="6524625"/>
            <a:ext cx="5662909" cy="234274"/>
          </a:xfrm>
        </p:spPr>
        <p:txBody>
          <a:bodyPr/>
          <a:lstStyle/>
          <a:p>
            <a:r>
              <a:rPr lang="en-GB" noProof="0"/>
              <a:t>ADCC, antibody-dependent cellular cytotoxicity; ChT, chemotherapy; EGF, epidermal growth factor; </a:t>
            </a:r>
            <a:br>
              <a:rPr lang="en-GB" noProof="0"/>
            </a:br>
            <a:r>
              <a:rPr lang="en-GB"/>
              <a:t>HGF, hepatocyte growth factor; </a:t>
            </a:r>
            <a:r>
              <a:rPr lang="en-GB" noProof="0" err="1"/>
              <a:t>MoA</a:t>
            </a:r>
            <a:r>
              <a:rPr lang="en-GB" noProof="0"/>
              <a:t>, mechanism of action; NK, natural killer.</a:t>
            </a:r>
          </a:p>
        </p:txBody>
      </p:sp>
      <p:sp>
        <p:nvSpPr>
          <p:cNvPr id="5" name="Text Placeholder 4">
            <a:extLst>
              <a:ext uri="{FF2B5EF4-FFF2-40B4-BE49-F238E27FC236}">
                <a16:creationId xmlns:a16="http://schemas.microsoft.com/office/drawing/2014/main" id="{586DA7F4-991C-1A8D-A98A-7D677C5E71BB}"/>
              </a:ext>
            </a:extLst>
          </p:cNvPr>
          <p:cNvSpPr>
            <a:spLocks noGrp="1"/>
          </p:cNvSpPr>
          <p:nvPr>
            <p:ph type="body" sz="quarter" idx="15"/>
          </p:nvPr>
        </p:nvSpPr>
        <p:spPr>
          <a:xfrm>
            <a:off x="442913" y="6524625"/>
            <a:ext cx="3421062" cy="230832"/>
          </a:xfrm>
        </p:spPr>
        <p:txBody>
          <a:bodyPr/>
          <a:lstStyle/>
          <a:p>
            <a:r>
              <a:rPr lang="en-GB" noProof="0" dirty="0">
                <a:ea typeface="Times New Roman" panose="02020603050405020304" pitchFamily="18" charset="0"/>
              </a:rPr>
              <a:t>1</a:t>
            </a:r>
            <a:r>
              <a:rPr lang="en-GB" noProof="0" dirty="0">
                <a:effectLst/>
                <a:ea typeface="Times New Roman" panose="02020603050405020304" pitchFamily="18" charset="0"/>
              </a:rPr>
              <a:t>. </a:t>
            </a:r>
            <a:r>
              <a:rPr lang="en-GB" dirty="0"/>
              <a:t>Hayashi H, et al. Presented at WCLC 2025: PT1.03.06; 2. </a:t>
            </a:r>
            <a:r>
              <a:rPr lang="en-GB" noProof="0" dirty="0">
                <a:effectLst/>
                <a:ea typeface="Times New Roman" panose="02020603050405020304" pitchFamily="18" charset="0"/>
              </a:rPr>
              <a:t>Cho BC, et al. </a:t>
            </a:r>
            <a:r>
              <a:rPr lang="en-GB" i="1" noProof="0" dirty="0">
                <a:effectLst/>
                <a:ea typeface="Times New Roman" panose="02020603050405020304" pitchFamily="18" charset="0"/>
              </a:rPr>
              <a:t>Clin Lung Cancer</a:t>
            </a:r>
            <a:r>
              <a:rPr lang="en-GB" noProof="0" dirty="0">
                <a:effectLst/>
                <a:ea typeface="Times New Roman" panose="02020603050405020304" pitchFamily="18" charset="0"/>
              </a:rPr>
              <a:t>. 2023;24:89–97; 3. Shu CA, et al. </a:t>
            </a:r>
            <a:r>
              <a:rPr lang="en-GB" noProof="0" dirty="0">
                <a:ea typeface="Times New Roman" panose="02020603050405020304" pitchFamily="18" charset="0"/>
              </a:rPr>
              <a:t>Presented at ASCO 2021: TPS9132.</a:t>
            </a:r>
            <a:endParaRPr lang="en-GB" noProof="0" dirty="0"/>
          </a:p>
        </p:txBody>
      </p:sp>
      <p:sp>
        <p:nvSpPr>
          <p:cNvPr id="41" name="Freeform: Shape 40">
            <a:extLst>
              <a:ext uri="{FF2B5EF4-FFF2-40B4-BE49-F238E27FC236}">
                <a16:creationId xmlns:a16="http://schemas.microsoft.com/office/drawing/2014/main" id="{D79218CA-5C27-4C10-AB5B-E05FB265171C}"/>
              </a:ext>
            </a:extLst>
          </p:cNvPr>
          <p:cNvSpPr/>
          <p:nvPr/>
        </p:nvSpPr>
        <p:spPr>
          <a:xfrm rot="5400000">
            <a:off x="3429840" y="1596969"/>
            <a:ext cx="4735213" cy="3662157"/>
          </a:xfrm>
          <a:custGeom>
            <a:avLst/>
            <a:gdLst>
              <a:gd name="connsiteX0" fmla="*/ 0 w 4682970"/>
              <a:gd name="connsiteY0" fmla="*/ 2558449 h 2558449"/>
              <a:gd name="connsiteX1" fmla="*/ 0 w 4682970"/>
              <a:gd name="connsiteY1" fmla="*/ 202074 h 2558449"/>
              <a:gd name="connsiteX2" fmla="*/ 1391315 w 4682970"/>
              <a:gd name="connsiteY2" fmla="*/ 202074 h 2558449"/>
              <a:gd name="connsiteX3" fmla="*/ 1731459 w 4682970"/>
              <a:gd name="connsiteY3" fmla="*/ 0 h 2558449"/>
              <a:gd name="connsiteX4" fmla="*/ 2071603 w 4682970"/>
              <a:gd name="connsiteY4" fmla="*/ 202074 h 2558449"/>
              <a:gd name="connsiteX5" fmla="*/ 4682970 w 4682970"/>
              <a:gd name="connsiteY5" fmla="*/ 202074 h 2558449"/>
              <a:gd name="connsiteX6" fmla="*/ 4682970 w 4682970"/>
              <a:gd name="connsiteY6" fmla="*/ 2558449 h 2558449"/>
              <a:gd name="connsiteX0" fmla="*/ 0 w 4682970"/>
              <a:gd name="connsiteY0" fmla="*/ 2529874 h 2529874"/>
              <a:gd name="connsiteX1" fmla="*/ 0 w 4682970"/>
              <a:gd name="connsiteY1" fmla="*/ 173499 h 2529874"/>
              <a:gd name="connsiteX2" fmla="*/ 1391315 w 4682970"/>
              <a:gd name="connsiteY2" fmla="*/ 173499 h 2529874"/>
              <a:gd name="connsiteX3" fmla="*/ 1864462 w 4682970"/>
              <a:gd name="connsiteY3" fmla="*/ 0 h 2529874"/>
              <a:gd name="connsiteX4" fmla="*/ 2071603 w 4682970"/>
              <a:gd name="connsiteY4" fmla="*/ 173499 h 2529874"/>
              <a:gd name="connsiteX5" fmla="*/ 4682970 w 4682970"/>
              <a:gd name="connsiteY5" fmla="*/ 173499 h 2529874"/>
              <a:gd name="connsiteX6" fmla="*/ 4682970 w 4682970"/>
              <a:gd name="connsiteY6" fmla="*/ 2529874 h 2529874"/>
              <a:gd name="connsiteX7" fmla="*/ 0 w 4682970"/>
              <a:gd name="connsiteY7" fmla="*/ 2529874 h 2529874"/>
              <a:gd name="connsiteX0" fmla="*/ 0 w 4682970"/>
              <a:gd name="connsiteY0" fmla="*/ 2529874 h 2529874"/>
              <a:gd name="connsiteX1" fmla="*/ 0 w 4682970"/>
              <a:gd name="connsiteY1" fmla="*/ 173499 h 2529874"/>
              <a:gd name="connsiteX2" fmla="*/ 1391315 w 4682970"/>
              <a:gd name="connsiteY2" fmla="*/ 173499 h 2529874"/>
              <a:gd name="connsiteX3" fmla="*/ 1864462 w 4682970"/>
              <a:gd name="connsiteY3" fmla="*/ 0 h 2529874"/>
              <a:gd name="connsiteX4" fmla="*/ 2257809 w 4682970"/>
              <a:gd name="connsiteY4" fmla="*/ 173499 h 2529874"/>
              <a:gd name="connsiteX5" fmla="*/ 4682970 w 4682970"/>
              <a:gd name="connsiteY5" fmla="*/ 173499 h 2529874"/>
              <a:gd name="connsiteX6" fmla="*/ 4682970 w 4682970"/>
              <a:gd name="connsiteY6" fmla="*/ 2529874 h 2529874"/>
              <a:gd name="connsiteX7" fmla="*/ 0 w 4682970"/>
              <a:gd name="connsiteY7" fmla="*/ 2529874 h 2529874"/>
              <a:gd name="connsiteX0" fmla="*/ 0 w 4682970"/>
              <a:gd name="connsiteY0" fmla="*/ 2529875 h 2529875"/>
              <a:gd name="connsiteX1" fmla="*/ 0 w 4682970"/>
              <a:gd name="connsiteY1" fmla="*/ 173500 h 2529875"/>
              <a:gd name="connsiteX2" fmla="*/ 1391315 w 4682970"/>
              <a:gd name="connsiteY2" fmla="*/ 173500 h 2529875"/>
              <a:gd name="connsiteX3" fmla="*/ 1811262 w 4682970"/>
              <a:gd name="connsiteY3" fmla="*/ 0 h 2529875"/>
              <a:gd name="connsiteX4" fmla="*/ 2257809 w 4682970"/>
              <a:gd name="connsiteY4" fmla="*/ 173500 h 2529875"/>
              <a:gd name="connsiteX5" fmla="*/ 4682970 w 4682970"/>
              <a:gd name="connsiteY5" fmla="*/ 173500 h 2529875"/>
              <a:gd name="connsiteX6" fmla="*/ 4682970 w 4682970"/>
              <a:gd name="connsiteY6" fmla="*/ 2529875 h 2529875"/>
              <a:gd name="connsiteX7" fmla="*/ 0 w 4682970"/>
              <a:gd name="connsiteY7" fmla="*/ 2529875 h 2529875"/>
              <a:gd name="connsiteX0" fmla="*/ 0 w 4682970"/>
              <a:gd name="connsiteY0" fmla="*/ 2529875 h 2529875"/>
              <a:gd name="connsiteX1" fmla="*/ 0 w 4682970"/>
              <a:gd name="connsiteY1" fmla="*/ 173500 h 2529875"/>
              <a:gd name="connsiteX2" fmla="*/ 1391315 w 4682970"/>
              <a:gd name="connsiteY2" fmla="*/ 173500 h 2529875"/>
              <a:gd name="connsiteX3" fmla="*/ 1837863 w 4682970"/>
              <a:gd name="connsiteY3" fmla="*/ 0 h 2529875"/>
              <a:gd name="connsiteX4" fmla="*/ 2257809 w 4682970"/>
              <a:gd name="connsiteY4" fmla="*/ 173500 h 2529875"/>
              <a:gd name="connsiteX5" fmla="*/ 4682970 w 4682970"/>
              <a:gd name="connsiteY5" fmla="*/ 173500 h 2529875"/>
              <a:gd name="connsiteX6" fmla="*/ 4682970 w 4682970"/>
              <a:gd name="connsiteY6" fmla="*/ 2529875 h 2529875"/>
              <a:gd name="connsiteX7" fmla="*/ 0 w 4682970"/>
              <a:gd name="connsiteY7" fmla="*/ 2529875 h 2529875"/>
              <a:gd name="connsiteX0" fmla="*/ 0 w 4682970"/>
              <a:gd name="connsiteY0" fmla="*/ 2356375 h 2356375"/>
              <a:gd name="connsiteX1" fmla="*/ 0 w 4682970"/>
              <a:gd name="connsiteY1" fmla="*/ 0 h 2356375"/>
              <a:gd name="connsiteX2" fmla="*/ 1391315 w 4682970"/>
              <a:gd name="connsiteY2" fmla="*/ 0 h 2356375"/>
              <a:gd name="connsiteX3" fmla="*/ 2257809 w 4682970"/>
              <a:gd name="connsiteY3" fmla="*/ 0 h 2356375"/>
              <a:gd name="connsiteX4" fmla="*/ 4682970 w 4682970"/>
              <a:gd name="connsiteY4" fmla="*/ 0 h 2356375"/>
              <a:gd name="connsiteX5" fmla="*/ 4682970 w 4682970"/>
              <a:gd name="connsiteY5" fmla="*/ 2356375 h 2356375"/>
              <a:gd name="connsiteX6" fmla="*/ 0 w 4682970"/>
              <a:gd name="connsiteY6" fmla="*/ 2356375 h 2356375"/>
              <a:gd name="connsiteX0" fmla="*/ 0 w 4682970"/>
              <a:gd name="connsiteY0" fmla="*/ 2356375 h 2356375"/>
              <a:gd name="connsiteX1" fmla="*/ 0 w 4682970"/>
              <a:gd name="connsiteY1" fmla="*/ 0 h 2356375"/>
              <a:gd name="connsiteX2" fmla="*/ 1391315 w 4682970"/>
              <a:gd name="connsiteY2" fmla="*/ 0 h 2356375"/>
              <a:gd name="connsiteX3" fmla="*/ 4682970 w 4682970"/>
              <a:gd name="connsiteY3" fmla="*/ 0 h 2356375"/>
              <a:gd name="connsiteX4" fmla="*/ 4682970 w 4682970"/>
              <a:gd name="connsiteY4" fmla="*/ 2356375 h 2356375"/>
              <a:gd name="connsiteX5" fmla="*/ 0 w 4682970"/>
              <a:gd name="connsiteY5" fmla="*/ 2356375 h 2356375"/>
              <a:gd name="connsiteX0" fmla="*/ 0 w 4682970"/>
              <a:gd name="connsiteY0" fmla="*/ 2356375 h 2356375"/>
              <a:gd name="connsiteX1" fmla="*/ 0 w 4682970"/>
              <a:gd name="connsiteY1" fmla="*/ 0 h 2356375"/>
              <a:gd name="connsiteX2" fmla="*/ 4682970 w 4682970"/>
              <a:gd name="connsiteY2" fmla="*/ 0 h 2356375"/>
              <a:gd name="connsiteX3" fmla="*/ 4682970 w 4682970"/>
              <a:gd name="connsiteY3" fmla="*/ 2356375 h 2356375"/>
              <a:gd name="connsiteX4" fmla="*/ 0 w 4682970"/>
              <a:gd name="connsiteY4" fmla="*/ 2356375 h 235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2970" h="2356375">
                <a:moveTo>
                  <a:pt x="0" y="2356375"/>
                </a:moveTo>
                <a:lnTo>
                  <a:pt x="0" y="0"/>
                </a:lnTo>
                <a:lnTo>
                  <a:pt x="4682970" y="0"/>
                </a:lnTo>
                <a:lnTo>
                  <a:pt x="4682970" y="2356375"/>
                </a:lnTo>
                <a:lnTo>
                  <a:pt x="0" y="2356375"/>
                </a:lnTo>
                <a:close/>
              </a:path>
            </a:pathLst>
          </a:custGeom>
          <a:gradFill flip="none" rotWithShape="1">
            <a:gsLst>
              <a:gs pos="0">
                <a:schemeClr val="accent6"/>
              </a:gs>
              <a:gs pos="100000">
                <a:schemeClr val="accent6"/>
              </a:gs>
              <a:gs pos="100000">
                <a:schemeClr val="accent5">
                  <a:lumMod val="50000"/>
                </a:schemeClr>
              </a:gs>
              <a:gs pos="29000">
                <a:schemeClr val="accent5">
                  <a:lumMod val="50000"/>
                </a:schemeClr>
              </a:gs>
            </a:gsLst>
            <a:lin ang="5400000" scaled="1"/>
            <a:tileRect/>
          </a:gradFill>
          <a:ln>
            <a:solidFill>
              <a:schemeClr val="bg1"/>
            </a:solidFill>
          </a:ln>
        </p:spPr>
        <p:txBody>
          <a:bodyPr wrap="square" lIns="108000" tIns="54000" rIns="108000" bIns="54000">
            <a:no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Freeform: Shape 41">
            <a:extLst>
              <a:ext uri="{FF2B5EF4-FFF2-40B4-BE49-F238E27FC236}">
                <a16:creationId xmlns:a16="http://schemas.microsoft.com/office/drawing/2014/main" id="{5309904D-C225-64C9-D551-B02FDC218FDD}"/>
              </a:ext>
            </a:extLst>
          </p:cNvPr>
          <p:cNvSpPr/>
          <p:nvPr/>
        </p:nvSpPr>
        <p:spPr>
          <a:xfrm rot="5400000">
            <a:off x="7428870" y="1308701"/>
            <a:ext cx="4735213" cy="4238693"/>
          </a:xfrm>
          <a:custGeom>
            <a:avLst/>
            <a:gdLst>
              <a:gd name="connsiteX0" fmla="*/ 0 w 4682970"/>
              <a:gd name="connsiteY0" fmla="*/ 2558449 h 2558449"/>
              <a:gd name="connsiteX1" fmla="*/ 0 w 4682970"/>
              <a:gd name="connsiteY1" fmla="*/ 202074 h 2558449"/>
              <a:gd name="connsiteX2" fmla="*/ 1391315 w 4682970"/>
              <a:gd name="connsiteY2" fmla="*/ 202074 h 2558449"/>
              <a:gd name="connsiteX3" fmla="*/ 1731459 w 4682970"/>
              <a:gd name="connsiteY3" fmla="*/ 0 h 2558449"/>
              <a:gd name="connsiteX4" fmla="*/ 2071603 w 4682970"/>
              <a:gd name="connsiteY4" fmla="*/ 202074 h 2558449"/>
              <a:gd name="connsiteX5" fmla="*/ 4682970 w 4682970"/>
              <a:gd name="connsiteY5" fmla="*/ 202074 h 2558449"/>
              <a:gd name="connsiteX6" fmla="*/ 4682970 w 4682970"/>
              <a:gd name="connsiteY6" fmla="*/ 2558449 h 2558449"/>
              <a:gd name="connsiteX0" fmla="*/ 0 w 4682970"/>
              <a:gd name="connsiteY0" fmla="*/ 2529874 h 2529874"/>
              <a:gd name="connsiteX1" fmla="*/ 0 w 4682970"/>
              <a:gd name="connsiteY1" fmla="*/ 173499 h 2529874"/>
              <a:gd name="connsiteX2" fmla="*/ 1391315 w 4682970"/>
              <a:gd name="connsiteY2" fmla="*/ 173499 h 2529874"/>
              <a:gd name="connsiteX3" fmla="*/ 1864462 w 4682970"/>
              <a:gd name="connsiteY3" fmla="*/ 0 h 2529874"/>
              <a:gd name="connsiteX4" fmla="*/ 2071603 w 4682970"/>
              <a:gd name="connsiteY4" fmla="*/ 173499 h 2529874"/>
              <a:gd name="connsiteX5" fmla="*/ 4682970 w 4682970"/>
              <a:gd name="connsiteY5" fmla="*/ 173499 h 2529874"/>
              <a:gd name="connsiteX6" fmla="*/ 4682970 w 4682970"/>
              <a:gd name="connsiteY6" fmla="*/ 2529874 h 2529874"/>
              <a:gd name="connsiteX7" fmla="*/ 0 w 4682970"/>
              <a:gd name="connsiteY7" fmla="*/ 2529874 h 2529874"/>
              <a:gd name="connsiteX0" fmla="*/ 0 w 4682970"/>
              <a:gd name="connsiteY0" fmla="*/ 2529874 h 2529874"/>
              <a:gd name="connsiteX1" fmla="*/ 0 w 4682970"/>
              <a:gd name="connsiteY1" fmla="*/ 173499 h 2529874"/>
              <a:gd name="connsiteX2" fmla="*/ 1391315 w 4682970"/>
              <a:gd name="connsiteY2" fmla="*/ 173499 h 2529874"/>
              <a:gd name="connsiteX3" fmla="*/ 1864462 w 4682970"/>
              <a:gd name="connsiteY3" fmla="*/ 0 h 2529874"/>
              <a:gd name="connsiteX4" fmla="*/ 2257809 w 4682970"/>
              <a:gd name="connsiteY4" fmla="*/ 173499 h 2529874"/>
              <a:gd name="connsiteX5" fmla="*/ 4682970 w 4682970"/>
              <a:gd name="connsiteY5" fmla="*/ 173499 h 2529874"/>
              <a:gd name="connsiteX6" fmla="*/ 4682970 w 4682970"/>
              <a:gd name="connsiteY6" fmla="*/ 2529874 h 2529874"/>
              <a:gd name="connsiteX7" fmla="*/ 0 w 4682970"/>
              <a:gd name="connsiteY7" fmla="*/ 2529874 h 2529874"/>
              <a:gd name="connsiteX0" fmla="*/ 0 w 4682970"/>
              <a:gd name="connsiteY0" fmla="*/ 2529875 h 2529875"/>
              <a:gd name="connsiteX1" fmla="*/ 0 w 4682970"/>
              <a:gd name="connsiteY1" fmla="*/ 173500 h 2529875"/>
              <a:gd name="connsiteX2" fmla="*/ 1391315 w 4682970"/>
              <a:gd name="connsiteY2" fmla="*/ 173500 h 2529875"/>
              <a:gd name="connsiteX3" fmla="*/ 1811262 w 4682970"/>
              <a:gd name="connsiteY3" fmla="*/ 0 h 2529875"/>
              <a:gd name="connsiteX4" fmla="*/ 2257809 w 4682970"/>
              <a:gd name="connsiteY4" fmla="*/ 173500 h 2529875"/>
              <a:gd name="connsiteX5" fmla="*/ 4682970 w 4682970"/>
              <a:gd name="connsiteY5" fmla="*/ 173500 h 2529875"/>
              <a:gd name="connsiteX6" fmla="*/ 4682970 w 4682970"/>
              <a:gd name="connsiteY6" fmla="*/ 2529875 h 2529875"/>
              <a:gd name="connsiteX7" fmla="*/ 0 w 4682970"/>
              <a:gd name="connsiteY7" fmla="*/ 2529875 h 2529875"/>
              <a:gd name="connsiteX0" fmla="*/ 0 w 4682970"/>
              <a:gd name="connsiteY0" fmla="*/ 2529875 h 2529875"/>
              <a:gd name="connsiteX1" fmla="*/ 0 w 4682970"/>
              <a:gd name="connsiteY1" fmla="*/ 173500 h 2529875"/>
              <a:gd name="connsiteX2" fmla="*/ 1391315 w 4682970"/>
              <a:gd name="connsiteY2" fmla="*/ 173500 h 2529875"/>
              <a:gd name="connsiteX3" fmla="*/ 1837863 w 4682970"/>
              <a:gd name="connsiteY3" fmla="*/ 0 h 2529875"/>
              <a:gd name="connsiteX4" fmla="*/ 2257809 w 4682970"/>
              <a:gd name="connsiteY4" fmla="*/ 173500 h 2529875"/>
              <a:gd name="connsiteX5" fmla="*/ 4682970 w 4682970"/>
              <a:gd name="connsiteY5" fmla="*/ 173500 h 2529875"/>
              <a:gd name="connsiteX6" fmla="*/ 4682970 w 4682970"/>
              <a:gd name="connsiteY6" fmla="*/ 2529875 h 2529875"/>
              <a:gd name="connsiteX7" fmla="*/ 0 w 4682970"/>
              <a:gd name="connsiteY7" fmla="*/ 2529875 h 2529875"/>
              <a:gd name="connsiteX0" fmla="*/ 0 w 4682970"/>
              <a:gd name="connsiteY0" fmla="*/ 2356375 h 2356375"/>
              <a:gd name="connsiteX1" fmla="*/ 0 w 4682970"/>
              <a:gd name="connsiteY1" fmla="*/ 0 h 2356375"/>
              <a:gd name="connsiteX2" fmla="*/ 1391315 w 4682970"/>
              <a:gd name="connsiteY2" fmla="*/ 0 h 2356375"/>
              <a:gd name="connsiteX3" fmla="*/ 2257809 w 4682970"/>
              <a:gd name="connsiteY3" fmla="*/ 0 h 2356375"/>
              <a:gd name="connsiteX4" fmla="*/ 4682970 w 4682970"/>
              <a:gd name="connsiteY4" fmla="*/ 0 h 2356375"/>
              <a:gd name="connsiteX5" fmla="*/ 4682970 w 4682970"/>
              <a:gd name="connsiteY5" fmla="*/ 2356375 h 2356375"/>
              <a:gd name="connsiteX6" fmla="*/ 0 w 4682970"/>
              <a:gd name="connsiteY6" fmla="*/ 2356375 h 2356375"/>
              <a:gd name="connsiteX0" fmla="*/ 0 w 4682970"/>
              <a:gd name="connsiteY0" fmla="*/ 2356375 h 2356375"/>
              <a:gd name="connsiteX1" fmla="*/ 0 w 4682970"/>
              <a:gd name="connsiteY1" fmla="*/ 0 h 2356375"/>
              <a:gd name="connsiteX2" fmla="*/ 1391315 w 4682970"/>
              <a:gd name="connsiteY2" fmla="*/ 0 h 2356375"/>
              <a:gd name="connsiteX3" fmla="*/ 4682970 w 4682970"/>
              <a:gd name="connsiteY3" fmla="*/ 0 h 2356375"/>
              <a:gd name="connsiteX4" fmla="*/ 4682970 w 4682970"/>
              <a:gd name="connsiteY4" fmla="*/ 2356375 h 2356375"/>
              <a:gd name="connsiteX5" fmla="*/ 0 w 4682970"/>
              <a:gd name="connsiteY5" fmla="*/ 2356375 h 2356375"/>
              <a:gd name="connsiteX0" fmla="*/ 0 w 4682970"/>
              <a:gd name="connsiteY0" fmla="*/ 2356375 h 2356375"/>
              <a:gd name="connsiteX1" fmla="*/ 0 w 4682970"/>
              <a:gd name="connsiteY1" fmla="*/ 0 h 2356375"/>
              <a:gd name="connsiteX2" fmla="*/ 4682970 w 4682970"/>
              <a:gd name="connsiteY2" fmla="*/ 0 h 2356375"/>
              <a:gd name="connsiteX3" fmla="*/ 4682970 w 4682970"/>
              <a:gd name="connsiteY3" fmla="*/ 2356375 h 2356375"/>
              <a:gd name="connsiteX4" fmla="*/ 0 w 4682970"/>
              <a:gd name="connsiteY4" fmla="*/ 2356375 h 235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2970" h="2356375">
                <a:moveTo>
                  <a:pt x="0" y="2356375"/>
                </a:moveTo>
                <a:lnTo>
                  <a:pt x="0" y="0"/>
                </a:lnTo>
                <a:lnTo>
                  <a:pt x="4682970" y="0"/>
                </a:lnTo>
                <a:lnTo>
                  <a:pt x="4682970" y="2356375"/>
                </a:lnTo>
                <a:lnTo>
                  <a:pt x="0" y="2356375"/>
                </a:lnTo>
                <a:close/>
              </a:path>
            </a:pathLst>
          </a:custGeom>
          <a:gradFill flip="none" rotWithShape="1">
            <a:gsLst>
              <a:gs pos="0">
                <a:schemeClr val="accent6"/>
              </a:gs>
              <a:gs pos="100000">
                <a:schemeClr val="accent6"/>
              </a:gs>
              <a:gs pos="100000">
                <a:schemeClr val="accent5">
                  <a:lumMod val="50000"/>
                </a:schemeClr>
              </a:gs>
              <a:gs pos="29000">
                <a:schemeClr val="accent5">
                  <a:lumMod val="50000"/>
                </a:schemeClr>
              </a:gs>
            </a:gsLst>
            <a:lin ang="5400000" scaled="1"/>
            <a:tileRect/>
          </a:gradFill>
          <a:ln>
            <a:solidFill>
              <a:schemeClr val="bg1"/>
            </a:solidFill>
          </a:ln>
        </p:spPr>
        <p:txBody>
          <a:bodyPr wrap="square" lIns="108000" tIns="54000" rIns="108000" bIns="54000">
            <a:no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 name="Freeform: Shape 44">
            <a:extLst>
              <a:ext uri="{FF2B5EF4-FFF2-40B4-BE49-F238E27FC236}">
                <a16:creationId xmlns:a16="http://schemas.microsoft.com/office/drawing/2014/main" id="{1B5834CE-3778-356D-6842-F4B868E7A297}"/>
              </a:ext>
            </a:extLst>
          </p:cNvPr>
          <p:cNvSpPr/>
          <p:nvPr/>
        </p:nvSpPr>
        <p:spPr>
          <a:xfrm rot="5400000">
            <a:off x="-270290" y="1596969"/>
            <a:ext cx="4735213" cy="3662157"/>
          </a:xfrm>
          <a:custGeom>
            <a:avLst/>
            <a:gdLst>
              <a:gd name="connsiteX0" fmla="*/ 0 w 4682970"/>
              <a:gd name="connsiteY0" fmla="*/ 2558449 h 2558449"/>
              <a:gd name="connsiteX1" fmla="*/ 0 w 4682970"/>
              <a:gd name="connsiteY1" fmla="*/ 202074 h 2558449"/>
              <a:gd name="connsiteX2" fmla="*/ 1391315 w 4682970"/>
              <a:gd name="connsiteY2" fmla="*/ 202074 h 2558449"/>
              <a:gd name="connsiteX3" fmla="*/ 1731459 w 4682970"/>
              <a:gd name="connsiteY3" fmla="*/ 0 h 2558449"/>
              <a:gd name="connsiteX4" fmla="*/ 2071603 w 4682970"/>
              <a:gd name="connsiteY4" fmla="*/ 202074 h 2558449"/>
              <a:gd name="connsiteX5" fmla="*/ 4682970 w 4682970"/>
              <a:gd name="connsiteY5" fmla="*/ 202074 h 2558449"/>
              <a:gd name="connsiteX6" fmla="*/ 4682970 w 4682970"/>
              <a:gd name="connsiteY6" fmla="*/ 2558449 h 2558449"/>
              <a:gd name="connsiteX0" fmla="*/ 0 w 4682970"/>
              <a:gd name="connsiteY0" fmla="*/ 2529874 h 2529874"/>
              <a:gd name="connsiteX1" fmla="*/ 0 w 4682970"/>
              <a:gd name="connsiteY1" fmla="*/ 173499 h 2529874"/>
              <a:gd name="connsiteX2" fmla="*/ 1391315 w 4682970"/>
              <a:gd name="connsiteY2" fmla="*/ 173499 h 2529874"/>
              <a:gd name="connsiteX3" fmla="*/ 1864462 w 4682970"/>
              <a:gd name="connsiteY3" fmla="*/ 0 h 2529874"/>
              <a:gd name="connsiteX4" fmla="*/ 2071603 w 4682970"/>
              <a:gd name="connsiteY4" fmla="*/ 173499 h 2529874"/>
              <a:gd name="connsiteX5" fmla="*/ 4682970 w 4682970"/>
              <a:gd name="connsiteY5" fmla="*/ 173499 h 2529874"/>
              <a:gd name="connsiteX6" fmla="*/ 4682970 w 4682970"/>
              <a:gd name="connsiteY6" fmla="*/ 2529874 h 2529874"/>
              <a:gd name="connsiteX7" fmla="*/ 0 w 4682970"/>
              <a:gd name="connsiteY7" fmla="*/ 2529874 h 2529874"/>
              <a:gd name="connsiteX0" fmla="*/ 0 w 4682970"/>
              <a:gd name="connsiteY0" fmla="*/ 2529874 h 2529874"/>
              <a:gd name="connsiteX1" fmla="*/ 0 w 4682970"/>
              <a:gd name="connsiteY1" fmla="*/ 173499 h 2529874"/>
              <a:gd name="connsiteX2" fmla="*/ 1391315 w 4682970"/>
              <a:gd name="connsiteY2" fmla="*/ 173499 h 2529874"/>
              <a:gd name="connsiteX3" fmla="*/ 1864462 w 4682970"/>
              <a:gd name="connsiteY3" fmla="*/ 0 h 2529874"/>
              <a:gd name="connsiteX4" fmla="*/ 2257809 w 4682970"/>
              <a:gd name="connsiteY4" fmla="*/ 173499 h 2529874"/>
              <a:gd name="connsiteX5" fmla="*/ 4682970 w 4682970"/>
              <a:gd name="connsiteY5" fmla="*/ 173499 h 2529874"/>
              <a:gd name="connsiteX6" fmla="*/ 4682970 w 4682970"/>
              <a:gd name="connsiteY6" fmla="*/ 2529874 h 2529874"/>
              <a:gd name="connsiteX7" fmla="*/ 0 w 4682970"/>
              <a:gd name="connsiteY7" fmla="*/ 2529874 h 2529874"/>
              <a:gd name="connsiteX0" fmla="*/ 0 w 4682970"/>
              <a:gd name="connsiteY0" fmla="*/ 2529875 h 2529875"/>
              <a:gd name="connsiteX1" fmla="*/ 0 w 4682970"/>
              <a:gd name="connsiteY1" fmla="*/ 173500 h 2529875"/>
              <a:gd name="connsiteX2" fmla="*/ 1391315 w 4682970"/>
              <a:gd name="connsiteY2" fmla="*/ 173500 h 2529875"/>
              <a:gd name="connsiteX3" fmla="*/ 1811262 w 4682970"/>
              <a:gd name="connsiteY3" fmla="*/ 0 h 2529875"/>
              <a:gd name="connsiteX4" fmla="*/ 2257809 w 4682970"/>
              <a:gd name="connsiteY4" fmla="*/ 173500 h 2529875"/>
              <a:gd name="connsiteX5" fmla="*/ 4682970 w 4682970"/>
              <a:gd name="connsiteY5" fmla="*/ 173500 h 2529875"/>
              <a:gd name="connsiteX6" fmla="*/ 4682970 w 4682970"/>
              <a:gd name="connsiteY6" fmla="*/ 2529875 h 2529875"/>
              <a:gd name="connsiteX7" fmla="*/ 0 w 4682970"/>
              <a:gd name="connsiteY7" fmla="*/ 2529875 h 2529875"/>
              <a:gd name="connsiteX0" fmla="*/ 0 w 4682970"/>
              <a:gd name="connsiteY0" fmla="*/ 2529875 h 2529875"/>
              <a:gd name="connsiteX1" fmla="*/ 0 w 4682970"/>
              <a:gd name="connsiteY1" fmla="*/ 173500 h 2529875"/>
              <a:gd name="connsiteX2" fmla="*/ 1391315 w 4682970"/>
              <a:gd name="connsiteY2" fmla="*/ 173500 h 2529875"/>
              <a:gd name="connsiteX3" fmla="*/ 1837863 w 4682970"/>
              <a:gd name="connsiteY3" fmla="*/ 0 h 2529875"/>
              <a:gd name="connsiteX4" fmla="*/ 2257809 w 4682970"/>
              <a:gd name="connsiteY4" fmla="*/ 173500 h 2529875"/>
              <a:gd name="connsiteX5" fmla="*/ 4682970 w 4682970"/>
              <a:gd name="connsiteY5" fmla="*/ 173500 h 2529875"/>
              <a:gd name="connsiteX6" fmla="*/ 4682970 w 4682970"/>
              <a:gd name="connsiteY6" fmla="*/ 2529875 h 2529875"/>
              <a:gd name="connsiteX7" fmla="*/ 0 w 4682970"/>
              <a:gd name="connsiteY7" fmla="*/ 2529875 h 2529875"/>
              <a:gd name="connsiteX0" fmla="*/ 0 w 4682970"/>
              <a:gd name="connsiteY0" fmla="*/ 2356375 h 2356375"/>
              <a:gd name="connsiteX1" fmla="*/ 0 w 4682970"/>
              <a:gd name="connsiteY1" fmla="*/ 0 h 2356375"/>
              <a:gd name="connsiteX2" fmla="*/ 1391315 w 4682970"/>
              <a:gd name="connsiteY2" fmla="*/ 0 h 2356375"/>
              <a:gd name="connsiteX3" fmla="*/ 2257809 w 4682970"/>
              <a:gd name="connsiteY3" fmla="*/ 0 h 2356375"/>
              <a:gd name="connsiteX4" fmla="*/ 4682970 w 4682970"/>
              <a:gd name="connsiteY4" fmla="*/ 0 h 2356375"/>
              <a:gd name="connsiteX5" fmla="*/ 4682970 w 4682970"/>
              <a:gd name="connsiteY5" fmla="*/ 2356375 h 2356375"/>
              <a:gd name="connsiteX6" fmla="*/ 0 w 4682970"/>
              <a:gd name="connsiteY6" fmla="*/ 2356375 h 2356375"/>
              <a:gd name="connsiteX0" fmla="*/ 0 w 4682970"/>
              <a:gd name="connsiteY0" fmla="*/ 2356375 h 2356375"/>
              <a:gd name="connsiteX1" fmla="*/ 0 w 4682970"/>
              <a:gd name="connsiteY1" fmla="*/ 0 h 2356375"/>
              <a:gd name="connsiteX2" fmla="*/ 1391315 w 4682970"/>
              <a:gd name="connsiteY2" fmla="*/ 0 h 2356375"/>
              <a:gd name="connsiteX3" fmla="*/ 4682970 w 4682970"/>
              <a:gd name="connsiteY3" fmla="*/ 0 h 2356375"/>
              <a:gd name="connsiteX4" fmla="*/ 4682970 w 4682970"/>
              <a:gd name="connsiteY4" fmla="*/ 2356375 h 2356375"/>
              <a:gd name="connsiteX5" fmla="*/ 0 w 4682970"/>
              <a:gd name="connsiteY5" fmla="*/ 2356375 h 2356375"/>
              <a:gd name="connsiteX0" fmla="*/ 0 w 4682970"/>
              <a:gd name="connsiteY0" fmla="*/ 2356375 h 2356375"/>
              <a:gd name="connsiteX1" fmla="*/ 0 w 4682970"/>
              <a:gd name="connsiteY1" fmla="*/ 0 h 2356375"/>
              <a:gd name="connsiteX2" fmla="*/ 4682970 w 4682970"/>
              <a:gd name="connsiteY2" fmla="*/ 0 h 2356375"/>
              <a:gd name="connsiteX3" fmla="*/ 4682970 w 4682970"/>
              <a:gd name="connsiteY3" fmla="*/ 2356375 h 2356375"/>
              <a:gd name="connsiteX4" fmla="*/ 0 w 4682970"/>
              <a:gd name="connsiteY4" fmla="*/ 2356375 h 235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2970" h="2356375">
                <a:moveTo>
                  <a:pt x="0" y="2356375"/>
                </a:moveTo>
                <a:lnTo>
                  <a:pt x="0" y="0"/>
                </a:lnTo>
                <a:lnTo>
                  <a:pt x="4682970" y="0"/>
                </a:lnTo>
                <a:lnTo>
                  <a:pt x="4682970" y="2356375"/>
                </a:lnTo>
                <a:lnTo>
                  <a:pt x="0" y="2356375"/>
                </a:lnTo>
                <a:close/>
              </a:path>
            </a:pathLst>
          </a:custGeom>
          <a:gradFill flip="none" rotWithShape="1">
            <a:gsLst>
              <a:gs pos="0">
                <a:schemeClr val="accent6"/>
              </a:gs>
              <a:gs pos="100000">
                <a:schemeClr val="accent6"/>
              </a:gs>
              <a:gs pos="100000">
                <a:schemeClr val="accent5">
                  <a:lumMod val="50000"/>
                </a:schemeClr>
              </a:gs>
              <a:gs pos="29000">
                <a:schemeClr val="accent5">
                  <a:lumMod val="50000"/>
                </a:schemeClr>
              </a:gs>
            </a:gsLst>
            <a:lin ang="5400000" scaled="1"/>
            <a:tileRect/>
          </a:gradFill>
          <a:ln>
            <a:solidFill>
              <a:schemeClr val="bg1"/>
            </a:solidFill>
          </a:ln>
        </p:spPr>
        <p:txBody>
          <a:bodyPr wrap="square" lIns="108000" tIns="54000" rIns="108000" bIns="54000">
            <a:no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Box1">
            <a:extLst>
              <a:ext uri="{FF2B5EF4-FFF2-40B4-BE49-F238E27FC236}">
                <a16:creationId xmlns:a16="http://schemas.microsoft.com/office/drawing/2014/main" id="{40CEE76C-B3AF-7FF4-DC1D-B65BF90E7AB8}"/>
              </a:ext>
            </a:extLst>
          </p:cNvPr>
          <p:cNvSpPr/>
          <p:nvPr/>
        </p:nvSpPr>
        <p:spPr>
          <a:xfrm>
            <a:off x="404700" y="1571669"/>
            <a:ext cx="3427036" cy="3524605"/>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7" name="Cell one">
            <a:extLst>
              <a:ext uri="{FF2B5EF4-FFF2-40B4-BE49-F238E27FC236}">
                <a16:creationId xmlns:a16="http://schemas.microsoft.com/office/drawing/2014/main" id="{2154D7FC-AAF3-D62E-12A1-D2D75551E6B1}"/>
              </a:ext>
            </a:extLst>
          </p:cNvPr>
          <p:cNvGrpSpPr/>
          <p:nvPr/>
        </p:nvGrpSpPr>
        <p:grpSpPr>
          <a:xfrm>
            <a:off x="1154067" y="1930120"/>
            <a:ext cx="1835958" cy="1748077"/>
            <a:chOff x="1109516" y="1727195"/>
            <a:chExt cx="1835958" cy="1748077"/>
          </a:xfrm>
        </p:grpSpPr>
        <p:grpSp>
          <p:nvGrpSpPr>
            <p:cNvPr id="56" name="Group 55">
              <a:extLst>
                <a:ext uri="{FF2B5EF4-FFF2-40B4-BE49-F238E27FC236}">
                  <a16:creationId xmlns:a16="http://schemas.microsoft.com/office/drawing/2014/main" id="{5171F675-EA8E-1797-0E61-0D2515BBF209}"/>
                </a:ext>
              </a:extLst>
            </p:cNvPr>
            <p:cNvGrpSpPr/>
            <p:nvPr/>
          </p:nvGrpSpPr>
          <p:grpSpPr>
            <a:xfrm>
              <a:off x="1109516" y="1727195"/>
              <a:ext cx="1835958" cy="1748077"/>
              <a:chOff x="1109516" y="1727195"/>
              <a:chExt cx="1835958" cy="1748077"/>
            </a:xfrm>
          </p:grpSpPr>
          <p:grpSp>
            <p:nvGrpSpPr>
              <p:cNvPr id="58" name="Group 57">
                <a:extLst>
                  <a:ext uri="{FF2B5EF4-FFF2-40B4-BE49-F238E27FC236}">
                    <a16:creationId xmlns:a16="http://schemas.microsoft.com/office/drawing/2014/main" id="{8F79E05C-35C7-7EB2-470B-04A258186E50}"/>
                  </a:ext>
                </a:extLst>
              </p:cNvPr>
              <p:cNvGrpSpPr/>
              <p:nvPr/>
            </p:nvGrpSpPr>
            <p:grpSpPr>
              <a:xfrm>
                <a:off x="1446322" y="2107091"/>
                <a:ext cx="1133904" cy="1081097"/>
                <a:chOff x="7545955" y="2504509"/>
                <a:chExt cx="1477099" cy="1408309"/>
              </a:xfrm>
            </p:grpSpPr>
            <p:sp>
              <p:nvSpPr>
                <p:cNvPr id="701" name="Freeform: Shape 700">
                  <a:extLst>
                    <a:ext uri="{FF2B5EF4-FFF2-40B4-BE49-F238E27FC236}">
                      <a16:creationId xmlns:a16="http://schemas.microsoft.com/office/drawing/2014/main" id="{782F67ED-AEF3-9D65-6845-5385B241E1F2}"/>
                    </a:ext>
                  </a:extLst>
                </p:cNvPr>
                <p:cNvSpPr/>
                <p:nvPr/>
              </p:nvSpPr>
              <p:spPr>
                <a:xfrm>
                  <a:off x="7545955" y="2504509"/>
                  <a:ext cx="1477099" cy="1408309"/>
                </a:xfrm>
                <a:custGeom>
                  <a:avLst/>
                  <a:gdLst>
                    <a:gd name="connsiteX0" fmla="*/ 1449985 w 1477099"/>
                    <a:gd name="connsiteY0" fmla="*/ 526913 h 1408309"/>
                    <a:gd name="connsiteX1" fmla="*/ 1463163 w 1477099"/>
                    <a:gd name="connsiteY1" fmla="*/ 578388 h 1408309"/>
                    <a:gd name="connsiteX2" fmla="*/ 1463269 w 1477099"/>
                    <a:gd name="connsiteY2" fmla="*/ 681373 h 1408309"/>
                    <a:gd name="connsiteX3" fmla="*/ 1457510 w 1477099"/>
                    <a:gd name="connsiteY3" fmla="*/ 702641 h 1408309"/>
                    <a:gd name="connsiteX4" fmla="*/ 1462385 w 1477099"/>
                    <a:gd name="connsiteY4" fmla="*/ 771569 h 1408309"/>
                    <a:gd name="connsiteX5" fmla="*/ 1448748 w 1477099"/>
                    <a:gd name="connsiteY5" fmla="*/ 924686 h 1408309"/>
                    <a:gd name="connsiteX6" fmla="*/ 1420732 w 1477099"/>
                    <a:gd name="connsiteY6" fmla="*/ 983156 h 1408309"/>
                    <a:gd name="connsiteX7" fmla="*/ 1403173 w 1477099"/>
                    <a:gd name="connsiteY7" fmla="*/ 1075896 h 1408309"/>
                    <a:gd name="connsiteX8" fmla="*/ 1400064 w 1477099"/>
                    <a:gd name="connsiteY8" fmla="*/ 1154786 h 1408309"/>
                    <a:gd name="connsiteX9" fmla="*/ 1353395 w 1477099"/>
                    <a:gd name="connsiteY9" fmla="*/ 1203647 h 1408309"/>
                    <a:gd name="connsiteX10" fmla="*/ 1288636 w 1477099"/>
                    <a:gd name="connsiteY10" fmla="*/ 1217284 h 1408309"/>
                    <a:gd name="connsiteX11" fmla="*/ 1269629 w 1477099"/>
                    <a:gd name="connsiteY11" fmla="*/ 1227247 h 1408309"/>
                    <a:gd name="connsiteX12" fmla="*/ 1238150 w 1477099"/>
                    <a:gd name="connsiteY12" fmla="*/ 1255404 h 1408309"/>
                    <a:gd name="connsiteX13" fmla="*/ 1215328 w 1477099"/>
                    <a:gd name="connsiteY13" fmla="*/ 1279040 h 1408309"/>
                    <a:gd name="connsiteX14" fmla="*/ 1156540 w 1477099"/>
                    <a:gd name="connsiteY14" fmla="*/ 1301827 h 1408309"/>
                    <a:gd name="connsiteX15" fmla="*/ 1104181 w 1477099"/>
                    <a:gd name="connsiteY15" fmla="*/ 1313910 h 1408309"/>
                    <a:gd name="connsiteX16" fmla="*/ 986641 w 1477099"/>
                    <a:gd name="connsiteY16" fmla="*/ 1380082 h 1408309"/>
                    <a:gd name="connsiteX17" fmla="*/ 876484 w 1477099"/>
                    <a:gd name="connsiteY17" fmla="*/ 1404282 h 1408309"/>
                    <a:gd name="connsiteX18" fmla="*/ 763889 w 1477099"/>
                    <a:gd name="connsiteY18" fmla="*/ 1383897 h 1408309"/>
                    <a:gd name="connsiteX19" fmla="*/ 753184 w 1477099"/>
                    <a:gd name="connsiteY19" fmla="*/ 1382413 h 1408309"/>
                    <a:gd name="connsiteX20" fmla="*/ 686165 w 1477099"/>
                    <a:gd name="connsiteY20" fmla="*/ 1400431 h 1408309"/>
                    <a:gd name="connsiteX21" fmla="*/ 540325 w 1477099"/>
                    <a:gd name="connsiteY21" fmla="*/ 1385028 h 1408309"/>
                    <a:gd name="connsiteX22" fmla="*/ 483940 w 1477099"/>
                    <a:gd name="connsiteY22" fmla="*/ 1345247 h 1408309"/>
                    <a:gd name="connsiteX23" fmla="*/ 472811 w 1477099"/>
                    <a:gd name="connsiteY23" fmla="*/ 1340124 h 1408309"/>
                    <a:gd name="connsiteX24" fmla="*/ 415683 w 1477099"/>
                    <a:gd name="connsiteY24" fmla="*/ 1311684 h 1408309"/>
                    <a:gd name="connsiteX25" fmla="*/ 400668 w 1477099"/>
                    <a:gd name="connsiteY25" fmla="*/ 1302145 h 1408309"/>
                    <a:gd name="connsiteX26" fmla="*/ 368059 w 1477099"/>
                    <a:gd name="connsiteY26" fmla="*/ 1283350 h 1408309"/>
                    <a:gd name="connsiteX27" fmla="*/ 324710 w 1477099"/>
                    <a:gd name="connsiteY27" fmla="*/ 1257913 h 1408309"/>
                    <a:gd name="connsiteX28" fmla="*/ 203177 w 1477099"/>
                    <a:gd name="connsiteY28" fmla="*/ 1193013 h 1408309"/>
                    <a:gd name="connsiteX29" fmla="*/ 168978 w 1477099"/>
                    <a:gd name="connsiteY29" fmla="*/ 1144294 h 1408309"/>
                    <a:gd name="connsiteX30" fmla="*/ 158132 w 1477099"/>
                    <a:gd name="connsiteY30" fmla="*/ 1134613 h 1408309"/>
                    <a:gd name="connsiteX31" fmla="*/ 97931 w 1477099"/>
                    <a:gd name="connsiteY31" fmla="*/ 1047915 h 1408309"/>
                    <a:gd name="connsiteX32" fmla="*/ 98284 w 1477099"/>
                    <a:gd name="connsiteY32" fmla="*/ 1042616 h 1408309"/>
                    <a:gd name="connsiteX33" fmla="*/ 81467 w 1477099"/>
                    <a:gd name="connsiteY33" fmla="*/ 999655 h 1408309"/>
                    <a:gd name="connsiteX34" fmla="*/ 54087 w 1477099"/>
                    <a:gd name="connsiteY34" fmla="*/ 906810 h 1408309"/>
                    <a:gd name="connsiteX35" fmla="*/ 37271 w 1477099"/>
                    <a:gd name="connsiteY35" fmla="*/ 868089 h 1408309"/>
                    <a:gd name="connsiteX36" fmla="*/ 2966 w 1477099"/>
                    <a:gd name="connsiteY36" fmla="*/ 794392 h 1408309"/>
                    <a:gd name="connsiteX37" fmla="*/ 139 w 1477099"/>
                    <a:gd name="connsiteY37" fmla="*/ 717303 h 1408309"/>
                    <a:gd name="connsiteX38" fmla="*/ 14836 w 1477099"/>
                    <a:gd name="connsiteY38" fmla="*/ 654770 h 1408309"/>
                    <a:gd name="connsiteX39" fmla="*/ 36705 w 1477099"/>
                    <a:gd name="connsiteY39" fmla="*/ 584465 h 1408309"/>
                    <a:gd name="connsiteX40" fmla="*/ 51049 w 1477099"/>
                    <a:gd name="connsiteY40" fmla="*/ 542246 h 1408309"/>
                    <a:gd name="connsiteX41" fmla="*/ 54017 w 1477099"/>
                    <a:gd name="connsiteY41" fmla="*/ 510202 h 1408309"/>
                    <a:gd name="connsiteX42" fmla="*/ 40379 w 1477099"/>
                    <a:gd name="connsiteY42" fmla="*/ 453746 h 1408309"/>
                    <a:gd name="connsiteX43" fmla="*/ 88180 w 1477099"/>
                    <a:gd name="connsiteY43" fmla="*/ 366907 h 1408309"/>
                    <a:gd name="connsiteX44" fmla="*/ 142411 w 1477099"/>
                    <a:gd name="connsiteY44" fmla="*/ 346027 h 1408309"/>
                    <a:gd name="connsiteX45" fmla="*/ 154564 w 1477099"/>
                    <a:gd name="connsiteY45" fmla="*/ 334086 h 1408309"/>
                    <a:gd name="connsiteX46" fmla="*/ 211091 w 1477099"/>
                    <a:gd name="connsiteY46" fmla="*/ 260813 h 1408309"/>
                    <a:gd name="connsiteX47" fmla="*/ 218298 w 1477099"/>
                    <a:gd name="connsiteY47" fmla="*/ 248730 h 1408309"/>
                    <a:gd name="connsiteX48" fmla="*/ 255253 w 1477099"/>
                    <a:gd name="connsiteY48" fmla="*/ 191920 h 1408309"/>
                    <a:gd name="connsiteX49" fmla="*/ 301534 w 1477099"/>
                    <a:gd name="connsiteY49" fmla="*/ 148077 h 1408309"/>
                    <a:gd name="connsiteX50" fmla="*/ 407946 w 1477099"/>
                    <a:gd name="connsiteY50" fmla="*/ 115326 h 1408309"/>
                    <a:gd name="connsiteX51" fmla="*/ 424763 w 1477099"/>
                    <a:gd name="connsiteY51" fmla="*/ 105646 h 1408309"/>
                    <a:gd name="connsiteX52" fmla="*/ 495139 w 1477099"/>
                    <a:gd name="connsiteY52" fmla="*/ 31384 h 1408309"/>
                    <a:gd name="connsiteX53" fmla="*/ 623526 w 1477099"/>
                    <a:gd name="connsiteY53" fmla="*/ 4428 h 1408309"/>
                    <a:gd name="connsiteX54" fmla="*/ 701957 w 1477099"/>
                    <a:gd name="connsiteY54" fmla="*/ 17782 h 1408309"/>
                    <a:gd name="connsiteX55" fmla="*/ 727783 w 1477099"/>
                    <a:gd name="connsiteY55" fmla="*/ 14355 h 1408309"/>
                    <a:gd name="connsiteX56" fmla="*/ 777067 w 1477099"/>
                    <a:gd name="connsiteY56" fmla="*/ 21209 h 1408309"/>
                    <a:gd name="connsiteX57" fmla="*/ 799749 w 1477099"/>
                    <a:gd name="connsiteY57" fmla="*/ 22340 h 1408309"/>
                    <a:gd name="connsiteX58" fmla="*/ 860621 w 1477099"/>
                    <a:gd name="connsiteY58" fmla="*/ 3827 h 1408309"/>
                    <a:gd name="connsiteX59" fmla="*/ 1161380 w 1477099"/>
                    <a:gd name="connsiteY59" fmla="*/ 132214 h 1408309"/>
                    <a:gd name="connsiteX60" fmla="*/ 1173180 w 1477099"/>
                    <a:gd name="connsiteY60" fmla="*/ 138962 h 1408309"/>
                    <a:gd name="connsiteX61" fmla="*/ 1291250 w 1477099"/>
                    <a:gd name="connsiteY61" fmla="*/ 205204 h 1408309"/>
                    <a:gd name="connsiteX62" fmla="*/ 1318737 w 1477099"/>
                    <a:gd name="connsiteY62" fmla="*/ 292256 h 1408309"/>
                    <a:gd name="connsiteX63" fmla="*/ 1328629 w 1477099"/>
                    <a:gd name="connsiteY63" fmla="*/ 315502 h 1408309"/>
                    <a:gd name="connsiteX64" fmla="*/ 1403597 w 1477099"/>
                    <a:gd name="connsiteY64" fmla="*/ 398138 h 1408309"/>
                    <a:gd name="connsiteX65" fmla="*/ 1449914 w 1477099"/>
                    <a:gd name="connsiteY65" fmla="*/ 527055 h 1408309"/>
                    <a:gd name="connsiteX66" fmla="*/ 1302697 w 1477099"/>
                    <a:gd name="connsiteY66" fmla="*/ 327903 h 1408309"/>
                    <a:gd name="connsiteX67" fmla="*/ 1302132 w 1477099"/>
                    <a:gd name="connsiteY67" fmla="*/ 326985 h 1408309"/>
                    <a:gd name="connsiteX68" fmla="*/ 1301425 w 1477099"/>
                    <a:gd name="connsiteY68" fmla="*/ 326843 h 1408309"/>
                    <a:gd name="connsiteX69" fmla="*/ 1302803 w 1477099"/>
                    <a:gd name="connsiteY69" fmla="*/ 327762 h 1408309"/>
                    <a:gd name="connsiteX70" fmla="*/ 1303015 w 1477099"/>
                    <a:gd name="connsiteY70" fmla="*/ 328786 h 1408309"/>
                    <a:gd name="connsiteX71" fmla="*/ 1303651 w 1477099"/>
                    <a:gd name="connsiteY71" fmla="*/ 329140 h 1408309"/>
                    <a:gd name="connsiteX72" fmla="*/ 1302662 w 1477099"/>
                    <a:gd name="connsiteY72" fmla="*/ 327903 h 1408309"/>
                    <a:gd name="connsiteX73" fmla="*/ 375867 w 1477099"/>
                    <a:gd name="connsiteY73" fmla="*/ 1249292 h 1408309"/>
                    <a:gd name="connsiteX74" fmla="*/ 376326 w 1477099"/>
                    <a:gd name="connsiteY74" fmla="*/ 1250246 h 1408309"/>
                    <a:gd name="connsiteX75" fmla="*/ 377033 w 1477099"/>
                    <a:gd name="connsiteY75" fmla="*/ 1250423 h 1408309"/>
                    <a:gd name="connsiteX76" fmla="*/ 375761 w 1477099"/>
                    <a:gd name="connsiteY76" fmla="*/ 1249398 h 1408309"/>
                    <a:gd name="connsiteX77" fmla="*/ 368130 w 1477099"/>
                    <a:gd name="connsiteY77" fmla="*/ 1233995 h 1408309"/>
                    <a:gd name="connsiteX78" fmla="*/ 312451 w 1477099"/>
                    <a:gd name="connsiteY78" fmla="*/ 1224633 h 1408309"/>
                    <a:gd name="connsiteX79" fmla="*/ 375867 w 1477099"/>
                    <a:gd name="connsiteY79" fmla="*/ 1249292 h 1408309"/>
                    <a:gd name="connsiteX80" fmla="*/ 434443 w 1477099"/>
                    <a:gd name="connsiteY80" fmla="*/ 1281301 h 1408309"/>
                    <a:gd name="connsiteX81" fmla="*/ 433524 w 1477099"/>
                    <a:gd name="connsiteY81" fmla="*/ 1280559 h 1408309"/>
                    <a:gd name="connsiteX82" fmla="*/ 434443 w 1477099"/>
                    <a:gd name="connsiteY82" fmla="*/ 1281336 h 1408309"/>
                    <a:gd name="connsiteX83" fmla="*/ 480442 w 1477099"/>
                    <a:gd name="connsiteY83" fmla="*/ 1311119 h 1408309"/>
                    <a:gd name="connsiteX84" fmla="*/ 447939 w 1477099"/>
                    <a:gd name="connsiteY84" fmla="*/ 1289603 h 1408309"/>
                    <a:gd name="connsiteX85" fmla="*/ 434478 w 1477099"/>
                    <a:gd name="connsiteY85" fmla="*/ 1281336 h 1408309"/>
                    <a:gd name="connsiteX86" fmla="*/ 740784 w 1477099"/>
                    <a:gd name="connsiteY86" fmla="*/ 1355916 h 1408309"/>
                    <a:gd name="connsiteX87" fmla="*/ 697187 w 1477099"/>
                    <a:gd name="connsiteY87" fmla="*/ 1366586 h 1408309"/>
                    <a:gd name="connsiteX88" fmla="*/ 599290 w 1477099"/>
                    <a:gd name="connsiteY88" fmla="*/ 1366127 h 1408309"/>
                    <a:gd name="connsiteX89" fmla="*/ 514252 w 1477099"/>
                    <a:gd name="connsiteY89" fmla="*/ 1327865 h 1408309"/>
                    <a:gd name="connsiteX90" fmla="*/ 503229 w 1477099"/>
                    <a:gd name="connsiteY90" fmla="*/ 1319457 h 1408309"/>
                    <a:gd name="connsiteX91" fmla="*/ 503371 w 1477099"/>
                    <a:gd name="connsiteY91" fmla="*/ 1324509 h 1408309"/>
                    <a:gd name="connsiteX92" fmla="*/ 542657 w 1477099"/>
                    <a:gd name="connsiteY92" fmla="*/ 1358036 h 1408309"/>
                    <a:gd name="connsiteX93" fmla="*/ 697541 w 1477099"/>
                    <a:gd name="connsiteY93" fmla="*/ 1373228 h 1408309"/>
                    <a:gd name="connsiteX94" fmla="*/ 740643 w 1477099"/>
                    <a:gd name="connsiteY94" fmla="*/ 1355810 h 1408309"/>
                    <a:gd name="connsiteX95" fmla="*/ 745447 w 1477099"/>
                    <a:gd name="connsiteY95" fmla="*/ 1355174 h 1408309"/>
                    <a:gd name="connsiteX96" fmla="*/ 744776 w 1477099"/>
                    <a:gd name="connsiteY96" fmla="*/ 1353973 h 1408309"/>
                    <a:gd name="connsiteX97" fmla="*/ 740713 w 1477099"/>
                    <a:gd name="connsiteY97" fmla="*/ 1355952 h 1408309"/>
                    <a:gd name="connsiteX98" fmla="*/ 804624 w 1477099"/>
                    <a:gd name="connsiteY98" fmla="*/ 1260033 h 1408309"/>
                    <a:gd name="connsiteX99" fmla="*/ 826493 w 1477099"/>
                    <a:gd name="connsiteY99" fmla="*/ 1270455 h 1408309"/>
                    <a:gd name="connsiteX100" fmla="*/ 866026 w 1477099"/>
                    <a:gd name="connsiteY100" fmla="*/ 1273528 h 1408309"/>
                    <a:gd name="connsiteX101" fmla="*/ 914004 w 1477099"/>
                    <a:gd name="connsiteY101" fmla="*/ 1240389 h 1408309"/>
                    <a:gd name="connsiteX102" fmla="*/ 963252 w 1477099"/>
                    <a:gd name="connsiteY102" fmla="*/ 1221170 h 1408309"/>
                    <a:gd name="connsiteX103" fmla="*/ 988902 w 1477099"/>
                    <a:gd name="connsiteY103" fmla="*/ 1224279 h 1408309"/>
                    <a:gd name="connsiteX104" fmla="*/ 1064400 w 1477099"/>
                    <a:gd name="connsiteY104" fmla="*/ 1205095 h 1408309"/>
                    <a:gd name="connsiteX105" fmla="*/ 1081005 w 1477099"/>
                    <a:gd name="connsiteY105" fmla="*/ 1200962 h 1408309"/>
                    <a:gd name="connsiteX106" fmla="*/ 1168763 w 1477099"/>
                    <a:gd name="connsiteY106" fmla="*/ 1127971 h 1408309"/>
                    <a:gd name="connsiteX107" fmla="*/ 1177136 w 1477099"/>
                    <a:gd name="connsiteY107" fmla="*/ 1064379 h 1408309"/>
                    <a:gd name="connsiteX108" fmla="*/ 1176253 w 1477099"/>
                    <a:gd name="connsiteY108" fmla="*/ 1031098 h 1408309"/>
                    <a:gd name="connsiteX109" fmla="*/ 1174451 w 1477099"/>
                    <a:gd name="connsiteY109" fmla="*/ 1008028 h 1408309"/>
                    <a:gd name="connsiteX110" fmla="*/ 1164700 w 1477099"/>
                    <a:gd name="connsiteY110" fmla="*/ 992271 h 1408309"/>
                    <a:gd name="connsiteX111" fmla="*/ 1159684 w 1477099"/>
                    <a:gd name="connsiteY111" fmla="*/ 936628 h 1408309"/>
                    <a:gd name="connsiteX112" fmla="*/ 1187806 w 1477099"/>
                    <a:gd name="connsiteY112" fmla="*/ 869643 h 1408309"/>
                    <a:gd name="connsiteX113" fmla="*/ 1207944 w 1477099"/>
                    <a:gd name="connsiteY113" fmla="*/ 845266 h 1408309"/>
                    <a:gd name="connsiteX114" fmla="*/ 1226244 w 1477099"/>
                    <a:gd name="connsiteY114" fmla="*/ 834597 h 1408309"/>
                    <a:gd name="connsiteX115" fmla="*/ 1281676 w 1477099"/>
                    <a:gd name="connsiteY115" fmla="*/ 795770 h 1408309"/>
                    <a:gd name="connsiteX116" fmla="*/ 1292381 w 1477099"/>
                    <a:gd name="connsiteY116" fmla="*/ 792555 h 1408309"/>
                    <a:gd name="connsiteX117" fmla="*/ 1290508 w 1477099"/>
                    <a:gd name="connsiteY117" fmla="*/ 804284 h 1408309"/>
                    <a:gd name="connsiteX118" fmla="*/ 1278073 w 1477099"/>
                    <a:gd name="connsiteY118" fmla="*/ 824669 h 1408309"/>
                    <a:gd name="connsiteX119" fmla="*/ 1280404 w 1477099"/>
                    <a:gd name="connsiteY119" fmla="*/ 844418 h 1408309"/>
                    <a:gd name="connsiteX120" fmla="*/ 1296938 w 1477099"/>
                    <a:gd name="connsiteY120" fmla="*/ 842157 h 1408309"/>
                    <a:gd name="connsiteX121" fmla="*/ 1306795 w 1477099"/>
                    <a:gd name="connsiteY121" fmla="*/ 833466 h 1408309"/>
                    <a:gd name="connsiteX122" fmla="*/ 1339334 w 1477099"/>
                    <a:gd name="connsiteY122" fmla="*/ 789905 h 1408309"/>
                    <a:gd name="connsiteX123" fmla="*/ 1353677 w 1477099"/>
                    <a:gd name="connsiteY123" fmla="*/ 757649 h 1408309"/>
                    <a:gd name="connsiteX124" fmla="*/ 1347494 w 1477099"/>
                    <a:gd name="connsiteY124" fmla="*/ 742882 h 1408309"/>
                    <a:gd name="connsiteX125" fmla="*/ 1330077 w 1477099"/>
                    <a:gd name="connsiteY125" fmla="*/ 743624 h 1408309"/>
                    <a:gd name="connsiteX126" fmla="*/ 1315804 w 1477099"/>
                    <a:gd name="connsiteY126" fmla="*/ 755424 h 1408309"/>
                    <a:gd name="connsiteX127" fmla="*/ 1293794 w 1477099"/>
                    <a:gd name="connsiteY127" fmla="*/ 760723 h 1408309"/>
                    <a:gd name="connsiteX128" fmla="*/ 1284220 w 1477099"/>
                    <a:gd name="connsiteY128" fmla="*/ 741716 h 1408309"/>
                    <a:gd name="connsiteX129" fmla="*/ 1298175 w 1477099"/>
                    <a:gd name="connsiteY129" fmla="*/ 709849 h 1408309"/>
                    <a:gd name="connsiteX130" fmla="*/ 1312624 w 1477099"/>
                    <a:gd name="connsiteY130" fmla="*/ 683387 h 1408309"/>
                    <a:gd name="connsiteX131" fmla="*/ 1316440 w 1477099"/>
                    <a:gd name="connsiteY131" fmla="*/ 653216 h 1408309"/>
                    <a:gd name="connsiteX132" fmla="*/ 1326403 w 1477099"/>
                    <a:gd name="connsiteY132" fmla="*/ 548005 h 1408309"/>
                    <a:gd name="connsiteX133" fmla="*/ 1327958 w 1477099"/>
                    <a:gd name="connsiteY133" fmla="*/ 498085 h 1408309"/>
                    <a:gd name="connsiteX134" fmla="*/ 1330713 w 1477099"/>
                    <a:gd name="connsiteY134" fmla="*/ 458622 h 1408309"/>
                    <a:gd name="connsiteX135" fmla="*/ 1332056 w 1477099"/>
                    <a:gd name="connsiteY135" fmla="*/ 446928 h 1408309"/>
                    <a:gd name="connsiteX136" fmla="*/ 1301178 w 1477099"/>
                    <a:gd name="connsiteY136" fmla="*/ 400293 h 1408309"/>
                    <a:gd name="connsiteX137" fmla="*/ 1292240 w 1477099"/>
                    <a:gd name="connsiteY137" fmla="*/ 405698 h 1408309"/>
                    <a:gd name="connsiteX138" fmla="*/ 1286481 w 1477099"/>
                    <a:gd name="connsiteY138" fmla="*/ 435340 h 1408309"/>
                    <a:gd name="connsiteX139" fmla="*/ 1285916 w 1477099"/>
                    <a:gd name="connsiteY139" fmla="*/ 442794 h 1408309"/>
                    <a:gd name="connsiteX140" fmla="*/ 1289731 w 1477099"/>
                    <a:gd name="connsiteY140" fmla="*/ 503349 h 1408309"/>
                    <a:gd name="connsiteX141" fmla="*/ 1288495 w 1477099"/>
                    <a:gd name="connsiteY141" fmla="*/ 575986 h 1408309"/>
                    <a:gd name="connsiteX142" fmla="*/ 1280051 w 1477099"/>
                    <a:gd name="connsiteY142" fmla="*/ 646291 h 1408309"/>
                    <a:gd name="connsiteX143" fmla="*/ 1253342 w 1477099"/>
                    <a:gd name="connsiteY143" fmla="*/ 731505 h 1408309"/>
                    <a:gd name="connsiteX144" fmla="*/ 1234653 w 1477099"/>
                    <a:gd name="connsiteY144" fmla="*/ 777822 h 1408309"/>
                    <a:gd name="connsiteX145" fmla="*/ 1220803 w 1477099"/>
                    <a:gd name="connsiteY145" fmla="*/ 781426 h 1408309"/>
                    <a:gd name="connsiteX146" fmla="*/ 1219108 w 1477099"/>
                    <a:gd name="connsiteY146" fmla="*/ 768036 h 1408309"/>
                    <a:gd name="connsiteX147" fmla="*/ 1224760 w 1477099"/>
                    <a:gd name="connsiteY147" fmla="*/ 759133 h 1408309"/>
                    <a:gd name="connsiteX148" fmla="*/ 1236843 w 1477099"/>
                    <a:gd name="connsiteY148" fmla="*/ 738677 h 1408309"/>
                    <a:gd name="connsiteX149" fmla="*/ 1247336 w 1477099"/>
                    <a:gd name="connsiteY149" fmla="*/ 673742 h 1408309"/>
                    <a:gd name="connsiteX150" fmla="*/ 1259348 w 1477099"/>
                    <a:gd name="connsiteY150" fmla="*/ 574502 h 1408309"/>
                    <a:gd name="connsiteX151" fmla="*/ 1258782 w 1477099"/>
                    <a:gd name="connsiteY151" fmla="*/ 557473 h 1408309"/>
                    <a:gd name="connsiteX152" fmla="*/ 1236737 w 1477099"/>
                    <a:gd name="connsiteY152" fmla="*/ 595311 h 1408309"/>
                    <a:gd name="connsiteX153" fmla="*/ 1229071 w 1477099"/>
                    <a:gd name="connsiteY153" fmla="*/ 601458 h 1408309"/>
                    <a:gd name="connsiteX154" fmla="*/ 1223524 w 1477099"/>
                    <a:gd name="connsiteY154" fmla="*/ 593262 h 1408309"/>
                    <a:gd name="connsiteX155" fmla="*/ 1224301 w 1477099"/>
                    <a:gd name="connsiteY155" fmla="*/ 573442 h 1408309"/>
                    <a:gd name="connsiteX156" fmla="*/ 1236772 w 1477099"/>
                    <a:gd name="connsiteY156" fmla="*/ 503455 h 1408309"/>
                    <a:gd name="connsiteX157" fmla="*/ 1238998 w 1477099"/>
                    <a:gd name="connsiteY157" fmla="*/ 494516 h 1408309"/>
                    <a:gd name="connsiteX158" fmla="*/ 1246276 w 1477099"/>
                    <a:gd name="connsiteY158" fmla="*/ 490913 h 1408309"/>
                    <a:gd name="connsiteX159" fmla="*/ 1257758 w 1477099"/>
                    <a:gd name="connsiteY159" fmla="*/ 483070 h 1408309"/>
                    <a:gd name="connsiteX160" fmla="*/ 1241012 w 1477099"/>
                    <a:gd name="connsiteY160" fmla="*/ 418841 h 1408309"/>
                    <a:gd name="connsiteX161" fmla="*/ 1169788 w 1477099"/>
                    <a:gd name="connsiteY161" fmla="*/ 329881 h 1408309"/>
                    <a:gd name="connsiteX162" fmla="*/ 1152936 w 1477099"/>
                    <a:gd name="connsiteY162" fmla="*/ 331401 h 1408309"/>
                    <a:gd name="connsiteX163" fmla="*/ 1154561 w 1477099"/>
                    <a:gd name="connsiteY163" fmla="*/ 358534 h 1408309"/>
                    <a:gd name="connsiteX164" fmla="*/ 1161132 w 1477099"/>
                    <a:gd name="connsiteY164" fmla="*/ 411351 h 1408309"/>
                    <a:gd name="connsiteX165" fmla="*/ 1138133 w 1477099"/>
                    <a:gd name="connsiteY165" fmla="*/ 375598 h 1408309"/>
                    <a:gd name="connsiteX166" fmla="*/ 1109340 w 1477099"/>
                    <a:gd name="connsiteY166" fmla="*/ 299004 h 1408309"/>
                    <a:gd name="connsiteX167" fmla="*/ 1109163 w 1477099"/>
                    <a:gd name="connsiteY167" fmla="*/ 273955 h 1408309"/>
                    <a:gd name="connsiteX168" fmla="*/ 1123895 w 1477099"/>
                    <a:gd name="connsiteY168" fmla="*/ 255195 h 1408309"/>
                    <a:gd name="connsiteX169" fmla="*/ 1145340 w 1477099"/>
                    <a:gd name="connsiteY169" fmla="*/ 208455 h 1408309"/>
                    <a:gd name="connsiteX170" fmla="*/ 1036102 w 1477099"/>
                    <a:gd name="connsiteY170" fmla="*/ 95365 h 1408309"/>
                    <a:gd name="connsiteX171" fmla="*/ 972756 w 1477099"/>
                    <a:gd name="connsiteY171" fmla="*/ 58057 h 1408309"/>
                    <a:gd name="connsiteX172" fmla="*/ 934071 w 1477099"/>
                    <a:gd name="connsiteY172" fmla="*/ 31137 h 1408309"/>
                    <a:gd name="connsiteX173" fmla="*/ 849068 w 1477099"/>
                    <a:gd name="connsiteY173" fmla="*/ 33892 h 1408309"/>
                    <a:gd name="connsiteX174" fmla="*/ 769577 w 1477099"/>
                    <a:gd name="connsiteY174" fmla="*/ 62156 h 1408309"/>
                    <a:gd name="connsiteX175" fmla="*/ 743045 w 1477099"/>
                    <a:gd name="connsiteY175" fmla="*/ 62862 h 1408309"/>
                    <a:gd name="connsiteX176" fmla="*/ 666769 w 1477099"/>
                    <a:gd name="connsiteY176" fmla="*/ 78019 h 1408309"/>
                    <a:gd name="connsiteX177" fmla="*/ 613704 w 1477099"/>
                    <a:gd name="connsiteY177" fmla="*/ 128257 h 1408309"/>
                    <a:gd name="connsiteX178" fmla="*/ 567635 w 1477099"/>
                    <a:gd name="connsiteY178" fmla="*/ 153729 h 1408309"/>
                    <a:gd name="connsiteX179" fmla="*/ 448858 w 1477099"/>
                    <a:gd name="connsiteY179" fmla="*/ 179661 h 1408309"/>
                    <a:gd name="connsiteX180" fmla="*/ 444053 w 1477099"/>
                    <a:gd name="connsiteY180" fmla="*/ 173267 h 1408309"/>
                    <a:gd name="connsiteX181" fmla="*/ 445430 w 1477099"/>
                    <a:gd name="connsiteY181" fmla="*/ 147547 h 1408309"/>
                    <a:gd name="connsiteX182" fmla="*/ 435856 w 1477099"/>
                    <a:gd name="connsiteY182" fmla="*/ 145144 h 1408309"/>
                    <a:gd name="connsiteX183" fmla="*/ 361665 w 1477099"/>
                    <a:gd name="connsiteY183" fmla="*/ 191567 h 1408309"/>
                    <a:gd name="connsiteX184" fmla="*/ 276380 w 1477099"/>
                    <a:gd name="connsiteY184" fmla="*/ 234245 h 1408309"/>
                    <a:gd name="connsiteX185" fmla="*/ 267512 w 1477099"/>
                    <a:gd name="connsiteY185" fmla="*/ 241841 h 1408309"/>
                    <a:gd name="connsiteX186" fmla="*/ 230345 w 1477099"/>
                    <a:gd name="connsiteY186" fmla="*/ 281092 h 1408309"/>
                    <a:gd name="connsiteX187" fmla="*/ 178729 w 1477099"/>
                    <a:gd name="connsiteY187" fmla="*/ 348783 h 1408309"/>
                    <a:gd name="connsiteX188" fmla="*/ 170604 w 1477099"/>
                    <a:gd name="connsiteY188" fmla="*/ 379449 h 1408309"/>
                    <a:gd name="connsiteX189" fmla="*/ 170074 w 1477099"/>
                    <a:gd name="connsiteY189" fmla="*/ 390507 h 1408309"/>
                    <a:gd name="connsiteX190" fmla="*/ 181238 w 1477099"/>
                    <a:gd name="connsiteY190" fmla="*/ 389553 h 1408309"/>
                    <a:gd name="connsiteX191" fmla="*/ 188445 w 1477099"/>
                    <a:gd name="connsiteY191" fmla="*/ 388281 h 1408309"/>
                    <a:gd name="connsiteX192" fmla="*/ 188657 w 1477099"/>
                    <a:gd name="connsiteY192" fmla="*/ 396866 h 1408309"/>
                    <a:gd name="connsiteX193" fmla="*/ 182086 w 1477099"/>
                    <a:gd name="connsiteY193" fmla="*/ 409938 h 1408309"/>
                    <a:gd name="connsiteX194" fmla="*/ 142481 w 1477099"/>
                    <a:gd name="connsiteY194" fmla="*/ 511722 h 1408309"/>
                    <a:gd name="connsiteX195" fmla="*/ 159863 w 1477099"/>
                    <a:gd name="connsiteY195" fmla="*/ 546344 h 1408309"/>
                    <a:gd name="connsiteX196" fmla="*/ 191307 w 1477099"/>
                    <a:gd name="connsiteY196" fmla="*/ 544295 h 1408309"/>
                    <a:gd name="connsiteX197" fmla="*/ 215048 w 1477099"/>
                    <a:gd name="connsiteY197" fmla="*/ 525924 h 1408309"/>
                    <a:gd name="connsiteX198" fmla="*/ 213953 w 1477099"/>
                    <a:gd name="connsiteY198" fmla="*/ 539773 h 1408309"/>
                    <a:gd name="connsiteX199" fmla="*/ 188092 w 1477099"/>
                    <a:gd name="connsiteY199" fmla="*/ 570722 h 1408309"/>
                    <a:gd name="connsiteX200" fmla="*/ 151561 w 1477099"/>
                    <a:gd name="connsiteY200" fmla="*/ 603048 h 1408309"/>
                    <a:gd name="connsiteX201" fmla="*/ 139655 w 1477099"/>
                    <a:gd name="connsiteY201" fmla="*/ 701864 h 1408309"/>
                    <a:gd name="connsiteX202" fmla="*/ 163326 w 1477099"/>
                    <a:gd name="connsiteY202" fmla="*/ 753162 h 1408309"/>
                    <a:gd name="connsiteX203" fmla="*/ 209183 w 1477099"/>
                    <a:gd name="connsiteY203" fmla="*/ 764962 h 1408309"/>
                    <a:gd name="connsiteX204" fmla="*/ 215578 w 1477099"/>
                    <a:gd name="connsiteY204" fmla="*/ 780825 h 1408309"/>
                    <a:gd name="connsiteX205" fmla="*/ 209784 w 1477099"/>
                    <a:gd name="connsiteY205" fmla="*/ 830922 h 1408309"/>
                    <a:gd name="connsiteX206" fmla="*/ 218828 w 1477099"/>
                    <a:gd name="connsiteY206" fmla="*/ 892395 h 1408309"/>
                    <a:gd name="connsiteX207" fmla="*/ 211020 w 1477099"/>
                    <a:gd name="connsiteY207" fmla="*/ 907481 h 1408309"/>
                    <a:gd name="connsiteX208" fmla="*/ 195864 w 1477099"/>
                    <a:gd name="connsiteY208" fmla="*/ 898755 h 1408309"/>
                    <a:gd name="connsiteX209" fmla="*/ 181344 w 1477099"/>
                    <a:gd name="connsiteY209" fmla="*/ 873424 h 1408309"/>
                    <a:gd name="connsiteX210" fmla="*/ 156472 w 1477099"/>
                    <a:gd name="connsiteY210" fmla="*/ 833219 h 1408309"/>
                    <a:gd name="connsiteX211" fmla="*/ 136228 w 1477099"/>
                    <a:gd name="connsiteY211" fmla="*/ 798914 h 1408309"/>
                    <a:gd name="connsiteX212" fmla="*/ 121178 w 1477099"/>
                    <a:gd name="connsiteY212" fmla="*/ 754434 h 1408309"/>
                    <a:gd name="connsiteX213" fmla="*/ 101287 w 1477099"/>
                    <a:gd name="connsiteY213" fmla="*/ 717021 h 1408309"/>
                    <a:gd name="connsiteX214" fmla="*/ 99203 w 1477099"/>
                    <a:gd name="connsiteY214" fmla="*/ 714653 h 1408309"/>
                    <a:gd name="connsiteX215" fmla="*/ 78959 w 1477099"/>
                    <a:gd name="connsiteY215" fmla="*/ 834455 h 1408309"/>
                    <a:gd name="connsiteX216" fmla="*/ 80372 w 1477099"/>
                    <a:gd name="connsiteY216" fmla="*/ 856960 h 1408309"/>
                    <a:gd name="connsiteX217" fmla="*/ 80902 w 1477099"/>
                    <a:gd name="connsiteY217" fmla="*/ 939101 h 1408309"/>
                    <a:gd name="connsiteX218" fmla="*/ 130187 w 1477099"/>
                    <a:gd name="connsiteY218" fmla="*/ 998631 h 1408309"/>
                    <a:gd name="connsiteX219" fmla="*/ 189611 w 1477099"/>
                    <a:gd name="connsiteY219" fmla="*/ 967894 h 1408309"/>
                    <a:gd name="connsiteX220" fmla="*/ 202753 w 1477099"/>
                    <a:gd name="connsiteY220" fmla="*/ 956765 h 1408309"/>
                    <a:gd name="connsiteX221" fmla="*/ 213493 w 1477099"/>
                    <a:gd name="connsiteY221" fmla="*/ 971356 h 1408309"/>
                    <a:gd name="connsiteX222" fmla="*/ 254617 w 1477099"/>
                    <a:gd name="connsiteY222" fmla="*/ 1012197 h 1408309"/>
                    <a:gd name="connsiteX223" fmla="*/ 295140 w 1477099"/>
                    <a:gd name="connsiteY223" fmla="*/ 1018026 h 1408309"/>
                    <a:gd name="connsiteX224" fmla="*/ 342869 w 1477099"/>
                    <a:gd name="connsiteY224" fmla="*/ 1031734 h 1408309"/>
                    <a:gd name="connsiteX225" fmla="*/ 347992 w 1477099"/>
                    <a:gd name="connsiteY225" fmla="*/ 1040319 h 1408309"/>
                    <a:gd name="connsiteX226" fmla="*/ 340043 w 1477099"/>
                    <a:gd name="connsiteY226" fmla="*/ 1046643 h 1408309"/>
                    <a:gd name="connsiteX227" fmla="*/ 297966 w 1477099"/>
                    <a:gd name="connsiteY227" fmla="*/ 1047915 h 1408309"/>
                    <a:gd name="connsiteX228" fmla="*/ 280972 w 1477099"/>
                    <a:gd name="connsiteY228" fmla="*/ 1048056 h 1408309"/>
                    <a:gd name="connsiteX229" fmla="*/ 182015 w 1477099"/>
                    <a:gd name="connsiteY229" fmla="*/ 1054098 h 1408309"/>
                    <a:gd name="connsiteX230" fmla="*/ 168060 w 1477099"/>
                    <a:gd name="connsiteY230" fmla="*/ 1057313 h 1408309"/>
                    <a:gd name="connsiteX231" fmla="*/ 169614 w 1477099"/>
                    <a:gd name="connsiteY231" fmla="*/ 1071727 h 1408309"/>
                    <a:gd name="connsiteX232" fmla="*/ 194168 w 1477099"/>
                    <a:gd name="connsiteY232" fmla="*/ 1128643 h 1408309"/>
                    <a:gd name="connsiteX233" fmla="*/ 204590 w 1477099"/>
                    <a:gd name="connsiteY233" fmla="*/ 1152843 h 1408309"/>
                    <a:gd name="connsiteX234" fmla="*/ 350995 w 1477099"/>
                    <a:gd name="connsiteY234" fmla="*/ 1194921 h 1408309"/>
                    <a:gd name="connsiteX235" fmla="*/ 389716 w 1477099"/>
                    <a:gd name="connsiteY235" fmla="*/ 1119598 h 1408309"/>
                    <a:gd name="connsiteX236" fmla="*/ 384134 w 1477099"/>
                    <a:gd name="connsiteY236" fmla="*/ 1091088 h 1408309"/>
                    <a:gd name="connsiteX237" fmla="*/ 388939 w 1477099"/>
                    <a:gd name="connsiteY237" fmla="*/ 1082467 h 1408309"/>
                    <a:gd name="connsiteX238" fmla="*/ 398760 w 1477099"/>
                    <a:gd name="connsiteY238" fmla="*/ 1084834 h 1408309"/>
                    <a:gd name="connsiteX239" fmla="*/ 407593 w 1477099"/>
                    <a:gd name="connsiteY239" fmla="*/ 1104901 h 1408309"/>
                    <a:gd name="connsiteX240" fmla="*/ 450518 w 1477099"/>
                    <a:gd name="connsiteY240" fmla="*/ 1151819 h 1408309"/>
                    <a:gd name="connsiteX241" fmla="*/ 480124 w 1477099"/>
                    <a:gd name="connsiteY241" fmla="*/ 1158284 h 1408309"/>
                    <a:gd name="connsiteX242" fmla="*/ 489521 w 1477099"/>
                    <a:gd name="connsiteY242" fmla="*/ 1169448 h 1408309"/>
                    <a:gd name="connsiteX243" fmla="*/ 479523 w 1477099"/>
                    <a:gd name="connsiteY243" fmla="*/ 1180612 h 1408309"/>
                    <a:gd name="connsiteX244" fmla="*/ 457124 w 1477099"/>
                    <a:gd name="connsiteY244" fmla="*/ 1182414 h 1408309"/>
                    <a:gd name="connsiteX245" fmla="*/ 443381 w 1477099"/>
                    <a:gd name="connsiteY245" fmla="*/ 1188809 h 1408309"/>
                    <a:gd name="connsiteX246" fmla="*/ 460410 w 1477099"/>
                    <a:gd name="connsiteY246" fmla="*/ 1236221 h 1408309"/>
                    <a:gd name="connsiteX247" fmla="*/ 509164 w 1477099"/>
                    <a:gd name="connsiteY247" fmla="*/ 1237634 h 1408309"/>
                    <a:gd name="connsiteX248" fmla="*/ 565762 w 1477099"/>
                    <a:gd name="connsiteY248" fmla="*/ 1241131 h 1408309"/>
                    <a:gd name="connsiteX249" fmla="*/ 622360 w 1477099"/>
                    <a:gd name="connsiteY249" fmla="*/ 1255157 h 1408309"/>
                    <a:gd name="connsiteX250" fmla="*/ 648963 w 1477099"/>
                    <a:gd name="connsiteY250" fmla="*/ 1255157 h 1408309"/>
                    <a:gd name="connsiteX251" fmla="*/ 676237 w 1477099"/>
                    <a:gd name="connsiteY251" fmla="*/ 1263777 h 1408309"/>
                    <a:gd name="connsiteX252" fmla="*/ 671538 w 1477099"/>
                    <a:gd name="connsiteY252" fmla="*/ 1290274 h 1408309"/>
                    <a:gd name="connsiteX253" fmla="*/ 658467 w 1477099"/>
                    <a:gd name="connsiteY253" fmla="*/ 1291758 h 1408309"/>
                    <a:gd name="connsiteX254" fmla="*/ 566045 w 1477099"/>
                    <a:gd name="connsiteY254" fmla="*/ 1269324 h 1408309"/>
                    <a:gd name="connsiteX255" fmla="*/ 554775 w 1477099"/>
                    <a:gd name="connsiteY255" fmla="*/ 1265579 h 1408309"/>
                    <a:gd name="connsiteX256" fmla="*/ 525381 w 1477099"/>
                    <a:gd name="connsiteY256" fmla="*/ 1257453 h 1408309"/>
                    <a:gd name="connsiteX257" fmla="*/ 508175 w 1477099"/>
                    <a:gd name="connsiteY257" fmla="*/ 1264307 h 1408309"/>
                    <a:gd name="connsiteX258" fmla="*/ 515100 w 1477099"/>
                    <a:gd name="connsiteY258" fmla="*/ 1278192 h 1408309"/>
                    <a:gd name="connsiteX259" fmla="*/ 587066 w 1477099"/>
                    <a:gd name="connsiteY259" fmla="*/ 1300237 h 1408309"/>
                    <a:gd name="connsiteX260" fmla="*/ 599325 w 1477099"/>
                    <a:gd name="connsiteY260" fmla="*/ 1302710 h 1408309"/>
                    <a:gd name="connsiteX261" fmla="*/ 593849 w 1477099"/>
                    <a:gd name="connsiteY261" fmla="*/ 1312638 h 1408309"/>
                    <a:gd name="connsiteX262" fmla="*/ 611337 w 1477099"/>
                    <a:gd name="connsiteY262" fmla="*/ 1319315 h 1408309"/>
                    <a:gd name="connsiteX263" fmla="*/ 677262 w 1477099"/>
                    <a:gd name="connsiteY263" fmla="*/ 1332069 h 1408309"/>
                    <a:gd name="connsiteX264" fmla="*/ 709800 w 1477099"/>
                    <a:gd name="connsiteY264" fmla="*/ 1300838 h 1408309"/>
                    <a:gd name="connsiteX265" fmla="*/ 715382 w 1477099"/>
                    <a:gd name="connsiteY265" fmla="*/ 1294302 h 1408309"/>
                    <a:gd name="connsiteX266" fmla="*/ 737074 w 1477099"/>
                    <a:gd name="connsiteY266" fmla="*/ 1295963 h 1408309"/>
                    <a:gd name="connsiteX267" fmla="*/ 783250 w 1477099"/>
                    <a:gd name="connsiteY267" fmla="*/ 1293207 h 1408309"/>
                    <a:gd name="connsiteX268" fmla="*/ 804765 w 1477099"/>
                    <a:gd name="connsiteY268" fmla="*/ 1259997 h 1408309"/>
                    <a:gd name="connsiteX269" fmla="*/ 804695 w 1477099"/>
                    <a:gd name="connsiteY269" fmla="*/ 1260068 h 1408309"/>
                    <a:gd name="connsiteX270" fmla="*/ 493196 w 1477099"/>
                    <a:gd name="connsiteY270" fmla="*/ 138997 h 1408309"/>
                    <a:gd name="connsiteX271" fmla="*/ 514323 w 1477099"/>
                    <a:gd name="connsiteY271" fmla="*/ 137831 h 1408309"/>
                    <a:gd name="connsiteX272" fmla="*/ 600456 w 1477099"/>
                    <a:gd name="connsiteY272" fmla="*/ 100912 h 1408309"/>
                    <a:gd name="connsiteX273" fmla="*/ 659809 w 1477099"/>
                    <a:gd name="connsiteY273" fmla="*/ 48589 h 1408309"/>
                    <a:gd name="connsiteX274" fmla="*/ 654580 w 1477099"/>
                    <a:gd name="connsiteY274" fmla="*/ 34669 h 1408309"/>
                    <a:gd name="connsiteX275" fmla="*/ 578092 w 1477099"/>
                    <a:gd name="connsiteY275" fmla="*/ 32408 h 1408309"/>
                    <a:gd name="connsiteX276" fmla="*/ 450730 w 1477099"/>
                    <a:gd name="connsiteY276" fmla="*/ 114478 h 1408309"/>
                    <a:gd name="connsiteX277" fmla="*/ 454263 w 1477099"/>
                    <a:gd name="connsiteY277" fmla="*/ 128363 h 1408309"/>
                    <a:gd name="connsiteX278" fmla="*/ 493231 w 1477099"/>
                    <a:gd name="connsiteY278" fmla="*/ 138962 h 1408309"/>
                    <a:gd name="connsiteX279" fmla="*/ 852283 w 1477099"/>
                    <a:gd name="connsiteY279" fmla="*/ 1361110 h 1408309"/>
                    <a:gd name="connsiteX280" fmla="*/ 904500 w 1477099"/>
                    <a:gd name="connsiteY280" fmla="*/ 1352348 h 1408309"/>
                    <a:gd name="connsiteX281" fmla="*/ 1026704 w 1477099"/>
                    <a:gd name="connsiteY281" fmla="*/ 1298082 h 1408309"/>
                    <a:gd name="connsiteX282" fmla="*/ 1045782 w 1477099"/>
                    <a:gd name="connsiteY282" fmla="*/ 1283915 h 1408309"/>
                    <a:gd name="connsiteX283" fmla="*/ 1050658 w 1477099"/>
                    <a:gd name="connsiteY283" fmla="*/ 1262435 h 1408309"/>
                    <a:gd name="connsiteX284" fmla="*/ 1029849 w 1477099"/>
                    <a:gd name="connsiteY284" fmla="*/ 1255404 h 1408309"/>
                    <a:gd name="connsiteX285" fmla="*/ 1012749 w 1477099"/>
                    <a:gd name="connsiteY285" fmla="*/ 1257171 h 1408309"/>
                    <a:gd name="connsiteX286" fmla="*/ 953467 w 1477099"/>
                    <a:gd name="connsiteY286" fmla="*/ 1283209 h 1408309"/>
                    <a:gd name="connsiteX287" fmla="*/ 910011 w 1477099"/>
                    <a:gd name="connsiteY287" fmla="*/ 1310660 h 1408309"/>
                    <a:gd name="connsiteX288" fmla="*/ 822041 w 1477099"/>
                    <a:gd name="connsiteY288" fmla="*/ 1320870 h 1408309"/>
                    <a:gd name="connsiteX289" fmla="*/ 802257 w 1477099"/>
                    <a:gd name="connsiteY289" fmla="*/ 1335531 h 1408309"/>
                    <a:gd name="connsiteX290" fmla="*/ 816389 w 1477099"/>
                    <a:gd name="connsiteY290" fmla="*/ 1355068 h 1408309"/>
                    <a:gd name="connsiteX291" fmla="*/ 852283 w 1477099"/>
                    <a:gd name="connsiteY291" fmla="*/ 1361110 h 1408309"/>
                    <a:gd name="connsiteX292" fmla="*/ 1432038 w 1477099"/>
                    <a:gd name="connsiteY292" fmla="*/ 740197 h 1408309"/>
                    <a:gd name="connsiteX293" fmla="*/ 1427975 w 1477099"/>
                    <a:gd name="connsiteY293" fmla="*/ 762030 h 1408309"/>
                    <a:gd name="connsiteX294" fmla="*/ 1428222 w 1477099"/>
                    <a:gd name="connsiteY294" fmla="*/ 796088 h 1408309"/>
                    <a:gd name="connsiteX295" fmla="*/ 1398192 w 1477099"/>
                    <a:gd name="connsiteY295" fmla="*/ 936486 h 1408309"/>
                    <a:gd name="connsiteX296" fmla="*/ 1372190 w 1477099"/>
                    <a:gd name="connsiteY296" fmla="*/ 1003118 h 1408309"/>
                    <a:gd name="connsiteX297" fmla="*/ 1307926 w 1477099"/>
                    <a:gd name="connsiteY297" fmla="*/ 1080383 h 1408309"/>
                    <a:gd name="connsiteX298" fmla="*/ 1281429 w 1477099"/>
                    <a:gd name="connsiteY298" fmla="*/ 1131999 h 1408309"/>
                    <a:gd name="connsiteX299" fmla="*/ 1273974 w 1477099"/>
                    <a:gd name="connsiteY299" fmla="*/ 1159839 h 1408309"/>
                    <a:gd name="connsiteX300" fmla="*/ 1192293 w 1477099"/>
                    <a:gd name="connsiteY300" fmla="*/ 1248974 h 1408309"/>
                    <a:gd name="connsiteX301" fmla="*/ 1169788 w 1477099"/>
                    <a:gd name="connsiteY301" fmla="*/ 1260174 h 1408309"/>
                    <a:gd name="connsiteX302" fmla="*/ 1147566 w 1477099"/>
                    <a:gd name="connsiteY302" fmla="*/ 1252543 h 1408309"/>
                    <a:gd name="connsiteX303" fmla="*/ 1134529 w 1477099"/>
                    <a:gd name="connsiteY303" fmla="*/ 1247279 h 1408309"/>
                    <a:gd name="connsiteX304" fmla="*/ 1096162 w 1477099"/>
                    <a:gd name="connsiteY304" fmla="*/ 1284728 h 1408309"/>
                    <a:gd name="connsiteX305" fmla="*/ 1125909 w 1477099"/>
                    <a:gd name="connsiteY305" fmla="*/ 1263106 h 1408309"/>
                    <a:gd name="connsiteX306" fmla="*/ 1140429 w 1477099"/>
                    <a:gd name="connsiteY306" fmla="*/ 1262965 h 1408309"/>
                    <a:gd name="connsiteX307" fmla="*/ 1191904 w 1477099"/>
                    <a:gd name="connsiteY307" fmla="*/ 1265579 h 1408309"/>
                    <a:gd name="connsiteX308" fmla="*/ 1205683 w 1477099"/>
                    <a:gd name="connsiteY308" fmla="*/ 1246219 h 1408309"/>
                    <a:gd name="connsiteX309" fmla="*/ 1259984 w 1477099"/>
                    <a:gd name="connsiteY309" fmla="*/ 1200079 h 1408309"/>
                    <a:gd name="connsiteX310" fmla="*/ 1280051 w 1477099"/>
                    <a:gd name="connsiteY310" fmla="*/ 1181778 h 1408309"/>
                    <a:gd name="connsiteX311" fmla="*/ 1305665 w 1477099"/>
                    <a:gd name="connsiteY311" fmla="*/ 1116489 h 1408309"/>
                    <a:gd name="connsiteX312" fmla="*/ 1324778 w 1477099"/>
                    <a:gd name="connsiteY312" fmla="*/ 1085576 h 1408309"/>
                    <a:gd name="connsiteX313" fmla="*/ 1340040 w 1477099"/>
                    <a:gd name="connsiteY313" fmla="*/ 1070809 h 1408309"/>
                    <a:gd name="connsiteX314" fmla="*/ 1373603 w 1477099"/>
                    <a:gd name="connsiteY314" fmla="*/ 1025198 h 1408309"/>
                    <a:gd name="connsiteX315" fmla="*/ 1399676 w 1477099"/>
                    <a:gd name="connsiteY315" fmla="*/ 965880 h 1408309"/>
                    <a:gd name="connsiteX316" fmla="*/ 1422605 w 1477099"/>
                    <a:gd name="connsiteY316" fmla="*/ 916773 h 1408309"/>
                    <a:gd name="connsiteX317" fmla="*/ 1432038 w 1477099"/>
                    <a:gd name="connsiteY317" fmla="*/ 740126 h 1408309"/>
                    <a:gd name="connsiteX318" fmla="*/ 34162 w 1477099"/>
                    <a:gd name="connsiteY318" fmla="*/ 800716 h 1408309"/>
                    <a:gd name="connsiteX319" fmla="*/ 45008 w 1477099"/>
                    <a:gd name="connsiteY319" fmla="*/ 751184 h 1408309"/>
                    <a:gd name="connsiteX320" fmla="*/ 66771 w 1477099"/>
                    <a:gd name="connsiteY320" fmla="*/ 698508 h 1408309"/>
                    <a:gd name="connsiteX321" fmla="*/ 64580 w 1477099"/>
                    <a:gd name="connsiteY321" fmla="*/ 649153 h 1408309"/>
                    <a:gd name="connsiteX322" fmla="*/ 67901 w 1477099"/>
                    <a:gd name="connsiteY322" fmla="*/ 632053 h 1408309"/>
                    <a:gd name="connsiteX323" fmla="*/ 90229 w 1477099"/>
                    <a:gd name="connsiteY323" fmla="*/ 609796 h 1408309"/>
                    <a:gd name="connsiteX324" fmla="*/ 120507 w 1477099"/>
                    <a:gd name="connsiteY324" fmla="*/ 525394 h 1408309"/>
                    <a:gd name="connsiteX325" fmla="*/ 120400 w 1477099"/>
                    <a:gd name="connsiteY325" fmla="*/ 480208 h 1408309"/>
                    <a:gd name="connsiteX326" fmla="*/ 84153 w 1477099"/>
                    <a:gd name="connsiteY326" fmla="*/ 538961 h 1408309"/>
                    <a:gd name="connsiteX327" fmla="*/ 62990 w 1477099"/>
                    <a:gd name="connsiteY327" fmla="*/ 588316 h 1408309"/>
                    <a:gd name="connsiteX328" fmla="*/ 36175 w 1477099"/>
                    <a:gd name="connsiteY328" fmla="*/ 672046 h 1408309"/>
                    <a:gd name="connsiteX329" fmla="*/ 27378 w 1477099"/>
                    <a:gd name="connsiteY329" fmla="*/ 710379 h 1408309"/>
                    <a:gd name="connsiteX330" fmla="*/ 30063 w 1477099"/>
                    <a:gd name="connsiteY330" fmla="*/ 792625 h 1408309"/>
                    <a:gd name="connsiteX331" fmla="*/ 34162 w 1477099"/>
                    <a:gd name="connsiteY331" fmla="*/ 800716 h 1408309"/>
                    <a:gd name="connsiteX332" fmla="*/ 1246841 w 1477099"/>
                    <a:gd name="connsiteY332" fmla="*/ 256644 h 1408309"/>
                    <a:gd name="connsiteX333" fmla="*/ 1230837 w 1477099"/>
                    <a:gd name="connsiteY333" fmla="*/ 243713 h 1408309"/>
                    <a:gd name="connsiteX334" fmla="*/ 1169364 w 1477099"/>
                    <a:gd name="connsiteY334" fmla="*/ 222657 h 1408309"/>
                    <a:gd name="connsiteX335" fmla="*/ 1151063 w 1477099"/>
                    <a:gd name="connsiteY335" fmla="*/ 237601 h 1408309"/>
                    <a:gd name="connsiteX336" fmla="*/ 1162863 w 1477099"/>
                    <a:gd name="connsiteY336" fmla="*/ 257951 h 1408309"/>
                    <a:gd name="connsiteX337" fmla="*/ 1214409 w 1477099"/>
                    <a:gd name="connsiteY337" fmla="*/ 299322 h 1408309"/>
                    <a:gd name="connsiteX338" fmla="*/ 1252883 w 1477099"/>
                    <a:gd name="connsiteY338" fmla="*/ 329493 h 1408309"/>
                    <a:gd name="connsiteX339" fmla="*/ 1276341 w 1477099"/>
                    <a:gd name="connsiteY339" fmla="*/ 318717 h 1408309"/>
                    <a:gd name="connsiteX340" fmla="*/ 1278602 w 1477099"/>
                    <a:gd name="connsiteY340" fmla="*/ 310592 h 1408309"/>
                    <a:gd name="connsiteX341" fmla="*/ 1290650 w 1477099"/>
                    <a:gd name="connsiteY341" fmla="*/ 316174 h 1408309"/>
                    <a:gd name="connsiteX342" fmla="*/ 1286657 w 1477099"/>
                    <a:gd name="connsiteY342" fmla="*/ 300099 h 1408309"/>
                    <a:gd name="connsiteX343" fmla="*/ 1244086 w 1477099"/>
                    <a:gd name="connsiteY343" fmla="*/ 270917 h 1408309"/>
                    <a:gd name="connsiteX344" fmla="*/ 1234370 w 1477099"/>
                    <a:gd name="connsiteY344" fmla="*/ 263957 h 1408309"/>
                    <a:gd name="connsiteX345" fmla="*/ 1246841 w 1477099"/>
                    <a:gd name="connsiteY345" fmla="*/ 256714 h 1408309"/>
                    <a:gd name="connsiteX346" fmla="*/ 1249738 w 1477099"/>
                    <a:gd name="connsiteY346" fmla="*/ 886884 h 1408309"/>
                    <a:gd name="connsiteX347" fmla="*/ 1249738 w 1477099"/>
                    <a:gd name="connsiteY347" fmla="*/ 882892 h 1408309"/>
                    <a:gd name="connsiteX348" fmla="*/ 1237832 w 1477099"/>
                    <a:gd name="connsiteY348" fmla="*/ 858161 h 1408309"/>
                    <a:gd name="connsiteX349" fmla="*/ 1215928 w 1477099"/>
                    <a:gd name="connsiteY349" fmla="*/ 873812 h 1408309"/>
                    <a:gd name="connsiteX350" fmla="*/ 1199429 w 1477099"/>
                    <a:gd name="connsiteY350" fmla="*/ 900980 h 1408309"/>
                    <a:gd name="connsiteX351" fmla="*/ 1178868 w 1477099"/>
                    <a:gd name="connsiteY351" fmla="*/ 930692 h 1408309"/>
                    <a:gd name="connsiteX352" fmla="*/ 1196356 w 1477099"/>
                    <a:gd name="connsiteY352" fmla="*/ 964679 h 1408309"/>
                    <a:gd name="connsiteX353" fmla="*/ 1228470 w 1477099"/>
                    <a:gd name="connsiteY353" fmla="*/ 963973 h 1408309"/>
                    <a:gd name="connsiteX354" fmla="*/ 1249738 w 1477099"/>
                    <a:gd name="connsiteY354" fmla="*/ 886919 h 1408309"/>
                    <a:gd name="connsiteX355" fmla="*/ 1290367 w 1477099"/>
                    <a:gd name="connsiteY355" fmla="*/ 1190363 h 1408309"/>
                    <a:gd name="connsiteX356" fmla="*/ 1342902 w 1477099"/>
                    <a:gd name="connsiteY356" fmla="*/ 1179411 h 1408309"/>
                    <a:gd name="connsiteX357" fmla="*/ 1374098 w 1477099"/>
                    <a:gd name="connsiteY357" fmla="*/ 1147862 h 1408309"/>
                    <a:gd name="connsiteX358" fmla="*/ 1371801 w 1477099"/>
                    <a:gd name="connsiteY358" fmla="*/ 1054698 h 1408309"/>
                    <a:gd name="connsiteX359" fmla="*/ 1354772 w 1477099"/>
                    <a:gd name="connsiteY359" fmla="*/ 1114228 h 1408309"/>
                    <a:gd name="connsiteX360" fmla="*/ 1302944 w 1477099"/>
                    <a:gd name="connsiteY360" fmla="*/ 1177221 h 1408309"/>
                    <a:gd name="connsiteX361" fmla="*/ 1290367 w 1477099"/>
                    <a:gd name="connsiteY361" fmla="*/ 1190398 h 1408309"/>
                    <a:gd name="connsiteX362" fmla="*/ 1291568 w 1477099"/>
                    <a:gd name="connsiteY362" fmla="*/ 286815 h 1408309"/>
                    <a:gd name="connsiteX363" fmla="*/ 1258252 w 1477099"/>
                    <a:gd name="connsiteY363" fmla="*/ 207925 h 1408309"/>
                    <a:gd name="connsiteX364" fmla="*/ 1184096 w 1477099"/>
                    <a:gd name="connsiteY364" fmla="*/ 168638 h 1408309"/>
                    <a:gd name="connsiteX365" fmla="*/ 1173003 w 1477099"/>
                    <a:gd name="connsiteY365" fmla="*/ 169204 h 1408309"/>
                    <a:gd name="connsiteX366" fmla="*/ 1177454 w 1477099"/>
                    <a:gd name="connsiteY366" fmla="*/ 184289 h 1408309"/>
                    <a:gd name="connsiteX367" fmla="*/ 1209039 w 1477099"/>
                    <a:gd name="connsiteY367" fmla="*/ 197326 h 1408309"/>
                    <a:gd name="connsiteX368" fmla="*/ 1258889 w 1477099"/>
                    <a:gd name="connsiteY368" fmla="*/ 252475 h 1408309"/>
                    <a:gd name="connsiteX369" fmla="*/ 1276341 w 1477099"/>
                    <a:gd name="connsiteY369" fmla="*/ 277099 h 1408309"/>
                    <a:gd name="connsiteX370" fmla="*/ 1291604 w 1477099"/>
                    <a:gd name="connsiteY370" fmla="*/ 286780 h 1408309"/>
                    <a:gd name="connsiteX371" fmla="*/ 1372720 w 1477099"/>
                    <a:gd name="connsiteY371" fmla="*/ 698261 h 1408309"/>
                    <a:gd name="connsiteX372" fmla="*/ 1408614 w 1477099"/>
                    <a:gd name="connsiteY372" fmla="*/ 667241 h 1408309"/>
                    <a:gd name="connsiteX373" fmla="*/ 1392257 w 1477099"/>
                    <a:gd name="connsiteY373" fmla="*/ 629651 h 1408309"/>
                    <a:gd name="connsiteX374" fmla="*/ 1385862 w 1477099"/>
                    <a:gd name="connsiteY374" fmla="*/ 628732 h 1408309"/>
                    <a:gd name="connsiteX375" fmla="*/ 1357069 w 1477099"/>
                    <a:gd name="connsiteY375" fmla="*/ 645302 h 1408309"/>
                    <a:gd name="connsiteX376" fmla="*/ 1355762 w 1477099"/>
                    <a:gd name="connsiteY376" fmla="*/ 681514 h 1408309"/>
                    <a:gd name="connsiteX377" fmla="*/ 1372720 w 1477099"/>
                    <a:gd name="connsiteY377" fmla="*/ 698225 h 1408309"/>
                    <a:gd name="connsiteX378" fmla="*/ 67548 w 1477099"/>
                    <a:gd name="connsiteY378" fmla="*/ 445373 h 1408309"/>
                    <a:gd name="connsiteX379" fmla="*/ 67583 w 1477099"/>
                    <a:gd name="connsiteY379" fmla="*/ 457632 h 1408309"/>
                    <a:gd name="connsiteX380" fmla="*/ 81397 w 1477099"/>
                    <a:gd name="connsiteY380" fmla="*/ 463391 h 1408309"/>
                    <a:gd name="connsiteX381" fmla="*/ 101358 w 1477099"/>
                    <a:gd name="connsiteY381" fmla="*/ 438979 h 1408309"/>
                    <a:gd name="connsiteX382" fmla="*/ 127219 w 1477099"/>
                    <a:gd name="connsiteY382" fmla="*/ 388387 h 1408309"/>
                    <a:gd name="connsiteX383" fmla="*/ 126548 w 1477099"/>
                    <a:gd name="connsiteY383" fmla="*/ 379731 h 1408309"/>
                    <a:gd name="connsiteX384" fmla="*/ 120365 w 1477099"/>
                    <a:gd name="connsiteY384" fmla="*/ 380085 h 1408309"/>
                    <a:gd name="connsiteX385" fmla="*/ 67548 w 1477099"/>
                    <a:gd name="connsiteY385" fmla="*/ 445373 h 1408309"/>
                    <a:gd name="connsiteX386" fmla="*/ 1342054 w 1477099"/>
                    <a:gd name="connsiteY386" fmla="*/ 364010 h 1408309"/>
                    <a:gd name="connsiteX387" fmla="*/ 1345693 w 1477099"/>
                    <a:gd name="connsiteY387" fmla="*/ 376304 h 1408309"/>
                    <a:gd name="connsiteX388" fmla="*/ 1387417 w 1477099"/>
                    <a:gd name="connsiteY388" fmla="*/ 445550 h 1408309"/>
                    <a:gd name="connsiteX389" fmla="*/ 1406777 w 1477099"/>
                    <a:gd name="connsiteY389" fmla="*/ 553764 h 1408309"/>
                    <a:gd name="connsiteX390" fmla="*/ 1406565 w 1477099"/>
                    <a:gd name="connsiteY390" fmla="*/ 579095 h 1408309"/>
                    <a:gd name="connsiteX391" fmla="*/ 1417234 w 1477099"/>
                    <a:gd name="connsiteY391" fmla="*/ 483988 h 1408309"/>
                    <a:gd name="connsiteX392" fmla="*/ 1342054 w 1477099"/>
                    <a:gd name="connsiteY392" fmla="*/ 364010 h 1408309"/>
                    <a:gd name="connsiteX393" fmla="*/ 366611 w 1477099"/>
                    <a:gd name="connsiteY393" fmla="*/ 147441 h 1408309"/>
                    <a:gd name="connsiteX394" fmla="*/ 277899 w 1477099"/>
                    <a:gd name="connsiteY394" fmla="*/ 211034 h 1408309"/>
                    <a:gd name="connsiteX395" fmla="*/ 311709 w 1477099"/>
                    <a:gd name="connsiteY395" fmla="*/ 196443 h 1408309"/>
                    <a:gd name="connsiteX396" fmla="*/ 352126 w 1477099"/>
                    <a:gd name="connsiteY396" fmla="*/ 165035 h 1408309"/>
                    <a:gd name="connsiteX397" fmla="*/ 366611 w 1477099"/>
                    <a:gd name="connsiteY397" fmla="*/ 147441 h 1408309"/>
                    <a:gd name="connsiteX398" fmla="*/ 1430624 w 1477099"/>
                    <a:gd name="connsiteY398" fmla="*/ 678512 h 1408309"/>
                    <a:gd name="connsiteX399" fmla="*/ 1442000 w 1477099"/>
                    <a:gd name="connsiteY399" fmla="*/ 592061 h 1408309"/>
                    <a:gd name="connsiteX400" fmla="*/ 1430872 w 1477099"/>
                    <a:gd name="connsiteY400" fmla="*/ 590365 h 1408309"/>
                    <a:gd name="connsiteX401" fmla="*/ 1407484 w 1477099"/>
                    <a:gd name="connsiteY401" fmla="*/ 591389 h 1408309"/>
                    <a:gd name="connsiteX402" fmla="*/ 1415433 w 1477099"/>
                    <a:gd name="connsiteY402" fmla="*/ 602977 h 1408309"/>
                    <a:gd name="connsiteX403" fmla="*/ 1429706 w 1477099"/>
                    <a:gd name="connsiteY403" fmla="*/ 611668 h 1408309"/>
                    <a:gd name="connsiteX404" fmla="*/ 1431437 w 1477099"/>
                    <a:gd name="connsiteY404" fmla="*/ 663179 h 1408309"/>
                    <a:gd name="connsiteX405" fmla="*/ 1430660 w 1477099"/>
                    <a:gd name="connsiteY405" fmla="*/ 678476 h 1408309"/>
                    <a:gd name="connsiteX406" fmla="*/ 766751 w 1477099"/>
                    <a:gd name="connsiteY406" fmla="*/ 1349592 h 1408309"/>
                    <a:gd name="connsiteX407" fmla="*/ 855533 w 1477099"/>
                    <a:gd name="connsiteY407" fmla="*/ 1380364 h 1408309"/>
                    <a:gd name="connsiteX408" fmla="*/ 787878 w 1477099"/>
                    <a:gd name="connsiteY408" fmla="*/ 1352984 h 1408309"/>
                    <a:gd name="connsiteX409" fmla="*/ 766786 w 1477099"/>
                    <a:gd name="connsiteY409" fmla="*/ 1349557 h 1408309"/>
                    <a:gd name="connsiteX410" fmla="*/ 1325308 w 1477099"/>
                    <a:gd name="connsiteY410" fmla="*/ 365882 h 1408309"/>
                    <a:gd name="connsiteX411" fmla="*/ 1306901 w 1477099"/>
                    <a:gd name="connsiteY411" fmla="*/ 334863 h 1408309"/>
                    <a:gd name="connsiteX412" fmla="*/ 1325308 w 1477099"/>
                    <a:gd name="connsiteY412" fmla="*/ 365882 h 140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Lst>
                  <a:rect l="l" t="t" r="r" b="b"/>
                  <a:pathLst>
                    <a:path w="1477099" h="1408309">
                      <a:moveTo>
                        <a:pt x="1449985" y="526913"/>
                      </a:moveTo>
                      <a:cubicBezTo>
                        <a:pt x="1445109" y="543730"/>
                        <a:pt x="1450974" y="559911"/>
                        <a:pt x="1463163" y="578388"/>
                      </a:cubicBezTo>
                      <a:cubicBezTo>
                        <a:pt x="1484466" y="610714"/>
                        <a:pt x="1478778" y="646998"/>
                        <a:pt x="1463269" y="681373"/>
                      </a:cubicBezTo>
                      <a:cubicBezTo>
                        <a:pt x="1460195" y="688192"/>
                        <a:pt x="1456733" y="694410"/>
                        <a:pt x="1457510" y="702641"/>
                      </a:cubicBezTo>
                      <a:cubicBezTo>
                        <a:pt x="1459665" y="725570"/>
                        <a:pt x="1461220" y="748570"/>
                        <a:pt x="1462385" y="771569"/>
                      </a:cubicBezTo>
                      <a:cubicBezTo>
                        <a:pt x="1465035" y="823221"/>
                        <a:pt x="1460372" y="874307"/>
                        <a:pt x="1448748" y="924686"/>
                      </a:cubicBezTo>
                      <a:cubicBezTo>
                        <a:pt x="1443802" y="946131"/>
                        <a:pt x="1432815" y="965209"/>
                        <a:pt x="1420732" y="983156"/>
                      </a:cubicBezTo>
                      <a:cubicBezTo>
                        <a:pt x="1401407" y="1011879"/>
                        <a:pt x="1398016" y="1042616"/>
                        <a:pt x="1403173" y="1075896"/>
                      </a:cubicBezTo>
                      <a:cubicBezTo>
                        <a:pt x="1407236" y="1102181"/>
                        <a:pt x="1408508" y="1128643"/>
                        <a:pt x="1400064" y="1154786"/>
                      </a:cubicBezTo>
                      <a:cubicBezTo>
                        <a:pt x="1392292" y="1178881"/>
                        <a:pt x="1377489" y="1195804"/>
                        <a:pt x="1353395" y="1203647"/>
                      </a:cubicBezTo>
                      <a:cubicBezTo>
                        <a:pt x="1332338" y="1210501"/>
                        <a:pt x="1310999" y="1216754"/>
                        <a:pt x="1288636" y="1217284"/>
                      </a:cubicBezTo>
                      <a:cubicBezTo>
                        <a:pt x="1280263" y="1217461"/>
                        <a:pt x="1274398" y="1220570"/>
                        <a:pt x="1269629" y="1227247"/>
                      </a:cubicBezTo>
                      <a:cubicBezTo>
                        <a:pt x="1261256" y="1238941"/>
                        <a:pt x="1250833" y="1248515"/>
                        <a:pt x="1238150" y="1255404"/>
                      </a:cubicBezTo>
                      <a:cubicBezTo>
                        <a:pt x="1228011" y="1260880"/>
                        <a:pt x="1221404" y="1269925"/>
                        <a:pt x="1215328" y="1279040"/>
                      </a:cubicBezTo>
                      <a:cubicBezTo>
                        <a:pt x="1200913" y="1300661"/>
                        <a:pt x="1180175" y="1308999"/>
                        <a:pt x="1156540" y="1301827"/>
                      </a:cubicBezTo>
                      <a:cubicBezTo>
                        <a:pt x="1135307" y="1295362"/>
                        <a:pt x="1120150" y="1301827"/>
                        <a:pt x="1104181" y="1313910"/>
                      </a:cubicBezTo>
                      <a:cubicBezTo>
                        <a:pt x="1068039" y="1341184"/>
                        <a:pt x="1030908" y="1366904"/>
                        <a:pt x="986641" y="1380082"/>
                      </a:cubicBezTo>
                      <a:cubicBezTo>
                        <a:pt x="950463" y="1390857"/>
                        <a:pt x="913332" y="1396828"/>
                        <a:pt x="876484" y="1404282"/>
                      </a:cubicBezTo>
                      <a:cubicBezTo>
                        <a:pt x="836067" y="1412479"/>
                        <a:pt x="798053" y="1409334"/>
                        <a:pt x="763889" y="1383897"/>
                      </a:cubicBezTo>
                      <a:cubicBezTo>
                        <a:pt x="760851" y="1381636"/>
                        <a:pt x="757742" y="1379304"/>
                        <a:pt x="753184" y="1382413"/>
                      </a:cubicBezTo>
                      <a:cubicBezTo>
                        <a:pt x="733011" y="1396227"/>
                        <a:pt x="709906" y="1399054"/>
                        <a:pt x="686165" y="1400431"/>
                      </a:cubicBezTo>
                      <a:cubicBezTo>
                        <a:pt x="636633" y="1403293"/>
                        <a:pt x="587773" y="1400961"/>
                        <a:pt x="540325" y="1385028"/>
                      </a:cubicBezTo>
                      <a:cubicBezTo>
                        <a:pt x="517679" y="1377432"/>
                        <a:pt x="496976" y="1366515"/>
                        <a:pt x="483940" y="1345247"/>
                      </a:cubicBezTo>
                      <a:cubicBezTo>
                        <a:pt x="481113" y="1340619"/>
                        <a:pt x="477439" y="1340124"/>
                        <a:pt x="472811" y="1340124"/>
                      </a:cubicBezTo>
                      <a:cubicBezTo>
                        <a:pt x="449105" y="1340124"/>
                        <a:pt x="429744" y="1331009"/>
                        <a:pt x="415683" y="1311684"/>
                      </a:cubicBezTo>
                      <a:cubicBezTo>
                        <a:pt x="411797" y="1306314"/>
                        <a:pt x="407381" y="1303205"/>
                        <a:pt x="400668" y="1302145"/>
                      </a:cubicBezTo>
                      <a:cubicBezTo>
                        <a:pt x="387526" y="1300061"/>
                        <a:pt x="376326" y="1293913"/>
                        <a:pt x="368059" y="1283350"/>
                      </a:cubicBezTo>
                      <a:cubicBezTo>
                        <a:pt x="356895" y="1269112"/>
                        <a:pt x="342516" y="1261764"/>
                        <a:pt x="324710" y="1257913"/>
                      </a:cubicBezTo>
                      <a:cubicBezTo>
                        <a:pt x="278252" y="1247844"/>
                        <a:pt x="237588" y="1226010"/>
                        <a:pt x="203177" y="1193013"/>
                      </a:cubicBezTo>
                      <a:cubicBezTo>
                        <a:pt x="188586" y="1179022"/>
                        <a:pt x="177316" y="1162594"/>
                        <a:pt x="168978" y="1144294"/>
                      </a:cubicBezTo>
                      <a:cubicBezTo>
                        <a:pt x="166576" y="1139065"/>
                        <a:pt x="164279" y="1136133"/>
                        <a:pt x="158132" y="1134613"/>
                      </a:cubicBezTo>
                      <a:cubicBezTo>
                        <a:pt x="123616" y="1126099"/>
                        <a:pt x="90689" y="1098153"/>
                        <a:pt x="97931" y="1047915"/>
                      </a:cubicBezTo>
                      <a:cubicBezTo>
                        <a:pt x="98178" y="1046149"/>
                        <a:pt x="97931" y="1044312"/>
                        <a:pt x="98284" y="1042616"/>
                      </a:cubicBezTo>
                      <a:cubicBezTo>
                        <a:pt x="102206" y="1024527"/>
                        <a:pt x="96235" y="1011950"/>
                        <a:pt x="81467" y="999655"/>
                      </a:cubicBezTo>
                      <a:cubicBezTo>
                        <a:pt x="52533" y="975525"/>
                        <a:pt x="50484" y="941397"/>
                        <a:pt x="54087" y="906810"/>
                      </a:cubicBezTo>
                      <a:cubicBezTo>
                        <a:pt x="55819" y="890346"/>
                        <a:pt x="54017" y="877698"/>
                        <a:pt x="37271" y="868089"/>
                      </a:cubicBezTo>
                      <a:cubicBezTo>
                        <a:pt x="9431" y="852120"/>
                        <a:pt x="4591" y="823362"/>
                        <a:pt x="2966" y="794392"/>
                      </a:cubicBezTo>
                      <a:cubicBezTo>
                        <a:pt x="1517" y="768707"/>
                        <a:pt x="1305" y="742988"/>
                        <a:pt x="139" y="717303"/>
                      </a:cubicBezTo>
                      <a:cubicBezTo>
                        <a:pt x="-885" y="694975"/>
                        <a:pt x="3708" y="673919"/>
                        <a:pt x="14836" y="654770"/>
                      </a:cubicBezTo>
                      <a:cubicBezTo>
                        <a:pt x="27590" y="632866"/>
                        <a:pt x="35257" y="609655"/>
                        <a:pt x="36705" y="584465"/>
                      </a:cubicBezTo>
                      <a:cubicBezTo>
                        <a:pt x="37589" y="568991"/>
                        <a:pt x="42358" y="555000"/>
                        <a:pt x="51049" y="542246"/>
                      </a:cubicBezTo>
                      <a:cubicBezTo>
                        <a:pt x="57974" y="532107"/>
                        <a:pt x="59881" y="522497"/>
                        <a:pt x="54017" y="510202"/>
                      </a:cubicBezTo>
                      <a:cubicBezTo>
                        <a:pt x="45644" y="492608"/>
                        <a:pt x="41051" y="473283"/>
                        <a:pt x="40379" y="453746"/>
                      </a:cubicBezTo>
                      <a:cubicBezTo>
                        <a:pt x="39108" y="415661"/>
                        <a:pt x="53699" y="385667"/>
                        <a:pt x="88180" y="366907"/>
                      </a:cubicBezTo>
                      <a:cubicBezTo>
                        <a:pt x="105350" y="357544"/>
                        <a:pt x="122874" y="348959"/>
                        <a:pt x="142411" y="346027"/>
                      </a:cubicBezTo>
                      <a:cubicBezTo>
                        <a:pt x="149971" y="344896"/>
                        <a:pt x="152303" y="340268"/>
                        <a:pt x="154564" y="334086"/>
                      </a:cubicBezTo>
                      <a:cubicBezTo>
                        <a:pt x="165587" y="303702"/>
                        <a:pt x="183075" y="278124"/>
                        <a:pt x="211091" y="260813"/>
                      </a:cubicBezTo>
                      <a:cubicBezTo>
                        <a:pt x="215825" y="257916"/>
                        <a:pt x="217097" y="253535"/>
                        <a:pt x="218298" y="248730"/>
                      </a:cubicBezTo>
                      <a:cubicBezTo>
                        <a:pt x="224233" y="225660"/>
                        <a:pt x="236281" y="206759"/>
                        <a:pt x="255253" y="191920"/>
                      </a:cubicBezTo>
                      <a:cubicBezTo>
                        <a:pt x="271999" y="178813"/>
                        <a:pt x="283905" y="160477"/>
                        <a:pt x="301534" y="148077"/>
                      </a:cubicBezTo>
                      <a:cubicBezTo>
                        <a:pt x="333507" y="125537"/>
                        <a:pt x="369755" y="117128"/>
                        <a:pt x="407946" y="115326"/>
                      </a:cubicBezTo>
                      <a:cubicBezTo>
                        <a:pt x="416036" y="114938"/>
                        <a:pt x="420594" y="112500"/>
                        <a:pt x="424763" y="105646"/>
                      </a:cubicBezTo>
                      <a:cubicBezTo>
                        <a:pt x="442816" y="75863"/>
                        <a:pt x="462707" y="47741"/>
                        <a:pt x="495139" y="31384"/>
                      </a:cubicBezTo>
                      <a:cubicBezTo>
                        <a:pt x="535591" y="10928"/>
                        <a:pt x="578233" y="1919"/>
                        <a:pt x="623526" y="4428"/>
                      </a:cubicBezTo>
                      <a:cubicBezTo>
                        <a:pt x="650235" y="5911"/>
                        <a:pt x="676131" y="11529"/>
                        <a:pt x="701957" y="17782"/>
                      </a:cubicBezTo>
                      <a:cubicBezTo>
                        <a:pt x="711213" y="20008"/>
                        <a:pt x="719515" y="17711"/>
                        <a:pt x="727783" y="14355"/>
                      </a:cubicBezTo>
                      <a:cubicBezTo>
                        <a:pt x="745553" y="7183"/>
                        <a:pt x="762123" y="7148"/>
                        <a:pt x="777067" y="21209"/>
                      </a:cubicBezTo>
                      <a:cubicBezTo>
                        <a:pt x="783956" y="27674"/>
                        <a:pt x="792082" y="24530"/>
                        <a:pt x="799749" y="22340"/>
                      </a:cubicBezTo>
                      <a:cubicBezTo>
                        <a:pt x="820134" y="16510"/>
                        <a:pt x="839211" y="6830"/>
                        <a:pt x="860621" y="3827"/>
                      </a:cubicBezTo>
                      <a:cubicBezTo>
                        <a:pt x="986853" y="-14014"/>
                        <a:pt x="1086234" y="30819"/>
                        <a:pt x="1161380" y="132214"/>
                      </a:cubicBezTo>
                      <a:cubicBezTo>
                        <a:pt x="1164736" y="136736"/>
                        <a:pt x="1168233" y="137866"/>
                        <a:pt x="1173180" y="138962"/>
                      </a:cubicBezTo>
                      <a:cubicBezTo>
                        <a:pt x="1219108" y="149243"/>
                        <a:pt x="1260902" y="167119"/>
                        <a:pt x="1291250" y="205204"/>
                      </a:cubicBezTo>
                      <a:cubicBezTo>
                        <a:pt x="1311529" y="230641"/>
                        <a:pt x="1318171" y="260707"/>
                        <a:pt x="1318737" y="292256"/>
                      </a:cubicBezTo>
                      <a:cubicBezTo>
                        <a:pt x="1318913" y="301971"/>
                        <a:pt x="1321634" y="309002"/>
                        <a:pt x="1328629" y="315502"/>
                      </a:cubicBezTo>
                      <a:cubicBezTo>
                        <a:pt x="1356009" y="340834"/>
                        <a:pt x="1382117" y="367437"/>
                        <a:pt x="1403597" y="398138"/>
                      </a:cubicBezTo>
                      <a:cubicBezTo>
                        <a:pt x="1429953" y="435764"/>
                        <a:pt x="1449808" y="475792"/>
                        <a:pt x="1449914" y="527055"/>
                      </a:cubicBezTo>
                      <a:close/>
                      <a:moveTo>
                        <a:pt x="1302697" y="327903"/>
                      </a:moveTo>
                      <a:cubicBezTo>
                        <a:pt x="1302520" y="327585"/>
                        <a:pt x="1302379" y="327232"/>
                        <a:pt x="1302132" y="326985"/>
                      </a:cubicBezTo>
                      <a:cubicBezTo>
                        <a:pt x="1301990" y="326843"/>
                        <a:pt x="1301672" y="326879"/>
                        <a:pt x="1301425" y="326843"/>
                      </a:cubicBezTo>
                      <a:cubicBezTo>
                        <a:pt x="1301885" y="327161"/>
                        <a:pt x="1302344" y="327479"/>
                        <a:pt x="1302803" y="327762"/>
                      </a:cubicBezTo>
                      <a:cubicBezTo>
                        <a:pt x="1302873" y="328115"/>
                        <a:pt x="1302873" y="328468"/>
                        <a:pt x="1303015" y="328786"/>
                      </a:cubicBezTo>
                      <a:cubicBezTo>
                        <a:pt x="1303121" y="328963"/>
                        <a:pt x="1303439" y="329034"/>
                        <a:pt x="1303651" y="329140"/>
                      </a:cubicBezTo>
                      <a:cubicBezTo>
                        <a:pt x="1303333" y="328716"/>
                        <a:pt x="1302980" y="328292"/>
                        <a:pt x="1302662" y="327903"/>
                      </a:cubicBezTo>
                      <a:close/>
                      <a:moveTo>
                        <a:pt x="375867" y="1249292"/>
                      </a:moveTo>
                      <a:cubicBezTo>
                        <a:pt x="376008" y="1249610"/>
                        <a:pt x="376114" y="1249999"/>
                        <a:pt x="376326" y="1250246"/>
                      </a:cubicBezTo>
                      <a:cubicBezTo>
                        <a:pt x="376468" y="1250388"/>
                        <a:pt x="376786" y="1250352"/>
                        <a:pt x="377033" y="1250423"/>
                      </a:cubicBezTo>
                      <a:cubicBezTo>
                        <a:pt x="376609" y="1250070"/>
                        <a:pt x="376185" y="1249752"/>
                        <a:pt x="375761" y="1249398"/>
                      </a:cubicBezTo>
                      <a:cubicBezTo>
                        <a:pt x="376044" y="1242792"/>
                        <a:pt x="374631" y="1235408"/>
                        <a:pt x="368130" y="1233995"/>
                      </a:cubicBezTo>
                      <a:cubicBezTo>
                        <a:pt x="349759" y="1230003"/>
                        <a:pt x="331034" y="1227636"/>
                        <a:pt x="312451" y="1224633"/>
                      </a:cubicBezTo>
                      <a:cubicBezTo>
                        <a:pt x="333366" y="1233959"/>
                        <a:pt x="356577" y="1236291"/>
                        <a:pt x="375867" y="1249292"/>
                      </a:cubicBezTo>
                      <a:close/>
                      <a:moveTo>
                        <a:pt x="434443" y="1281301"/>
                      </a:moveTo>
                      <a:cubicBezTo>
                        <a:pt x="434125" y="1281054"/>
                        <a:pt x="433807" y="1280806"/>
                        <a:pt x="433524" y="1280559"/>
                      </a:cubicBezTo>
                      <a:cubicBezTo>
                        <a:pt x="433843" y="1280806"/>
                        <a:pt x="434125" y="1281054"/>
                        <a:pt x="434443" y="1281336"/>
                      </a:cubicBezTo>
                      <a:cubicBezTo>
                        <a:pt x="437340" y="1305466"/>
                        <a:pt x="454122" y="1316771"/>
                        <a:pt x="480442" y="1311119"/>
                      </a:cubicBezTo>
                      <a:cubicBezTo>
                        <a:pt x="464826" y="1309741"/>
                        <a:pt x="452814" y="1305077"/>
                        <a:pt x="447939" y="1289603"/>
                      </a:cubicBezTo>
                      <a:cubicBezTo>
                        <a:pt x="446066" y="1283668"/>
                        <a:pt x="441226" y="1280453"/>
                        <a:pt x="434478" y="1281336"/>
                      </a:cubicBezTo>
                      <a:close/>
                      <a:moveTo>
                        <a:pt x="740784" y="1355916"/>
                      </a:moveTo>
                      <a:cubicBezTo>
                        <a:pt x="725698" y="1357118"/>
                        <a:pt x="712344" y="1364890"/>
                        <a:pt x="697187" y="1366586"/>
                      </a:cubicBezTo>
                      <a:cubicBezTo>
                        <a:pt x="664472" y="1370260"/>
                        <a:pt x="631828" y="1370613"/>
                        <a:pt x="599290" y="1366127"/>
                      </a:cubicBezTo>
                      <a:cubicBezTo>
                        <a:pt x="567387" y="1361746"/>
                        <a:pt x="536580" y="1354115"/>
                        <a:pt x="514252" y="1327865"/>
                      </a:cubicBezTo>
                      <a:cubicBezTo>
                        <a:pt x="511320" y="1324438"/>
                        <a:pt x="508741" y="1319739"/>
                        <a:pt x="503229" y="1319457"/>
                      </a:cubicBezTo>
                      <a:cubicBezTo>
                        <a:pt x="501463" y="1321364"/>
                        <a:pt x="502699" y="1322954"/>
                        <a:pt x="503371" y="1324509"/>
                      </a:cubicBezTo>
                      <a:cubicBezTo>
                        <a:pt x="510825" y="1342315"/>
                        <a:pt x="525734" y="1351536"/>
                        <a:pt x="542657" y="1358036"/>
                      </a:cubicBezTo>
                      <a:cubicBezTo>
                        <a:pt x="592860" y="1377291"/>
                        <a:pt x="645253" y="1375454"/>
                        <a:pt x="697541" y="1373228"/>
                      </a:cubicBezTo>
                      <a:cubicBezTo>
                        <a:pt x="713474" y="1372557"/>
                        <a:pt x="729161" y="1368706"/>
                        <a:pt x="740643" y="1355810"/>
                      </a:cubicBezTo>
                      <a:cubicBezTo>
                        <a:pt x="742232" y="1355598"/>
                        <a:pt x="743857" y="1355386"/>
                        <a:pt x="745447" y="1355174"/>
                      </a:cubicBezTo>
                      <a:cubicBezTo>
                        <a:pt x="745235" y="1354751"/>
                        <a:pt x="744811" y="1353973"/>
                        <a:pt x="744776" y="1353973"/>
                      </a:cubicBezTo>
                      <a:cubicBezTo>
                        <a:pt x="743398" y="1354574"/>
                        <a:pt x="742055" y="1355280"/>
                        <a:pt x="740713" y="1355952"/>
                      </a:cubicBezTo>
                      <a:close/>
                      <a:moveTo>
                        <a:pt x="804624" y="1260033"/>
                      </a:moveTo>
                      <a:cubicBezTo>
                        <a:pt x="814728" y="1257630"/>
                        <a:pt x="818861" y="1267876"/>
                        <a:pt x="826493" y="1270455"/>
                      </a:cubicBezTo>
                      <a:cubicBezTo>
                        <a:pt x="839353" y="1274800"/>
                        <a:pt x="852778" y="1273670"/>
                        <a:pt x="866026" y="1273528"/>
                      </a:cubicBezTo>
                      <a:cubicBezTo>
                        <a:pt x="888531" y="1273281"/>
                        <a:pt x="905807" y="1261304"/>
                        <a:pt x="914004" y="1240389"/>
                      </a:cubicBezTo>
                      <a:cubicBezTo>
                        <a:pt x="924744" y="1212974"/>
                        <a:pt x="936190" y="1208310"/>
                        <a:pt x="963252" y="1221170"/>
                      </a:cubicBezTo>
                      <a:cubicBezTo>
                        <a:pt x="971696" y="1225198"/>
                        <a:pt x="979716" y="1226046"/>
                        <a:pt x="988902" y="1224279"/>
                      </a:cubicBezTo>
                      <a:cubicBezTo>
                        <a:pt x="1014445" y="1219368"/>
                        <a:pt x="1037939" y="1206544"/>
                        <a:pt x="1064400" y="1205095"/>
                      </a:cubicBezTo>
                      <a:cubicBezTo>
                        <a:pt x="1070053" y="1204778"/>
                        <a:pt x="1075600" y="1203400"/>
                        <a:pt x="1081005" y="1200962"/>
                      </a:cubicBezTo>
                      <a:cubicBezTo>
                        <a:pt x="1116970" y="1184640"/>
                        <a:pt x="1146117" y="1159803"/>
                        <a:pt x="1168763" y="1127971"/>
                      </a:cubicBezTo>
                      <a:cubicBezTo>
                        <a:pt x="1182224" y="1109035"/>
                        <a:pt x="1189431" y="1087661"/>
                        <a:pt x="1177136" y="1064379"/>
                      </a:cubicBezTo>
                      <a:cubicBezTo>
                        <a:pt x="1171448" y="1053603"/>
                        <a:pt x="1171342" y="1042545"/>
                        <a:pt x="1176253" y="1031098"/>
                      </a:cubicBezTo>
                      <a:cubicBezTo>
                        <a:pt x="1179504" y="1023467"/>
                        <a:pt x="1178514" y="1015447"/>
                        <a:pt x="1174451" y="1008028"/>
                      </a:cubicBezTo>
                      <a:cubicBezTo>
                        <a:pt x="1171484" y="1002588"/>
                        <a:pt x="1168905" y="997041"/>
                        <a:pt x="1164700" y="992271"/>
                      </a:cubicBezTo>
                      <a:cubicBezTo>
                        <a:pt x="1149509" y="975066"/>
                        <a:pt x="1146047" y="956553"/>
                        <a:pt x="1159684" y="936628"/>
                      </a:cubicBezTo>
                      <a:cubicBezTo>
                        <a:pt x="1173674" y="916243"/>
                        <a:pt x="1181729" y="893349"/>
                        <a:pt x="1187806" y="869643"/>
                      </a:cubicBezTo>
                      <a:cubicBezTo>
                        <a:pt x="1190738" y="858232"/>
                        <a:pt x="1196320" y="849718"/>
                        <a:pt x="1207944" y="845266"/>
                      </a:cubicBezTo>
                      <a:cubicBezTo>
                        <a:pt x="1214444" y="842758"/>
                        <a:pt x="1220450" y="838589"/>
                        <a:pt x="1226244" y="834597"/>
                      </a:cubicBezTo>
                      <a:cubicBezTo>
                        <a:pt x="1244792" y="821772"/>
                        <a:pt x="1263128" y="808630"/>
                        <a:pt x="1281676" y="795770"/>
                      </a:cubicBezTo>
                      <a:cubicBezTo>
                        <a:pt x="1284820" y="793579"/>
                        <a:pt x="1288919" y="789764"/>
                        <a:pt x="1292381" y="792555"/>
                      </a:cubicBezTo>
                      <a:cubicBezTo>
                        <a:pt x="1297150" y="796335"/>
                        <a:pt x="1292381" y="800751"/>
                        <a:pt x="1290508" y="804284"/>
                      </a:cubicBezTo>
                      <a:cubicBezTo>
                        <a:pt x="1286763" y="811279"/>
                        <a:pt x="1282065" y="817780"/>
                        <a:pt x="1278073" y="824669"/>
                      </a:cubicBezTo>
                      <a:cubicBezTo>
                        <a:pt x="1274010" y="831700"/>
                        <a:pt x="1275317" y="838765"/>
                        <a:pt x="1280404" y="844418"/>
                      </a:cubicBezTo>
                      <a:cubicBezTo>
                        <a:pt x="1286340" y="851025"/>
                        <a:pt x="1291886" y="844842"/>
                        <a:pt x="1296938" y="842157"/>
                      </a:cubicBezTo>
                      <a:cubicBezTo>
                        <a:pt x="1300718" y="840143"/>
                        <a:pt x="1304146" y="836893"/>
                        <a:pt x="1306795" y="833466"/>
                      </a:cubicBezTo>
                      <a:cubicBezTo>
                        <a:pt x="1317888" y="819122"/>
                        <a:pt x="1328982" y="804779"/>
                        <a:pt x="1339334" y="789905"/>
                      </a:cubicBezTo>
                      <a:cubicBezTo>
                        <a:pt x="1346082" y="780189"/>
                        <a:pt x="1353607" y="770474"/>
                        <a:pt x="1353677" y="757649"/>
                      </a:cubicBezTo>
                      <a:cubicBezTo>
                        <a:pt x="1353677" y="751855"/>
                        <a:pt x="1354242" y="746026"/>
                        <a:pt x="1347494" y="742882"/>
                      </a:cubicBezTo>
                      <a:cubicBezTo>
                        <a:pt x="1341418" y="740055"/>
                        <a:pt x="1335659" y="739101"/>
                        <a:pt x="1330077" y="743624"/>
                      </a:cubicBezTo>
                      <a:cubicBezTo>
                        <a:pt x="1325273" y="747510"/>
                        <a:pt x="1320397" y="751325"/>
                        <a:pt x="1315804" y="755424"/>
                      </a:cubicBezTo>
                      <a:cubicBezTo>
                        <a:pt x="1309339" y="761217"/>
                        <a:pt x="1301743" y="764150"/>
                        <a:pt x="1293794" y="760723"/>
                      </a:cubicBezTo>
                      <a:cubicBezTo>
                        <a:pt x="1286127" y="757402"/>
                        <a:pt x="1284432" y="749771"/>
                        <a:pt x="1284220" y="741716"/>
                      </a:cubicBezTo>
                      <a:cubicBezTo>
                        <a:pt x="1283902" y="728821"/>
                        <a:pt x="1289272" y="718434"/>
                        <a:pt x="1298175" y="709849"/>
                      </a:cubicBezTo>
                      <a:cubicBezTo>
                        <a:pt x="1305877" y="702429"/>
                        <a:pt x="1310293" y="693350"/>
                        <a:pt x="1312624" y="683387"/>
                      </a:cubicBezTo>
                      <a:cubicBezTo>
                        <a:pt x="1314921" y="673530"/>
                        <a:pt x="1316758" y="663567"/>
                        <a:pt x="1316440" y="653216"/>
                      </a:cubicBezTo>
                      <a:cubicBezTo>
                        <a:pt x="1315274" y="617745"/>
                        <a:pt x="1316299" y="582557"/>
                        <a:pt x="1326403" y="548005"/>
                      </a:cubicBezTo>
                      <a:cubicBezTo>
                        <a:pt x="1331137" y="531859"/>
                        <a:pt x="1331985" y="514654"/>
                        <a:pt x="1327958" y="498085"/>
                      </a:cubicBezTo>
                      <a:cubicBezTo>
                        <a:pt x="1324601" y="484341"/>
                        <a:pt x="1321881" y="471340"/>
                        <a:pt x="1330713" y="458622"/>
                      </a:cubicBezTo>
                      <a:cubicBezTo>
                        <a:pt x="1333116" y="455195"/>
                        <a:pt x="1332868" y="450779"/>
                        <a:pt x="1332056" y="446928"/>
                      </a:cubicBezTo>
                      <a:cubicBezTo>
                        <a:pt x="1327887" y="427390"/>
                        <a:pt x="1316581" y="412340"/>
                        <a:pt x="1301178" y="400293"/>
                      </a:cubicBezTo>
                      <a:cubicBezTo>
                        <a:pt x="1295030" y="395523"/>
                        <a:pt x="1291568" y="397537"/>
                        <a:pt x="1292240" y="405698"/>
                      </a:cubicBezTo>
                      <a:cubicBezTo>
                        <a:pt x="1293088" y="416085"/>
                        <a:pt x="1290932" y="425977"/>
                        <a:pt x="1286481" y="435340"/>
                      </a:cubicBezTo>
                      <a:cubicBezTo>
                        <a:pt x="1285315" y="437813"/>
                        <a:pt x="1284432" y="440038"/>
                        <a:pt x="1285916" y="442794"/>
                      </a:cubicBezTo>
                      <a:cubicBezTo>
                        <a:pt x="1296444" y="462367"/>
                        <a:pt x="1293299" y="482893"/>
                        <a:pt x="1289731" y="503349"/>
                      </a:cubicBezTo>
                      <a:cubicBezTo>
                        <a:pt x="1285527" y="527514"/>
                        <a:pt x="1285810" y="551573"/>
                        <a:pt x="1288495" y="575986"/>
                      </a:cubicBezTo>
                      <a:cubicBezTo>
                        <a:pt x="1291109" y="599833"/>
                        <a:pt x="1290897" y="624599"/>
                        <a:pt x="1280051" y="646291"/>
                      </a:cubicBezTo>
                      <a:cubicBezTo>
                        <a:pt x="1266378" y="673530"/>
                        <a:pt x="1257829" y="701546"/>
                        <a:pt x="1253342" y="731505"/>
                      </a:cubicBezTo>
                      <a:cubicBezTo>
                        <a:pt x="1250869" y="748004"/>
                        <a:pt x="1245605" y="764326"/>
                        <a:pt x="1234653" y="777822"/>
                      </a:cubicBezTo>
                      <a:cubicBezTo>
                        <a:pt x="1231049" y="782238"/>
                        <a:pt x="1226244" y="785347"/>
                        <a:pt x="1220803" y="781426"/>
                      </a:cubicBezTo>
                      <a:cubicBezTo>
                        <a:pt x="1216069" y="778034"/>
                        <a:pt x="1217165" y="772664"/>
                        <a:pt x="1219108" y="768036"/>
                      </a:cubicBezTo>
                      <a:cubicBezTo>
                        <a:pt x="1220450" y="764821"/>
                        <a:pt x="1222747" y="761995"/>
                        <a:pt x="1224760" y="759133"/>
                      </a:cubicBezTo>
                      <a:cubicBezTo>
                        <a:pt x="1229318" y="752632"/>
                        <a:pt x="1233734" y="746203"/>
                        <a:pt x="1236843" y="738677"/>
                      </a:cubicBezTo>
                      <a:cubicBezTo>
                        <a:pt x="1245534" y="717762"/>
                        <a:pt x="1247513" y="696070"/>
                        <a:pt x="1247336" y="673742"/>
                      </a:cubicBezTo>
                      <a:cubicBezTo>
                        <a:pt x="1247089" y="640214"/>
                        <a:pt x="1243591" y="606228"/>
                        <a:pt x="1259348" y="574502"/>
                      </a:cubicBezTo>
                      <a:cubicBezTo>
                        <a:pt x="1261715" y="569732"/>
                        <a:pt x="1261503" y="563832"/>
                        <a:pt x="1258782" y="557473"/>
                      </a:cubicBezTo>
                      <a:cubicBezTo>
                        <a:pt x="1248113" y="569414"/>
                        <a:pt x="1243732" y="583122"/>
                        <a:pt x="1236737" y="595311"/>
                      </a:cubicBezTo>
                      <a:cubicBezTo>
                        <a:pt x="1234935" y="598455"/>
                        <a:pt x="1233346" y="602165"/>
                        <a:pt x="1229071" y="601458"/>
                      </a:cubicBezTo>
                      <a:cubicBezTo>
                        <a:pt x="1224902" y="600752"/>
                        <a:pt x="1223842" y="596618"/>
                        <a:pt x="1223524" y="593262"/>
                      </a:cubicBezTo>
                      <a:cubicBezTo>
                        <a:pt x="1222923" y="586691"/>
                        <a:pt x="1222323" y="579978"/>
                        <a:pt x="1224301" y="573442"/>
                      </a:cubicBezTo>
                      <a:cubicBezTo>
                        <a:pt x="1231190" y="550619"/>
                        <a:pt x="1239599" y="528079"/>
                        <a:pt x="1236772" y="503455"/>
                      </a:cubicBezTo>
                      <a:cubicBezTo>
                        <a:pt x="1236455" y="500593"/>
                        <a:pt x="1238186" y="497484"/>
                        <a:pt x="1238998" y="494516"/>
                      </a:cubicBezTo>
                      <a:cubicBezTo>
                        <a:pt x="1240094" y="490665"/>
                        <a:pt x="1241224" y="487945"/>
                        <a:pt x="1246276" y="490913"/>
                      </a:cubicBezTo>
                      <a:cubicBezTo>
                        <a:pt x="1254967" y="496000"/>
                        <a:pt x="1257193" y="490418"/>
                        <a:pt x="1257758" y="483070"/>
                      </a:cubicBezTo>
                      <a:cubicBezTo>
                        <a:pt x="1259489" y="459752"/>
                        <a:pt x="1254578" y="438060"/>
                        <a:pt x="1241012" y="418841"/>
                      </a:cubicBezTo>
                      <a:cubicBezTo>
                        <a:pt x="1219143" y="387751"/>
                        <a:pt x="1188725" y="363515"/>
                        <a:pt x="1169788" y="329881"/>
                      </a:cubicBezTo>
                      <a:cubicBezTo>
                        <a:pt x="1165513" y="322250"/>
                        <a:pt x="1158447" y="323310"/>
                        <a:pt x="1152936" y="331401"/>
                      </a:cubicBezTo>
                      <a:cubicBezTo>
                        <a:pt x="1146259" y="341222"/>
                        <a:pt x="1148767" y="350514"/>
                        <a:pt x="1154561" y="358534"/>
                      </a:cubicBezTo>
                      <a:cubicBezTo>
                        <a:pt x="1166255" y="374785"/>
                        <a:pt x="1160320" y="391990"/>
                        <a:pt x="1161132" y="411351"/>
                      </a:cubicBezTo>
                      <a:cubicBezTo>
                        <a:pt x="1146789" y="401247"/>
                        <a:pt x="1140324" y="389447"/>
                        <a:pt x="1138133" y="375598"/>
                      </a:cubicBezTo>
                      <a:cubicBezTo>
                        <a:pt x="1133752" y="348041"/>
                        <a:pt x="1130678" y="320484"/>
                        <a:pt x="1109340" y="299004"/>
                      </a:cubicBezTo>
                      <a:cubicBezTo>
                        <a:pt x="1102803" y="292432"/>
                        <a:pt x="1104393" y="282258"/>
                        <a:pt x="1109163" y="273955"/>
                      </a:cubicBezTo>
                      <a:cubicBezTo>
                        <a:pt x="1113155" y="267031"/>
                        <a:pt x="1118348" y="261025"/>
                        <a:pt x="1123895" y="255195"/>
                      </a:cubicBezTo>
                      <a:cubicBezTo>
                        <a:pt x="1136296" y="242123"/>
                        <a:pt x="1147071" y="227638"/>
                        <a:pt x="1145340" y="208455"/>
                      </a:cubicBezTo>
                      <a:cubicBezTo>
                        <a:pt x="1140888" y="158993"/>
                        <a:pt x="1084538" y="99923"/>
                        <a:pt x="1036102" y="95365"/>
                      </a:cubicBezTo>
                      <a:cubicBezTo>
                        <a:pt x="1010311" y="92928"/>
                        <a:pt x="988831" y="79644"/>
                        <a:pt x="972756" y="58057"/>
                      </a:cubicBezTo>
                      <a:cubicBezTo>
                        <a:pt x="963147" y="45127"/>
                        <a:pt x="949898" y="36153"/>
                        <a:pt x="934071" y="31137"/>
                      </a:cubicBezTo>
                      <a:cubicBezTo>
                        <a:pt x="905348" y="22057"/>
                        <a:pt x="875954" y="25731"/>
                        <a:pt x="849068" y="33892"/>
                      </a:cubicBezTo>
                      <a:cubicBezTo>
                        <a:pt x="822394" y="41983"/>
                        <a:pt x="794308" y="47847"/>
                        <a:pt x="769577" y="62156"/>
                      </a:cubicBezTo>
                      <a:cubicBezTo>
                        <a:pt x="760957" y="67137"/>
                        <a:pt x="752407" y="66890"/>
                        <a:pt x="743045" y="62862"/>
                      </a:cubicBezTo>
                      <a:cubicBezTo>
                        <a:pt x="714322" y="50462"/>
                        <a:pt x="688708" y="55655"/>
                        <a:pt x="666769" y="78019"/>
                      </a:cubicBezTo>
                      <a:cubicBezTo>
                        <a:pt x="649670" y="95401"/>
                        <a:pt x="632641" y="112889"/>
                        <a:pt x="613704" y="128257"/>
                      </a:cubicBezTo>
                      <a:cubicBezTo>
                        <a:pt x="599926" y="139421"/>
                        <a:pt x="584875" y="147900"/>
                        <a:pt x="567635" y="153729"/>
                      </a:cubicBezTo>
                      <a:cubicBezTo>
                        <a:pt x="528914" y="166837"/>
                        <a:pt x="487826" y="168214"/>
                        <a:pt x="448858" y="179661"/>
                      </a:cubicBezTo>
                      <a:cubicBezTo>
                        <a:pt x="441438" y="181852"/>
                        <a:pt x="442922" y="177612"/>
                        <a:pt x="444053" y="173267"/>
                      </a:cubicBezTo>
                      <a:cubicBezTo>
                        <a:pt x="446243" y="164823"/>
                        <a:pt x="449988" y="156485"/>
                        <a:pt x="445430" y="147547"/>
                      </a:cubicBezTo>
                      <a:cubicBezTo>
                        <a:pt x="442957" y="142742"/>
                        <a:pt x="440661" y="139739"/>
                        <a:pt x="435856" y="145144"/>
                      </a:cubicBezTo>
                      <a:cubicBezTo>
                        <a:pt x="415683" y="167896"/>
                        <a:pt x="387667" y="178142"/>
                        <a:pt x="361665" y="191567"/>
                      </a:cubicBezTo>
                      <a:cubicBezTo>
                        <a:pt x="333401" y="206158"/>
                        <a:pt x="302594" y="215626"/>
                        <a:pt x="276380" y="234245"/>
                      </a:cubicBezTo>
                      <a:cubicBezTo>
                        <a:pt x="273235" y="236471"/>
                        <a:pt x="268572" y="237460"/>
                        <a:pt x="267512" y="241841"/>
                      </a:cubicBezTo>
                      <a:cubicBezTo>
                        <a:pt x="262707" y="262155"/>
                        <a:pt x="245431" y="270634"/>
                        <a:pt x="230345" y="281092"/>
                      </a:cubicBezTo>
                      <a:cubicBezTo>
                        <a:pt x="205791" y="298120"/>
                        <a:pt x="184735" y="317693"/>
                        <a:pt x="178729" y="348783"/>
                      </a:cubicBezTo>
                      <a:cubicBezTo>
                        <a:pt x="176715" y="359205"/>
                        <a:pt x="174843" y="369627"/>
                        <a:pt x="170604" y="379449"/>
                      </a:cubicBezTo>
                      <a:cubicBezTo>
                        <a:pt x="169049" y="383017"/>
                        <a:pt x="166435" y="387186"/>
                        <a:pt x="170074" y="390507"/>
                      </a:cubicBezTo>
                      <a:cubicBezTo>
                        <a:pt x="173536" y="393651"/>
                        <a:pt x="177563" y="391107"/>
                        <a:pt x="181238" y="389553"/>
                      </a:cubicBezTo>
                      <a:cubicBezTo>
                        <a:pt x="183534" y="388599"/>
                        <a:pt x="185936" y="386020"/>
                        <a:pt x="188445" y="388281"/>
                      </a:cubicBezTo>
                      <a:cubicBezTo>
                        <a:pt x="191236" y="390789"/>
                        <a:pt x="189999" y="394004"/>
                        <a:pt x="188657" y="396866"/>
                      </a:cubicBezTo>
                      <a:cubicBezTo>
                        <a:pt x="186572" y="401282"/>
                        <a:pt x="184205" y="405557"/>
                        <a:pt x="182086" y="409938"/>
                      </a:cubicBezTo>
                      <a:cubicBezTo>
                        <a:pt x="166293" y="442829"/>
                        <a:pt x="144990" y="473425"/>
                        <a:pt x="142481" y="511722"/>
                      </a:cubicBezTo>
                      <a:cubicBezTo>
                        <a:pt x="141704" y="523840"/>
                        <a:pt x="147357" y="538431"/>
                        <a:pt x="159863" y="546344"/>
                      </a:cubicBezTo>
                      <a:cubicBezTo>
                        <a:pt x="170921" y="553340"/>
                        <a:pt x="180531" y="553128"/>
                        <a:pt x="191307" y="544295"/>
                      </a:cubicBezTo>
                      <a:cubicBezTo>
                        <a:pt x="198761" y="538183"/>
                        <a:pt x="204696" y="529457"/>
                        <a:pt x="215048" y="525924"/>
                      </a:cubicBezTo>
                      <a:cubicBezTo>
                        <a:pt x="216320" y="531365"/>
                        <a:pt x="215401" y="535392"/>
                        <a:pt x="213953" y="539773"/>
                      </a:cubicBezTo>
                      <a:cubicBezTo>
                        <a:pt x="209395" y="553622"/>
                        <a:pt x="199326" y="562596"/>
                        <a:pt x="188092" y="570722"/>
                      </a:cubicBezTo>
                      <a:cubicBezTo>
                        <a:pt x="174878" y="580331"/>
                        <a:pt x="160499" y="588740"/>
                        <a:pt x="151561" y="603048"/>
                      </a:cubicBezTo>
                      <a:cubicBezTo>
                        <a:pt x="132165" y="634067"/>
                        <a:pt x="133154" y="667807"/>
                        <a:pt x="139655" y="701864"/>
                      </a:cubicBezTo>
                      <a:cubicBezTo>
                        <a:pt x="143259" y="720730"/>
                        <a:pt x="150642" y="738395"/>
                        <a:pt x="163326" y="753162"/>
                      </a:cubicBezTo>
                      <a:cubicBezTo>
                        <a:pt x="175691" y="767506"/>
                        <a:pt x="192896" y="764432"/>
                        <a:pt x="209183" y="764962"/>
                      </a:cubicBezTo>
                      <a:cubicBezTo>
                        <a:pt x="221690" y="765386"/>
                        <a:pt x="219959" y="773653"/>
                        <a:pt x="215578" y="780825"/>
                      </a:cubicBezTo>
                      <a:cubicBezTo>
                        <a:pt x="205827" y="796830"/>
                        <a:pt x="207417" y="813470"/>
                        <a:pt x="209784" y="830922"/>
                      </a:cubicBezTo>
                      <a:cubicBezTo>
                        <a:pt x="212539" y="851449"/>
                        <a:pt x="220665" y="871162"/>
                        <a:pt x="218828" y="892395"/>
                      </a:cubicBezTo>
                      <a:cubicBezTo>
                        <a:pt x="218263" y="898825"/>
                        <a:pt x="218439" y="905785"/>
                        <a:pt x="211020" y="907481"/>
                      </a:cubicBezTo>
                      <a:cubicBezTo>
                        <a:pt x="204272" y="909035"/>
                        <a:pt x="199220" y="904160"/>
                        <a:pt x="195864" y="898755"/>
                      </a:cubicBezTo>
                      <a:cubicBezTo>
                        <a:pt x="190741" y="890488"/>
                        <a:pt x="186926" y="881337"/>
                        <a:pt x="181344" y="873424"/>
                      </a:cubicBezTo>
                      <a:cubicBezTo>
                        <a:pt x="172229" y="860458"/>
                        <a:pt x="169544" y="843429"/>
                        <a:pt x="156472" y="833219"/>
                      </a:cubicBezTo>
                      <a:cubicBezTo>
                        <a:pt x="145060" y="824316"/>
                        <a:pt x="137818" y="813646"/>
                        <a:pt x="136228" y="798914"/>
                      </a:cubicBezTo>
                      <a:cubicBezTo>
                        <a:pt x="134497" y="783016"/>
                        <a:pt x="132448" y="765528"/>
                        <a:pt x="121178" y="754434"/>
                      </a:cubicBezTo>
                      <a:cubicBezTo>
                        <a:pt x="109978" y="743376"/>
                        <a:pt x="107258" y="729774"/>
                        <a:pt x="101287" y="717021"/>
                      </a:cubicBezTo>
                      <a:cubicBezTo>
                        <a:pt x="101111" y="716632"/>
                        <a:pt x="100722" y="716349"/>
                        <a:pt x="99203" y="714653"/>
                      </a:cubicBezTo>
                      <a:cubicBezTo>
                        <a:pt x="84965" y="754010"/>
                        <a:pt x="73907" y="792837"/>
                        <a:pt x="78959" y="834455"/>
                      </a:cubicBezTo>
                      <a:cubicBezTo>
                        <a:pt x="79878" y="841980"/>
                        <a:pt x="79772" y="849470"/>
                        <a:pt x="80372" y="856960"/>
                      </a:cubicBezTo>
                      <a:cubicBezTo>
                        <a:pt x="82563" y="884340"/>
                        <a:pt x="80726" y="911721"/>
                        <a:pt x="80902" y="939101"/>
                      </a:cubicBezTo>
                      <a:cubicBezTo>
                        <a:pt x="81044" y="964926"/>
                        <a:pt x="104396" y="992201"/>
                        <a:pt x="130187" y="998631"/>
                      </a:cubicBezTo>
                      <a:cubicBezTo>
                        <a:pt x="154776" y="1004743"/>
                        <a:pt x="174278" y="994497"/>
                        <a:pt x="189611" y="967894"/>
                      </a:cubicBezTo>
                      <a:cubicBezTo>
                        <a:pt x="192543" y="962807"/>
                        <a:pt x="194557" y="955847"/>
                        <a:pt x="202753" y="956765"/>
                      </a:cubicBezTo>
                      <a:cubicBezTo>
                        <a:pt x="211444" y="957755"/>
                        <a:pt x="212645" y="964750"/>
                        <a:pt x="213493" y="971356"/>
                      </a:cubicBezTo>
                      <a:cubicBezTo>
                        <a:pt x="216638" y="995698"/>
                        <a:pt x="232642" y="1007392"/>
                        <a:pt x="254617" y="1012197"/>
                      </a:cubicBezTo>
                      <a:cubicBezTo>
                        <a:pt x="267901" y="1015094"/>
                        <a:pt x="281679" y="1015801"/>
                        <a:pt x="295140" y="1018026"/>
                      </a:cubicBezTo>
                      <a:cubicBezTo>
                        <a:pt x="311568" y="1020712"/>
                        <a:pt x="328914" y="1020606"/>
                        <a:pt x="342869" y="1031734"/>
                      </a:cubicBezTo>
                      <a:cubicBezTo>
                        <a:pt x="345519" y="1033854"/>
                        <a:pt x="349193" y="1036221"/>
                        <a:pt x="347992" y="1040319"/>
                      </a:cubicBezTo>
                      <a:cubicBezTo>
                        <a:pt x="346968" y="1043852"/>
                        <a:pt x="343859" y="1045972"/>
                        <a:pt x="340043" y="1046643"/>
                      </a:cubicBezTo>
                      <a:cubicBezTo>
                        <a:pt x="326088" y="1049081"/>
                        <a:pt x="312098" y="1051377"/>
                        <a:pt x="297966" y="1047915"/>
                      </a:cubicBezTo>
                      <a:cubicBezTo>
                        <a:pt x="292313" y="1046537"/>
                        <a:pt x="286307" y="1045619"/>
                        <a:pt x="280972" y="1048056"/>
                      </a:cubicBezTo>
                      <a:cubicBezTo>
                        <a:pt x="248717" y="1062859"/>
                        <a:pt x="215472" y="1060068"/>
                        <a:pt x="182015" y="1054098"/>
                      </a:cubicBezTo>
                      <a:cubicBezTo>
                        <a:pt x="176645" y="1053144"/>
                        <a:pt x="171805" y="1051130"/>
                        <a:pt x="168060" y="1057313"/>
                      </a:cubicBezTo>
                      <a:cubicBezTo>
                        <a:pt x="164739" y="1062789"/>
                        <a:pt x="166117" y="1066816"/>
                        <a:pt x="169614" y="1071727"/>
                      </a:cubicBezTo>
                      <a:cubicBezTo>
                        <a:pt x="181838" y="1088897"/>
                        <a:pt x="190247" y="1107940"/>
                        <a:pt x="194168" y="1128643"/>
                      </a:cubicBezTo>
                      <a:cubicBezTo>
                        <a:pt x="195864" y="1137652"/>
                        <a:pt x="199927" y="1145354"/>
                        <a:pt x="204590" y="1152843"/>
                      </a:cubicBezTo>
                      <a:cubicBezTo>
                        <a:pt x="238153" y="1206756"/>
                        <a:pt x="304184" y="1215412"/>
                        <a:pt x="350995" y="1194921"/>
                      </a:cubicBezTo>
                      <a:cubicBezTo>
                        <a:pt x="379541" y="1182449"/>
                        <a:pt x="399962" y="1155776"/>
                        <a:pt x="389716" y="1119598"/>
                      </a:cubicBezTo>
                      <a:cubicBezTo>
                        <a:pt x="387102" y="1110342"/>
                        <a:pt x="383463" y="1101086"/>
                        <a:pt x="384134" y="1091088"/>
                      </a:cubicBezTo>
                      <a:cubicBezTo>
                        <a:pt x="384381" y="1087343"/>
                        <a:pt x="384982" y="1083845"/>
                        <a:pt x="388939" y="1082467"/>
                      </a:cubicBezTo>
                      <a:cubicBezTo>
                        <a:pt x="392613" y="1081160"/>
                        <a:pt x="395793" y="1082397"/>
                        <a:pt x="398760" y="1084834"/>
                      </a:cubicBezTo>
                      <a:cubicBezTo>
                        <a:pt x="405084" y="1090098"/>
                        <a:pt x="406992" y="1097306"/>
                        <a:pt x="407593" y="1104901"/>
                      </a:cubicBezTo>
                      <a:cubicBezTo>
                        <a:pt x="409465" y="1128784"/>
                        <a:pt x="428402" y="1150724"/>
                        <a:pt x="450518" y="1151819"/>
                      </a:cubicBezTo>
                      <a:cubicBezTo>
                        <a:pt x="460481" y="1152313"/>
                        <a:pt x="470408" y="1155458"/>
                        <a:pt x="480124" y="1158284"/>
                      </a:cubicBezTo>
                      <a:cubicBezTo>
                        <a:pt x="485141" y="1159733"/>
                        <a:pt x="490511" y="1162877"/>
                        <a:pt x="489521" y="1169448"/>
                      </a:cubicBezTo>
                      <a:cubicBezTo>
                        <a:pt x="488674" y="1174854"/>
                        <a:pt x="485459" y="1178634"/>
                        <a:pt x="479523" y="1180612"/>
                      </a:cubicBezTo>
                      <a:cubicBezTo>
                        <a:pt x="472034" y="1183121"/>
                        <a:pt x="464614" y="1182449"/>
                        <a:pt x="457124" y="1182414"/>
                      </a:cubicBezTo>
                      <a:cubicBezTo>
                        <a:pt x="451366" y="1182414"/>
                        <a:pt x="446808" y="1183898"/>
                        <a:pt x="443381" y="1188809"/>
                      </a:cubicBezTo>
                      <a:cubicBezTo>
                        <a:pt x="431687" y="1205590"/>
                        <a:pt x="440661" y="1230956"/>
                        <a:pt x="460410" y="1236221"/>
                      </a:cubicBezTo>
                      <a:cubicBezTo>
                        <a:pt x="476520" y="1240531"/>
                        <a:pt x="492842" y="1239612"/>
                        <a:pt x="509164" y="1237634"/>
                      </a:cubicBezTo>
                      <a:cubicBezTo>
                        <a:pt x="528278" y="1235337"/>
                        <a:pt x="548309" y="1228766"/>
                        <a:pt x="565762" y="1241131"/>
                      </a:cubicBezTo>
                      <a:cubicBezTo>
                        <a:pt x="583215" y="1253497"/>
                        <a:pt x="601904" y="1256570"/>
                        <a:pt x="622360" y="1255157"/>
                      </a:cubicBezTo>
                      <a:cubicBezTo>
                        <a:pt x="631192" y="1254557"/>
                        <a:pt x="640130" y="1254557"/>
                        <a:pt x="648963" y="1255157"/>
                      </a:cubicBezTo>
                      <a:cubicBezTo>
                        <a:pt x="658643" y="1255828"/>
                        <a:pt x="668500" y="1256782"/>
                        <a:pt x="676237" y="1263777"/>
                      </a:cubicBezTo>
                      <a:cubicBezTo>
                        <a:pt x="686235" y="1272822"/>
                        <a:pt x="683974" y="1285010"/>
                        <a:pt x="671538" y="1290274"/>
                      </a:cubicBezTo>
                      <a:cubicBezTo>
                        <a:pt x="667228" y="1292112"/>
                        <a:pt x="662741" y="1292394"/>
                        <a:pt x="658467" y="1291758"/>
                      </a:cubicBezTo>
                      <a:cubicBezTo>
                        <a:pt x="627023" y="1287095"/>
                        <a:pt x="599007" y="1268335"/>
                        <a:pt x="566045" y="1269324"/>
                      </a:cubicBezTo>
                      <a:cubicBezTo>
                        <a:pt x="562335" y="1269430"/>
                        <a:pt x="558590" y="1266710"/>
                        <a:pt x="554775" y="1265579"/>
                      </a:cubicBezTo>
                      <a:cubicBezTo>
                        <a:pt x="545024" y="1262718"/>
                        <a:pt x="535343" y="1259503"/>
                        <a:pt x="525381" y="1257453"/>
                      </a:cubicBezTo>
                      <a:cubicBezTo>
                        <a:pt x="518739" y="1256076"/>
                        <a:pt x="511850" y="1257100"/>
                        <a:pt x="508175" y="1264307"/>
                      </a:cubicBezTo>
                      <a:cubicBezTo>
                        <a:pt x="504360" y="1271797"/>
                        <a:pt x="511072" y="1275224"/>
                        <a:pt x="515100" y="1278192"/>
                      </a:cubicBezTo>
                      <a:cubicBezTo>
                        <a:pt x="536404" y="1293843"/>
                        <a:pt x="560251" y="1302004"/>
                        <a:pt x="587066" y="1300237"/>
                      </a:cubicBezTo>
                      <a:cubicBezTo>
                        <a:pt x="591199" y="1299955"/>
                        <a:pt x="596463" y="1297941"/>
                        <a:pt x="599325" y="1302710"/>
                      </a:cubicBezTo>
                      <a:cubicBezTo>
                        <a:pt x="602611" y="1308186"/>
                        <a:pt x="592754" y="1307586"/>
                        <a:pt x="593849" y="1312638"/>
                      </a:cubicBezTo>
                      <a:cubicBezTo>
                        <a:pt x="599785" y="1314899"/>
                        <a:pt x="605543" y="1317195"/>
                        <a:pt x="611337" y="1319315"/>
                      </a:cubicBezTo>
                      <a:cubicBezTo>
                        <a:pt x="632641" y="1327088"/>
                        <a:pt x="654404" y="1332528"/>
                        <a:pt x="677262" y="1332069"/>
                      </a:cubicBezTo>
                      <a:cubicBezTo>
                        <a:pt x="699696" y="1331645"/>
                        <a:pt x="708281" y="1323307"/>
                        <a:pt x="709800" y="1300838"/>
                      </a:cubicBezTo>
                      <a:cubicBezTo>
                        <a:pt x="710047" y="1296881"/>
                        <a:pt x="712662" y="1295821"/>
                        <a:pt x="715382" y="1294302"/>
                      </a:cubicBezTo>
                      <a:cubicBezTo>
                        <a:pt x="723013" y="1289957"/>
                        <a:pt x="730432" y="1292818"/>
                        <a:pt x="737074" y="1295963"/>
                      </a:cubicBezTo>
                      <a:cubicBezTo>
                        <a:pt x="753184" y="1303523"/>
                        <a:pt x="768729" y="1299955"/>
                        <a:pt x="783250" y="1293207"/>
                      </a:cubicBezTo>
                      <a:cubicBezTo>
                        <a:pt x="796498" y="1287059"/>
                        <a:pt x="806779" y="1276991"/>
                        <a:pt x="804765" y="1259997"/>
                      </a:cubicBezTo>
                      <a:lnTo>
                        <a:pt x="804695" y="1260068"/>
                      </a:lnTo>
                      <a:close/>
                      <a:moveTo>
                        <a:pt x="493196" y="138997"/>
                      </a:moveTo>
                      <a:cubicBezTo>
                        <a:pt x="500191" y="138467"/>
                        <a:pt x="507186" y="138997"/>
                        <a:pt x="514323" y="137831"/>
                      </a:cubicBezTo>
                      <a:cubicBezTo>
                        <a:pt x="546048" y="132461"/>
                        <a:pt x="573429" y="116952"/>
                        <a:pt x="600456" y="100912"/>
                      </a:cubicBezTo>
                      <a:cubicBezTo>
                        <a:pt x="623384" y="87310"/>
                        <a:pt x="644017" y="70564"/>
                        <a:pt x="659809" y="48589"/>
                      </a:cubicBezTo>
                      <a:cubicBezTo>
                        <a:pt x="665038" y="41311"/>
                        <a:pt x="666557" y="36507"/>
                        <a:pt x="654580" y="34669"/>
                      </a:cubicBezTo>
                      <a:cubicBezTo>
                        <a:pt x="629108" y="30819"/>
                        <a:pt x="603847" y="28628"/>
                        <a:pt x="578092" y="32408"/>
                      </a:cubicBezTo>
                      <a:cubicBezTo>
                        <a:pt x="523049" y="40499"/>
                        <a:pt x="477686" y="62827"/>
                        <a:pt x="450730" y="114478"/>
                      </a:cubicBezTo>
                      <a:cubicBezTo>
                        <a:pt x="447232" y="121156"/>
                        <a:pt x="448186" y="124512"/>
                        <a:pt x="454263" y="128363"/>
                      </a:cubicBezTo>
                      <a:cubicBezTo>
                        <a:pt x="466239" y="135888"/>
                        <a:pt x="478817" y="140552"/>
                        <a:pt x="493231" y="138962"/>
                      </a:cubicBezTo>
                      <a:close/>
                      <a:moveTo>
                        <a:pt x="852283" y="1361110"/>
                      </a:moveTo>
                      <a:cubicBezTo>
                        <a:pt x="870796" y="1363442"/>
                        <a:pt x="888284" y="1359096"/>
                        <a:pt x="904500" y="1352348"/>
                      </a:cubicBezTo>
                      <a:cubicBezTo>
                        <a:pt x="945623" y="1335213"/>
                        <a:pt x="986182" y="1316630"/>
                        <a:pt x="1026704" y="1298082"/>
                      </a:cubicBezTo>
                      <a:cubicBezTo>
                        <a:pt x="1033770" y="1294832"/>
                        <a:pt x="1039988" y="1289285"/>
                        <a:pt x="1045782" y="1283915"/>
                      </a:cubicBezTo>
                      <a:cubicBezTo>
                        <a:pt x="1052000" y="1278192"/>
                        <a:pt x="1055392" y="1270737"/>
                        <a:pt x="1050658" y="1262435"/>
                      </a:cubicBezTo>
                      <a:cubicBezTo>
                        <a:pt x="1045994" y="1254309"/>
                        <a:pt x="1038222" y="1252649"/>
                        <a:pt x="1029849" y="1255404"/>
                      </a:cubicBezTo>
                      <a:cubicBezTo>
                        <a:pt x="1024161" y="1257312"/>
                        <a:pt x="1018472" y="1256853"/>
                        <a:pt x="1012749" y="1257171"/>
                      </a:cubicBezTo>
                      <a:cubicBezTo>
                        <a:pt x="989714" y="1258407"/>
                        <a:pt x="967033" y="1261446"/>
                        <a:pt x="953467" y="1283209"/>
                      </a:cubicBezTo>
                      <a:cubicBezTo>
                        <a:pt x="943186" y="1299707"/>
                        <a:pt x="927535" y="1305961"/>
                        <a:pt x="910011" y="1310660"/>
                      </a:cubicBezTo>
                      <a:cubicBezTo>
                        <a:pt x="881147" y="1318432"/>
                        <a:pt x="851329" y="1317407"/>
                        <a:pt x="822041" y="1320870"/>
                      </a:cubicBezTo>
                      <a:cubicBezTo>
                        <a:pt x="812290" y="1322000"/>
                        <a:pt x="804589" y="1326416"/>
                        <a:pt x="802257" y="1335531"/>
                      </a:cubicBezTo>
                      <a:cubicBezTo>
                        <a:pt x="799536" y="1346236"/>
                        <a:pt x="807768" y="1351606"/>
                        <a:pt x="816389" y="1355068"/>
                      </a:cubicBezTo>
                      <a:cubicBezTo>
                        <a:pt x="827977" y="1359732"/>
                        <a:pt x="839847" y="1363300"/>
                        <a:pt x="852283" y="1361110"/>
                      </a:cubicBezTo>
                      <a:close/>
                      <a:moveTo>
                        <a:pt x="1432038" y="740197"/>
                      </a:moveTo>
                      <a:cubicBezTo>
                        <a:pt x="1426985" y="747898"/>
                        <a:pt x="1426774" y="755247"/>
                        <a:pt x="1427975" y="762030"/>
                      </a:cubicBezTo>
                      <a:cubicBezTo>
                        <a:pt x="1430059" y="773512"/>
                        <a:pt x="1428576" y="784641"/>
                        <a:pt x="1428222" y="796088"/>
                      </a:cubicBezTo>
                      <a:cubicBezTo>
                        <a:pt x="1426597" y="844807"/>
                        <a:pt x="1416140" y="891477"/>
                        <a:pt x="1398192" y="936486"/>
                      </a:cubicBezTo>
                      <a:cubicBezTo>
                        <a:pt x="1389360" y="958603"/>
                        <a:pt x="1383672" y="981814"/>
                        <a:pt x="1372190" y="1003118"/>
                      </a:cubicBezTo>
                      <a:cubicBezTo>
                        <a:pt x="1355833" y="1033430"/>
                        <a:pt x="1331278" y="1056182"/>
                        <a:pt x="1307926" y="1080383"/>
                      </a:cubicBezTo>
                      <a:cubicBezTo>
                        <a:pt x="1294076" y="1094727"/>
                        <a:pt x="1280899" y="1110166"/>
                        <a:pt x="1281429" y="1131999"/>
                      </a:cubicBezTo>
                      <a:cubicBezTo>
                        <a:pt x="1281676" y="1142174"/>
                        <a:pt x="1278426" y="1151077"/>
                        <a:pt x="1273974" y="1159839"/>
                      </a:cubicBezTo>
                      <a:cubicBezTo>
                        <a:pt x="1255002" y="1197146"/>
                        <a:pt x="1225290" y="1224562"/>
                        <a:pt x="1192293" y="1248974"/>
                      </a:cubicBezTo>
                      <a:cubicBezTo>
                        <a:pt x="1185509" y="1253991"/>
                        <a:pt x="1177666" y="1257136"/>
                        <a:pt x="1169788" y="1260174"/>
                      </a:cubicBezTo>
                      <a:cubicBezTo>
                        <a:pt x="1159896" y="1264025"/>
                        <a:pt x="1152335" y="1262223"/>
                        <a:pt x="1147566" y="1252543"/>
                      </a:cubicBezTo>
                      <a:cubicBezTo>
                        <a:pt x="1144634" y="1246572"/>
                        <a:pt x="1139652" y="1244452"/>
                        <a:pt x="1134529" y="1247279"/>
                      </a:cubicBezTo>
                      <a:cubicBezTo>
                        <a:pt x="1118348" y="1256182"/>
                        <a:pt x="1106902" y="1270137"/>
                        <a:pt x="1096162" y="1284728"/>
                      </a:cubicBezTo>
                      <a:cubicBezTo>
                        <a:pt x="1106690" y="1278157"/>
                        <a:pt x="1115946" y="1270172"/>
                        <a:pt x="1125909" y="1263106"/>
                      </a:cubicBezTo>
                      <a:cubicBezTo>
                        <a:pt x="1130007" y="1260209"/>
                        <a:pt x="1136013" y="1254945"/>
                        <a:pt x="1140429" y="1262965"/>
                      </a:cubicBezTo>
                      <a:cubicBezTo>
                        <a:pt x="1150675" y="1281583"/>
                        <a:pt x="1179256" y="1283032"/>
                        <a:pt x="1191904" y="1265579"/>
                      </a:cubicBezTo>
                      <a:cubicBezTo>
                        <a:pt x="1196568" y="1259149"/>
                        <a:pt x="1198617" y="1250529"/>
                        <a:pt x="1205683" y="1246219"/>
                      </a:cubicBezTo>
                      <a:cubicBezTo>
                        <a:pt x="1226280" y="1233677"/>
                        <a:pt x="1243203" y="1217107"/>
                        <a:pt x="1259984" y="1200079"/>
                      </a:cubicBezTo>
                      <a:cubicBezTo>
                        <a:pt x="1266237" y="1193719"/>
                        <a:pt x="1275529" y="1190787"/>
                        <a:pt x="1280051" y="1181778"/>
                      </a:cubicBezTo>
                      <a:cubicBezTo>
                        <a:pt x="1290544" y="1160757"/>
                        <a:pt x="1301531" y="1140125"/>
                        <a:pt x="1305665" y="1116489"/>
                      </a:cubicBezTo>
                      <a:cubicBezTo>
                        <a:pt x="1307855" y="1104054"/>
                        <a:pt x="1314214" y="1093490"/>
                        <a:pt x="1324778" y="1085576"/>
                      </a:cubicBezTo>
                      <a:cubicBezTo>
                        <a:pt x="1330395" y="1081337"/>
                        <a:pt x="1335588" y="1076285"/>
                        <a:pt x="1340040" y="1070809"/>
                      </a:cubicBezTo>
                      <a:cubicBezTo>
                        <a:pt x="1352017" y="1056147"/>
                        <a:pt x="1368551" y="1044135"/>
                        <a:pt x="1373603" y="1025198"/>
                      </a:cubicBezTo>
                      <a:cubicBezTo>
                        <a:pt x="1379291" y="1003859"/>
                        <a:pt x="1388724" y="984676"/>
                        <a:pt x="1399676" y="965880"/>
                      </a:cubicBezTo>
                      <a:cubicBezTo>
                        <a:pt x="1408791" y="950229"/>
                        <a:pt x="1418542" y="934967"/>
                        <a:pt x="1422605" y="916773"/>
                      </a:cubicBezTo>
                      <a:cubicBezTo>
                        <a:pt x="1435571" y="858797"/>
                        <a:pt x="1439139" y="800398"/>
                        <a:pt x="1432038" y="740126"/>
                      </a:cubicBezTo>
                      <a:close/>
                      <a:moveTo>
                        <a:pt x="34162" y="800716"/>
                      </a:moveTo>
                      <a:cubicBezTo>
                        <a:pt x="39991" y="784182"/>
                        <a:pt x="39850" y="767153"/>
                        <a:pt x="45008" y="751184"/>
                      </a:cubicBezTo>
                      <a:cubicBezTo>
                        <a:pt x="50908" y="732954"/>
                        <a:pt x="60588" y="716455"/>
                        <a:pt x="66771" y="698508"/>
                      </a:cubicBezTo>
                      <a:cubicBezTo>
                        <a:pt x="72494" y="681868"/>
                        <a:pt x="75532" y="664980"/>
                        <a:pt x="64580" y="649153"/>
                      </a:cubicBezTo>
                      <a:cubicBezTo>
                        <a:pt x="59528" y="641840"/>
                        <a:pt x="62284" y="637070"/>
                        <a:pt x="67901" y="632053"/>
                      </a:cubicBezTo>
                      <a:cubicBezTo>
                        <a:pt x="75744" y="625094"/>
                        <a:pt x="84506" y="619441"/>
                        <a:pt x="90229" y="609796"/>
                      </a:cubicBezTo>
                      <a:cubicBezTo>
                        <a:pt x="105809" y="583511"/>
                        <a:pt x="114077" y="554859"/>
                        <a:pt x="120507" y="525394"/>
                      </a:cubicBezTo>
                      <a:cubicBezTo>
                        <a:pt x="123792" y="510344"/>
                        <a:pt x="123828" y="495470"/>
                        <a:pt x="120400" y="480208"/>
                      </a:cubicBezTo>
                      <a:cubicBezTo>
                        <a:pt x="107293" y="499568"/>
                        <a:pt x="95811" y="519317"/>
                        <a:pt x="84153" y="538961"/>
                      </a:cubicBezTo>
                      <a:cubicBezTo>
                        <a:pt x="74932" y="554505"/>
                        <a:pt x="63061" y="569344"/>
                        <a:pt x="62990" y="588316"/>
                      </a:cubicBezTo>
                      <a:cubicBezTo>
                        <a:pt x="62884" y="619264"/>
                        <a:pt x="50236" y="645797"/>
                        <a:pt x="36175" y="672046"/>
                      </a:cubicBezTo>
                      <a:cubicBezTo>
                        <a:pt x="29781" y="684023"/>
                        <a:pt x="27025" y="696918"/>
                        <a:pt x="27378" y="710379"/>
                      </a:cubicBezTo>
                      <a:cubicBezTo>
                        <a:pt x="28120" y="737794"/>
                        <a:pt x="29110" y="765210"/>
                        <a:pt x="30063" y="792625"/>
                      </a:cubicBezTo>
                      <a:cubicBezTo>
                        <a:pt x="30134" y="795169"/>
                        <a:pt x="29710" y="798031"/>
                        <a:pt x="34162" y="800716"/>
                      </a:cubicBezTo>
                      <a:close/>
                      <a:moveTo>
                        <a:pt x="1246841" y="256644"/>
                      </a:moveTo>
                      <a:cubicBezTo>
                        <a:pt x="1241754" y="252546"/>
                        <a:pt x="1236348" y="248023"/>
                        <a:pt x="1230837" y="243713"/>
                      </a:cubicBezTo>
                      <a:cubicBezTo>
                        <a:pt x="1212784" y="229581"/>
                        <a:pt x="1194024" y="217358"/>
                        <a:pt x="1169364" y="222657"/>
                      </a:cubicBezTo>
                      <a:cubicBezTo>
                        <a:pt x="1160850" y="224494"/>
                        <a:pt x="1153183" y="227744"/>
                        <a:pt x="1151063" y="237601"/>
                      </a:cubicBezTo>
                      <a:cubicBezTo>
                        <a:pt x="1148838" y="247953"/>
                        <a:pt x="1156080" y="253111"/>
                        <a:pt x="1162863" y="257951"/>
                      </a:cubicBezTo>
                      <a:cubicBezTo>
                        <a:pt x="1180846" y="270776"/>
                        <a:pt x="1198122" y="284342"/>
                        <a:pt x="1214409" y="299322"/>
                      </a:cubicBezTo>
                      <a:cubicBezTo>
                        <a:pt x="1226386" y="310309"/>
                        <a:pt x="1239564" y="320095"/>
                        <a:pt x="1252883" y="329493"/>
                      </a:cubicBezTo>
                      <a:cubicBezTo>
                        <a:pt x="1263022" y="336629"/>
                        <a:pt x="1274221" y="330977"/>
                        <a:pt x="1276341" y="318717"/>
                      </a:cubicBezTo>
                      <a:cubicBezTo>
                        <a:pt x="1276836" y="315926"/>
                        <a:pt x="1275105" y="312393"/>
                        <a:pt x="1278602" y="310592"/>
                      </a:cubicBezTo>
                      <a:cubicBezTo>
                        <a:pt x="1283584" y="310486"/>
                        <a:pt x="1285032" y="317057"/>
                        <a:pt x="1290650" y="316174"/>
                      </a:cubicBezTo>
                      <a:cubicBezTo>
                        <a:pt x="1293335" y="309850"/>
                        <a:pt x="1292240" y="304303"/>
                        <a:pt x="1286657" y="300099"/>
                      </a:cubicBezTo>
                      <a:cubicBezTo>
                        <a:pt x="1272914" y="289747"/>
                        <a:pt x="1259701" y="278583"/>
                        <a:pt x="1244086" y="270917"/>
                      </a:cubicBezTo>
                      <a:cubicBezTo>
                        <a:pt x="1240447" y="269115"/>
                        <a:pt x="1233805" y="269892"/>
                        <a:pt x="1234370" y="263957"/>
                      </a:cubicBezTo>
                      <a:cubicBezTo>
                        <a:pt x="1234900" y="258092"/>
                        <a:pt x="1242390" y="263356"/>
                        <a:pt x="1246841" y="256714"/>
                      </a:cubicBezTo>
                      <a:close/>
                      <a:moveTo>
                        <a:pt x="1249738" y="886884"/>
                      </a:moveTo>
                      <a:cubicBezTo>
                        <a:pt x="1249738" y="885541"/>
                        <a:pt x="1249703" y="884234"/>
                        <a:pt x="1249738" y="882892"/>
                      </a:cubicBezTo>
                      <a:cubicBezTo>
                        <a:pt x="1250198" y="872470"/>
                        <a:pt x="1250798" y="861129"/>
                        <a:pt x="1237832" y="858161"/>
                      </a:cubicBezTo>
                      <a:cubicBezTo>
                        <a:pt x="1225926" y="855406"/>
                        <a:pt x="1221086" y="865580"/>
                        <a:pt x="1215928" y="873812"/>
                      </a:cubicBezTo>
                      <a:cubicBezTo>
                        <a:pt x="1210275" y="882786"/>
                        <a:pt x="1204022" y="891477"/>
                        <a:pt x="1199429" y="900980"/>
                      </a:cubicBezTo>
                      <a:cubicBezTo>
                        <a:pt x="1193953" y="912250"/>
                        <a:pt x="1176182" y="916843"/>
                        <a:pt x="1178868" y="930692"/>
                      </a:cubicBezTo>
                      <a:cubicBezTo>
                        <a:pt x="1181199" y="942704"/>
                        <a:pt x="1189820" y="953656"/>
                        <a:pt x="1196356" y="964679"/>
                      </a:cubicBezTo>
                      <a:cubicBezTo>
                        <a:pt x="1206990" y="982591"/>
                        <a:pt x="1218048" y="982344"/>
                        <a:pt x="1228470" y="963973"/>
                      </a:cubicBezTo>
                      <a:cubicBezTo>
                        <a:pt x="1242001" y="940125"/>
                        <a:pt x="1249138" y="914406"/>
                        <a:pt x="1249738" y="886919"/>
                      </a:cubicBezTo>
                      <a:close/>
                      <a:moveTo>
                        <a:pt x="1290367" y="1190363"/>
                      </a:moveTo>
                      <a:cubicBezTo>
                        <a:pt x="1309268" y="1190080"/>
                        <a:pt x="1326014" y="1184322"/>
                        <a:pt x="1342902" y="1179411"/>
                      </a:cubicBezTo>
                      <a:cubicBezTo>
                        <a:pt x="1359118" y="1174712"/>
                        <a:pt x="1368940" y="1163901"/>
                        <a:pt x="1374098" y="1147862"/>
                      </a:cubicBezTo>
                      <a:cubicBezTo>
                        <a:pt x="1384166" y="1116560"/>
                        <a:pt x="1376253" y="1085859"/>
                        <a:pt x="1371801" y="1054698"/>
                      </a:cubicBezTo>
                      <a:cubicBezTo>
                        <a:pt x="1368763" y="1075507"/>
                        <a:pt x="1358517" y="1094126"/>
                        <a:pt x="1354772" y="1114228"/>
                      </a:cubicBezTo>
                      <a:cubicBezTo>
                        <a:pt x="1348943" y="1145530"/>
                        <a:pt x="1328629" y="1163160"/>
                        <a:pt x="1302944" y="1177221"/>
                      </a:cubicBezTo>
                      <a:cubicBezTo>
                        <a:pt x="1297998" y="1179941"/>
                        <a:pt x="1292169" y="1181637"/>
                        <a:pt x="1290367" y="1190398"/>
                      </a:cubicBezTo>
                      <a:close/>
                      <a:moveTo>
                        <a:pt x="1291568" y="286815"/>
                      </a:moveTo>
                      <a:cubicBezTo>
                        <a:pt x="1289660" y="255195"/>
                        <a:pt x="1280228" y="229087"/>
                        <a:pt x="1258252" y="207925"/>
                      </a:cubicBezTo>
                      <a:cubicBezTo>
                        <a:pt x="1237161" y="187681"/>
                        <a:pt x="1211512" y="176517"/>
                        <a:pt x="1184096" y="168638"/>
                      </a:cubicBezTo>
                      <a:cubicBezTo>
                        <a:pt x="1180669" y="167649"/>
                        <a:pt x="1175476" y="162456"/>
                        <a:pt x="1173003" y="169204"/>
                      </a:cubicBezTo>
                      <a:cubicBezTo>
                        <a:pt x="1171060" y="174538"/>
                        <a:pt x="1171378" y="179979"/>
                        <a:pt x="1177454" y="184289"/>
                      </a:cubicBezTo>
                      <a:cubicBezTo>
                        <a:pt x="1187100" y="191108"/>
                        <a:pt x="1197875" y="194853"/>
                        <a:pt x="1209039" y="197326"/>
                      </a:cubicBezTo>
                      <a:cubicBezTo>
                        <a:pt x="1238892" y="203968"/>
                        <a:pt x="1254578" y="224741"/>
                        <a:pt x="1258889" y="252475"/>
                      </a:cubicBezTo>
                      <a:cubicBezTo>
                        <a:pt x="1260938" y="265653"/>
                        <a:pt x="1266096" y="271871"/>
                        <a:pt x="1276341" y="277099"/>
                      </a:cubicBezTo>
                      <a:cubicBezTo>
                        <a:pt x="1281005" y="279466"/>
                        <a:pt x="1285244" y="282717"/>
                        <a:pt x="1291604" y="286780"/>
                      </a:cubicBezTo>
                      <a:close/>
                      <a:moveTo>
                        <a:pt x="1372720" y="698261"/>
                      </a:moveTo>
                      <a:cubicBezTo>
                        <a:pt x="1389819" y="698119"/>
                        <a:pt x="1405187" y="682680"/>
                        <a:pt x="1408614" y="667241"/>
                      </a:cubicBezTo>
                      <a:cubicBezTo>
                        <a:pt x="1410063" y="660741"/>
                        <a:pt x="1397733" y="631983"/>
                        <a:pt x="1392257" y="629651"/>
                      </a:cubicBezTo>
                      <a:cubicBezTo>
                        <a:pt x="1390314" y="628838"/>
                        <a:pt x="1387664" y="628097"/>
                        <a:pt x="1385862" y="628732"/>
                      </a:cubicBezTo>
                      <a:cubicBezTo>
                        <a:pt x="1375264" y="632477"/>
                        <a:pt x="1363676" y="634632"/>
                        <a:pt x="1357069" y="645302"/>
                      </a:cubicBezTo>
                      <a:cubicBezTo>
                        <a:pt x="1349756" y="657102"/>
                        <a:pt x="1348166" y="669467"/>
                        <a:pt x="1355762" y="681514"/>
                      </a:cubicBezTo>
                      <a:cubicBezTo>
                        <a:pt x="1360849" y="689570"/>
                        <a:pt x="1366396" y="698049"/>
                        <a:pt x="1372720" y="698225"/>
                      </a:cubicBezTo>
                      <a:close/>
                      <a:moveTo>
                        <a:pt x="67548" y="445373"/>
                      </a:moveTo>
                      <a:cubicBezTo>
                        <a:pt x="67548" y="451450"/>
                        <a:pt x="67301" y="454559"/>
                        <a:pt x="67583" y="457632"/>
                      </a:cubicBezTo>
                      <a:cubicBezTo>
                        <a:pt x="68608" y="467984"/>
                        <a:pt x="72671" y="470351"/>
                        <a:pt x="81397" y="463391"/>
                      </a:cubicBezTo>
                      <a:cubicBezTo>
                        <a:pt x="89876" y="456643"/>
                        <a:pt x="95953" y="448235"/>
                        <a:pt x="101358" y="438979"/>
                      </a:cubicBezTo>
                      <a:cubicBezTo>
                        <a:pt x="111003" y="422621"/>
                        <a:pt x="121072" y="406511"/>
                        <a:pt x="127219" y="388387"/>
                      </a:cubicBezTo>
                      <a:cubicBezTo>
                        <a:pt x="128208" y="385419"/>
                        <a:pt x="129233" y="382169"/>
                        <a:pt x="126548" y="379731"/>
                      </a:cubicBezTo>
                      <a:cubicBezTo>
                        <a:pt x="124746" y="378106"/>
                        <a:pt x="122379" y="379131"/>
                        <a:pt x="120365" y="380085"/>
                      </a:cubicBezTo>
                      <a:cubicBezTo>
                        <a:pt x="85107" y="396795"/>
                        <a:pt x="69809" y="408560"/>
                        <a:pt x="67548" y="445373"/>
                      </a:cubicBezTo>
                      <a:close/>
                      <a:moveTo>
                        <a:pt x="1342054" y="364010"/>
                      </a:moveTo>
                      <a:cubicBezTo>
                        <a:pt x="1340782" y="371076"/>
                        <a:pt x="1343750" y="373831"/>
                        <a:pt x="1345693" y="376304"/>
                      </a:cubicBezTo>
                      <a:cubicBezTo>
                        <a:pt x="1362615" y="397608"/>
                        <a:pt x="1373391" y="422586"/>
                        <a:pt x="1387417" y="445550"/>
                      </a:cubicBezTo>
                      <a:cubicBezTo>
                        <a:pt x="1408226" y="479678"/>
                        <a:pt x="1413596" y="515184"/>
                        <a:pt x="1406777" y="553764"/>
                      </a:cubicBezTo>
                      <a:cubicBezTo>
                        <a:pt x="1405329" y="561960"/>
                        <a:pt x="1406565" y="570651"/>
                        <a:pt x="1406565" y="579095"/>
                      </a:cubicBezTo>
                      <a:cubicBezTo>
                        <a:pt x="1424336" y="548358"/>
                        <a:pt x="1426244" y="516809"/>
                        <a:pt x="1417234" y="483988"/>
                      </a:cubicBezTo>
                      <a:cubicBezTo>
                        <a:pt x="1404340" y="437106"/>
                        <a:pt x="1373214" y="402024"/>
                        <a:pt x="1342054" y="364010"/>
                      </a:cubicBezTo>
                      <a:close/>
                      <a:moveTo>
                        <a:pt x="366611" y="147441"/>
                      </a:moveTo>
                      <a:cubicBezTo>
                        <a:pt x="331917" y="155531"/>
                        <a:pt x="292031" y="183971"/>
                        <a:pt x="277899" y="211034"/>
                      </a:cubicBezTo>
                      <a:cubicBezTo>
                        <a:pt x="291041" y="208455"/>
                        <a:pt x="302806" y="206052"/>
                        <a:pt x="311709" y="196443"/>
                      </a:cubicBezTo>
                      <a:cubicBezTo>
                        <a:pt x="323438" y="183759"/>
                        <a:pt x="336016" y="172348"/>
                        <a:pt x="352126" y="165035"/>
                      </a:cubicBezTo>
                      <a:cubicBezTo>
                        <a:pt x="358803" y="161996"/>
                        <a:pt x="364456" y="156556"/>
                        <a:pt x="366611" y="147441"/>
                      </a:cubicBezTo>
                      <a:close/>
                      <a:moveTo>
                        <a:pt x="1430624" y="678512"/>
                      </a:moveTo>
                      <a:cubicBezTo>
                        <a:pt x="1448431" y="666817"/>
                        <a:pt x="1454931" y="617250"/>
                        <a:pt x="1442000" y="592061"/>
                      </a:cubicBezTo>
                      <a:cubicBezTo>
                        <a:pt x="1439386" y="586973"/>
                        <a:pt x="1435924" y="584818"/>
                        <a:pt x="1430872" y="590365"/>
                      </a:cubicBezTo>
                      <a:cubicBezTo>
                        <a:pt x="1424265" y="597607"/>
                        <a:pt x="1416987" y="604037"/>
                        <a:pt x="1407484" y="591389"/>
                      </a:cubicBezTo>
                      <a:cubicBezTo>
                        <a:pt x="1406247" y="600010"/>
                        <a:pt x="1410452" y="601458"/>
                        <a:pt x="1415433" y="602977"/>
                      </a:cubicBezTo>
                      <a:cubicBezTo>
                        <a:pt x="1420803" y="604638"/>
                        <a:pt x="1426844" y="605768"/>
                        <a:pt x="1429706" y="611668"/>
                      </a:cubicBezTo>
                      <a:cubicBezTo>
                        <a:pt x="1437832" y="628591"/>
                        <a:pt x="1442248" y="645797"/>
                        <a:pt x="1431437" y="663179"/>
                      </a:cubicBezTo>
                      <a:cubicBezTo>
                        <a:pt x="1428363" y="668125"/>
                        <a:pt x="1426844" y="672435"/>
                        <a:pt x="1430660" y="678476"/>
                      </a:cubicBezTo>
                      <a:close/>
                      <a:moveTo>
                        <a:pt x="766751" y="1349592"/>
                      </a:moveTo>
                      <a:cubicBezTo>
                        <a:pt x="782543" y="1372239"/>
                        <a:pt x="818367" y="1385275"/>
                        <a:pt x="855533" y="1380364"/>
                      </a:cubicBezTo>
                      <a:cubicBezTo>
                        <a:pt x="826811" y="1379728"/>
                        <a:pt x="805366" y="1370331"/>
                        <a:pt x="787878" y="1352984"/>
                      </a:cubicBezTo>
                      <a:cubicBezTo>
                        <a:pt x="781201" y="1346377"/>
                        <a:pt x="775407" y="1343763"/>
                        <a:pt x="766786" y="1349557"/>
                      </a:cubicBezTo>
                      <a:close/>
                      <a:moveTo>
                        <a:pt x="1325308" y="365882"/>
                      </a:moveTo>
                      <a:cubicBezTo>
                        <a:pt x="1321563" y="354082"/>
                        <a:pt x="1320220" y="340834"/>
                        <a:pt x="1306901" y="334863"/>
                      </a:cubicBezTo>
                      <a:cubicBezTo>
                        <a:pt x="1310893" y="346522"/>
                        <a:pt x="1317005" y="356838"/>
                        <a:pt x="1325308" y="365882"/>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02" name="Freeform: Shape 701">
                  <a:extLst>
                    <a:ext uri="{FF2B5EF4-FFF2-40B4-BE49-F238E27FC236}">
                      <a16:creationId xmlns:a16="http://schemas.microsoft.com/office/drawing/2014/main" id="{2AF3648F-96AF-A1F2-8F5B-FD31332C5824}"/>
                    </a:ext>
                  </a:extLst>
                </p:cNvPr>
                <p:cNvSpPr/>
                <p:nvPr/>
              </p:nvSpPr>
              <p:spPr>
                <a:xfrm>
                  <a:off x="7635374" y="2544049"/>
                  <a:ext cx="1275985" cy="1306265"/>
                </a:xfrm>
                <a:custGeom>
                  <a:avLst/>
                  <a:gdLst>
                    <a:gd name="connsiteX0" fmla="*/ 727050 w 1275984"/>
                    <a:gd name="connsiteY0" fmla="*/ 1234167 h 1306265"/>
                    <a:gd name="connsiteX1" fmla="*/ 705534 w 1275984"/>
                    <a:gd name="connsiteY1" fmla="*/ 1267376 h 1306265"/>
                    <a:gd name="connsiteX2" fmla="*/ 659359 w 1275984"/>
                    <a:gd name="connsiteY2" fmla="*/ 1270132 h 1306265"/>
                    <a:gd name="connsiteX3" fmla="*/ 637666 w 1275984"/>
                    <a:gd name="connsiteY3" fmla="*/ 1268471 h 1306265"/>
                    <a:gd name="connsiteX4" fmla="*/ 632084 w 1275984"/>
                    <a:gd name="connsiteY4" fmla="*/ 1275007 h 1306265"/>
                    <a:gd name="connsiteX5" fmla="*/ 599546 w 1275984"/>
                    <a:gd name="connsiteY5" fmla="*/ 1306239 h 1306265"/>
                    <a:gd name="connsiteX6" fmla="*/ 533622 w 1275984"/>
                    <a:gd name="connsiteY6" fmla="*/ 1293485 h 1306265"/>
                    <a:gd name="connsiteX7" fmla="*/ 516133 w 1275984"/>
                    <a:gd name="connsiteY7" fmla="*/ 1286807 h 1306265"/>
                    <a:gd name="connsiteX8" fmla="*/ 521609 w 1275984"/>
                    <a:gd name="connsiteY8" fmla="*/ 1276880 h 1306265"/>
                    <a:gd name="connsiteX9" fmla="*/ 509350 w 1275984"/>
                    <a:gd name="connsiteY9" fmla="*/ 1274407 h 1306265"/>
                    <a:gd name="connsiteX10" fmla="*/ 437384 w 1275984"/>
                    <a:gd name="connsiteY10" fmla="*/ 1252361 h 1306265"/>
                    <a:gd name="connsiteX11" fmla="*/ 430460 w 1275984"/>
                    <a:gd name="connsiteY11" fmla="*/ 1238477 h 1306265"/>
                    <a:gd name="connsiteX12" fmla="*/ 447665 w 1275984"/>
                    <a:gd name="connsiteY12" fmla="*/ 1231623 h 1306265"/>
                    <a:gd name="connsiteX13" fmla="*/ 477059 w 1275984"/>
                    <a:gd name="connsiteY13" fmla="*/ 1239749 h 1306265"/>
                    <a:gd name="connsiteX14" fmla="*/ 488329 w 1275984"/>
                    <a:gd name="connsiteY14" fmla="*/ 1243494 h 1306265"/>
                    <a:gd name="connsiteX15" fmla="*/ 580751 w 1275984"/>
                    <a:gd name="connsiteY15" fmla="*/ 1265928 h 1306265"/>
                    <a:gd name="connsiteX16" fmla="*/ 593822 w 1275984"/>
                    <a:gd name="connsiteY16" fmla="*/ 1264444 h 1306265"/>
                    <a:gd name="connsiteX17" fmla="*/ 598522 w 1275984"/>
                    <a:gd name="connsiteY17" fmla="*/ 1237947 h 1306265"/>
                    <a:gd name="connsiteX18" fmla="*/ 571247 w 1275984"/>
                    <a:gd name="connsiteY18" fmla="*/ 1229327 h 1306265"/>
                    <a:gd name="connsiteX19" fmla="*/ 544644 w 1275984"/>
                    <a:gd name="connsiteY19" fmla="*/ 1229327 h 1306265"/>
                    <a:gd name="connsiteX20" fmla="*/ 488047 w 1275984"/>
                    <a:gd name="connsiteY20" fmla="*/ 1215301 h 1306265"/>
                    <a:gd name="connsiteX21" fmla="*/ 431449 w 1275984"/>
                    <a:gd name="connsiteY21" fmla="*/ 1211803 h 1306265"/>
                    <a:gd name="connsiteX22" fmla="*/ 382695 w 1275984"/>
                    <a:gd name="connsiteY22" fmla="*/ 1210390 h 1306265"/>
                    <a:gd name="connsiteX23" fmla="*/ 365666 w 1275984"/>
                    <a:gd name="connsiteY23" fmla="*/ 1162978 h 1306265"/>
                    <a:gd name="connsiteX24" fmla="*/ 379409 w 1275984"/>
                    <a:gd name="connsiteY24" fmla="*/ 1156583 h 1306265"/>
                    <a:gd name="connsiteX25" fmla="*/ 401808 w 1275984"/>
                    <a:gd name="connsiteY25" fmla="*/ 1154782 h 1306265"/>
                    <a:gd name="connsiteX26" fmla="*/ 411806 w 1275984"/>
                    <a:gd name="connsiteY26" fmla="*/ 1143618 h 1306265"/>
                    <a:gd name="connsiteX27" fmla="*/ 402408 w 1275984"/>
                    <a:gd name="connsiteY27" fmla="*/ 1132453 h 1306265"/>
                    <a:gd name="connsiteX28" fmla="*/ 372802 w 1275984"/>
                    <a:gd name="connsiteY28" fmla="*/ 1125988 h 1306265"/>
                    <a:gd name="connsiteX29" fmla="*/ 329877 w 1275984"/>
                    <a:gd name="connsiteY29" fmla="*/ 1079071 h 1306265"/>
                    <a:gd name="connsiteX30" fmla="*/ 321045 w 1275984"/>
                    <a:gd name="connsiteY30" fmla="*/ 1059004 h 1306265"/>
                    <a:gd name="connsiteX31" fmla="*/ 311223 w 1275984"/>
                    <a:gd name="connsiteY31" fmla="*/ 1056637 h 1306265"/>
                    <a:gd name="connsiteX32" fmla="*/ 306418 w 1275984"/>
                    <a:gd name="connsiteY32" fmla="*/ 1065257 h 1306265"/>
                    <a:gd name="connsiteX33" fmla="*/ 312000 w 1275984"/>
                    <a:gd name="connsiteY33" fmla="*/ 1093768 h 1306265"/>
                    <a:gd name="connsiteX34" fmla="*/ 273279 w 1275984"/>
                    <a:gd name="connsiteY34" fmla="*/ 1169090 h 1306265"/>
                    <a:gd name="connsiteX35" fmla="*/ 126875 w 1275984"/>
                    <a:gd name="connsiteY35" fmla="*/ 1127013 h 1306265"/>
                    <a:gd name="connsiteX36" fmla="*/ 116452 w 1275984"/>
                    <a:gd name="connsiteY36" fmla="*/ 1102812 h 1306265"/>
                    <a:gd name="connsiteX37" fmla="*/ 91899 w 1275984"/>
                    <a:gd name="connsiteY37" fmla="*/ 1045897 h 1306265"/>
                    <a:gd name="connsiteX38" fmla="*/ 90344 w 1275984"/>
                    <a:gd name="connsiteY38" fmla="*/ 1031482 h 1306265"/>
                    <a:gd name="connsiteX39" fmla="*/ 104299 w 1275984"/>
                    <a:gd name="connsiteY39" fmla="*/ 1028267 h 1306265"/>
                    <a:gd name="connsiteX40" fmla="*/ 203257 w 1275984"/>
                    <a:gd name="connsiteY40" fmla="*/ 1022226 h 1306265"/>
                    <a:gd name="connsiteX41" fmla="*/ 220250 w 1275984"/>
                    <a:gd name="connsiteY41" fmla="*/ 1022085 h 1306265"/>
                    <a:gd name="connsiteX42" fmla="*/ 262327 w 1275984"/>
                    <a:gd name="connsiteY42" fmla="*/ 1020813 h 1306265"/>
                    <a:gd name="connsiteX43" fmla="*/ 270277 w 1275984"/>
                    <a:gd name="connsiteY43" fmla="*/ 1014489 h 1306265"/>
                    <a:gd name="connsiteX44" fmla="*/ 265154 w 1275984"/>
                    <a:gd name="connsiteY44" fmla="*/ 1005904 h 1306265"/>
                    <a:gd name="connsiteX45" fmla="*/ 217424 w 1275984"/>
                    <a:gd name="connsiteY45" fmla="*/ 992196 h 1306265"/>
                    <a:gd name="connsiteX46" fmla="*/ 176901 w 1275984"/>
                    <a:gd name="connsiteY46" fmla="*/ 986367 h 1306265"/>
                    <a:gd name="connsiteX47" fmla="*/ 135778 w 1275984"/>
                    <a:gd name="connsiteY47" fmla="*/ 945526 h 1306265"/>
                    <a:gd name="connsiteX48" fmla="*/ 125037 w 1275984"/>
                    <a:gd name="connsiteY48" fmla="*/ 930935 h 1306265"/>
                    <a:gd name="connsiteX49" fmla="*/ 111895 w 1275984"/>
                    <a:gd name="connsiteY49" fmla="*/ 942064 h 1306265"/>
                    <a:gd name="connsiteX50" fmla="*/ 52471 w 1275984"/>
                    <a:gd name="connsiteY50" fmla="*/ 972800 h 1306265"/>
                    <a:gd name="connsiteX51" fmla="*/ 3187 w 1275984"/>
                    <a:gd name="connsiteY51" fmla="*/ 913270 h 1306265"/>
                    <a:gd name="connsiteX52" fmla="*/ 2657 w 1275984"/>
                    <a:gd name="connsiteY52" fmla="*/ 831129 h 1306265"/>
                    <a:gd name="connsiteX53" fmla="*/ 1243 w 1275984"/>
                    <a:gd name="connsiteY53" fmla="*/ 808625 h 1306265"/>
                    <a:gd name="connsiteX54" fmla="*/ 21487 w 1275984"/>
                    <a:gd name="connsiteY54" fmla="*/ 688823 h 1306265"/>
                    <a:gd name="connsiteX55" fmla="*/ 23572 w 1275984"/>
                    <a:gd name="connsiteY55" fmla="*/ 691190 h 1306265"/>
                    <a:gd name="connsiteX56" fmla="*/ 43462 w 1275984"/>
                    <a:gd name="connsiteY56" fmla="*/ 728604 h 1306265"/>
                    <a:gd name="connsiteX57" fmla="*/ 58512 w 1275984"/>
                    <a:gd name="connsiteY57" fmla="*/ 773083 h 1306265"/>
                    <a:gd name="connsiteX58" fmla="*/ 78756 w 1275984"/>
                    <a:gd name="connsiteY58" fmla="*/ 807388 h 1306265"/>
                    <a:gd name="connsiteX59" fmla="*/ 103628 w 1275984"/>
                    <a:gd name="connsiteY59" fmla="*/ 847593 h 1306265"/>
                    <a:gd name="connsiteX60" fmla="*/ 118148 w 1275984"/>
                    <a:gd name="connsiteY60" fmla="*/ 872924 h 1306265"/>
                    <a:gd name="connsiteX61" fmla="*/ 133305 w 1275984"/>
                    <a:gd name="connsiteY61" fmla="*/ 881650 h 1306265"/>
                    <a:gd name="connsiteX62" fmla="*/ 141112 w 1275984"/>
                    <a:gd name="connsiteY62" fmla="*/ 866565 h 1306265"/>
                    <a:gd name="connsiteX63" fmla="*/ 132068 w 1275984"/>
                    <a:gd name="connsiteY63" fmla="*/ 805092 h 1306265"/>
                    <a:gd name="connsiteX64" fmla="*/ 137862 w 1275984"/>
                    <a:gd name="connsiteY64" fmla="*/ 754995 h 1306265"/>
                    <a:gd name="connsiteX65" fmla="*/ 131467 w 1275984"/>
                    <a:gd name="connsiteY65" fmla="*/ 739132 h 1306265"/>
                    <a:gd name="connsiteX66" fmla="*/ 85610 w 1275984"/>
                    <a:gd name="connsiteY66" fmla="*/ 727332 h 1306265"/>
                    <a:gd name="connsiteX67" fmla="*/ 61939 w 1275984"/>
                    <a:gd name="connsiteY67" fmla="*/ 676034 h 1306265"/>
                    <a:gd name="connsiteX68" fmla="*/ 73845 w 1275984"/>
                    <a:gd name="connsiteY68" fmla="*/ 577217 h 1306265"/>
                    <a:gd name="connsiteX69" fmla="*/ 110376 w 1275984"/>
                    <a:gd name="connsiteY69" fmla="*/ 544891 h 1306265"/>
                    <a:gd name="connsiteX70" fmla="*/ 136237 w 1275984"/>
                    <a:gd name="connsiteY70" fmla="*/ 513943 h 1306265"/>
                    <a:gd name="connsiteX71" fmla="*/ 137332 w 1275984"/>
                    <a:gd name="connsiteY71" fmla="*/ 500093 h 1306265"/>
                    <a:gd name="connsiteX72" fmla="*/ 113591 w 1275984"/>
                    <a:gd name="connsiteY72" fmla="*/ 518465 h 1306265"/>
                    <a:gd name="connsiteX73" fmla="*/ 82148 w 1275984"/>
                    <a:gd name="connsiteY73" fmla="*/ 520514 h 1306265"/>
                    <a:gd name="connsiteX74" fmla="*/ 64766 w 1275984"/>
                    <a:gd name="connsiteY74" fmla="*/ 485891 h 1306265"/>
                    <a:gd name="connsiteX75" fmla="*/ 104370 w 1275984"/>
                    <a:gd name="connsiteY75" fmla="*/ 384107 h 1306265"/>
                    <a:gd name="connsiteX76" fmla="*/ 110941 w 1275984"/>
                    <a:gd name="connsiteY76" fmla="*/ 371035 h 1306265"/>
                    <a:gd name="connsiteX77" fmla="*/ 110729 w 1275984"/>
                    <a:gd name="connsiteY77" fmla="*/ 362450 h 1306265"/>
                    <a:gd name="connsiteX78" fmla="*/ 103522 w 1275984"/>
                    <a:gd name="connsiteY78" fmla="*/ 363722 h 1306265"/>
                    <a:gd name="connsiteX79" fmla="*/ 92358 w 1275984"/>
                    <a:gd name="connsiteY79" fmla="*/ 364676 h 1306265"/>
                    <a:gd name="connsiteX80" fmla="*/ 92888 w 1275984"/>
                    <a:gd name="connsiteY80" fmla="*/ 353618 h 1306265"/>
                    <a:gd name="connsiteX81" fmla="*/ 101014 w 1275984"/>
                    <a:gd name="connsiteY81" fmla="*/ 322952 h 1306265"/>
                    <a:gd name="connsiteX82" fmla="*/ 152630 w 1275984"/>
                    <a:gd name="connsiteY82" fmla="*/ 255261 h 1306265"/>
                    <a:gd name="connsiteX83" fmla="*/ 189796 w 1275984"/>
                    <a:gd name="connsiteY83" fmla="*/ 216010 h 1306265"/>
                    <a:gd name="connsiteX84" fmla="*/ 198664 w 1275984"/>
                    <a:gd name="connsiteY84" fmla="*/ 208414 h 1306265"/>
                    <a:gd name="connsiteX85" fmla="*/ 283949 w 1275984"/>
                    <a:gd name="connsiteY85" fmla="*/ 165737 h 1306265"/>
                    <a:gd name="connsiteX86" fmla="*/ 358141 w 1275984"/>
                    <a:gd name="connsiteY86" fmla="*/ 119314 h 1306265"/>
                    <a:gd name="connsiteX87" fmla="*/ 367715 w 1275984"/>
                    <a:gd name="connsiteY87" fmla="*/ 121716 h 1306265"/>
                    <a:gd name="connsiteX88" fmla="*/ 366337 w 1275984"/>
                    <a:gd name="connsiteY88" fmla="*/ 147436 h 1306265"/>
                    <a:gd name="connsiteX89" fmla="*/ 371142 w 1275984"/>
                    <a:gd name="connsiteY89" fmla="*/ 153831 h 1306265"/>
                    <a:gd name="connsiteX90" fmla="*/ 489919 w 1275984"/>
                    <a:gd name="connsiteY90" fmla="*/ 127899 h 1306265"/>
                    <a:gd name="connsiteX91" fmla="*/ 535988 w 1275984"/>
                    <a:gd name="connsiteY91" fmla="*/ 102426 h 1306265"/>
                    <a:gd name="connsiteX92" fmla="*/ 589053 w 1275984"/>
                    <a:gd name="connsiteY92" fmla="*/ 52188 h 1306265"/>
                    <a:gd name="connsiteX93" fmla="*/ 665329 w 1275984"/>
                    <a:gd name="connsiteY93" fmla="*/ 37032 h 1306265"/>
                    <a:gd name="connsiteX94" fmla="*/ 691861 w 1275984"/>
                    <a:gd name="connsiteY94" fmla="*/ 36325 h 1306265"/>
                    <a:gd name="connsiteX95" fmla="*/ 771352 w 1275984"/>
                    <a:gd name="connsiteY95" fmla="*/ 8062 h 1306265"/>
                    <a:gd name="connsiteX96" fmla="*/ 856355 w 1275984"/>
                    <a:gd name="connsiteY96" fmla="*/ 5306 h 1306265"/>
                    <a:gd name="connsiteX97" fmla="*/ 895040 w 1275984"/>
                    <a:gd name="connsiteY97" fmla="*/ 32227 h 1306265"/>
                    <a:gd name="connsiteX98" fmla="*/ 958386 w 1275984"/>
                    <a:gd name="connsiteY98" fmla="*/ 69535 h 1306265"/>
                    <a:gd name="connsiteX99" fmla="*/ 1067624 w 1275984"/>
                    <a:gd name="connsiteY99" fmla="*/ 182624 h 1306265"/>
                    <a:gd name="connsiteX100" fmla="*/ 1046179 w 1275984"/>
                    <a:gd name="connsiteY100" fmla="*/ 229365 h 1306265"/>
                    <a:gd name="connsiteX101" fmla="*/ 1031447 w 1275984"/>
                    <a:gd name="connsiteY101" fmla="*/ 248125 h 1306265"/>
                    <a:gd name="connsiteX102" fmla="*/ 1031624 w 1275984"/>
                    <a:gd name="connsiteY102" fmla="*/ 273173 h 1306265"/>
                    <a:gd name="connsiteX103" fmla="*/ 1060417 w 1275984"/>
                    <a:gd name="connsiteY103" fmla="*/ 349767 h 1306265"/>
                    <a:gd name="connsiteX104" fmla="*/ 1083417 w 1275984"/>
                    <a:gd name="connsiteY104" fmla="*/ 385520 h 1306265"/>
                    <a:gd name="connsiteX105" fmla="*/ 1076845 w 1275984"/>
                    <a:gd name="connsiteY105" fmla="*/ 332703 h 1306265"/>
                    <a:gd name="connsiteX106" fmla="*/ 1075220 w 1275984"/>
                    <a:gd name="connsiteY106" fmla="*/ 305570 h 1306265"/>
                    <a:gd name="connsiteX107" fmla="*/ 1092072 w 1275984"/>
                    <a:gd name="connsiteY107" fmla="*/ 304051 h 1306265"/>
                    <a:gd name="connsiteX108" fmla="*/ 1163296 w 1275984"/>
                    <a:gd name="connsiteY108" fmla="*/ 393010 h 1306265"/>
                    <a:gd name="connsiteX109" fmla="*/ 1180042 w 1275984"/>
                    <a:gd name="connsiteY109" fmla="*/ 457239 h 1306265"/>
                    <a:gd name="connsiteX110" fmla="*/ 1168560 w 1275984"/>
                    <a:gd name="connsiteY110" fmla="*/ 465082 h 1306265"/>
                    <a:gd name="connsiteX111" fmla="*/ 1161282 w 1275984"/>
                    <a:gd name="connsiteY111" fmla="*/ 468686 h 1306265"/>
                    <a:gd name="connsiteX112" fmla="*/ 1159057 w 1275984"/>
                    <a:gd name="connsiteY112" fmla="*/ 477624 h 1306265"/>
                    <a:gd name="connsiteX113" fmla="*/ 1146586 w 1275984"/>
                    <a:gd name="connsiteY113" fmla="*/ 547611 h 1306265"/>
                    <a:gd name="connsiteX114" fmla="*/ 1145808 w 1275984"/>
                    <a:gd name="connsiteY114" fmla="*/ 567431 h 1306265"/>
                    <a:gd name="connsiteX115" fmla="*/ 1151355 w 1275984"/>
                    <a:gd name="connsiteY115" fmla="*/ 575628 h 1306265"/>
                    <a:gd name="connsiteX116" fmla="*/ 1159021 w 1275984"/>
                    <a:gd name="connsiteY116" fmla="*/ 569480 h 1306265"/>
                    <a:gd name="connsiteX117" fmla="*/ 1181067 w 1275984"/>
                    <a:gd name="connsiteY117" fmla="*/ 531643 h 1306265"/>
                    <a:gd name="connsiteX118" fmla="*/ 1181632 w 1275984"/>
                    <a:gd name="connsiteY118" fmla="*/ 548671 h 1306265"/>
                    <a:gd name="connsiteX119" fmla="*/ 1169620 w 1275984"/>
                    <a:gd name="connsiteY119" fmla="*/ 647911 h 1306265"/>
                    <a:gd name="connsiteX120" fmla="*/ 1159127 w 1275984"/>
                    <a:gd name="connsiteY120" fmla="*/ 712847 h 1306265"/>
                    <a:gd name="connsiteX121" fmla="*/ 1147045 w 1275984"/>
                    <a:gd name="connsiteY121" fmla="*/ 733302 h 1306265"/>
                    <a:gd name="connsiteX122" fmla="*/ 1141392 w 1275984"/>
                    <a:gd name="connsiteY122" fmla="*/ 742206 h 1306265"/>
                    <a:gd name="connsiteX123" fmla="*/ 1143088 w 1275984"/>
                    <a:gd name="connsiteY123" fmla="*/ 755595 h 1306265"/>
                    <a:gd name="connsiteX124" fmla="*/ 1156937 w 1275984"/>
                    <a:gd name="connsiteY124" fmla="*/ 751992 h 1306265"/>
                    <a:gd name="connsiteX125" fmla="*/ 1175626 w 1275984"/>
                    <a:gd name="connsiteY125" fmla="*/ 705675 h 1306265"/>
                    <a:gd name="connsiteX126" fmla="*/ 1202335 w 1275984"/>
                    <a:gd name="connsiteY126" fmla="*/ 620461 h 1306265"/>
                    <a:gd name="connsiteX127" fmla="*/ 1210779 w 1275984"/>
                    <a:gd name="connsiteY127" fmla="*/ 550155 h 1306265"/>
                    <a:gd name="connsiteX128" fmla="*/ 1212015 w 1275984"/>
                    <a:gd name="connsiteY128" fmla="*/ 477518 h 1306265"/>
                    <a:gd name="connsiteX129" fmla="*/ 1208200 w 1275984"/>
                    <a:gd name="connsiteY129" fmla="*/ 416964 h 1306265"/>
                    <a:gd name="connsiteX130" fmla="*/ 1208765 w 1275984"/>
                    <a:gd name="connsiteY130" fmla="*/ 409509 h 1306265"/>
                    <a:gd name="connsiteX131" fmla="*/ 1214524 w 1275984"/>
                    <a:gd name="connsiteY131" fmla="*/ 379868 h 1306265"/>
                    <a:gd name="connsiteX132" fmla="*/ 1223462 w 1275984"/>
                    <a:gd name="connsiteY132" fmla="*/ 374462 h 1306265"/>
                    <a:gd name="connsiteX133" fmla="*/ 1254340 w 1275984"/>
                    <a:gd name="connsiteY133" fmla="*/ 421097 h 1306265"/>
                    <a:gd name="connsiteX134" fmla="*/ 1252998 w 1275984"/>
                    <a:gd name="connsiteY134" fmla="*/ 432791 h 1306265"/>
                    <a:gd name="connsiteX135" fmla="*/ 1250242 w 1275984"/>
                    <a:gd name="connsiteY135" fmla="*/ 472254 h 1306265"/>
                    <a:gd name="connsiteX136" fmla="*/ 1248687 w 1275984"/>
                    <a:gd name="connsiteY136" fmla="*/ 522174 h 1306265"/>
                    <a:gd name="connsiteX137" fmla="*/ 1238724 w 1275984"/>
                    <a:gd name="connsiteY137" fmla="*/ 627385 h 1306265"/>
                    <a:gd name="connsiteX138" fmla="*/ 1234909 w 1275984"/>
                    <a:gd name="connsiteY138" fmla="*/ 657556 h 1306265"/>
                    <a:gd name="connsiteX139" fmla="*/ 1220459 w 1275984"/>
                    <a:gd name="connsiteY139" fmla="*/ 684018 h 1306265"/>
                    <a:gd name="connsiteX140" fmla="*/ 1206504 w 1275984"/>
                    <a:gd name="connsiteY140" fmla="*/ 715885 h 1306265"/>
                    <a:gd name="connsiteX141" fmla="*/ 1216078 w 1275984"/>
                    <a:gd name="connsiteY141" fmla="*/ 734892 h 1306265"/>
                    <a:gd name="connsiteX142" fmla="*/ 1238088 w 1275984"/>
                    <a:gd name="connsiteY142" fmla="*/ 729593 h 1306265"/>
                    <a:gd name="connsiteX143" fmla="*/ 1252362 w 1275984"/>
                    <a:gd name="connsiteY143" fmla="*/ 717793 h 1306265"/>
                    <a:gd name="connsiteX144" fmla="*/ 1269779 w 1275984"/>
                    <a:gd name="connsiteY144" fmla="*/ 717051 h 1306265"/>
                    <a:gd name="connsiteX145" fmla="*/ 1275962 w 1275984"/>
                    <a:gd name="connsiteY145" fmla="*/ 731819 h 1306265"/>
                    <a:gd name="connsiteX146" fmla="*/ 1261618 w 1275984"/>
                    <a:gd name="connsiteY146" fmla="*/ 764074 h 1306265"/>
                    <a:gd name="connsiteX147" fmla="*/ 1229080 w 1275984"/>
                    <a:gd name="connsiteY147" fmla="*/ 807635 h 1306265"/>
                    <a:gd name="connsiteX148" fmla="*/ 1219223 w 1275984"/>
                    <a:gd name="connsiteY148" fmla="*/ 816326 h 1306265"/>
                    <a:gd name="connsiteX149" fmla="*/ 1202688 w 1275984"/>
                    <a:gd name="connsiteY149" fmla="*/ 818588 h 1306265"/>
                    <a:gd name="connsiteX150" fmla="*/ 1200357 w 1275984"/>
                    <a:gd name="connsiteY150" fmla="*/ 798838 h 1306265"/>
                    <a:gd name="connsiteX151" fmla="*/ 1212793 w 1275984"/>
                    <a:gd name="connsiteY151" fmla="*/ 778453 h 1306265"/>
                    <a:gd name="connsiteX152" fmla="*/ 1214665 w 1275984"/>
                    <a:gd name="connsiteY152" fmla="*/ 766724 h 1306265"/>
                    <a:gd name="connsiteX153" fmla="*/ 1203960 w 1275984"/>
                    <a:gd name="connsiteY153" fmla="*/ 769939 h 1306265"/>
                    <a:gd name="connsiteX154" fmla="*/ 1148529 w 1275984"/>
                    <a:gd name="connsiteY154" fmla="*/ 808766 h 1306265"/>
                    <a:gd name="connsiteX155" fmla="*/ 1130228 w 1275984"/>
                    <a:gd name="connsiteY155" fmla="*/ 819435 h 1306265"/>
                    <a:gd name="connsiteX156" fmla="*/ 1110090 w 1275984"/>
                    <a:gd name="connsiteY156" fmla="*/ 843813 h 1306265"/>
                    <a:gd name="connsiteX157" fmla="*/ 1081968 w 1275984"/>
                    <a:gd name="connsiteY157" fmla="*/ 910797 h 1306265"/>
                    <a:gd name="connsiteX158" fmla="*/ 1086985 w 1275984"/>
                    <a:gd name="connsiteY158" fmla="*/ 966441 h 1306265"/>
                    <a:gd name="connsiteX159" fmla="*/ 1096736 w 1275984"/>
                    <a:gd name="connsiteY159" fmla="*/ 982198 h 1306265"/>
                    <a:gd name="connsiteX160" fmla="*/ 1098537 w 1275984"/>
                    <a:gd name="connsiteY160" fmla="*/ 1005268 h 1306265"/>
                    <a:gd name="connsiteX161" fmla="*/ 1099421 w 1275984"/>
                    <a:gd name="connsiteY161" fmla="*/ 1038548 h 1306265"/>
                    <a:gd name="connsiteX162" fmla="*/ 1091048 w 1275984"/>
                    <a:gd name="connsiteY162" fmla="*/ 1102141 h 1306265"/>
                    <a:gd name="connsiteX163" fmla="*/ 1003290 w 1275984"/>
                    <a:gd name="connsiteY163" fmla="*/ 1175131 h 1306265"/>
                    <a:gd name="connsiteX164" fmla="*/ 986685 w 1275984"/>
                    <a:gd name="connsiteY164" fmla="*/ 1179265 h 1306265"/>
                    <a:gd name="connsiteX165" fmla="*/ 911186 w 1275984"/>
                    <a:gd name="connsiteY165" fmla="*/ 1198449 h 1306265"/>
                    <a:gd name="connsiteX166" fmla="*/ 885537 w 1275984"/>
                    <a:gd name="connsiteY166" fmla="*/ 1195340 h 1306265"/>
                    <a:gd name="connsiteX167" fmla="*/ 836288 w 1275984"/>
                    <a:gd name="connsiteY167" fmla="*/ 1214559 h 1306265"/>
                    <a:gd name="connsiteX168" fmla="*/ 788311 w 1275984"/>
                    <a:gd name="connsiteY168" fmla="*/ 1247698 h 1306265"/>
                    <a:gd name="connsiteX169" fmla="*/ 748777 w 1275984"/>
                    <a:gd name="connsiteY169" fmla="*/ 1244624 h 1306265"/>
                    <a:gd name="connsiteX170" fmla="*/ 726908 w 1275984"/>
                    <a:gd name="connsiteY170" fmla="*/ 1234202 h 1306265"/>
                    <a:gd name="connsiteX171" fmla="*/ 746339 w 1275984"/>
                    <a:gd name="connsiteY171" fmla="*/ 1223179 h 1306265"/>
                    <a:gd name="connsiteX172" fmla="*/ 762944 w 1275984"/>
                    <a:gd name="connsiteY172" fmla="*/ 1210072 h 1306265"/>
                    <a:gd name="connsiteX173" fmla="*/ 766088 w 1275984"/>
                    <a:gd name="connsiteY173" fmla="*/ 1195304 h 1306265"/>
                    <a:gd name="connsiteX174" fmla="*/ 754500 w 1275984"/>
                    <a:gd name="connsiteY174" fmla="*/ 1191701 h 1306265"/>
                    <a:gd name="connsiteX175" fmla="*/ 735175 w 1275984"/>
                    <a:gd name="connsiteY175" fmla="*/ 1195410 h 1306265"/>
                    <a:gd name="connsiteX176" fmla="*/ 677200 w 1275984"/>
                    <a:gd name="connsiteY176" fmla="*/ 1207670 h 1306265"/>
                    <a:gd name="connsiteX177" fmla="*/ 653741 w 1275984"/>
                    <a:gd name="connsiteY177" fmla="*/ 1219187 h 1306265"/>
                    <a:gd name="connsiteX178" fmla="*/ 674797 w 1275984"/>
                    <a:gd name="connsiteY178" fmla="*/ 1236357 h 1306265"/>
                    <a:gd name="connsiteX179" fmla="*/ 677412 w 1275984"/>
                    <a:gd name="connsiteY179" fmla="*/ 1236675 h 1306265"/>
                    <a:gd name="connsiteX180" fmla="*/ 727014 w 1275984"/>
                    <a:gd name="connsiteY180" fmla="*/ 1234167 h 130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275984" h="1306265">
                      <a:moveTo>
                        <a:pt x="727050" y="1234167"/>
                      </a:moveTo>
                      <a:cubicBezTo>
                        <a:pt x="729099" y="1251160"/>
                        <a:pt x="718818" y="1261229"/>
                        <a:pt x="705534" y="1267376"/>
                      </a:cubicBezTo>
                      <a:cubicBezTo>
                        <a:pt x="691014" y="1274124"/>
                        <a:pt x="675469" y="1277657"/>
                        <a:pt x="659359" y="1270132"/>
                      </a:cubicBezTo>
                      <a:cubicBezTo>
                        <a:pt x="652717" y="1267023"/>
                        <a:pt x="645298" y="1264126"/>
                        <a:pt x="637666" y="1268471"/>
                      </a:cubicBezTo>
                      <a:cubicBezTo>
                        <a:pt x="634946" y="1270026"/>
                        <a:pt x="632367" y="1271086"/>
                        <a:pt x="632084" y="1275007"/>
                      </a:cubicBezTo>
                      <a:cubicBezTo>
                        <a:pt x="630565" y="1297477"/>
                        <a:pt x="622015" y="1305779"/>
                        <a:pt x="599546" y="1306239"/>
                      </a:cubicBezTo>
                      <a:cubicBezTo>
                        <a:pt x="576688" y="1306698"/>
                        <a:pt x="554925" y="1301257"/>
                        <a:pt x="533622" y="1293485"/>
                      </a:cubicBezTo>
                      <a:cubicBezTo>
                        <a:pt x="527828" y="1291365"/>
                        <a:pt x="522104" y="1289104"/>
                        <a:pt x="516133" y="1286807"/>
                      </a:cubicBezTo>
                      <a:cubicBezTo>
                        <a:pt x="515003" y="1281791"/>
                        <a:pt x="524895" y="1282391"/>
                        <a:pt x="521609" y="1276880"/>
                      </a:cubicBezTo>
                      <a:cubicBezTo>
                        <a:pt x="518748" y="1272146"/>
                        <a:pt x="513484" y="1274160"/>
                        <a:pt x="509350" y="1274407"/>
                      </a:cubicBezTo>
                      <a:cubicBezTo>
                        <a:pt x="482535" y="1276138"/>
                        <a:pt x="458723" y="1267977"/>
                        <a:pt x="437384" y="1252361"/>
                      </a:cubicBezTo>
                      <a:cubicBezTo>
                        <a:pt x="433357" y="1249394"/>
                        <a:pt x="426644" y="1246002"/>
                        <a:pt x="430460" y="1238477"/>
                      </a:cubicBezTo>
                      <a:cubicBezTo>
                        <a:pt x="434134" y="1231270"/>
                        <a:pt x="440988" y="1230280"/>
                        <a:pt x="447665" y="1231623"/>
                      </a:cubicBezTo>
                      <a:cubicBezTo>
                        <a:pt x="457593" y="1233672"/>
                        <a:pt x="467273" y="1236887"/>
                        <a:pt x="477059" y="1239749"/>
                      </a:cubicBezTo>
                      <a:cubicBezTo>
                        <a:pt x="480875" y="1240879"/>
                        <a:pt x="484619" y="1243600"/>
                        <a:pt x="488329" y="1243494"/>
                      </a:cubicBezTo>
                      <a:cubicBezTo>
                        <a:pt x="521256" y="1242469"/>
                        <a:pt x="549308" y="1261264"/>
                        <a:pt x="580751" y="1265928"/>
                      </a:cubicBezTo>
                      <a:cubicBezTo>
                        <a:pt x="585026" y="1266564"/>
                        <a:pt x="589512" y="1266246"/>
                        <a:pt x="593822" y="1264444"/>
                      </a:cubicBezTo>
                      <a:cubicBezTo>
                        <a:pt x="606258" y="1259180"/>
                        <a:pt x="608520" y="1246991"/>
                        <a:pt x="598522" y="1237947"/>
                      </a:cubicBezTo>
                      <a:cubicBezTo>
                        <a:pt x="590784" y="1230952"/>
                        <a:pt x="580892" y="1229998"/>
                        <a:pt x="571247" y="1229327"/>
                      </a:cubicBezTo>
                      <a:cubicBezTo>
                        <a:pt x="562415" y="1228691"/>
                        <a:pt x="553477" y="1228691"/>
                        <a:pt x="544644" y="1229327"/>
                      </a:cubicBezTo>
                      <a:cubicBezTo>
                        <a:pt x="524188" y="1230740"/>
                        <a:pt x="505499" y="1227666"/>
                        <a:pt x="488047" y="1215301"/>
                      </a:cubicBezTo>
                      <a:cubicBezTo>
                        <a:pt x="470558" y="1202936"/>
                        <a:pt x="450562" y="1209507"/>
                        <a:pt x="431449" y="1211803"/>
                      </a:cubicBezTo>
                      <a:cubicBezTo>
                        <a:pt x="415127" y="1213746"/>
                        <a:pt x="398805" y="1214665"/>
                        <a:pt x="382695" y="1210390"/>
                      </a:cubicBezTo>
                      <a:cubicBezTo>
                        <a:pt x="362945" y="1205126"/>
                        <a:pt x="353972" y="1179760"/>
                        <a:pt x="365666" y="1162978"/>
                      </a:cubicBezTo>
                      <a:cubicBezTo>
                        <a:pt x="369093" y="1158067"/>
                        <a:pt x="373650" y="1156583"/>
                        <a:pt x="379409" y="1156583"/>
                      </a:cubicBezTo>
                      <a:cubicBezTo>
                        <a:pt x="386863" y="1156583"/>
                        <a:pt x="394318" y="1157290"/>
                        <a:pt x="401808" y="1154782"/>
                      </a:cubicBezTo>
                      <a:cubicBezTo>
                        <a:pt x="407743" y="1152803"/>
                        <a:pt x="410958" y="1149023"/>
                        <a:pt x="411806" y="1143618"/>
                      </a:cubicBezTo>
                      <a:cubicBezTo>
                        <a:pt x="412830" y="1137046"/>
                        <a:pt x="407460" y="1133902"/>
                        <a:pt x="402408" y="1132453"/>
                      </a:cubicBezTo>
                      <a:cubicBezTo>
                        <a:pt x="392693" y="1129662"/>
                        <a:pt x="382765" y="1126518"/>
                        <a:pt x="372802" y="1125988"/>
                      </a:cubicBezTo>
                      <a:cubicBezTo>
                        <a:pt x="350686" y="1124893"/>
                        <a:pt x="331749" y="1102953"/>
                        <a:pt x="329877" y="1079071"/>
                      </a:cubicBezTo>
                      <a:cubicBezTo>
                        <a:pt x="329276" y="1071475"/>
                        <a:pt x="327369" y="1064233"/>
                        <a:pt x="321045" y="1059004"/>
                      </a:cubicBezTo>
                      <a:cubicBezTo>
                        <a:pt x="318077" y="1056531"/>
                        <a:pt x="314897" y="1055330"/>
                        <a:pt x="311223" y="1056637"/>
                      </a:cubicBezTo>
                      <a:cubicBezTo>
                        <a:pt x="307231" y="1058050"/>
                        <a:pt x="306666" y="1061547"/>
                        <a:pt x="306418" y="1065257"/>
                      </a:cubicBezTo>
                      <a:cubicBezTo>
                        <a:pt x="305747" y="1075255"/>
                        <a:pt x="309351" y="1084512"/>
                        <a:pt x="312000" y="1093768"/>
                      </a:cubicBezTo>
                      <a:cubicBezTo>
                        <a:pt x="322246" y="1129945"/>
                        <a:pt x="301826" y="1156583"/>
                        <a:pt x="273279" y="1169090"/>
                      </a:cubicBezTo>
                      <a:cubicBezTo>
                        <a:pt x="226468" y="1189546"/>
                        <a:pt x="160437" y="1180925"/>
                        <a:pt x="126875" y="1127013"/>
                      </a:cubicBezTo>
                      <a:cubicBezTo>
                        <a:pt x="122211" y="1119488"/>
                        <a:pt x="118148" y="1111821"/>
                        <a:pt x="116452" y="1102812"/>
                      </a:cubicBezTo>
                      <a:cubicBezTo>
                        <a:pt x="112531" y="1082109"/>
                        <a:pt x="104123" y="1063067"/>
                        <a:pt x="91899" y="1045897"/>
                      </a:cubicBezTo>
                      <a:cubicBezTo>
                        <a:pt x="88401" y="1040986"/>
                        <a:pt x="87023" y="1036958"/>
                        <a:pt x="90344" y="1031482"/>
                      </a:cubicBezTo>
                      <a:cubicBezTo>
                        <a:pt x="94089" y="1025264"/>
                        <a:pt x="98965" y="1027313"/>
                        <a:pt x="104299" y="1028267"/>
                      </a:cubicBezTo>
                      <a:cubicBezTo>
                        <a:pt x="137721" y="1034238"/>
                        <a:pt x="171001" y="1037029"/>
                        <a:pt x="203257" y="1022226"/>
                      </a:cubicBezTo>
                      <a:cubicBezTo>
                        <a:pt x="208591" y="1019753"/>
                        <a:pt x="214597" y="1020671"/>
                        <a:pt x="220250" y="1022085"/>
                      </a:cubicBezTo>
                      <a:cubicBezTo>
                        <a:pt x="234417" y="1025582"/>
                        <a:pt x="248372" y="1023250"/>
                        <a:pt x="262327" y="1020813"/>
                      </a:cubicBezTo>
                      <a:cubicBezTo>
                        <a:pt x="266108" y="1020141"/>
                        <a:pt x="269216" y="1017986"/>
                        <a:pt x="270277" y="1014489"/>
                      </a:cubicBezTo>
                      <a:cubicBezTo>
                        <a:pt x="271478" y="1010391"/>
                        <a:pt x="267803" y="1008023"/>
                        <a:pt x="265154" y="1005904"/>
                      </a:cubicBezTo>
                      <a:cubicBezTo>
                        <a:pt x="251163" y="994775"/>
                        <a:pt x="233852" y="994881"/>
                        <a:pt x="217424" y="992196"/>
                      </a:cubicBezTo>
                      <a:cubicBezTo>
                        <a:pt x="203963" y="990006"/>
                        <a:pt x="190185" y="989299"/>
                        <a:pt x="176901" y="986367"/>
                      </a:cubicBezTo>
                      <a:cubicBezTo>
                        <a:pt x="154926" y="981562"/>
                        <a:pt x="138922" y="969903"/>
                        <a:pt x="135778" y="945526"/>
                      </a:cubicBezTo>
                      <a:cubicBezTo>
                        <a:pt x="134930" y="938919"/>
                        <a:pt x="133729" y="931924"/>
                        <a:pt x="125037" y="930935"/>
                      </a:cubicBezTo>
                      <a:cubicBezTo>
                        <a:pt x="116876" y="930016"/>
                        <a:pt x="114827" y="936976"/>
                        <a:pt x="111895" y="942064"/>
                      </a:cubicBezTo>
                      <a:cubicBezTo>
                        <a:pt x="96562" y="968702"/>
                        <a:pt x="77060" y="978912"/>
                        <a:pt x="52471" y="972800"/>
                      </a:cubicBezTo>
                      <a:cubicBezTo>
                        <a:pt x="26681" y="966370"/>
                        <a:pt x="3328" y="939131"/>
                        <a:pt x="3187" y="913270"/>
                      </a:cubicBezTo>
                      <a:cubicBezTo>
                        <a:pt x="3010" y="885890"/>
                        <a:pt x="4847" y="858510"/>
                        <a:pt x="2657" y="831129"/>
                      </a:cubicBezTo>
                      <a:cubicBezTo>
                        <a:pt x="2056" y="823640"/>
                        <a:pt x="2162" y="816185"/>
                        <a:pt x="1243" y="808625"/>
                      </a:cubicBezTo>
                      <a:cubicBezTo>
                        <a:pt x="-3809" y="767042"/>
                        <a:pt x="7250" y="728180"/>
                        <a:pt x="21487" y="688823"/>
                      </a:cubicBezTo>
                      <a:cubicBezTo>
                        <a:pt x="23006" y="690519"/>
                        <a:pt x="23395" y="690801"/>
                        <a:pt x="23572" y="691190"/>
                      </a:cubicBezTo>
                      <a:cubicBezTo>
                        <a:pt x="29542" y="703944"/>
                        <a:pt x="32227" y="717546"/>
                        <a:pt x="43462" y="728604"/>
                      </a:cubicBezTo>
                      <a:cubicBezTo>
                        <a:pt x="54732" y="739732"/>
                        <a:pt x="56816" y="757185"/>
                        <a:pt x="58512" y="773083"/>
                      </a:cubicBezTo>
                      <a:cubicBezTo>
                        <a:pt x="60102" y="787816"/>
                        <a:pt x="67380" y="798485"/>
                        <a:pt x="78756" y="807388"/>
                      </a:cubicBezTo>
                      <a:cubicBezTo>
                        <a:pt x="91828" y="817598"/>
                        <a:pt x="94513" y="834662"/>
                        <a:pt x="103628" y="847593"/>
                      </a:cubicBezTo>
                      <a:cubicBezTo>
                        <a:pt x="109210" y="855507"/>
                        <a:pt x="112990" y="864657"/>
                        <a:pt x="118148" y="872924"/>
                      </a:cubicBezTo>
                      <a:cubicBezTo>
                        <a:pt x="121504" y="878329"/>
                        <a:pt x="126557" y="883170"/>
                        <a:pt x="133305" y="881650"/>
                      </a:cubicBezTo>
                      <a:cubicBezTo>
                        <a:pt x="140724" y="879955"/>
                        <a:pt x="140582" y="872995"/>
                        <a:pt x="141112" y="866565"/>
                      </a:cubicBezTo>
                      <a:cubicBezTo>
                        <a:pt x="142949" y="845332"/>
                        <a:pt x="134824" y="825618"/>
                        <a:pt x="132068" y="805092"/>
                      </a:cubicBezTo>
                      <a:cubicBezTo>
                        <a:pt x="129701" y="787639"/>
                        <a:pt x="128111" y="770999"/>
                        <a:pt x="137862" y="754995"/>
                      </a:cubicBezTo>
                      <a:cubicBezTo>
                        <a:pt x="142208" y="747823"/>
                        <a:pt x="143974" y="739556"/>
                        <a:pt x="131467" y="739132"/>
                      </a:cubicBezTo>
                      <a:cubicBezTo>
                        <a:pt x="115181" y="738567"/>
                        <a:pt x="97975" y="741676"/>
                        <a:pt x="85610" y="727332"/>
                      </a:cubicBezTo>
                      <a:cubicBezTo>
                        <a:pt x="72927" y="712600"/>
                        <a:pt x="65543" y="694899"/>
                        <a:pt x="61939" y="676034"/>
                      </a:cubicBezTo>
                      <a:cubicBezTo>
                        <a:pt x="55439" y="641976"/>
                        <a:pt x="54449" y="608237"/>
                        <a:pt x="73845" y="577217"/>
                      </a:cubicBezTo>
                      <a:cubicBezTo>
                        <a:pt x="82819" y="562874"/>
                        <a:pt x="97163" y="554465"/>
                        <a:pt x="110376" y="544891"/>
                      </a:cubicBezTo>
                      <a:cubicBezTo>
                        <a:pt x="121611" y="536730"/>
                        <a:pt x="131679" y="527756"/>
                        <a:pt x="136237" y="513943"/>
                      </a:cubicBezTo>
                      <a:cubicBezTo>
                        <a:pt x="137685" y="509562"/>
                        <a:pt x="138639" y="505570"/>
                        <a:pt x="137332" y="500093"/>
                      </a:cubicBezTo>
                      <a:cubicBezTo>
                        <a:pt x="126981" y="503626"/>
                        <a:pt x="121045" y="512353"/>
                        <a:pt x="113591" y="518465"/>
                      </a:cubicBezTo>
                      <a:cubicBezTo>
                        <a:pt x="102815" y="527297"/>
                        <a:pt x="93206" y="527509"/>
                        <a:pt x="82148" y="520514"/>
                      </a:cubicBezTo>
                      <a:cubicBezTo>
                        <a:pt x="69641" y="512600"/>
                        <a:pt x="63988" y="498009"/>
                        <a:pt x="64766" y="485891"/>
                      </a:cubicBezTo>
                      <a:cubicBezTo>
                        <a:pt x="67274" y="447594"/>
                        <a:pt x="88578" y="416999"/>
                        <a:pt x="104370" y="384107"/>
                      </a:cubicBezTo>
                      <a:cubicBezTo>
                        <a:pt x="106490" y="379726"/>
                        <a:pt x="108857" y="375452"/>
                        <a:pt x="110941" y="371035"/>
                      </a:cubicBezTo>
                      <a:cubicBezTo>
                        <a:pt x="112284" y="368209"/>
                        <a:pt x="113520" y="364959"/>
                        <a:pt x="110729" y="362450"/>
                      </a:cubicBezTo>
                      <a:cubicBezTo>
                        <a:pt x="108185" y="360189"/>
                        <a:pt x="105818" y="362768"/>
                        <a:pt x="103522" y="363722"/>
                      </a:cubicBezTo>
                      <a:cubicBezTo>
                        <a:pt x="99848" y="365277"/>
                        <a:pt x="95820" y="367820"/>
                        <a:pt x="92358" y="364676"/>
                      </a:cubicBezTo>
                      <a:cubicBezTo>
                        <a:pt x="88754" y="361390"/>
                        <a:pt x="91369" y="357222"/>
                        <a:pt x="92888" y="353618"/>
                      </a:cubicBezTo>
                      <a:cubicBezTo>
                        <a:pt x="97127" y="343796"/>
                        <a:pt x="99000" y="333374"/>
                        <a:pt x="101014" y="322952"/>
                      </a:cubicBezTo>
                      <a:cubicBezTo>
                        <a:pt x="107020" y="291862"/>
                        <a:pt x="128076" y="272290"/>
                        <a:pt x="152630" y="255261"/>
                      </a:cubicBezTo>
                      <a:cubicBezTo>
                        <a:pt x="167680" y="244804"/>
                        <a:pt x="184956" y="236289"/>
                        <a:pt x="189796" y="216010"/>
                      </a:cubicBezTo>
                      <a:cubicBezTo>
                        <a:pt x="190856" y="211629"/>
                        <a:pt x="195484" y="210640"/>
                        <a:pt x="198664" y="208414"/>
                      </a:cubicBezTo>
                      <a:cubicBezTo>
                        <a:pt x="224878" y="189760"/>
                        <a:pt x="255685" y="180328"/>
                        <a:pt x="283949" y="165737"/>
                      </a:cubicBezTo>
                      <a:cubicBezTo>
                        <a:pt x="309951" y="152311"/>
                        <a:pt x="337967" y="142031"/>
                        <a:pt x="358141" y="119314"/>
                      </a:cubicBezTo>
                      <a:cubicBezTo>
                        <a:pt x="362945" y="113908"/>
                        <a:pt x="365242" y="116876"/>
                        <a:pt x="367715" y="121716"/>
                      </a:cubicBezTo>
                      <a:cubicBezTo>
                        <a:pt x="372272" y="130654"/>
                        <a:pt x="368527" y="138957"/>
                        <a:pt x="366337" y="147436"/>
                      </a:cubicBezTo>
                      <a:cubicBezTo>
                        <a:pt x="365206" y="151781"/>
                        <a:pt x="363758" y="156021"/>
                        <a:pt x="371142" y="153831"/>
                      </a:cubicBezTo>
                      <a:cubicBezTo>
                        <a:pt x="410075" y="142384"/>
                        <a:pt x="451163" y="140971"/>
                        <a:pt x="489919" y="127899"/>
                      </a:cubicBezTo>
                      <a:cubicBezTo>
                        <a:pt x="507159" y="122069"/>
                        <a:pt x="522210" y="113626"/>
                        <a:pt x="535988" y="102426"/>
                      </a:cubicBezTo>
                      <a:cubicBezTo>
                        <a:pt x="554960" y="87058"/>
                        <a:pt x="571989" y="69605"/>
                        <a:pt x="589053" y="52188"/>
                      </a:cubicBezTo>
                      <a:cubicBezTo>
                        <a:pt x="611028" y="29825"/>
                        <a:pt x="636642" y="24631"/>
                        <a:pt x="665329" y="37032"/>
                      </a:cubicBezTo>
                      <a:cubicBezTo>
                        <a:pt x="674691" y="41059"/>
                        <a:pt x="683241" y="41307"/>
                        <a:pt x="691861" y="36325"/>
                      </a:cubicBezTo>
                      <a:cubicBezTo>
                        <a:pt x="716592" y="22017"/>
                        <a:pt x="744679" y="16152"/>
                        <a:pt x="771352" y="8062"/>
                      </a:cubicBezTo>
                      <a:cubicBezTo>
                        <a:pt x="798238" y="-99"/>
                        <a:pt x="827632" y="-3774"/>
                        <a:pt x="856355" y="5306"/>
                      </a:cubicBezTo>
                      <a:cubicBezTo>
                        <a:pt x="872182" y="10323"/>
                        <a:pt x="885396" y="19296"/>
                        <a:pt x="895040" y="32227"/>
                      </a:cubicBezTo>
                      <a:cubicBezTo>
                        <a:pt x="911115" y="53848"/>
                        <a:pt x="932596" y="67097"/>
                        <a:pt x="958386" y="69535"/>
                      </a:cubicBezTo>
                      <a:cubicBezTo>
                        <a:pt x="1006787" y="74092"/>
                        <a:pt x="1063173" y="133163"/>
                        <a:pt x="1067624" y="182624"/>
                      </a:cubicBezTo>
                      <a:cubicBezTo>
                        <a:pt x="1069355" y="201808"/>
                        <a:pt x="1058580" y="216293"/>
                        <a:pt x="1046179" y="229365"/>
                      </a:cubicBezTo>
                      <a:cubicBezTo>
                        <a:pt x="1040633" y="235194"/>
                        <a:pt x="1035439" y="241200"/>
                        <a:pt x="1031447" y="248125"/>
                      </a:cubicBezTo>
                      <a:cubicBezTo>
                        <a:pt x="1026642" y="256427"/>
                        <a:pt x="1025088" y="266602"/>
                        <a:pt x="1031624" y="273173"/>
                      </a:cubicBezTo>
                      <a:cubicBezTo>
                        <a:pt x="1052963" y="294689"/>
                        <a:pt x="1056037" y="322246"/>
                        <a:pt x="1060417" y="349767"/>
                      </a:cubicBezTo>
                      <a:cubicBezTo>
                        <a:pt x="1062608" y="363616"/>
                        <a:pt x="1069073" y="375416"/>
                        <a:pt x="1083417" y="385520"/>
                      </a:cubicBezTo>
                      <a:cubicBezTo>
                        <a:pt x="1082604" y="366160"/>
                        <a:pt x="1088539" y="348955"/>
                        <a:pt x="1076845" y="332703"/>
                      </a:cubicBezTo>
                      <a:cubicBezTo>
                        <a:pt x="1071052" y="324683"/>
                        <a:pt x="1068578" y="315392"/>
                        <a:pt x="1075220" y="305570"/>
                      </a:cubicBezTo>
                      <a:cubicBezTo>
                        <a:pt x="1080732" y="297444"/>
                        <a:pt x="1087798" y="296420"/>
                        <a:pt x="1092072" y="304051"/>
                      </a:cubicBezTo>
                      <a:cubicBezTo>
                        <a:pt x="1111009" y="337684"/>
                        <a:pt x="1141427" y="361920"/>
                        <a:pt x="1163296" y="393010"/>
                      </a:cubicBezTo>
                      <a:cubicBezTo>
                        <a:pt x="1176827" y="412265"/>
                        <a:pt x="1181774" y="433957"/>
                        <a:pt x="1180042" y="457239"/>
                      </a:cubicBezTo>
                      <a:cubicBezTo>
                        <a:pt x="1179512" y="464587"/>
                        <a:pt x="1177251" y="470205"/>
                        <a:pt x="1168560" y="465082"/>
                      </a:cubicBezTo>
                      <a:cubicBezTo>
                        <a:pt x="1163508" y="462114"/>
                        <a:pt x="1162378" y="464870"/>
                        <a:pt x="1161282" y="468686"/>
                      </a:cubicBezTo>
                      <a:cubicBezTo>
                        <a:pt x="1160434" y="471653"/>
                        <a:pt x="1158703" y="474762"/>
                        <a:pt x="1159057" y="477624"/>
                      </a:cubicBezTo>
                      <a:cubicBezTo>
                        <a:pt x="1161883" y="502249"/>
                        <a:pt x="1153475" y="524789"/>
                        <a:pt x="1146586" y="547611"/>
                      </a:cubicBezTo>
                      <a:cubicBezTo>
                        <a:pt x="1144607" y="554147"/>
                        <a:pt x="1145208" y="560825"/>
                        <a:pt x="1145808" y="567431"/>
                      </a:cubicBezTo>
                      <a:cubicBezTo>
                        <a:pt x="1146126" y="570823"/>
                        <a:pt x="1147221" y="574956"/>
                        <a:pt x="1151355" y="575628"/>
                      </a:cubicBezTo>
                      <a:cubicBezTo>
                        <a:pt x="1155630" y="576334"/>
                        <a:pt x="1157219" y="572625"/>
                        <a:pt x="1159021" y="569480"/>
                      </a:cubicBezTo>
                      <a:cubicBezTo>
                        <a:pt x="1166017" y="557292"/>
                        <a:pt x="1170362" y="543549"/>
                        <a:pt x="1181067" y="531643"/>
                      </a:cubicBezTo>
                      <a:cubicBezTo>
                        <a:pt x="1183787" y="538002"/>
                        <a:pt x="1183999" y="543937"/>
                        <a:pt x="1181632" y="548671"/>
                      </a:cubicBezTo>
                      <a:cubicBezTo>
                        <a:pt x="1165911" y="580397"/>
                        <a:pt x="1169373" y="614384"/>
                        <a:pt x="1169620" y="647911"/>
                      </a:cubicBezTo>
                      <a:cubicBezTo>
                        <a:pt x="1169797" y="670240"/>
                        <a:pt x="1167818" y="691967"/>
                        <a:pt x="1159127" y="712847"/>
                      </a:cubicBezTo>
                      <a:cubicBezTo>
                        <a:pt x="1156018" y="720372"/>
                        <a:pt x="1151602" y="726802"/>
                        <a:pt x="1147045" y="733302"/>
                      </a:cubicBezTo>
                      <a:cubicBezTo>
                        <a:pt x="1145031" y="736199"/>
                        <a:pt x="1142770" y="739026"/>
                        <a:pt x="1141392" y="742206"/>
                      </a:cubicBezTo>
                      <a:cubicBezTo>
                        <a:pt x="1139449" y="746798"/>
                        <a:pt x="1138354" y="752204"/>
                        <a:pt x="1143088" y="755595"/>
                      </a:cubicBezTo>
                      <a:cubicBezTo>
                        <a:pt x="1148529" y="759517"/>
                        <a:pt x="1153369" y="756373"/>
                        <a:pt x="1156937" y="751992"/>
                      </a:cubicBezTo>
                      <a:cubicBezTo>
                        <a:pt x="1167924" y="738531"/>
                        <a:pt x="1173153" y="722209"/>
                        <a:pt x="1175626" y="705675"/>
                      </a:cubicBezTo>
                      <a:cubicBezTo>
                        <a:pt x="1180113" y="675716"/>
                        <a:pt x="1188663" y="647664"/>
                        <a:pt x="1202335" y="620461"/>
                      </a:cubicBezTo>
                      <a:cubicBezTo>
                        <a:pt x="1213217" y="598804"/>
                        <a:pt x="1213429" y="574003"/>
                        <a:pt x="1210779" y="550155"/>
                      </a:cubicBezTo>
                      <a:cubicBezTo>
                        <a:pt x="1208094" y="525743"/>
                        <a:pt x="1207811" y="501683"/>
                        <a:pt x="1212015" y="477518"/>
                      </a:cubicBezTo>
                      <a:cubicBezTo>
                        <a:pt x="1215584" y="457062"/>
                        <a:pt x="1218728" y="436536"/>
                        <a:pt x="1208200" y="416964"/>
                      </a:cubicBezTo>
                      <a:cubicBezTo>
                        <a:pt x="1206716" y="414173"/>
                        <a:pt x="1207599" y="411982"/>
                        <a:pt x="1208765" y="409509"/>
                      </a:cubicBezTo>
                      <a:cubicBezTo>
                        <a:pt x="1213217" y="400147"/>
                        <a:pt x="1215407" y="390255"/>
                        <a:pt x="1214524" y="379868"/>
                      </a:cubicBezTo>
                      <a:cubicBezTo>
                        <a:pt x="1213852" y="371707"/>
                        <a:pt x="1217350" y="369693"/>
                        <a:pt x="1223462" y="374462"/>
                      </a:cubicBezTo>
                      <a:cubicBezTo>
                        <a:pt x="1238866" y="386474"/>
                        <a:pt x="1250206" y="401560"/>
                        <a:pt x="1254340" y="421097"/>
                      </a:cubicBezTo>
                      <a:cubicBezTo>
                        <a:pt x="1255153" y="424913"/>
                        <a:pt x="1255400" y="429364"/>
                        <a:pt x="1252998" y="432791"/>
                      </a:cubicBezTo>
                      <a:cubicBezTo>
                        <a:pt x="1244165" y="445474"/>
                        <a:pt x="1246885" y="458511"/>
                        <a:pt x="1250242" y="472254"/>
                      </a:cubicBezTo>
                      <a:cubicBezTo>
                        <a:pt x="1254269" y="488823"/>
                        <a:pt x="1253422" y="506029"/>
                        <a:pt x="1248687" y="522174"/>
                      </a:cubicBezTo>
                      <a:cubicBezTo>
                        <a:pt x="1238583" y="556726"/>
                        <a:pt x="1237559" y="591914"/>
                        <a:pt x="1238724" y="627385"/>
                      </a:cubicBezTo>
                      <a:cubicBezTo>
                        <a:pt x="1239042" y="637737"/>
                        <a:pt x="1237205" y="647700"/>
                        <a:pt x="1234909" y="657556"/>
                      </a:cubicBezTo>
                      <a:cubicBezTo>
                        <a:pt x="1232577" y="667519"/>
                        <a:pt x="1228161" y="676599"/>
                        <a:pt x="1220459" y="684018"/>
                      </a:cubicBezTo>
                      <a:cubicBezTo>
                        <a:pt x="1211591" y="692568"/>
                        <a:pt x="1206221" y="702955"/>
                        <a:pt x="1206504" y="715885"/>
                      </a:cubicBezTo>
                      <a:cubicBezTo>
                        <a:pt x="1206680" y="723940"/>
                        <a:pt x="1208412" y="731571"/>
                        <a:pt x="1216078" y="734892"/>
                      </a:cubicBezTo>
                      <a:cubicBezTo>
                        <a:pt x="1224027" y="738319"/>
                        <a:pt x="1231623" y="735387"/>
                        <a:pt x="1238088" y="729593"/>
                      </a:cubicBezTo>
                      <a:cubicBezTo>
                        <a:pt x="1242681" y="725459"/>
                        <a:pt x="1247592" y="721679"/>
                        <a:pt x="1252362" y="717793"/>
                      </a:cubicBezTo>
                      <a:cubicBezTo>
                        <a:pt x="1257979" y="713235"/>
                        <a:pt x="1263737" y="714225"/>
                        <a:pt x="1269779" y="717051"/>
                      </a:cubicBezTo>
                      <a:cubicBezTo>
                        <a:pt x="1276527" y="720195"/>
                        <a:pt x="1275997" y="726025"/>
                        <a:pt x="1275962" y="731819"/>
                      </a:cubicBezTo>
                      <a:cubicBezTo>
                        <a:pt x="1275891" y="744643"/>
                        <a:pt x="1268366" y="754359"/>
                        <a:pt x="1261618" y="764074"/>
                      </a:cubicBezTo>
                      <a:cubicBezTo>
                        <a:pt x="1251266" y="778948"/>
                        <a:pt x="1240173" y="793292"/>
                        <a:pt x="1229080" y="807635"/>
                      </a:cubicBezTo>
                      <a:cubicBezTo>
                        <a:pt x="1226430" y="811062"/>
                        <a:pt x="1223003" y="814313"/>
                        <a:pt x="1219223" y="816326"/>
                      </a:cubicBezTo>
                      <a:cubicBezTo>
                        <a:pt x="1214206" y="819011"/>
                        <a:pt x="1208659" y="825194"/>
                        <a:pt x="1202688" y="818588"/>
                      </a:cubicBezTo>
                      <a:cubicBezTo>
                        <a:pt x="1197601" y="812935"/>
                        <a:pt x="1196259" y="805869"/>
                        <a:pt x="1200357" y="798838"/>
                      </a:cubicBezTo>
                      <a:cubicBezTo>
                        <a:pt x="1204349" y="791949"/>
                        <a:pt x="1209048" y="785484"/>
                        <a:pt x="1212793" y="778453"/>
                      </a:cubicBezTo>
                      <a:cubicBezTo>
                        <a:pt x="1214665" y="774920"/>
                        <a:pt x="1219435" y="770504"/>
                        <a:pt x="1214665" y="766724"/>
                      </a:cubicBezTo>
                      <a:cubicBezTo>
                        <a:pt x="1211167" y="763968"/>
                        <a:pt x="1207104" y="767749"/>
                        <a:pt x="1203960" y="769939"/>
                      </a:cubicBezTo>
                      <a:cubicBezTo>
                        <a:pt x="1185413" y="782799"/>
                        <a:pt x="1167112" y="795941"/>
                        <a:pt x="1148529" y="808766"/>
                      </a:cubicBezTo>
                      <a:cubicBezTo>
                        <a:pt x="1142699" y="812793"/>
                        <a:pt x="1136729" y="816962"/>
                        <a:pt x="1130228" y="819435"/>
                      </a:cubicBezTo>
                      <a:cubicBezTo>
                        <a:pt x="1118605" y="823887"/>
                        <a:pt x="1112987" y="832401"/>
                        <a:pt x="1110090" y="843813"/>
                      </a:cubicBezTo>
                      <a:cubicBezTo>
                        <a:pt x="1104014" y="867483"/>
                        <a:pt x="1095923" y="890412"/>
                        <a:pt x="1081968" y="910797"/>
                      </a:cubicBezTo>
                      <a:cubicBezTo>
                        <a:pt x="1068296" y="930723"/>
                        <a:pt x="1071758" y="949236"/>
                        <a:pt x="1086985" y="966441"/>
                      </a:cubicBezTo>
                      <a:cubicBezTo>
                        <a:pt x="1091189" y="971210"/>
                        <a:pt x="1093768" y="976792"/>
                        <a:pt x="1096736" y="982198"/>
                      </a:cubicBezTo>
                      <a:cubicBezTo>
                        <a:pt x="1100834" y="989652"/>
                        <a:pt x="1101823" y="997637"/>
                        <a:pt x="1098537" y="1005268"/>
                      </a:cubicBezTo>
                      <a:cubicBezTo>
                        <a:pt x="1093627" y="1016714"/>
                        <a:pt x="1093733" y="1027773"/>
                        <a:pt x="1099421" y="1038548"/>
                      </a:cubicBezTo>
                      <a:cubicBezTo>
                        <a:pt x="1111715" y="1061830"/>
                        <a:pt x="1104508" y="1083204"/>
                        <a:pt x="1091048" y="1102141"/>
                      </a:cubicBezTo>
                      <a:cubicBezTo>
                        <a:pt x="1068402" y="1133973"/>
                        <a:pt x="1039255" y="1158809"/>
                        <a:pt x="1003290" y="1175131"/>
                      </a:cubicBezTo>
                      <a:cubicBezTo>
                        <a:pt x="997884" y="1177604"/>
                        <a:pt x="992338" y="1178982"/>
                        <a:pt x="986685" y="1179265"/>
                      </a:cubicBezTo>
                      <a:cubicBezTo>
                        <a:pt x="960258" y="1180713"/>
                        <a:pt x="936729" y="1193538"/>
                        <a:pt x="911186" y="1198449"/>
                      </a:cubicBezTo>
                      <a:cubicBezTo>
                        <a:pt x="902000" y="1200215"/>
                        <a:pt x="894016" y="1199367"/>
                        <a:pt x="885537" y="1195340"/>
                      </a:cubicBezTo>
                      <a:cubicBezTo>
                        <a:pt x="858510" y="1182480"/>
                        <a:pt x="847063" y="1187143"/>
                        <a:pt x="836288" y="1214559"/>
                      </a:cubicBezTo>
                      <a:cubicBezTo>
                        <a:pt x="828092" y="1235474"/>
                        <a:pt x="810851" y="1247450"/>
                        <a:pt x="788311" y="1247698"/>
                      </a:cubicBezTo>
                      <a:cubicBezTo>
                        <a:pt x="775062" y="1247839"/>
                        <a:pt x="761637" y="1248970"/>
                        <a:pt x="748777" y="1244624"/>
                      </a:cubicBezTo>
                      <a:cubicBezTo>
                        <a:pt x="741111" y="1242010"/>
                        <a:pt x="737012" y="1231800"/>
                        <a:pt x="726908" y="1234202"/>
                      </a:cubicBezTo>
                      <a:cubicBezTo>
                        <a:pt x="732137" y="1228337"/>
                        <a:pt x="739697" y="1226571"/>
                        <a:pt x="746339" y="1223179"/>
                      </a:cubicBezTo>
                      <a:cubicBezTo>
                        <a:pt x="752840" y="1219858"/>
                        <a:pt x="757892" y="1215089"/>
                        <a:pt x="762944" y="1210072"/>
                      </a:cubicBezTo>
                      <a:cubicBezTo>
                        <a:pt x="767289" y="1205727"/>
                        <a:pt x="767819" y="1200462"/>
                        <a:pt x="766088" y="1195304"/>
                      </a:cubicBezTo>
                      <a:cubicBezTo>
                        <a:pt x="764180" y="1189616"/>
                        <a:pt x="758599" y="1192054"/>
                        <a:pt x="754500" y="1191701"/>
                      </a:cubicBezTo>
                      <a:cubicBezTo>
                        <a:pt x="747753" y="1191136"/>
                        <a:pt x="741499" y="1192725"/>
                        <a:pt x="735175" y="1195410"/>
                      </a:cubicBezTo>
                      <a:cubicBezTo>
                        <a:pt x="716698" y="1203254"/>
                        <a:pt x="697338" y="1207528"/>
                        <a:pt x="677200" y="1207670"/>
                      </a:cubicBezTo>
                      <a:cubicBezTo>
                        <a:pt x="667272" y="1207740"/>
                        <a:pt x="654554" y="1207246"/>
                        <a:pt x="653741" y="1219187"/>
                      </a:cubicBezTo>
                      <a:cubicBezTo>
                        <a:pt x="652999" y="1229892"/>
                        <a:pt x="665824" y="1232754"/>
                        <a:pt x="674797" y="1236357"/>
                      </a:cubicBezTo>
                      <a:cubicBezTo>
                        <a:pt x="675575" y="1236675"/>
                        <a:pt x="676599" y="1236392"/>
                        <a:pt x="677412" y="1236675"/>
                      </a:cubicBezTo>
                      <a:cubicBezTo>
                        <a:pt x="694264" y="1242186"/>
                        <a:pt x="710445" y="1234237"/>
                        <a:pt x="727014" y="123416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03" name="Freeform: Shape 702">
                  <a:extLst>
                    <a:ext uri="{FF2B5EF4-FFF2-40B4-BE49-F238E27FC236}">
                      <a16:creationId xmlns:a16="http://schemas.microsoft.com/office/drawing/2014/main" id="{BAC05BBF-1600-9902-AE3D-CF98D21DAFCC}"/>
                    </a:ext>
                  </a:extLst>
                </p:cNvPr>
                <p:cNvSpPr/>
                <p:nvPr/>
              </p:nvSpPr>
              <p:spPr>
                <a:xfrm>
                  <a:off x="7850262" y="2904383"/>
                  <a:ext cx="60045" cy="114436"/>
                </a:xfrm>
                <a:custGeom>
                  <a:avLst/>
                  <a:gdLst>
                    <a:gd name="connsiteX0" fmla="*/ 44922 w 60045"/>
                    <a:gd name="connsiteY0" fmla="*/ 15893 h 114436"/>
                    <a:gd name="connsiteX1" fmla="*/ 29129 w 60045"/>
                    <a:gd name="connsiteY1" fmla="*/ 22924 h 114436"/>
                    <a:gd name="connsiteX2" fmla="*/ 3586 w 60045"/>
                    <a:gd name="connsiteY2" fmla="*/ 70654 h 114436"/>
                    <a:gd name="connsiteX3" fmla="*/ 11147 w 60045"/>
                    <a:gd name="connsiteY3" fmla="*/ 108951 h 114436"/>
                    <a:gd name="connsiteX4" fmla="*/ 29235 w 60045"/>
                    <a:gd name="connsiteY4" fmla="*/ 113579 h 114436"/>
                    <a:gd name="connsiteX5" fmla="*/ 36761 w 60045"/>
                    <a:gd name="connsiteY5" fmla="*/ 98317 h 114436"/>
                    <a:gd name="connsiteX6" fmla="*/ 42625 w 60045"/>
                    <a:gd name="connsiteY6" fmla="*/ 70371 h 114436"/>
                    <a:gd name="connsiteX7" fmla="*/ 44745 w 60045"/>
                    <a:gd name="connsiteY7" fmla="*/ 15823 h 114436"/>
                    <a:gd name="connsiteX8" fmla="*/ 60042 w 60045"/>
                    <a:gd name="connsiteY8" fmla="*/ 5718 h 114436"/>
                    <a:gd name="connsiteX9" fmla="*/ 51175 w 60045"/>
                    <a:gd name="connsiteY9" fmla="*/ 101 h 114436"/>
                    <a:gd name="connsiteX10" fmla="*/ 44922 w 60045"/>
                    <a:gd name="connsiteY10" fmla="*/ 14621 h 114436"/>
                    <a:gd name="connsiteX11" fmla="*/ 44886 w 60045"/>
                    <a:gd name="connsiteY11" fmla="*/ 15929 h 11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045" h="114436">
                      <a:moveTo>
                        <a:pt x="44922" y="15893"/>
                      </a:moveTo>
                      <a:cubicBezTo>
                        <a:pt x="36301" y="10523"/>
                        <a:pt x="32026" y="18119"/>
                        <a:pt x="29129" y="22924"/>
                      </a:cubicBezTo>
                      <a:cubicBezTo>
                        <a:pt x="19802" y="38363"/>
                        <a:pt x="10546" y="54084"/>
                        <a:pt x="3586" y="70654"/>
                      </a:cubicBezTo>
                      <a:cubicBezTo>
                        <a:pt x="-1996" y="83973"/>
                        <a:pt x="-2172" y="97893"/>
                        <a:pt x="11147" y="108951"/>
                      </a:cubicBezTo>
                      <a:cubicBezTo>
                        <a:pt x="16976" y="113791"/>
                        <a:pt x="22664" y="115699"/>
                        <a:pt x="29235" y="113579"/>
                      </a:cubicBezTo>
                      <a:cubicBezTo>
                        <a:pt x="36337" y="111282"/>
                        <a:pt x="37290" y="104923"/>
                        <a:pt x="36761" y="98317"/>
                      </a:cubicBezTo>
                      <a:cubicBezTo>
                        <a:pt x="35983" y="88424"/>
                        <a:pt x="37573" y="79239"/>
                        <a:pt x="42625" y="70371"/>
                      </a:cubicBezTo>
                      <a:cubicBezTo>
                        <a:pt x="52694" y="52706"/>
                        <a:pt x="53012" y="34335"/>
                        <a:pt x="44745" y="15823"/>
                      </a:cubicBezTo>
                      <a:cubicBezTo>
                        <a:pt x="52164" y="15893"/>
                        <a:pt x="59760" y="15434"/>
                        <a:pt x="60042" y="5718"/>
                      </a:cubicBezTo>
                      <a:cubicBezTo>
                        <a:pt x="60184" y="843"/>
                        <a:pt x="55379" y="-394"/>
                        <a:pt x="51175" y="101"/>
                      </a:cubicBezTo>
                      <a:cubicBezTo>
                        <a:pt x="40859" y="1232"/>
                        <a:pt x="46299" y="9463"/>
                        <a:pt x="44922" y="14621"/>
                      </a:cubicBezTo>
                      <a:cubicBezTo>
                        <a:pt x="44815" y="15045"/>
                        <a:pt x="44922" y="15505"/>
                        <a:pt x="44886" y="1592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0" name="Freeform: Shape 2559">
                  <a:extLst>
                    <a:ext uri="{FF2B5EF4-FFF2-40B4-BE49-F238E27FC236}">
                      <a16:creationId xmlns:a16="http://schemas.microsoft.com/office/drawing/2014/main" id="{236E9ADD-5BD2-0C1D-ED56-BE958BB899C1}"/>
                    </a:ext>
                  </a:extLst>
                </p:cNvPr>
                <p:cNvSpPr/>
                <p:nvPr/>
              </p:nvSpPr>
              <p:spPr>
                <a:xfrm>
                  <a:off x="7900725" y="2838415"/>
                  <a:ext cx="830957" cy="796634"/>
                </a:xfrm>
                <a:custGeom>
                  <a:avLst/>
                  <a:gdLst>
                    <a:gd name="connsiteX0" fmla="*/ 157469 w 830957"/>
                    <a:gd name="connsiteY0" fmla="*/ 124752 h 796634"/>
                    <a:gd name="connsiteX1" fmla="*/ 152028 w 830957"/>
                    <a:gd name="connsiteY1" fmla="*/ 115672 h 796634"/>
                    <a:gd name="connsiteX2" fmla="*/ 134116 w 830957"/>
                    <a:gd name="connsiteY2" fmla="*/ 83840 h 796634"/>
                    <a:gd name="connsiteX3" fmla="*/ 117829 w 830957"/>
                    <a:gd name="connsiteY3" fmla="*/ 77870 h 796634"/>
                    <a:gd name="connsiteX4" fmla="*/ 102955 w 830957"/>
                    <a:gd name="connsiteY4" fmla="*/ 114824 h 796634"/>
                    <a:gd name="connsiteX5" fmla="*/ 127933 w 830957"/>
                    <a:gd name="connsiteY5" fmla="*/ 148952 h 796634"/>
                    <a:gd name="connsiteX6" fmla="*/ 97091 w 830957"/>
                    <a:gd name="connsiteY6" fmla="*/ 171740 h 796634"/>
                    <a:gd name="connsiteX7" fmla="*/ 7036 w 830957"/>
                    <a:gd name="connsiteY7" fmla="*/ 300480 h 796634"/>
                    <a:gd name="connsiteX8" fmla="*/ 3362 w 830957"/>
                    <a:gd name="connsiteY8" fmla="*/ 424945 h 796634"/>
                    <a:gd name="connsiteX9" fmla="*/ 960 w 830957"/>
                    <a:gd name="connsiteY9" fmla="*/ 533547 h 796634"/>
                    <a:gd name="connsiteX10" fmla="*/ 6082 w 830957"/>
                    <a:gd name="connsiteY10" fmla="*/ 600532 h 796634"/>
                    <a:gd name="connsiteX11" fmla="*/ 71265 w 830957"/>
                    <a:gd name="connsiteY11" fmla="*/ 686064 h 796634"/>
                    <a:gd name="connsiteX12" fmla="*/ 126273 w 830957"/>
                    <a:gd name="connsiteY12" fmla="*/ 716624 h 796634"/>
                    <a:gd name="connsiteX13" fmla="*/ 226714 w 830957"/>
                    <a:gd name="connsiteY13" fmla="*/ 761704 h 796634"/>
                    <a:gd name="connsiteX14" fmla="*/ 390536 w 830957"/>
                    <a:gd name="connsiteY14" fmla="*/ 786470 h 796634"/>
                    <a:gd name="connsiteX15" fmla="*/ 485431 w 830957"/>
                    <a:gd name="connsiteY15" fmla="*/ 781842 h 796634"/>
                    <a:gd name="connsiteX16" fmla="*/ 568526 w 830957"/>
                    <a:gd name="connsiteY16" fmla="*/ 786718 h 796634"/>
                    <a:gd name="connsiteX17" fmla="*/ 682392 w 830957"/>
                    <a:gd name="connsiteY17" fmla="*/ 684404 h 796634"/>
                    <a:gd name="connsiteX18" fmla="*/ 720972 w 830957"/>
                    <a:gd name="connsiteY18" fmla="*/ 634448 h 796634"/>
                    <a:gd name="connsiteX19" fmla="*/ 756584 w 830957"/>
                    <a:gd name="connsiteY19" fmla="*/ 606856 h 796634"/>
                    <a:gd name="connsiteX20" fmla="*/ 797142 w 830957"/>
                    <a:gd name="connsiteY20" fmla="*/ 450382 h 796634"/>
                    <a:gd name="connsiteX21" fmla="*/ 802052 w 830957"/>
                    <a:gd name="connsiteY21" fmla="*/ 386966 h 796634"/>
                    <a:gd name="connsiteX22" fmla="*/ 815372 w 830957"/>
                    <a:gd name="connsiteY22" fmla="*/ 355099 h 796634"/>
                    <a:gd name="connsiteX23" fmla="*/ 827914 w 830957"/>
                    <a:gd name="connsiteY23" fmla="*/ 271333 h 796634"/>
                    <a:gd name="connsiteX24" fmla="*/ 730864 w 830957"/>
                    <a:gd name="connsiteY24" fmla="*/ 131429 h 796634"/>
                    <a:gd name="connsiteX25" fmla="*/ 662890 w 830957"/>
                    <a:gd name="connsiteY25" fmla="*/ 70344 h 796634"/>
                    <a:gd name="connsiteX26" fmla="*/ 595870 w 830957"/>
                    <a:gd name="connsiteY26" fmla="*/ 30140 h 796634"/>
                    <a:gd name="connsiteX27" fmla="*/ 529734 w 830957"/>
                    <a:gd name="connsiteY27" fmla="*/ 25617 h 796634"/>
                    <a:gd name="connsiteX28" fmla="*/ 433638 w 830957"/>
                    <a:gd name="connsiteY28" fmla="*/ 8836 h 796634"/>
                    <a:gd name="connsiteX29" fmla="*/ 342171 w 830957"/>
                    <a:gd name="connsiteY29" fmla="*/ 3819 h 796634"/>
                    <a:gd name="connsiteX30" fmla="*/ 245015 w 830957"/>
                    <a:gd name="connsiteY30" fmla="*/ 42152 h 796634"/>
                    <a:gd name="connsiteX31" fmla="*/ 176476 w 830957"/>
                    <a:gd name="connsiteY31" fmla="*/ 102953 h 796634"/>
                    <a:gd name="connsiteX32" fmla="*/ 157469 w 830957"/>
                    <a:gd name="connsiteY32" fmla="*/ 124858 h 79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0957" h="796634">
                      <a:moveTo>
                        <a:pt x="157469" y="124752"/>
                      </a:moveTo>
                      <a:cubicBezTo>
                        <a:pt x="155667" y="121713"/>
                        <a:pt x="153794" y="118710"/>
                        <a:pt x="152028" y="115672"/>
                      </a:cubicBezTo>
                      <a:cubicBezTo>
                        <a:pt x="146022" y="105214"/>
                        <a:pt x="133162" y="99314"/>
                        <a:pt x="134116" y="83840"/>
                      </a:cubicBezTo>
                      <a:cubicBezTo>
                        <a:pt x="134469" y="78117"/>
                        <a:pt x="125001" y="74796"/>
                        <a:pt x="117829" y="77870"/>
                      </a:cubicBezTo>
                      <a:cubicBezTo>
                        <a:pt x="109562" y="81367"/>
                        <a:pt x="99952" y="106027"/>
                        <a:pt x="102955" y="114824"/>
                      </a:cubicBezTo>
                      <a:cubicBezTo>
                        <a:pt x="107725" y="128814"/>
                        <a:pt x="113448" y="142063"/>
                        <a:pt x="127933" y="148952"/>
                      </a:cubicBezTo>
                      <a:cubicBezTo>
                        <a:pt x="117652" y="156583"/>
                        <a:pt x="107548" y="164426"/>
                        <a:pt x="97091" y="171740"/>
                      </a:cubicBezTo>
                      <a:cubicBezTo>
                        <a:pt x="51304" y="203677"/>
                        <a:pt x="20002" y="246320"/>
                        <a:pt x="7036" y="300480"/>
                      </a:cubicBezTo>
                      <a:cubicBezTo>
                        <a:pt x="-2715" y="341285"/>
                        <a:pt x="748" y="383610"/>
                        <a:pt x="3362" y="424945"/>
                      </a:cubicBezTo>
                      <a:cubicBezTo>
                        <a:pt x="5658" y="461440"/>
                        <a:pt x="3963" y="497441"/>
                        <a:pt x="960" y="533547"/>
                      </a:cubicBezTo>
                      <a:cubicBezTo>
                        <a:pt x="-948" y="556335"/>
                        <a:pt x="-383" y="578804"/>
                        <a:pt x="6082" y="600532"/>
                      </a:cubicBezTo>
                      <a:cubicBezTo>
                        <a:pt x="16928" y="636992"/>
                        <a:pt x="43461" y="662358"/>
                        <a:pt x="71265" y="686064"/>
                      </a:cubicBezTo>
                      <a:cubicBezTo>
                        <a:pt x="87375" y="699807"/>
                        <a:pt x="104157" y="714257"/>
                        <a:pt x="126273" y="716624"/>
                      </a:cubicBezTo>
                      <a:cubicBezTo>
                        <a:pt x="164888" y="720722"/>
                        <a:pt x="196720" y="739094"/>
                        <a:pt x="226714" y="761704"/>
                      </a:cubicBezTo>
                      <a:cubicBezTo>
                        <a:pt x="276952" y="799613"/>
                        <a:pt x="332455" y="804665"/>
                        <a:pt x="390536" y="786470"/>
                      </a:cubicBezTo>
                      <a:cubicBezTo>
                        <a:pt x="422262" y="776543"/>
                        <a:pt x="452963" y="773681"/>
                        <a:pt x="485431" y="781842"/>
                      </a:cubicBezTo>
                      <a:cubicBezTo>
                        <a:pt x="512564" y="788661"/>
                        <a:pt x="540686" y="791063"/>
                        <a:pt x="568526" y="786718"/>
                      </a:cubicBezTo>
                      <a:cubicBezTo>
                        <a:pt x="628338" y="777355"/>
                        <a:pt x="664480" y="739871"/>
                        <a:pt x="682392" y="684404"/>
                      </a:cubicBezTo>
                      <a:cubicBezTo>
                        <a:pt x="689564" y="662182"/>
                        <a:pt x="701788" y="646601"/>
                        <a:pt x="720972" y="634448"/>
                      </a:cubicBezTo>
                      <a:cubicBezTo>
                        <a:pt x="733619" y="626428"/>
                        <a:pt x="746550" y="617773"/>
                        <a:pt x="756584" y="606856"/>
                      </a:cubicBezTo>
                      <a:cubicBezTo>
                        <a:pt x="797566" y="562129"/>
                        <a:pt x="815266" y="510831"/>
                        <a:pt x="797142" y="450382"/>
                      </a:cubicBezTo>
                      <a:cubicBezTo>
                        <a:pt x="790676" y="428796"/>
                        <a:pt x="792443" y="407563"/>
                        <a:pt x="802052" y="386966"/>
                      </a:cubicBezTo>
                      <a:cubicBezTo>
                        <a:pt x="806928" y="376544"/>
                        <a:pt x="811592" y="365945"/>
                        <a:pt x="815372" y="355099"/>
                      </a:cubicBezTo>
                      <a:cubicBezTo>
                        <a:pt x="824875" y="328037"/>
                        <a:pt x="836605" y="301080"/>
                        <a:pt x="827914" y="271333"/>
                      </a:cubicBezTo>
                      <a:cubicBezTo>
                        <a:pt x="811097" y="213958"/>
                        <a:pt x="781950" y="165133"/>
                        <a:pt x="730864" y="131429"/>
                      </a:cubicBezTo>
                      <a:cubicBezTo>
                        <a:pt x="705180" y="114506"/>
                        <a:pt x="682851" y="93944"/>
                        <a:pt x="662890" y="70344"/>
                      </a:cubicBezTo>
                      <a:cubicBezTo>
                        <a:pt x="645438" y="49677"/>
                        <a:pt x="623498" y="35510"/>
                        <a:pt x="595870" y="30140"/>
                      </a:cubicBezTo>
                      <a:cubicBezTo>
                        <a:pt x="573860" y="25865"/>
                        <a:pt x="551850" y="25723"/>
                        <a:pt x="529734" y="25617"/>
                      </a:cubicBezTo>
                      <a:cubicBezTo>
                        <a:pt x="496737" y="25476"/>
                        <a:pt x="464799" y="19717"/>
                        <a:pt x="433638" y="8836"/>
                      </a:cubicBezTo>
                      <a:cubicBezTo>
                        <a:pt x="403714" y="-1586"/>
                        <a:pt x="373331" y="-2151"/>
                        <a:pt x="342171" y="3819"/>
                      </a:cubicBezTo>
                      <a:cubicBezTo>
                        <a:pt x="307230" y="10532"/>
                        <a:pt x="275928" y="25511"/>
                        <a:pt x="245015" y="42152"/>
                      </a:cubicBezTo>
                      <a:cubicBezTo>
                        <a:pt x="217316" y="57061"/>
                        <a:pt x="192162" y="74301"/>
                        <a:pt x="176476" y="102953"/>
                      </a:cubicBezTo>
                      <a:cubicBezTo>
                        <a:pt x="171954" y="111256"/>
                        <a:pt x="165983" y="119452"/>
                        <a:pt x="157469" y="12485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1" name="Freeform: Shape 2560">
                  <a:extLst>
                    <a:ext uri="{FF2B5EF4-FFF2-40B4-BE49-F238E27FC236}">
                      <a16:creationId xmlns:a16="http://schemas.microsoft.com/office/drawing/2014/main" id="{797C6507-42BE-69E5-543E-B97DEE44CEF1}"/>
                    </a:ext>
                  </a:extLst>
                </p:cNvPr>
                <p:cNvSpPr/>
                <p:nvPr/>
              </p:nvSpPr>
              <p:spPr>
                <a:xfrm>
                  <a:off x="8495911" y="3534524"/>
                  <a:ext cx="163666" cy="150082"/>
                </a:xfrm>
                <a:custGeom>
                  <a:avLst/>
                  <a:gdLst>
                    <a:gd name="connsiteX0" fmla="*/ 163517 w 163666"/>
                    <a:gd name="connsiteY0" fmla="*/ 30513 h 150082"/>
                    <a:gd name="connsiteX1" fmla="*/ 163517 w 163666"/>
                    <a:gd name="connsiteY1" fmla="*/ 18148 h 150082"/>
                    <a:gd name="connsiteX2" fmla="*/ 155357 w 163666"/>
                    <a:gd name="connsiteY2" fmla="*/ 200 h 150082"/>
                    <a:gd name="connsiteX3" fmla="*/ 144228 w 163666"/>
                    <a:gd name="connsiteY3" fmla="*/ 11788 h 150082"/>
                    <a:gd name="connsiteX4" fmla="*/ 139670 w 163666"/>
                    <a:gd name="connsiteY4" fmla="*/ 19879 h 150082"/>
                    <a:gd name="connsiteX5" fmla="*/ 104553 w 163666"/>
                    <a:gd name="connsiteY5" fmla="*/ 62062 h 150082"/>
                    <a:gd name="connsiteX6" fmla="*/ 74452 w 163666"/>
                    <a:gd name="connsiteY6" fmla="*/ 94035 h 150082"/>
                    <a:gd name="connsiteX7" fmla="*/ 46260 w 163666"/>
                    <a:gd name="connsiteY7" fmla="*/ 120002 h 150082"/>
                    <a:gd name="connsiteX8" fmla="*/ 12379 w 163666"/>
                    <a:gd name="connsiteY8" fmla="*/ 131520 h 150082"/>
                    <a:gd name="connsiteX9" fmla="*/ 190 w 163666"/>
                    <a:gd name="connsiteY9" fmla="*/ 143249 h 150082"/>
                    <a:gd name="connsiteX10" fmla="*/ 15806 w 163666"/>
                    <a:gd name="connsiteY10" fmla="*/ 149820 h 150082"/>
                    <a:gd name="connsiteX11" fmla="*/ 64383 w 163666"/>
                    <a:gd name="connsiteY11" fmla="*/ 144733 h 150082"/>
                    <a:gd name="connsiteX12" fmla="*/ 120345 w 163666"/>
                    <a:gd name="connsiteY12" fmla="*/ 104811 h 150082"/>
                    <a:gd name="connsiteX13" fmla="*/ 137974 w 163666"/>
                    <a:gd name="connsiteY13" fmla="*/ 79020 h 150082"/>
                    <a:gd name="connsiteX14" fmla="*/ 163447 w 163666"/>
                    <a:gd name="connsiteY14" fmla="*/ 30513 h 15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666" h="150082">
                      <a:moveTo>
                        <a:pt x="163517" y="30513"/>
                      </a:moveTo>
                      <a:cubicBezTo>
                        <a:pt x="163517" y="25249"/>
                        <a:pt x="163517" y="21681"/>
                        <a:pt x="163517" y="18148"/>
                      </a:cubicBezTo>
                      <a:cubicBezTo>
                        <a:pt x="163482" y="10835"/>
                        <a:pt x="162352" y="2250"/>
                        <a:pt x="155357" y="200"/>
                      </a:cubicBezTo>
                      <a:cubicBezTo>
                        <a:pt x="149598" y="-1460"/>
                        <a:pt x="147867" y="7620"/>
                        <a:pt x="144228" y="11788"/>
                      </a:cubicBezTo>
                      <a:cubicBezTo>
                        <a:pt x="142249" y="14085"/>
                        <a:pt x="141154" y="17159"/>
                        <a:pt x="139670" y="19879"/>
                      </a:cubicBezTo>
                      <a:cubicBezTo>
                        <a:pt x="130697" y="36272"/>
                        <a:pt x="121617" y="53265"/>
                        <a:pt x="104553" y="62062"/>
                      </a:cubicBezTo>
                      <a:cubicBezTo>
                        <a:pt x="90209" y="69481"/>
                        <a:pt x="80917" y="79762"/>
                        <a:pt x="74452" y="94035"/>
                      </a:cubicBezTo>
                      <a:cubicBezTo>
                        <a:pt x="68835" y="106400"/>
                        <a:pt x="60674" y="116363"/>
                        <a:pt x="46260" y="120002"/>
                      </a:cubicBezTo>
                      <a:cubicBezTo>
                        <a:pt x="34742" y="122935"/>
                        <a:pt x="23472" y="127139"/>
                        <a:pt x="12379" y="131520"/>
                      </a:cubicBezTo>
                      <a:cubicBezTo>
                        <a:pt x="6973" y="133675"/>
                        <a:pt x="-1364" y="135582"/>
                        <a:pt x="190" y="143249"/>
                      </a:cubicBezTo>
                      <a:cubicBezTo>
                        <a:pt x="1674" y="150491"/>
                        <a:pt x="9482" y="150456"/>
                        <a:pt x="15806" y="149820"/>
                      </a:cubicBezTo>
                      <a:cubicBezTo>
                        <a:pt x="32022" y="148195"/>
                        <a:pt x="48167" y="145369"/>
                        <a:pt x="64383" y="144733"/>
                      </a:cubicBezTo>
                      <a:cubicBezTo>
                        <a:pt x="93424" y="143602"/>
                        <a:pt x="111089" y="131802"/>
                        <a:pt x="120345" y="104811"/>
                      </a:cubicBezTo>
                      <a:cubicBezTo>
                        <a:pt x="123878" y="94459"/>
                        <a:pt x="128577" y="84920"/>
                        <a:pt x="137974" y="79020"/>
                      </a:cubicBezTo>
                      <a:cubicBezTo>
                        <a:pt x="156664" y="67255"/>
                        <a:pt x="165178" y="50686"/>
                        <a:pt x="163447" y="3051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2" name="Freeform: Shape 2561">
                  <a:extLst>
                    <a:ext uri="{FF2B5EF4-FFF2-40B4-BE49-F238E27FC236}">
                      <a16:creationId xmlns:a16="http://schemas.microsoft.com/office/drawing/2014/main" id="{264D8DDE-A1DF-B5D9-3069-E18084DFEF35}"/>
                    </a:ext>
                  </a:extLst>
                </p:cNvPr>
                <p:cNvSpPr/>
                <p:nvPr/>
              </p:nvSpPr>
              <p:spPr>
                <a:xfrm>
                  <a:off x="8197126" y="2618916"/>
                  <a:ext cx="259017" cy="180003"/>
                </a:xfrm>
                <a:custGeom>
                  <a:avLst/>
                  <a:gdLst>
                    <a:gd name="connsiteX0" fmla="*/ 259018 w 259017"/>
                    <a:gd name="connsiteY0" fmla="*/ 60131 h 180003"/>
                    <a:gd name="connsiteX1" fmla="*/ 233439 w 259017"/>
                    <a:gd name="connsiteY1" fmla="*/ 48296 h 180003"/>
                    <a:gd name="connsiteX2" fmla="*/ 184649 w 259017"/>
                    <a:gd name="connsiteY2" fmla="*/ 22682 h 180003"/>
                    <a:gd name="connsiteX3" fmla="*/ 79791 w 259017"/>
                    <a:gd name="connsiteY3" fmla="*/ 8480 h 180003"/>
                    <a:gd name="connsiteX4" fmla="*/ 28423 w 259017"/>
                    <a:gd name="connsiteY4" fmla="*/ 100866 h 180003"/>
                    <a:gd name="connsiteX5" fmla="*/ 11182 w 259017"/>
                    <a:gd name="connsiteY5" fmla="*/ 158206 h 180003"/>
                    <a:gd name="connsiteX6" fmla="*/ 124 w 259017"/>
                    <a:gd name="connsiteY6" fmla="*/ 180004 h 180003"/>
                    <a:gd name="connsiteX7" fmla="*/ 41354 w 259017"/>
                    <a:gd name="connsiteY7" fmla="*/ 112065 h 180003"/>
                    <a:gd name="connsiteX8" fmla="*/ 41777 w 259017"/>
                    <a:gd name="connsiteY8" fmla="*/ 77478 h 180003"/>
                    <a:gd name="connsiteX9" fmla="*/ 50327 w 259017"/>
                    <a:gd name="connsiteY9" fmla="*/ 48614 h 180003"/>
                    <a:gd name="connsiteX10" fmla="*/ 129818 w 259017"/>
                    <a:gd name="connsiteY10" fmla="*/ 17877 h 180003"/>
                    <a:gd name="connsiteX11" fmla="*/ 173768 w 259017"/>
                    <a:gd name="connsiteY11" fmla="*/ 59637 h 180003"/>
                    <a:gd name="connsiteX12" fmla="*/ 194577 w 259017"/>
                    <a:gd name="connsiteY12" fmla="*/ 83555 h 180003"/>
                    <a:gd name="connsiteX13" fmla="*/ 242766 w 259017"/>
                    <a:gd name="connsiteY13" fmla="*/ 90621 h 180003"/>
                    <a:gd name="connsiteX14" fmla="*/ 258488 w 259017"/>
                    <a:gd name="connsiteY14" fmla="*/ 85992 h 180003"/>
                    <a:gd name="connsiteX15" fmla="*/ 242342 w 259017"/>
                    <a:gd name="connsiteY15" fmla="*/ 80481 h 180003"/>
                    <a:gd name="connsiteX16" fmla="*/ 198215 w 259017"/>
                    <a:gd name="connsiteY16" fmla="*/ 70624 h 180003"/>
                    <a:gd name="connsiteX17" fmla="*/ 259018 w 259017"/>
                    <a:gd name="connsiteY17" fmla="*/ 60061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017" h="180003">
                      <a:moveTo>
                        <a:pt x="259018" y="60131"/>
                      </a:moveTo>
                      <a:cubicBezTo>
                        <a:pt x="251245" y="53030"/>
                        <a:pt x="242236" y="50663"/>
                        <a:pt x="233439" y="48296"/>
                      </a:cubicBezTo>
                      <a:cubicBezTo>
                        <a:pt x="215209" y="43385"/>
                        <a:pt x="199099" y="35012"/>
                        <a:pt x="184649" y="22682"/>
                      </a:cubicBezTo>
                      <a:cubicBezTo>
                        <a:pt x="152923" y="-4345"/>
                        <a:pt x="115686" y="-4698"/>
                        <a:pt x="79791" y="8480"/>
                      </a:cubicBezTo>
                      <a:cubicBezTo>
                        <a:pt x="38598" y="23636"/>
                        <a:pt x="21816" y="56174"/>
                        <a:pt x="28423" y="100866"/>
                      </a:cubicBezTo>
                      <a:cubicBezTo>
                        <a:pt x="31779" y="123654"/>
                        <a:pt x="24784" y="141248"/>
                        <a:pt x="11182" y="158206"/>
                      </a:cubicBezTo>
                      <a:cubicBezTo>
                        <a:pt x="6731" y="163788"/>
                        <a:pt x="-1077" y="168274"/>
                        <a:pt x="124" y="180004"/>
                      </a:cubicBezTo>
                      <a:cubicBezTo>
                        <a:pt x="23689" y="161527"/>
                        <a:pt x="39163" y="140753"/>
                        <a:pt x="41354" y="112065"/>
                      </a:cubicBezTo>
                      <a:cubicBezTo>
                        <a:pt x="42237" y="100583"/>
                        <a:pt x="41424" y="89031"/>
                        <a:pt x="41777" y="77478"/>
                      </a:cubicBezTo>
                      <a:cubicBezTo>
                        <a:pt x="42095" y="67197"/>
                        <a:pt x="44497" y="57482"/>
                        <a:pt x="50327" y="48614"/>
                      </a:cubicBezTo>
                      <a:cubicBezTo>
                        <a:pt x="65978" y="24837"/>
                        <a:pt x="100777" y="10918"/>
                        <a:pt x="129818" y="17877"/>
                      </a:cubicBezTo>
                      <a:cubicBezTo>
                        <a:pt x="152287" y="23248"/>
                        <a:pt x="169599" y="34447"/>
                        <a:pt x="173768" y="59637"/>
                      </a:cubicBezTo>
                      <a:cubicBezTo>
                        <a:pt x="175746" y="71543"/>
                        <a:pt x="183519" y="79103"/>
                        <a:pt x="194577" y="83555"/>
                      </a:cubicBezTo>
                      <a:cubicBezTo>
                        <a:pt x="210086" y="89773"/>
                        <a:pt x="226444" y="90444"/>
                        <a:pt x="242766" y="90621"/>
                      </a:cubicBezTo>
                      <a:cubicBezTo>
                        <a:pt x="248383" y="90691"/>
                        <a:pt x="258452" y="93588"/>
                        <a:pt x="258488" y="85992"/>
                      </a:cubicBezTo>
                      <a:cubicBezTo>
                        <a:pt x="258523" y="76701"/>
                        <a:pt x="248136" y="80658"/>
                        <a:pt x="242342" y="80481"/>
                      </a:cubicBezTo>
                      <a:cubicBezTo>
                        <a:pt x="227044" y="80022"/>
                        <a:pt x="211888" y="79845"/>
                        <a:pt x="198215" y="70624"/>
                      </a:cubicBezTo>
                      <a:cubicBezTo>
                        <a:pt x="218636" y="69246"/>
                        <a:pt x="239374" y="70589"/>
                        <a:pt x="259018" y="6006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3" name="Freeform: Shape 2562">
                  <a:extLst>
                    <a:ext uri="{FF2B5EF4-FFF2-40B4-BE49-F238E27FC236}">
                      <a16:creationId xmlns:a16="http://schemas.microsoft.com/office/drawing/2014/main" id="{7FF2C76D-7137-5FD3-9583-ADBCFAFEB8E9}"/>
                    </a:ext>
                  </a:extLst>
                </p:cNvPr>
                <p:cNvSpPr/>
                <p:nvPr/>
              </p:nvSpPr>
              <p:spPr>
                <a:xfrm>
                  <a:off x="8004775" y="2808059"/>
                  <a:ext cx="90687" cy="64306"/>
                </a:xfrm>
                <a:custGeom>
                  <a:avLst/>
                  <a:gdLst>
                    <a:gd name="connsiteX0" fmla="*/ 22647 w 90687"/>
                    <a:gd name="connsiteY0" fmla="*/ 64276 h 64306"/>
                    <a:gd name="connsiteX1" fmla="*/ 71931 w 90687"/>
                    <a:gd name="connsiteY1" fmla="*/ 57245 h 64306"/>
                    <a:gd name="connsiteX2" fmla="*/ 84332 w 90687"/>
                    <a:gd name="connsiteY2" fmla="*/ 39192 h 64306"/>
                    <a:gd name="connsiteX3" fmla="*/ 87794 w 90687"/>
                    <a:gd name="connsiteY3" fmla="*/ 19478 h 64306"/>
                    <a:gd name="connsiteX4" fmla="*/ 88112 w 90687"/>
                    <a:gd name="connsiteY4" fmla="*/ 3297 h 64306"/>
                    <a:gd name="connsiteX5" fmla="*/ 73627 w 90687"/>
                    <a:gd name="connsiteY5" fmla="*/ 3015 h 64306"/>
                    <a:gd name="connsiteX6" fmla="*/ 15475 w 90687"/>
                    <a:gd name="connsiteY6" fmla="*/ 27851 h 64306"/>
                    <a:gd name="connsiteX7" fmla="*/ 495 w 90687"/>
                    <a:gd name="connsiteY7" fmla="*/ 50391 h 64306"/>
                    <a:gd name="connsiteX8" fmla="*/ 22682 w 90687"/>
                    <a:gd name="connsiteY8" fmla="*/ 64276 h 6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687" h="64306">
                      <a:moveTo>
                        <a:pt x="22647" y="64276"/>
                      </a:moveTo>
                      <a:cubicBezTo>
                        <a:pt x="39711" y="61873"/>
                        <a:pt x="55856" y="59789"/>
                        <a:pt x="71931" y="57245"/>
                      </a:cubicBezTo>
                      <a:cubicBezTo>
                        <a:pt x="82106" y="55655"/>
                        <a:pt x="87088" y="48978"/>
                        <a:pt x="84332" y="39192"/>
                      </a:cubicBezTo>
                      <a:cubicBezTo>
                        <a:pt x="82177" y="31490"/>
                        <a:pt x="83307" y="25696"/>
                        <a:pt x="87794" y="19478"/>
                      </a:cubicBezTo>
                      <a:cubicBezTo>
                        <a:pt x="91433" y="14461"/>
                        <a:pt x="91751" y="8243"/>
                        <a:pt x="88112" y="3297"/>
                      </a:cubicBezTo>
                      <a:cubicBezTo>
                        <a:pt x="84014" y="-2250"/>
                        <a:pt x="77761" y="294"/>
                        <a:pt x="73627" y="3015"/>
                      </a:cubicBezTo>
                      <a:cubicBezTo>
                        <a:pt x="55680" y="14920"/>
                        <a:pt x="35613" y="21138"/>
                        <a:pt x="15475" y="27851"/>
                      </a:cubicBezTo>
                      <a:cubicBezTo>
                        <a:pt x="6501" y="30819"/>
                        <a:pt x="-2190" y="39474"/>
                        <a:pt x="495" y="50391"/>
                      </a:cubicBezTo>
                      <a:cubicBezTo>
                        <a:pt x="3039" y="60813"/>
                        <a:pt x="12825" y="64700"/>
                        <a:pt x="22682" y="6427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4" name="Freeform: Shape 2563">
                  <a:extLst>
                    <a:ext uri="{FF2B5EF4-FFF2-40B4-BE49-F238E27FC236}">
                      <a16:creationId xmlns:a16="http://schemas.microsoft.com/office/drawing/2014/main" id="{DAB85046-651D-54A3-5A7A-939222DC4D6A}"/>
                    </a:ext>
                  </a:extLst>
                </p:cNvPr>
                <p:cNvSpPr/>
                <p:nvPr/>
              </p:nvSpPr>
              <p:spPr>
                <a:xfrm>
                  <a:off x="7860694" y="2711784"/>
                  <a:ext cx="83657" cy="93306"/>
                </a:xfrm>
                <a:custGeom>
                  <a:avLst/>
                  <a:gdLst>
                    <a:gd name="connsiteX0" fmla="*/ 8 w 83657"/>
                    <a:gd name="connsiteY0" fmla="*/ 65373 h 93306"/>
                    <a:gd name="connsiteX1" fmla="*/ 8134 w 83657"/>
                    <a:gd name="connsiteY1" fmla="*/ 84698 h 93306"/>
                    <a:gd name="connsiteX2" fmla="*/ 23325 w 83657"/>
                    <a:gd name="connsiteY2" fmla="*/ 84451 h 93306"/>
                    <a:gd name="connsiteX3" fmla="*/ 73917 w 83657"/>
                    <a:gd name="connsiteY3" fmla="*/ 15630 h 93306"/>
                    <a:gd name="connsiteX4" fmla="*/ 82820 w 83657"/>
                    <a:gd name="connsiteY4" fmla="*/ 3017 h 93306"/>
                    <a:gd name="connsiteX5" fmla="*/ 63142 w 83657"/>
                    <a:gd name="connsiteY5" fmla="*/ 2734 h 93306"/>
                    <a:gd name="connsiteX6" fmla="*/ 58513 w 83657"/>
                    <a:gd name="connsiteY6" fmla="*/ 5313 h 93306"/>
                    <a:gd name="connsiteX7" fmla="*/ 20040 w 83657"/>
                    <a:gd name="connsiteY7" fmla="*/ 33259 h 93306"/>
                    <a:gd name="connsiteX8" fmla="*/ 8 w 83657"/>
                    <a:gd name="connsiteY8" fmla="*/ 65373 h 93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657" h="93306">
                      <a:moveTo>
                        <a:pt x="8" y="65373"/>
                      </a:moveTo>
                      <a:cubicBezTo>
                        <a:pt x="-63" y="70531"/>
                        <a:pt x="1280" y="74135"/>
                        <a:pt x="8134" y="84698"/>
                      </a:cubicBezTo>
                      <a:cubicBezTo>
                        <a:pt x="15624" y="96286"/>
                        <a:pt x="16790" y="96145"/>
                        <a:pt x="23325" y="84451"/>
                      </a:cubicBezTo>
                      <a:cubicBezTo>
                        <a:pt x="37281" y="59403"/>
                        <a:pt x="52472" y="35237"/>
                        <a:pt x="73917" y="15630"/>
                      </a:cubicBezTo>
                      <a:cubicBezTo>
                        <a:pt x="77803" y="12061"/>
                        <a:pt x="86353" y="7504"/>
                        <a:pt x="82820" y="3017"/>
                      </a:cubicBezTo>
                      <a:cubicBezTo>
                        <a:pt x="78899" y="-1964"/>
                        <a:pt x="69854" y="155"/>
                        <a:pt x="63142" y="2734"/>
                      </a:cubicBezTo>
                      <a:cubicBezTo>
                        <a:pt x="61516" y="3370"/>
                        <a:pt x="59962" y="4289"/>
                        <a:pt x="58513" y="5313"/>
                      </a:cubicBezTo>
                      <a:cubicBezTo>
                        <a:pt x="45618" y="14534"/>
                        <a:pt x="32087" y="23049"/>
                        <a:pt x="20040" y="33259"/>
                      </a:cubicBezTo>
                      <a:cubicBezTo>
                        <a:pt x="10925" y="40996"/>
                        <a:pt x="-345" y="48239"/>
                        <a:pt x="8" y="6537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5" name="Freeform: Shape 2564">
                  <a:extLst>
                    <a:ext uri="{FF2B5EF4-FFF2-40B4-BE49-F238E27FC236}">
                      <a16:creationId xmlns:a16="http://schemas.microsoft.com/office/drawing/2014/main" id="{54363709-73EE-25B4-88E2-6A79D64F06D7}"/>
                    </a:ext>
                  </a:extLst>
                </p:cNvPr>
                <p:cNvSpPr/>
                <p:nvPr/>
              </p:nvSpPr>
              <p:spPr>
                <a:xfrm>
                  <a:off x="7857754" y="3069243"/>
                  <a:ext cx="37568" cy="74595"/>
                </a:xfrm>
                <a:custGeom>
                  <a:avLst/>
                  <a:gdLst>
                    <a:gd name="connsiteX0" fmla="*/ 263 w 37568"/>
                    <a:gd name="connsiteY0" fmla="*/ 33333 h 74595"/>
                    <a:gd name="connsiteX1" fmla="*/ 20154 w 37568"/>
                    <a:gd name="connsiteY1" fmla="*/ 71630 h 74595"/>
                    <a:gd name="connsiteX2" fmla="*/ 37041 w 37568"/>
                    <a:gd name="connsiteY2" fmla="*/ 65200 h 74595"/>
                    <a:gd name="connsiteX3" fmla="*/ 36794 w 37568"/>
                    <a:gd name="connsiteY3" fmla="*/ 53329 h 74595"/>
                    <a:gd name="connsiteX4" fmla="*/ 34109 w 37568"/>
                    <a:gd name="connsiteY4" fmla="*/ 16975 h 74595"/>
                    <a:gd name="connsiteX5" fmla="*/ 24676 w 37568"/>
                    <a:gd name="connsiteY5" fmla="*/ 1042 h 74595"/>
                    <a:gd name="connsiteX6" fmla="*/ 7258 w 37568"/>
                    <a:gd name="connsiteY6" fmla="*/ 6977 h 74595"/>
                    <a:gd name="connsiteX7" fmla="*/ 263 w 37568"/>
                    <a:gd name="connsiteY7" fmla="*/ 33297 h 74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68" h="74595">
                      <a:moveTo>
                        <a:pt x="263" y="33333"/>
                      </a:moveTo>
                      <a:cubicBezTo>
                        <a:pt x="-1821" y="50573"/>
                        <a:pt x="8813" y="61490"/>
                        <a:pt x="20154" y="71630"/>
                      </a:cubicBezTo>
                      <a:cubicBezTo>
                        <a:pt x="26831" y="77600"/>
                        <a:pt x="35381" y="74103"/>
                        <a:pt x="37041" y="65200"/>
                      </a:cubicBezTo>
                      <a:cubicBezTo>
                        <a:pt x="37748" y="61384"/>
                        <a:pt x="37818" y="57039"/>
                        <a:pt x="36794" y="53329"/>
                      </a:cubicBezTo>
                      <a:cubicBezTo>
                        <a:pt x="33438" y="41352"/>
                        <a:pt x="30399" y="29800"/>
                        <a:pt x="34109" y="16975"/>
                      </a:cubicBezTo>
                      <a:cubicBezTo>
                        <a:pt x="36016" y="10404"/>
                        <a:pt x="31388" y="3621"/>
                        <a:pt x="24676" y="1042"/>
                      </a:cubicBezTo>
                      <a:cubicBezTo>
                        <a:pt x="17963" y="-1537"/>
                        <a:pt x="11886" y="759"/>
                        <a:pt x="7258" y="6977"/>
                      </a:cubicBezTo>
                      <a:cubicBezTo>
                        <a:pt x="1358" y="14926"/>
                        <a:pt x="-337" y="23723"/>
                        <a:pt x="263" y="3329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6" name="Freeform: Shape 2565">
                  <a:extLst>
                    <a:ext uri="{FF2B5EF4-FFF2-40B4-BE49-F238E27FC236}">
                      <a16:creationId xmlns:a16="http://schemas.microsoft.com/office/drawing/2014/main" id="{54C397AB-14C9-774F-DF71-2DF3178E4BC5}"/>
                    </a:ext>
                  </a:extLst>
                </p:cNvPr>
                <p:cNvSpPr/>
                <p:nvPr/>
              </p:nvSpPr>
              <p:spPr>
                <a:xfrm>
                  <a:off x="7972148" y="2750766"/>
                  <a:ext cx="72183" cy="116198"/>
                </a:xfrm>
                <a:custGeom>
                  <a:avLst/>
                  <a:gdLst>
                    <a:gd name="connsiteX0" fmla="*/ 1149 w 72183"/>
                    <a:gd name="connsiteY0" fmla="*/ 116198 h 116198"/>
                    <a:gd name="connsiteX1" fmla="*/ 8108 w 72183"/>
                    <a:gd name="connsiteY1" fmla="*/ 104645 h 116198"/>
                    <a:gd name="connsiteX2" fmla="*/ 30048 w 72183"/>
                    <a:gd name="connsiteY2" fmla="*/ 51051 h 116198"/>
                    <a:gd name="connsiteX3" fmla="*/ 67744 w 72183"/>
                    <a:gd name="connsiteY3" fmla="*/ 9998 h 116198"/>
                    <a:gd name="connsiteX4" fmla="*/ 70959 w 72183"/>
                    <a:gd name="connsiteY4" fmla="*/ 1272 h 116198"/>
                    <a:gd name="connsiteX5" fmla="*/ 63081 w 72183"/>
                    <a:gd name="connsiteY5" fmla="*/ 3498 h 116198"/>
                    <a:gd name="connsiteX6" fmla="*/ 41318 w 72183"/>
                    <a:gd name="connsiteY6" fmla="*/ 18619 h 116198"/>
                    <a:gd name="connsiteX7" fmla="*/ 1149 w 72183"/>
                    <a:gd name="connsiteY7" fmla="*/ 116198 h 1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83" h="116198">
                      <a:moveTo>
                        <a:pt x="1149" y="116198"/>
                      </a:moveTo>
                      <a:cubicBezTo>
                        <a:pt x="6872" y="112347"/>
                        <a:pt x="7543" y="108602"/>
                        <a:pt x="8108" y="104645"/>
                      </a:cubicBezTo>
                      <a:cubicBezTo>
                        <a:pt x="10864" y="84932"/>
                        <a:pt x="19273" y="67550"/>
                        <a:pt x="30048" y="51051"/>
                      </a:cubicBezTo>
                      <a:cubicBezTo>
                        <a:pt x="40399" y="35259"/>
                        <a:pt x="54814" y="23353"/>
                        <a:pt x="67744" y="9998"/>
                      </a:cubicBezTo>
                      <a:cubicBezTo>
                        <a:pt x="70041" y="7631"/>
                        <a:pt x="74280" y="5052"/>
                        <a:pt x="70959" y="1272"/>
                      </a:cubicBezTo>
                      <a:cubicBezTo>
                        <a:pt x="68027" y="-2049"/>
                        <a:pt x="65377" y="2014"/>
                        <a:pt x="63081" y="3498"/>
                      </a:cubicBezTo>
                      <a:cubicBezTo>
                        <a:pt x="55662" y="8338"/>
                        <a:pt x="47925" y="12825"/>
                        <a:pt x="41318" y="18619"/>
                      </a:cubicBezTo>
                      <a:cubicBezTo>
                        <a:pt x="12595" y="43844"/>
                        <a:pt x="-4751" y="74050"/>
                        <a:pt x="1149" y="11619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7" name="Freeform: Shape 2566">
                  <a:extLst>
                    <a:ext uri="{FF2B5EF4-FFF2-40B4-BE49-F238E27FC236}">
                      <a16:creationId xmlns:a16="http://schemas.microsoft.com/office/drawing/2014/main" id="{72BAC83B-F296-D71E-9300-1E0BAE634A6E}"/>
                    </a:ext>
                  </a:extLst>
                </p:cNvPr>
                <p:cNvSpPr/>
                <p:nvPr/>
              </p:nvSpPr>
              <p:spPr>
                <a:xfrm>
                  <a:off x="7924574" y="2758020"/>
                  <a:ext cx="47041" cy="57695"/>
                </a:xfrm>
                <a:custGeom>
                  <a:avLst/>
                  <a:gdLst>
                    <a:gd name="connsiteX0" fmla="*/ 74 w 47041"/>
                    <a:gd name="connsiteY0" fmla="*/ 42631 h 57695"/>
                    <a:gd name="connsiteX1" fmla="*/ 11309 w 47041"/>
                    <a:gd name="connsiteY1" fmla="*/ 57010 h 57695"/>
                    <a:gd name="connsiteX2" fmla="*/ 28373 w 47041"/>
                    <a:gd name="connsiteY2" fmla="*/ 48036 h 57695"/>
                    <a:gd name="connsiteX3" fmla="*/ 45225 w 47041"/>
                    <a:gd name="connsiteY3" fmla="*/ 14898 h 57695"/>
                    <a:gd name="connsiteX4" fmla="*/ 44342 w 47041"/>
                    <a:gd name="connsiteY4" fmla="*/ 2497 h 57695"/>
                    <a:gd name="connsiteX5" fmla="*/ 37417 w 47041"/>
                    <a:gd name="connsiteY5" fmla="*/ 271 h 57695"/>
                    <a:gd name="connsiteX6" fmla="*/ 74 w 47041"/>
                    <a:gd name="connsiteY6" fmla="*/ 42666 h 5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41" h="57695">
                      <a:moveTo>
                        <a:pt x="74" y="42631"/>
                      </a:moveTo>
                      <a:cubicBezTo>
                        <a:pt x="-703" y="50934"/>
                        <a:pt x="4738" y="54961"/>
                        <a:pt x="11309" y="57010"/>
                      </a:cubicBezTo>
                      <a:cubicBezTo>
                        <a:pt x="19435" y="59554"/>
                        <a:pt x="26430" y="54678"/>
                        <a:pt x="28373" y="48036"/>
                      </a:cubicBezTo>
                      <a:cubicBezTo>
                        <a:pt x="31977" y="35707"/>
                        <a:pt x="35934" y="24225"/>
                        <a:pt x="45225" y="14898"/>
                      </a:cubicBezTo>
                      <a:cubicBezTo>
                        <a:pt x="49005" y="11082"/>
                        <a:pt x="45967" y="6454"/>
                        <a:pt x="44342" y="2497"/>
                      </a:cubicBezTo>
                      <a:cubicBezTo>
                        <a:pt x="43070" y="-541"/>
                        <a:pt x="40067" y="-117"/>
                        <a:pt x="37417" y="271"/>
                      </a:cubicBezTo>
                      <a:cubicBezTo>
                        <a:pt x="28196" y="1614"/>
                        <a:pt x="604" y="32986"/>
                        <a:pt x="74" y="4266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8" name="Freeform: Shape 2567">
                  <a:extLst>
                    <a:ext uri="{FF2B5EF4-FFF2-40B4-BE49-F238E27FC236}">
                      <a16:creationId xmlns:a16="http://schemas.microsoft.com/office/drawing/2014/main" id="{63910124-FA6B-C26E-FCB6-C0D14917CCD9}"/>
                    </a:ext>
                  </a:extLst>
                </p:cNvPr>
                <p:cNvSpPr/>
                <p:nvPr/>
              </p:nvSpPr>
              <p:spPr>
                <a:xfrm>
                  <a:off x="8312479" y="2699717"/>
                  <a:ext cx="54458" cy="29098"/>
                </a:xfrm>
                <a:custGeom>
                  <a:avLst/>
                  <a:gdLst>
                    <a:gd name="connsiteX0" fmla="*/ 15736 w 54458"/>
                    <a:gd name="connsiteY0" fmla="*/ 29075 h 29098"/>
                    <a:gd name="connsiteX1" fmla="*/ 53009 w 54458"/>
                    <a:gd name="connsiteY1" fmla="*/ 9714 h 29098"/>
                    <a:gd name="connsiteX2" fmla="*/ 52903 w 54458"/>
                    <a:gd name="connsiteY2" fmla="*/ 1094 h 29098"/>
                    <a:gd name="connsiteX3" fmla="*/ 45237 w 54458"/>
                    <a:gd name="connsiteY3" fmla="*/ 3744 h 29098"/>
                    <a:gd name="connsiteX4" fmla="*/ 15454 w 54458"/>
                    <a:gd name="connsiteY4" fmla="*/ 17557 h 29098"/>
                    <a:gd name="connsiteX5" fmla="*/ 15 w 54458"/>
                    <a:gd name="connsiteY5" fmla="*/ 23811 h 29098"/>
                    <a:gd name="connsiteX6" fmla="*/ 15701 w 54458"/>
                    <a:gd name="connsiteY6" fmla="*/ 29075 h 2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58" h="29098">
                      <a:moveTo>
                        <a:pt x="15736" y="29075"/>
                      </a:moveTo>
                      <a:cubicBezTo>
                        <a:pt x="33719" y="29110"/>
                        <a:pt x="48593" y="21161"/>
                        <a:pt x="53009" y="9714"/>
                      </a:cubicBezTo>
                      <a:cubicBezTo>
                        <a:pt x="54139" y="6782"/>
                        <a:pt x="55659" y="3496"/>
                        <a:pt x="52903" y="1094"/>
                      </a:cubicBezTo>
                      <a:cubicBezTo>
                        <a:pt x="49512" y="-1874"/>
                        <a:pt x="47462" y="1942"/>
                        <a:pt x="45237" y="3744"/>
                      </a:cubicBezTo>
                      <a:cubicBezTo>
                        <a:pt x="36475" y="10880"/>
                        <a:pt x="26300" y="14943"/>
                        <a:pt x="15454" y="17557"/>
                      </a:cubicBezTo>
                      <a:cubicBezTo>
                        <a:pt x="9695" y="18935"/>
                        <a:pt x="-444" y="17981"/>
                        <a:pt x="15" y="23811"/>
                      </a:cubicBezTo>
                      <a:cubicBezTo>
                        <a:pt x="686" y="32290"/>
                        <a:pt x="10755" y="27662"/>
                        <a:pt x="15701" y="2907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9" name="Freeform: Shape 2568">
                  <a:extLst>
                    <a:ext uri="{FF2B5EF4-FFF2-40B4-BE49-F238E27FC236}">
                      <a16:creationId xmlns:a16="http://schemas.microsoft.com/office/drawing/2014/main" id="{55D5EC94-E8AE-E573-7F40-424F4572FBA6}"/>
                    </a:ext>
                  </a:extLst>
                </p:cNvPr>
                <p:cNvSpPr/>
                <p:nvPr/>
              </p:nvSpPr>
              <p:spPr>
                <a:xfrm>
                  <a:off x="8108457" y="2800595"/>
                  <a:ext cx="15554" cy="15497"/>
                </a:xfrm>
                <a:custGeom>
                  <a:avLst/>
                  <a:gdLst>
                    <a:gd name="connsiteX0" fmla="*/ 15555 w 15554"/>
                    <a:gd name="connsiteY0" fmla="*/ 7475 h 15497"/>
                    <a:gd name="connsiteX1" fmla="*/ 6723 w 15554"/>
                    <a:gd name="connsiteY1" fmla="*/ 56 h 15497"/>
                    <a:gd name="connsiteX2" fmla="*/ 10 w 15554"/>
                    <a:gd name="connsiteY2" fmla="*/ 8111 h 15497"/>
                    <a:gd name="connsiteX3" fmla="*/ 7429 w 15554"/>
                    <a:gd name="connsiteY3" fmla="*/ 15495 h 15497"/>
                    <a:gd name="connsiteX4" fmla="*/ 15555 w 15554"/>
                    <a:gd name="connsiteY4" fmla="*/ 7475 h 15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4" h="15497">
                      <a:moveTo>
                        <a:pt x="15555" y="7475"/>
                      </a:moveTo>
                      <a:cubicBezTo>
                        <a:pt x="15060" y="1964"/>
                        <a:pt x="11881" y="-403"/>
                        <a:pt x="6723" y="56"/>
                      </a:cubicBezTo>
                      <a:cubicBezTo>
                        <a:pt x="2023" y="480"/>
                        <a:pt x="-167" y="3518"/>
                        <a:pt x="10" y="8111"/>
                      </a:cubicBezTo>
                      <a:cubicBezTo>
                        <a:pt x="187" y="12810"/>
                        <a:pt x="2766" y="15389"/>
                        <a:pt x="7429" y="15495"/>
                      </a:cubicBezTo>
                      <a:cubicBezTo>
                        <a:pt x="12799" y="15601"/>
                        <a:pt x="15413" y="12704"/>
                        <a:pt x="15555" y="747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0" name="Freeform: Shape 2569">
                  <a:extLst>
                    <a:ext uri="{FF2B5EF4-FFF2-40B4-BE49-F238E27FC236}">
                      <a16:creationId xmlns:a16="http://schemas.microsoft.com/office/drawing/2014/main" id="{94EB23EC-9090-A848-E8CF-F89384D7C8B0}"/>
                    </a:ext>
                  </a:extLst>
                </p:cNvPr>
                <p:cNvSpPr/>
                <p:nvPr/>
              </p:nvSpPr>
              <p:spPr>
                <a:xfrm>
                  <a:off x="7895344" y="3091163"/>
                  <a:ext cx="14960" cy="15016"/>
                </a:xfrm>
                <a:custGeom>
                  <a:avLst/>
                  <a:gdLst>
                    <a:gd name="connsiteX0" fmla="*/ 14961 w 14960"/>
                    <a:gd name="connsiteY0" fmla="*/ 7915 h 15016"/>
                    <a:gd name="connsiteX1" fmla="*/ 7400 w 14960"/>
                    <a:gd name="connsiteY1" fmla="*/ 108 h 15016"/>
                    <a:gd name="connsiteX2" fmla="*/ 16 w 14960"/>
                    <a:gd name="connsiteY2" fmla="*/ 7067 h 15016"/>
                    <a:gd name="connsiteX3" fmla="*/ 6482 w 14960"/>
                    <a:gd name="connsiteY3" fmla="*/ 15017 h 15016"/>
                    <a:gd name="connsiteX4" fmla="*/ 14925 w 14960"/>
                    <a:gd name="connsiteY4" fmla="*/ 7915 h 15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60" h="15016">
                      <a:moveTo>
                        <a:pt x="14961" y="7915"/>
                      </a:moveTo>
                      <a:cubicBezTo>
                        <a:pt x="14183" y="3641"/>
                        <a:pt x="11498" y="743"/>
                        <a:pt x="7400" y="108"/>
                      </a:cubicBezTo>
                      <a:cubicBezTo>
                        <a:pt x="2560" y="-634"/>
                        <a:pt x="264" y="2545"/>
                        <a:pt x="16" y="7067"/>
                      </a:cubicBezTo>
                      <a:cubicBezTo>
                        <a:pt x="-196" y="11519"/>
                        <a:pt x="1642" y="14981"/>
                        <a:pt x="6482" y="15017"/>
                      </a:cubicBezTo>
                      <a:cubicBezTo>
                        <a:pt x="10827" y="15017"/>
                        <a:pt x="13300" y="11837"/>
                        <a:pt x="14925" y="791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1" name="Freeform: Shape 2570">
                  <a:extLst>
                    <a:ext uri="{FF2B5EF4-FFF2-40B4-BE49-F238E27FC236}">
                      <a16:creationId xmlns:a16="http://schemas.microsoft.com/office/drawing/2014/main" id="{6D27ADCF-52D6-239D-2197-F749A376F861}"/>
                    </a:ext>
                  </a:extLst>
                </p:cNvPr>
                <p:cNvSpPr/>
                <p:nvPr/>
              </p:nvSpPr>
              <p:spPr>
                <a:xfrm>
                  <a:off x="7994628" y="2534990"/>
                  <a:ext cx="215027" cy="108815"/>
                </a:xfrm>
                <a:custGeom>
                  <a:avLst/>
                  <a:gdLst>
                    <a:gd name="connsiteX0" fmla="*/ 44523 w 215027"/>
                    <a:gd name="connsiteY0" fmla="*/ 108516 h 108815"/>
                    <a:gd name="connsiteX1" fmla="*/ 5555 w 215027"/>
                    <a:gd name="connsiteY1" fmla="*/ 97917 h 108815"/>
                    <a:gd name="connsiteX2" fmla="*/ 2022 w 215027"/>
                    <a:gd name="connsiteY2" fmla="*/ 84033 h 108815"/>
                    <a:gd name="connsiteX3" fmla="*/ 129385 w 215027"/>
                    <a:gd name="connsiteY3" fmla="*/ 1963 h 108815"/>
                    <a:gd name="connsiteX4" fmla="*/ 205873 w 215027"/>
                    <a:gd name="connsiteY4" fmla="*/ 4224 h 108815"/>
                    <a:gd name="connsiteX5" fmla="*/ 211101 w 215027"/>
                    <a:gd name="connsiteY5" fmla="*/ 18143 h 108815"/>
                    <a:gd name="connsiteX6" fmla="*/ 151748 w 215027"/>
                    <a:gd name="connsiteY6" fmla="*/ 70466 h 108815"/>
                    <a:gd name="connsiteX7" fmla="*/ 65615 w 215027"/>
                    <a:gd name="connsiteY7" fmla="*/ 107385 h 108815"/>
                    <a:gd name="connsiteX8" fmla="*/ 44488 w 215027"/>
                    <a:gd name="connsiteY8" fmla="*/ 108551 h 10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027" h="108815">
                      <a:moveTo>
                        <a:pt x="44523" y="108516"/>
                      </a:moveTo>
                      <a:cubicBezTo>
                        <a:pt x="30109" y="110070"/>
                        <a:pt x="17532" y="105442"/>
                        <a:pt x="5555" y="97917"/>
                      </a:cubicBezTo>
                      <a:cubicBezTo>
                        <a:pt x="-522" y="94102"/>
                        <a:pt x="-1476" y="90745"/>
                        <a:pt x="2022" y="84033"/>
                      </a:cubicBezTo>
                      <a:cubicBezTo>
                        <a:pt x="28943" y="32381"/>
                        <a:pt x="74306" y="10053"/>
                        <a:pt x="129385" y="1963"/>
                      </a:cubicBezTo>
                      <a:cubicBezTo>
                        <a:pt x="155175" y="-1818"/>
                        <a:pt x="180400" y="373"/>
                        <a:pt x="205873" y="4224"/>
                      </a:cubicBezTo>
                      <a:cubicBezTo>
                        <a:pt x="217884" y="6061"/>
                        <a:pt x="216330" y="10866"/>
                        <a:pt x="211101" y="18143"/>
                      </a:cubicBezTo>
                      <a:cubicBezTo>
                        <a:pt x="195309" y="40118"/>
                        <a:pt x="174677" y="56829"/>
                        <a:pt x="151748" y="70466"/>
                      </a:cubicBezTo>
                      <a:cubicBezTo>
                        <a:pt x="124756" y="86470"/>
                        <a:pt x="97376" y="101980"/>
                        <a:pt x="65615" y="107385"/>
                      </a:cubicBezTo>
                      <a:cubicBezTo>
                        <a:pt x="58514" y="108587"/>
                        <a:pt x="51483" y="108057"/>
                        <a:pt x="44488" y="10855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2" name="Freeform: Shape 2571">
                  <a:extLst>
                    <a:ext uri="{FF2B5EF4-FFF2-40B4-BE49-F238E27FC236}">
                      <a16:creationId xmlns:a16="http://schemas.microsoft.com/office/drawing/2014/main" id="{CC791E53-10D1-6D1F-970D-F13FBEAF95ED}"/>
                    </a:ext>
                  </a:extLst>
                </p:cNvPr>
                <p:cNvSpPr/>
                <p:nvPr/>
              </p:nvSpPr>
              <p:spPr>
                <a:xfrm>
                  <a:off x="8347683" y="3758665"/>
                  <a:ext cx="251152" cy="107615"/>
                </a:xfrm>
                <a:custGeom>
                  <a:avLst/>
                  <a:gdLst>
                    <a:gd name="connsiteX0" fmla="*/ 50556 w 251152"/>
                    <a:gd name="connsiteY0" fmla="*/ 106954 h 107615"/>
                    <a:gd name="connsiteX1" fmla="*/ 14661 w 251152"/>
                    <a:gd name="connsiteY1" fmla="*/ 100913 h 107615"/>
                    <a:gd name="connsiteX2" fmla="*/ 529 w 251152"/>
                    <a:gd name="connsiteY2" fmla="*/ 81376 h 107615"/>
                    <a:gd name="connsiteX3" fmla="*/ 20313 w 251152"/>
                    <a:gd name="connsiteY3" fmla="*/ 66714 h 107615"/>
                    <a:gd name="connsiteX4" fmla="*/ 108284 w 251152"/>
                    <a:gd name="connsiteY4" fmla="*/ 56504 h 107615"/>
                    <a:gd name="connsiteX5" fmla="*/ 151739 w 251152"/>
                    <a:gd name="connsiteY5" fmla="*/ 29053 h 107615"/>
                    <a:gd name="connsiteX6" fmla="*/ 211021 w 251152"/>
                    <a:gd name="connsiteY6" fmla="*/ 3015 h 107615"/>
                    <a:gd name="connsiteX7" fmla="*/ 228121 w 251152"/>
                    <a:gd name="connsiteY7" fmla="*/ 1249 h 107615"/>
                    <a:gd name="connsiteX8" fmla="*/ 248930 w 251152"/>
                    <a:gd name="connsiteY8" fmla="*/ 8279 h 107615"/>
                    <a:gd name="connsiteX9" fmla="*/ 244054 w 251152"/>
                    <a:gd name="connsiteY9" fmla="*/ 29760 h 107615"/>
                    <a:gd name="connsiteX10" fmla="*/ 224977 w 251152"/>
                    <a:gd name="connsiteY10" fmla="*/ 43927 h 107615"/>
                    <a:gd name="connsiteX11" fmla="*/ 102772 w 251152"/>
                    <a:gd name="connsiteY11" fmla="*/ 98193 h 107615"/>
                    <a:gd name="connsiteX12" fmla="*/ 50556 w 251152"/>
                    <a:gd name="connsiteY12" fmla="*/ 106954 h 107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152" h="107615">
                      <a:moveTo>
                        <a:pt x="50556" y="106954"/>
                      </a:moveTo>
                      <a:cubicBezTo>
                        <a:pt x="38120" y="109145"/>
                        <a:pt x="26214" y="105576"/>
                        <a:pt x="14661" y="100913"/>
                      </a:cubicBezTo>
                      <a:cubicBezTo>
                        <a:pt x="6041" y="97451"/>
                        <a:pt x="-2191" y="92045"/>
                        <a:pt x="529" y="81376"/>
                      </a:cubicBezTo>
                      <a:cubicBezTo>
                        <a:pt x="2861" y="72296"/>
                        <a:pt x="10563" y="67845"/>
                        <a:pt x="20313" y="66714"/>
                      </a:cubicBezTo>
                      <a:cubicBezTo>
                        <a:pt x="49637" y="63287"/>
                        <a:pt x="79419" y="64276"/>
                        <a:pt x="108284" y="56504"/>
                      </a:cubicBezTo>
                      <a:cubicBezTo>
                        <a:pt x="125807" y="51805"/>
                        <a:pt x="141458" y="45552"/>
                        <a:pt x="151739" y="29053"/>
                      </a:cubicBezTo>
                      <a:cubicBezTo>
                        <a:pt x="165341" y="7255"/>
                        <a:pt x="187987" y="4252"/>
                        <a:pt x="211021" y="3015"/>
                      </a:cubicBezTo>
                      <a:cubicBezTo>
                        <a:pt x="216744" y="2697"/>
                        <a:pt x="222398" y="3157"/>
                        <a:pt x="228121" y="1249"/>
                      </a:cubicBezTo>
                      <a:cubicBezTo>
                        <a:pt x="236494" y="-1542"/>
                        <a:pt x="244266" y="154"/>
                        <a:pt x="248930" y="8279"/>
                      </a:cubicBezTo>
                      <a:cubicBezTo>
                        <a:pt x="253664" y="16582"/>
                        <a:pt x="250272" y="24036"/>
                        <a:pt x="244054" y="29760"/>
                      </a:cubicBezTo>
                      <a:cubicBezTo>
                        <a:pt x="238260" y="35130"/>
                        <a:pt x="232042" y="40676"/>
                        <a:pt x="224977" y="43927"/>
                      </a:cubicBezTo>
                      <a:cubicBezTo>
                        <a:pt x="184454" y="62510"/>
                        <a:pt x="143895" y="81058"/>
                        <a:pt x="102772" y="98193"/>
                      </a:cubicBezTo>
                      <a:cubicBezTo>
                        <a:pt x="86591" y="104941"/>
                        <a:pt x="69068" y="109286"/>
                        <a:pt x="50556" y="10695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3" name="Freeform: Shape 2572">
                  <a:extLst>
                    <a:ext uri="{FF2B5EF4-FFF2-40B4-BE49-F238E27FC236}">
                      <a16:creationId xmlns:a16="http://schemas.microsoft.com/office/drawing/2014/main" id="{E3B9EDFF-80C9-EE2B-9F95-68D145D8715D}"/>
                    </a:ext>
                  </a:extLst>
                </p:cNvPr>
                <p:cNvSpPr/>
                <p:nvPr/>
              </p:nvSpPr>
              <p:spPr>
                <a:xfrm>
                  <a:off x="8642117" y="3244706"/>
                  <a:ext cx="339477" cy="544601"/>
                </a:xfrm>
                <a:custGeom>
                  <a:avLst/>
                  <a:gdLst>
                    <a:gd name="connsiteX0" fmla="*/ 335876 w 339477"/>
                    <a:gd name="connsiteY0" fmla="*/ 0 h 544601"/>
                    <a:gd name="connsiteX1" fmla="*/ 326443 w 339477"/>
                    <a:gd name="connsiteY1" fmla="*/ 176647 h 544601"/>
                    <a:gd name="connsiteX2" fmla="*/ 303514 w 339477"/>
                    <a:gd name="connsiteY2" fmla="*/ 225755 h 544601"/>
                    <a:gd name="connsiteX3" fmla="*/ 277441 w 339477"/>
                    <a:gd name="connsiteY3" fmla="*/ 285073 h 544601"/>
                    <a:gd name="connsiteX4" fmla="*/ 243878 w 339477"/>
                    <a:gd name="connsiteY4" fmla="*/ 330683 h 544601"/>
                    <a:gd name="connsiteX5" fmla="*/ 228616 w 339477"/>
                    <a:gd name="connsiteY5" fmla="*/ 345450 h 544601"/>
                    <a:gd name="connsiteX6" fmla="*/ 209503 w 339477"/>
                    <a:gd name="connsiteY6" fmla="*/ 376364 h 544601"/>
                    <a:gd name="connsiteX7" fmla="*/ 183889 w 339477"/>
                    <a:gd name="connsiteY7" fmla="*/ 441652 h 544601"/>
                    <a:gd name="connsiteX8" fmla="*/ 163822 w 339477"/>
                    <a:gd name="connsiteY8" fmla="*/ 459953 h 544601"/>
                    <a:gd name="connsiteX9" fmla="*/ 109521 w 339477"/>
                    <a:gd name="connsiteY9" fmla="*/ 506093 h 544601"/>
                    <a:gd name="connsiteX10" fmla="*/ 95742 w 339477"/>
                    <a:gd name="connsiteY10" fmla="*/ 525453 h 544601"/>
                    <a:gd name="connsiteX11" fmla="*/ 44267 w 339477"/>
                    <a:gd name="connsiteY11" fmla="*/ 522839 h 544601"/>
                    <a:gd name="connsiteX12" fmla="*/ 29747 w 339477"/>
                    <a:gd name="connsiteY12" fmla="*/ 522980 h 544601"/>
                    <a:gd name="connsiteX13" fmla="*/ 0 w 339477"/>
                    <a:gd name="connsiteY13" fmla="*/ 544602 h 544601"/>
                    <a:gd name="connsiteX14" fmla="*/ 38368 w 339477"/>
                    <a:gd name="connsiteY14" fmla="*/ 507153 h 544601"/>
                    <a:gd name="connsiteX15" fmla="*/ 51404 w 339477"/>
                    <a:gd name="connsiteY15" fmla="*/ 512417 h 544601"/>
                    <a:gd name="connsiteX16" fmla="*/ 73626 w 339477"/>
                    <a:gd name="connsiteY16" fmla="*/ 520048 h 544601"/>
                    <a:gd name="connsiteX17" fmla="*/ 96131 w 339477"/>
                    <a:gd name="connsiteY17" fmla="*/ 508849 h 544601"/>
                    <a:gd name="connsiteX18" fmla="*/ 177812 w 339477"/>
                    <a:gd name="connsiteY18" fmla="*/ 419713 h 544601"/>
                    <a:gd name="connsiteX19" fmla="*/ 185267 w 339477"/>
                    <a:gd name="connsiteY19" fmla="*/ 391873 h 544601"/>
                    <a:gd name="connsiteX20" fmla="*/ 211764 w 339477"/>
                    <a:gd name="connsiteY20" fmla="*/ 340257 h 544601"/>
                    <a:gd name="connsiteX21" fmla="*/ 276028 w 339477"/>
                    <a:gd name="connsiteY21" fmla="*/ 262992 h 544601"/>
                    <a:gd name="connsiteX22" fmla="*/ 302031 w 339477"/>
                    <a:gd name="connsiteY22" fmla="*/ 196360 h 544601"/>
                    <a:gd name="connsiteX23" fmla="*/ 332060 w 339477"/>
                    <a:gd name="connsiteY23" fmla="*/ 55962 h 544601"/>
                    <a:gd name="connsiteX24" fmla="*/ 331813 w 339477"/>
                    <a:gd name="connsiteY24" fmla="*/ 21904 h 544601"/>
                    <a:gd name="connsiteX25" fmla="*/ 335876 w 339477"/>
                    <a:gd name="connsiteY25" fmla="*/ 71 h 54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9477" h="544601">
                      <a:moveTo>
                        <a:pt x="335876" y="0"/>
                      </a:moveTo>
                      <a:cubicBezTo>
                        <a:pt x="342977" y="60272"/>
                        <a:pt x="339444" y="118671"/>
                        <a:pt x="326443" y="176647"/>
                      </a:cubicBezTo>
                      <a:cubicBezTo>
                        <a:pt x="322380" y="194841"/>
                        <a:pt x="312629" y="210104"/>
                        <a:pt x="303514" y="225755"/>
                      </a:cubicBezTo>
                      <a:cubicBezTo>
                        <a:pt x="292562" y="244550"/>
                        <a:pt x="283129" y="263734"/>
                        <a:pt x="277441" y="285073"/>
                      </a:cubicBezTo>
                      <a:cubicBezTo>
                        <a:pt x="272389" y="304009"/>
                        <a:pt x="255855" y="316021"/>
                        <a:pt x="243878" y="330683"/>
                      </a:cubicBezTo>
                      <a:cubicBezTo>
                        <a:pt x="239427" y="336123"/>
                        <a:pt x="234233" y="341211"/>
                        <a:pt x="228616" y="345450"/>
                      </a:cubicBezTo>
                      <a:cubicBezTo>
                        <a:pt x="218088" y="353364"/>
                        <a:pt x="211693" y="363928"/>
                        <a:pt x="209503" y="376364"/>
                      </a:cubicBezTo>
                      <a:cubicBezTo>
                        <a:pt x="205369" y="399964"/>
                        <a:pt x="194382" y="420631"/>
                        <a:pt x="183889" y="441652"/>
                      </a:cubicBezTo>
                      <a:cubicBezTo>
                        <a:pt x="179402" y="450661"/>
                        <a:pt x="170075" y="453629"/>
                        <a:pt x="163822" y="459953"/>
                      </a:cubicBezTo>
                      <a:cubicBezTo>
                        <a:pt x="147041" y="476981"/>
                        <a:pt x="130118" y="493586"/>
                        <a:pt x="109521" y="506093"/>
                      </a:cubicBezTo>
                      <a:cubicBezTo>
                        <a:pt x="102490" y="510368"/>
                        <a:pt x="100406" y="519023"/>
                        <a:pt x="95742" y="525453"/>
                      </a:cubicBezTo>
                      <a:cubicBezTo>
                        <a:pt x="83094" y="542906"/>
                        <a:pt x="54513" y="541422"/>
                        <a:pt x="44267" y="522839"/>
                      </a:cubicBezTo>
                      <a:cubicBezTo>
                        <a:pt x="39851" y="514819"/>
                        <a:pt x="33845" y="520083"/>
                        <a:pt x="29747" y="522980"/>
                      </a:cubicBezTo>
                      <a:cubicBezTo>
                        <a:pt x="19784" y="530011"/>
                        <a:pt x="10528" y="538031"/>
                        <a:pt x="0" y="544602"/>
                      </a:cubicBezTo>
                      <a:cubicBezTo>
                        <a:pt x="10704" y="529975"/>
                        <a:pt x="22186" y="516056"/>
                        <a:pt x="38368" y="507153"/>
                      </a:cubicBezTo>
                      <a:cubicBezTo>
                        <a:pt x="43490" y="504326"/>
                        <a:pt x="48472" y="506446"/>
                        <a:pt x="51404" y="512417"/>
                      </a:cubicBezTo>
                      <a:cubicBezTo>
                        <a:pt x="56173" y="522097"/>
                        <a:pt x="63734" y="523899"/>
                        <a:pt x="73626" y="520048"/>
                      </a:cubicBezTo>
                      <a:cubicBezTo>
                        <a:pt x="81505" y="516974"/>
                        <a:pt x="89348" y="513865"/>
                        <a:pt x="96131" y="508849"/>
                      </a:cubicBezTo>
                      <a:cubicBezTo>
                        <a:pt x="129128" y="484436"/>
                        <a:pt x="158841" y="456985"/>
                        <a:pt x="177812" y="419713"/>
                      </a:cubicBezTo>
                      <a:cubicBezTo>
                        <a:pt x="182264" y="410916"/>
                        <a:pt x="185514" y="402048"/>
                        <a:pt x="185267" y="391873"/>
                      </a:cubicBezTo>
                      <a:cubicBezTo>
                        <a:pt x="184737" y="370040"/>
                        <a:pt x="197915" y="354565"/>
                        <a:pt x="211764" y="340257"/>
                      </a:cubicBezTo>
                      <a:cubicBezTo>
                        <a:pt x="235117" y="316092"/>
                        <a:pt x="259671" y="293340"/>
                        <a:pt x="276028" y="262992"/>
                      </a:cubicBezTo>
                      <a:cubicBezTo>
                        <a:pt x="287545" y="241653"/>
                        <a:pt x="293198" y="218477"/>
                        <a:pt x="302031" y="196360"/>
                      </a:cubicBezTo>
                      <a:cubicBezTo>
                        <a:pt x="320013" y="151351"/>
                        <a:pt x="330435" y="104681"/>
                        <a:pt x="332060" y="55962"/>
                      </a:cubicBezTo>
                      <a:cubicBezTo>
                        <a:pt x="332449" y="44550"/>
                        <a:pt x="333897" y="33386"/>
                        <a:pt x="331813" y="21904"/>
                      </a:cubicBezTo>
                      <a:cubicBezTo>
                        <a:pt x="330576" y="15121"/>
                        <a:pt x="330824" y="7772"/>
                        <a:pt x="335876" y="7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4" name="Freeform: Shape 2573">
                  <a:extLst>
                    <a:ext uri="{FF2B5EF4-FFF2-40B4-BE49-F238E27FC236}">
                      <a16:creationId xmlns:a16="http://schemas.microsoft.com/office/drawing/2014/main" id="{BBBCCAC7-9FD5-B37F-4FBA-EFE0671E8887}"/>
                    </a:ext>
                  </a:extLst>
                </p:cNvPr>
                <p:cNvSpPr/>
                <p:nvPr/>
              </p:nvSpPr>
              <p:spPr>
                <a:xfrm>
                  <a:off x="7573303" y="2984717"/>
                  <a:ext cx="95609" cy="320507"/>
                </a:xfrm>
                <a:custGeom>
                  <a:avLst/>
                  <a:gdLst>
                    <a:gd name="connsiteX0" fmla="*/ 6814 w 95609"/>
                    <a:gd name="connsiteY0" fmla="*/ 320508 h 320507"/>
                    <a:gd name="connsiteX1" fmla="*/ 2715 w 95609"/>
                    <a:gd name="connsiteY1" fmla="*/ 312417 h 320507"/>
                    <a:gd name="connsiteX2" fmla="*/ 30 w 95609"/>
                    <a:gd name="connsiteY2" fmla="*/ 230171 h 320507"/>
                    <a:gd name="connsiteX3" fmla="*/ 8828 w 95609"/>
                    <a:gd name="connsiteY3" fmla="*/ 191838 h 320507"/>
                    <a:gd name="connsiteX4" fmla="*/ 35642 w 95609"/>
                    <a:gd name="connsiteY4" fmla="*/ 108108 h 320507"/>
                    <a:gd name="connsiteX5" fmla="*/ 56805 w 95609"/>
                    <a:gd name="connsiteY5" fmla="*/ 58753 h 320507"/>
                    <a:gd name="connsiteX6" fmla="*/ 93053 w 95609"/>
                    <a:gd name="connsiteY6" fmla="*/ 0 h 320507"/>
                    <a:gd name="connsiteX7" fmla="*/ 93159 w 95609"/>
                    <a:gd name="connsiteY7" fmla="*/ 45186 h 320507"/>
                    <a:gd name="connsiteX8" fmla="*/ 62881 w 95609"/>
                    <a:gd name="connsiteY8" fmla="*/ 129588 h 320507"/>
                    <a:gd name="connsiteX9" fmla="*/ 40553 w 95609"/>
                    <a:gd name="connsiteY9" fmla="*/ 151846 h 320507"/>
                    <a:gd name="connsiteX10" fmla="*/ 37232 w 95609"/>
                    <a:gd name="connsiteY10" fmla="*/ 168945 h 320507"/>
                    <a:gd name="connsiteX11" fmla="*/ 39423 w 95609"/>
                    <a:gd name="connsiteY11" fmla="*/ 218300 h 320507"/>
                    <a:gd name="connsiteX12" fmla="*/ 17660 w 95609"/>
                    <a:gd name="connsiteY12" fmla="*/ 270976 h 320507"/>
                    <a:gd name="connsiteX13" fmla="*/ 6814 w 95609"/>
                    <a:gd name="connsiteY13" fmla="*/ 320508 h 320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609" h="320507">
                      <a:moveTo>
                        <a:pt x="6814" y="320508"/>
                      </a:moveTo>
                      <a:cubicBezTo>
                        <a:pt x="2362" y="317858"/>
                        <a:pt x="2821" y="314961"/>
                        <a:pt x="2715" y="312417"/>
                      </a:cubicBezTo>
                      <a:cubicBezTo>
                        <a:pt x="1762" y="285002"/>
                        <a:pt x="808" y="257586"/>
                        <a:pt x="30" y="230171"/>
                      </a:cubicBezTo>
                      <a:cubicBezTo>
                        <a:pt x="-323" y="216710"/>
                        <a:pt x="2398" y="203815"/>
                        <a:pt x="8828" y="191838"/>
                      </a:cubicBezTo>
                      <a:cubicBezTo>
                        <a:pt x="22889" y="165589"/>
                        <a:pt x="35501" y="139056"/>
                        <a:pt x="35642" y="108108"/>
                      </a:cubicBezTo>
                      <a:cubicBezTo>
                        <a:pt x="35713" y="89136"/>
                        <a:pt x="47548" y="74298"/>
                        <a:pt x="56805" y="58753"/>
                      </a:cubicBezTo>
                      <a:cubicBezTo>
                        <a:pt x="68463" y="39110"/>
                        <a:pt x="79945" y="19360"/>
                        <a:pt x="93053" y="0"/>
                      </a:cubicBezTo>
                      <a:cubicBezTo>
                        <a:pt x="96444" y="15262"/>
                        <a:pt x="96444" y="30171"/>
                        <a:pt x="93159" y="45186"/>
                      </a:cubicBezTo>
                      <a:cubicBezTo>
                        <a:pt x="86729" y="74651"/>
                        <a:pt x="78462" y="103303"/>
                        <a:pt x="62881" y="129588"/>
                      </a:cubicBezTo>
                      <a:cubicBezTo>
                        <a:pt x="57158" y="139233"/>
                        <a:pt x="48396" y="144886"/>
                        <a:pt x="40553" y="151846"/>
                      </a:cubicBezTo>
                      <a:cubicBezTo>
                        <a:pt x="34936" y="156827"/>
                        <a:pt x="32180" y="161632"/>
                        <a:pt x="37232" y="168945"/>
                      </a:cubicBezTo>
                      <a:cubicBezTo>
                        <a:pt x="48184" y="184808"/>
                        <a:pt x="45146" y="201695"/>
                        <a:pt x="39423" y="218300"/>
                      </a:cubicBezTo>
                      <a:cubicBezTo>
                        <a:pt x="33240" y="236283"/>
                        <a:pt x="23560" y="252746"/>
                        <a:pt x="17660" y="270976"/>
                      </a:cubicBezTo>
                      <a:cubicBezTo>
                        <a:pt x="12502" y="286945"/>
                        <a:pt x="12643" y="303974"/>
                        <a:pt x="6814" y="32050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5" name="Freeform: Shape 2574">
                  <a:extLst>
                    <a:ext uri="{FF2B5EF4-FFF2-40B4-BE49-F238E27FC236}">
                      <a16:creationId xmlns:a16="http://schemas.microsoft.com/office/drawing/2014/main" id="{23B94D93-E041-99D3-21DC-26BF52202736}"/>
                    </a:ext>
                  </a:extLst>
                </p:cNvPr>
                <p:cNvSpPr/>
                <p:nvPr/>
              </p:nvSpPr>
              <p:spPr>
                <a:xfrm>
                  <a:off x="8696608" y="2725833"/>
                  <a:ext cx="141381" cy="111234"/>
                </a:xfrm>
                <a:custGeom>
                  <a:avLst/>
                  <a:gdLst>
                    <a:gd name="connsiteX0" fmla="*/ 96188 w 141381"/>
                    <a:gd name="connsiteY0" fmla="*/ 35320 h 111234"/>
                    <a:gd name="connsiteX1" fmla="*/ 83717 w 141381"/>
                    <a:gd name="connsiteY1" fmla="*/ 42562 h 111234"/>
                    <a:gd name="connsiteX2" fmla="*/ 93433 w 141381"/>
                    <a:gd name="connsiteY2" fmla="*/ 49522 h 111234"/>
                    <a:gd name="connsiteX3" fmla="*/ 136004 w 141381"/>
                    <a:gd name="connsiteY3" fmla="*/ 78704 h 111234"/>
                    <a:gd name="connsiteX4" fmla="*/ 139997 w 141381"/>
                    <a:gd name="connsiteY4" fmla="*/ 94779 h 111234"/>
                    <a:gd name="connsiteX5" fmla="*/ 127949 w 141381"/>
                    <a:gd name="connsiteY5" fmla="*/ 89197 h 111234"/>
                    <a:gd name="connsiteX6" fmla="*/ 125688 w 141381"/>
                    <a:gd name="connsiteY6" fmla="*/ 97323 h 111234"/>
                    <a:gd name="connsiteX7" fmla="*/ 102230 w 141381"/>
                    <a:gd name="connsiteY7" fmla="*/ 108098 h 111234"/>
                    <a:gd name="connsiteX8" fmla="*/ 63756 w 141381"/>
                    <a:gd name="connsiteY8" fmla="*/ 77927 h 111234"/>
                    <a:gd name="connsiteX9" fmla="*/ 12210 w 141381"/>
                    <a:gd name="connsiteY9" fmla="*/ 36556 h 111234"/>
                    <a:gd name="connsiteX10" fmla="*/ 410 w 141381"/>
                    <a:gd name="connsiteY10" fmla="*/ 16207 h 111234"/>
                    <a:gd name="connsiteX11" fmla="*/ 18711 w 141381"/>
                    <a:gd name="connsiteY11" fmla="*/ 1262 h 111234"/>
                    <a:gd name="connsiteX12" fmla="*/ 80184 w 141381"/>
                    <a:gd name="connsiteY12" fmla="*/ 22319 h 111234"/>
                    <a:gd name="connsiteX13" fmla="*/ 96188 w 141381"/>
                    <a:gd name="connsiteY13" fmla="*/ 35249 h 11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381" h="111234">
                      <a:moveTo>
                        <a:pt x="96188" y="35320"/>
                      </a:moveTo>
                      <a:cubicBezTo>
                        <a:pt x="91737" y="41962"/>
                        <a:pt x="84247" y="36698"/>
                        <a:pt x="83717" y="42562"/>
                      </a:cubicBezTo>
                      <a:cubicBezTo>
                        <a:pt x="83152" y="48533"/>
                        <a:pt x="89794" y="47756"/>
                        <a:pt x="93433" y="49522"/>
                      </a:cubicBezTo>
                      <a:cubicBezTo>
                        <a:pt x="109048" y="57189"/>
                        <a:pt x="122261" y="68353"/>
                        <a:pt x="136004" y="78704"/>
                      </a:cubicBezTo>
                      <a:cubicBezTo>
                        <a:pt x="141587" y="82908"/>
                        <a:pt x="142646" y="88490"/>
                        <a:pt x="139997" y="94779"/>
                      </a:cubicBezTo>
                      <a:cubicBezTo>
                        <a:pt x="134379" y="95662"/>
                        <a:pt x="132931" y="89091"/>
                        <a:pt x="127949" y="89197"/>
                      </a:cubicBezTo>
                      <a:cubicBezTo>
                        <a:pt x="124452" y="90999"/>
                        <a:pt x="126183" y="94532"/>
                        <a:pt x="125688" y="97323"/>
                      </a:cubicBezTo>
                      <a:cubicBezTo>
                        <a:pt x="123568" y="109582"/>
                        <a:pt x="112369" y="115235"/>
                        <a:pt x="102230" y="108098"/>
                      </a:cubicBezTo>
                      <a:cubicBezTo>
                        <a:pt x="88910" y="98701"/>
                        <a:pt x="75733" y="88914"/>
                        <a:pt x="63756" y="77927"/>
                      </a:cubicBezTo>
                      <a:cubicBezTo>
                        <a:pt x="47434" y="62947"/>
                        <a:pt x="30193" y="49381"/>
                        <a:pt x="12210" y="36556"/>
                      </a:cubicBezTo>
                      <a:cubicBezTo>
                        <a:pt x="5427" y="31716"/>
                        <a:pt x="-1816" y="26523"/>
                        <a:pt x="410" y="16207"/>
                      </a:cubicBezTo>
                      <a:cubicBezTo>
                        <a:pt x="2530" y="6385"/>
                        <a:pt x="10197" y="3099"/>
                        <a:pt x="18711" y="1262"/>
                      </a:cubicBezTo>
                      <a:cubicBezTo>
                        <a:pt x="43371" y="-4037"/>
                        <a:pt x="62130" y="8187"/>
                        <a:pt x="80184" y="22319"/>
                      </a:cubicBezTo>
                      <a:cubicBezTo>
                        <a:pt x="85695" y="26664"/>
                        <a:pt x="91101" y="31151"/>
                        <a:pt x="96188" y="3524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6" name="Freeform: Shape 2575">
                  <a:extLst>
                    <a:ext uri="{FF2B5EF4-FFF2-40B4-BE49-F238E27FC236}">
                      <a16:creationId xmlns:a16="http://schemas.microsoft.com/office/drawing/2014/main" id="{DD1F7330-EDE6-33A0-69AD-621804DFA759}"/>
                    </a:ext>
                  </a:extLst>
                </p:cNvPr>
                <p:cNvSpPr/>
                <p:nvPr/>
              </p:nvSpPr>
              <p:spPr>
                <a:xfrm>
                  <a:off x="8724548" y="3362175"/>
                  <a:ext cx="71328" cy="120233"/>
                </a:xfrm>
                <a:custGeom>
                  <a:avLst/>
                  <a:gdLst>
                    <a:gd name="connsiteX0" fmla="*/ 71145 w 71328"/>
                    <a:gd name="connsiteY0" fmla="*/ 29218 h 120233"/>
                    <a:gd name="connsiteX1" fmla="*/ 49877 w 71328"/>
                    <a:gd name="connsiteY1" fmla="*/ 106272 h 120233"/>
                    <a:gd name="connsiteX2" fmla="*/ 17763 w 71328"/>
                    <a:gd name="connsiteY2" fmla="*/ 106978 h 120233"/>
                    <a:gd name="connsiteX3" fmla="*/ 274 w 71328"/>
                    <a:gd name="connsiteY3" fmla="*/ 72991 h 120233"/>
                    <a:gd name="connsiteX4" fmla="*/ 20836 w 71328"/>
                    <a:gd name="connsiteY4" fmla="*/ 43280 h 120233"/>
                    <a:gd name="connsiteX5" fmla="*/ 37335 w 71328"/>
                    <a:gd name="connsiteY5" fmla="*/ 16111 h 120233"/>
                    <a:gd name="connsiteX6" fmla="*/ 59239 w 71328"/>
                    <a:gd name="connsiteY6" fmla="*/ 460 h 120233"/>
                    <a:gd name="connsiteX7" fmla="*/ 71145 w 71328"/>
                    <a:gd name="connsiteY7" fmla="*/ 25191 h 120233"/>
                    <a:gd name="connsiteX8" fmla="*/ 71145 w 71328"/>
                    <a:gd name="connsiteY8" fmla="*/ 29183 h 12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28" h="120233">
                      <a:moveTo>
                        <a:pt x="71145" y="29218"/>
                      </a:moveTo>
                      <a:cubicBezTo>
                        <a:pt x="70509" y="56705"/>
                        <a:pt x="63408" y="82424"/>
                        <a:pt x="49877" y="106272"/>
                      </a:cubicBezTo>
                      <a:cubicBezTo>
                        <a:pt x="39455" y="124643"/>
                        <a:pt x="28397" y="124890"/>
                        <a:pt x="17763" y="106978"/>
                      </a:cubicBezTo>
                      <a:cubicBezTo>
                        <a:pt x="11226" y="95956"/>
                        <a:pt x="2606" y="85004"/>
                        <a:pt x="274" y="72991"/>
                      </a:cubicBezTo>
                      <a:cubicBezTo>
                        <a:pt x="-2411" y="59142"/>
                        <a:pt x="15360" y="54585"/>
                        <a:pt x="20836" y="43280"/>
                      </a:cubicBezTo>
                      <a:cubicBezTo>
                        <a:pt x="25429" y="33776"/>
                        <a:pt x="31718" y="25085"/>
                        <a:pt x="37335" y="16111"/>
                      </a:cubicBezTo>
                      <a:cubicBezTo>
                        <a:pt x="42493" y="7880"/>
                        <a:pt x="47333" y="-2295"/>
                        <a:pt x="59239" y="460"/>
                      </a:cubicBezTo>
                      <a:cubicBezTo>
                        <a:pt x="72205" y="3463"/>
                        <a:pt x="71605" y="14769"/>
                        <a:pt x="71145" y="25191"/>
                      </a:cubicBezTo>
                      <a:cubicBezTo>
                        <a:pt x="71075" y="26533"/>
                        <a:pt x="71145" y="27841"/>
                        <a:pt x="71145" y="2918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7" name="Freeform: Shape 2576">
                  <a:extLst>
                    <a:ext uri="{FF2B5EF4-FFF2-40B4-BE49-F238E27FC236}">
                      <a16:creationId xmlns:a16="http://schemas.microsoft.com/office/drawing/2014/main" id="{B5E25CF3-8C43-8686-4A19-CF3C3C8E0B2F}"/>
                    </a:ext>
                  </a:extLst>
                </p:cNvPr>
                <p:cNvSpPr/>
                <p:nvPr/>
              </p:nvSpPr>
              <p:spPr>
                <a:xfrm>
                  <a:off x="8836322" y="3559172"/>
                  <a:ext cx="88614" cy="135700"/>
                </a:xfrm>
                <a:custGeom>
                  <a:avLst/>
                  <a:gdLst>
                    <a:gd name="connsiteX0" fmla="*/ 0 w 88614"/>
                    <a:gd name="connsiteY0" fmla="*/ 135700 h 135700"/>
                    <a:gd name="connsiteX1" fmla="*/ 12577 w 88614"/>
                    <a:gd name="connsiteY1" fmla="*/ 122522 h 135700"/>
                    <a:gd name="connsiteX2" fmla="*/ 64405 w 88614"/>
                    <a:gd name="connsiteY2" fmla="*/ 59530 h 135700"/>
                    <a:gd name="connsiteX3" fmla="*/ 81434 w 88614"/>
                    <a:gd name="connsiteY3" fmla="*/ 0 h 135700"/>
                    <a:gd name="connsiteX4" fmla="*/ 83730 w 88614"/>
                    <a:gd name="connsiteY4" fmla="*/ 93163 h 135700"/>
                    <a:gd name="connsiteX5" fmla="*/ 52535 w 88614"/>
                    <a:gd name="connsiteY5" fmla="*/ 124713 h 135700"/>
                    <a:gd name="connsiteX6" fmla="*/ 0 w 88614"/>
                    <a:gd name="connsiteY6" fmla="*/ 135665 h 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14" h="135700">
                      <a:moveTo>
                        <a:pt x="0" y="135700"/>
                      </a:moveTo>
                      <a:cubicBezTo>
                        <a:pt x="1802" y="126974"/>
                        <a:pt x="7631" y="125243"/>
                        <a:pt x="12577" y="122522"/>
                      </a:cubicBezTo>
                      <a:cubicBezTo>
                        <a:pt x="38226" y="108461"/>
                        <a:pt x="58541" y="90832"/>
                        <a:pt x="64405" y="59530"/>
                      </a:cubicBezTo>
                      <a:cubicBezTo>
                        <a:pt x="68150" y="39428"/>
                        <a:pt x="78431" y="20809"/>
                        <a:pt x="81434" y="0"/>
                      </a:cubicBezTo>
                      <a:cubicBezTo>
                        <a:pt x="85885" y="31161"/>
                        <a:pt x="93799" y="61862"/>
                        <a:pt x="83730" y="93163"/>
                      </a:cubicBezTo>
                      <a:cubicBezTo>
                        <a:pt x="78572" y="109168"/>
                        <a:pt x="68786" y="120014"/>
                        <a:pt x="52535" y="124713"/>
                      </a:cubicBezTo>
                      <a:cubicBezTo>
                        <a:pt x="35647" y="129623"/>
                        <a:pt x="18901" y="135382"/>
                        <a:pt x="0" y="13566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8" name="Freeform: Shape 2577">
                  <a:extLst>
                    <a:ext uri="{FF2B5EF4-FFF2-40B4-BE49-F238E27FC236}">
                      <a16:creationId xmlns:a16="http://schemas.microsoft.com/office/drawing/2014/main" id="{DB6A6AFD-F961-8B44-40E8-8B878B155769}"/>
                    </a:ext>
                  </a:extLst>
                </p:cNvPr>
                <p:cNvSpPr/>
                <p:nvPr/>
              </p:nvSpPr>
              <p:spPr>
                <a:xfrm>
                  <a:off x="8717862" y="2670343"/>
                  <a:ext cx="119660" cy="121016"/>
                </a:xfrm>
                <a:custGeom>
                  <a:avLst/>
                  <a:gdLst>
                    <a:gd name="connsiteX0" fmla="*/ 119661 w 119660"/>
                    <a:gd name="connsiteY0" fmla="*/ 120982 h 121016"/>
                    <a:gd name="connsiteX1" fmla="*/ 104399 w 119660"/>
                    <a:gd name="connsiteY1" fmla="*/ 111301 h 121016"/>
                    <a:gd name="connsiteX2" fmla="*/ 86946 w 119660"/>
                    <a:gd name="connsiteY2" fmla="*/ 86677 h 121016"/>
                    <a:gd name="connsiteX3" fmla="*/ 37096 w 119660"/>
                    <a:gd name="connsiteY3" fmla="*/ 31528 h 121016"/>
                    <a:gd name="connsiteX4" fmla="*/ 5512 w 119660"/>
                    <a:gd name="connsiteY4" fmla="*/ 18491 h 121016"/>
                    <a:gd name="connsiteX5" fmla="*/ 1061 w 119660"/>
                    <a:gd name="connsiteY5" fmla="*/ 3406 h 121016"/>
                    <a:gd name="connsiteX6" fmla="*/ 12154 w 119660"/>
                    <a:gd name="connsiteY6" fmla="*/ 2840 h 121016"/>
                    <a:gd name="connsiteX7" fmla="*/ 86310 w 119660"/>
                    <a:gd name="connsiteY7" fmla="*/ 42127 h 121016"/>
                    <a:gd name="connsiteX8" fmla="*/ 119626 w 119660"/>
                    <a:gd name="connsiteY8" fmla="*/ 121017 h 12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60" h="121016">
                      <a:moveTo>
                        <a:pt x="119661" y="120982"/>
                      </a:moveTo>
                      <a:cubicBezTo>
                        <a:pt x="113301" y="116919"/>
                        <a:pt x="109062" y="113668"/>
                        <a:pt x="104399" y="111301"/>
                      </a:cubicBezTo>
                      <a:cubicBezTo>
                        <a:pt x="94153" y="106073"/>
                        <a:pt x="88995" y="99855"/>
                        <a:pt x="86946" y="86677"/>
                      </a:cubicBezTo>
                      <a:cubicBezTo>
                        <a:pt x="82636" y="58943"/>
                        <a:pt x="66949" y="38134"/>
                        <a:pt x="37096" y="31528"/>
                      </a:cubicBezTo>
                      <a:cubicBezTo>
                        <a:pt x="25932" y="29055"/>
                        <a:pt x="15157" y="25310"/>
                        <a:pt x="5512" y="18491"/>
                      </a:cubicBezTo>
                      <a:cubicBezTo>
                        <a:pt x="-565" y="14181"/>
                        <a:pt x="-883" y="8740"/>
                        <a:pt x="1061" y="3406"/>
                      </a:cubicBezTo>
                      <a:cubicBezTo>
                        <a:pt x="3533" y="-3342"/>
                        <a:pt x="8727" y="1851"/>
                        <a:pt x="12154" y="2840"/>
                      </a:cubicBezTo>
                      <a:cubicBezTo>
                        <a:pt x="39605" y="10719"/>
                        <a:pt x="65254" y="21883"/>
                        <a:pt x="86310" y="42127"/>
                      </a:cubicBezTo>
                      <a:cubicBezTo>
                        <a:pt x="108320" y="63289"/>
                        <a:pt x="117718" y="89362"/>
                        <a:pt x="119626" y="12101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9" name="Freeform: Shape 2578">
                  <a:extLst>
                    <a:ext uri="{FF2B5EF4-FFF2-40B4-BE49-F238E27FC236}">
                      <a16:creationId xmlns:a16="http://schemas.microsoft.com/office/drawing/2014/main" id="{BA3CEA6E-F333-8AB2-183E-A202DD7EF8EE}"/>
                    </a:ext>
                  </a:extLst>
                </p:cNvPr>
                <p:cNvSpPr/>
                <p:nvPr/>
              </p:nvSpPr>
              <p:spPr>
                <a:xfrm>
                  <a:off x="8896727" y="3133032"/>
                  <a:ext cx="57954" cy="69773"/>
                </a:xfrm>
                <a:custGeom>
                  <a:avLst/>
                  <a:gdLst>
                    <a:gd name="connsiteX0" fmla="*/ 21948 w 57954"/>
                    <a:gd name="connsiteY0" fmla="*/ 69738 h 69773"/>
                    <a:gd name="connsiteX1" fmla="*/ 4990 w 57954"/>
                    <a:gd name="connsiteY1" fmla="*/ 53027 h 69773"/>
                    <a:gd name="connsiteX2" fmla="*/ 6297 w 57954"/>
                    <a:gd name="connsiteY2" fmla="*/ 16815 h 69773"/>
                    <a:gd name="connsiteX3" fmla="*/ 35090 w 57954"/>
                    <a:gd name="connsiteY3" fmla="*/ 245 h 69773"/>
                    <a:gd name="connsiteX4" fmla="*/ 41485 w 57954"/>
                    <a:gd name="connsiteY4" fmla="*/ 1164 h 69773"/>
                    <a:gd name="connsiteX5" fmla="*/ 57842 w 57954"/>
                    <a:gd name="connsiteY5" fmla="*/ 38754 h 69773"/>
                    <a:gd name="connsiteX6" fmla="*/ 21948 w 57954"/>
                    <a:gd name="connsiteY6" fmla="*/ 69773 h 6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954" h="69773">
                      <a:moveTo>
                        <a:pt x="21948" y="69738"/>
                      </a:moveTo>
                      <a:cubicBezTo>
                        <a:pt x="15589" y="69561"/>
                        <a:pt x="10042" y="61082"/>
                        <a:pt x="4990" y="53027"/>
                      </a:cubicBezTo>
                      <a:cubicBezTo>
                        <a:pt x="-2606" y="40980"/>
                        <a:pt x="-1016" y="28615"/>
                        <a:pt x="6297" y="16815"/>
                      </a:cubicBezTo>
                      <a:cubicBezTo>
                        <a:pt x="12904" y="6180"/>
                        <a:pt x="24492" y="3990"/>
                        <a:pt x="35090" y="245"/>
                      </a:cubicBezTo>
                      <a:cubicBezTo>
                        <a:pt x="36927" y="-391"/>
                        <a:pt x="39542" y="316"/>
                        <a:pt x="41485" y="1164"/>
                      </a:cubicBezTo>
                      <a:cubicBezTo>
                        <a:pt x="46926" y="3460"/>
                        <a:pt x="59256" y="32254"/>
                        <a:pt x="57842" y="38754"/>
                      </a:cubicBezTo>
                      <a:cubicBezTo>
                        <a:pt x="54415" y="54193"/>
                        <a:pt x="39082" y="69632"/>
                        <a:pt x="21948" y="6977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0" name="Freeform: Shape 2579">
                  <a:extLst>
                    <a:ext uri="{FF2B5EF4-FFF2-40B4-BE49-F238E27FC236}">
                      <a16:creationId xmlns:a16="http://schemas.microsoft.com/office/drawing/2014/main" id="{83D466FC-C6A8-7ED8-19E3-E96FF2BFFE42}"/>
                    </a:ext>
                  </a:extLst>
                </p:cNvPr>
                <p:cNvSpPr/>
                <p:nvPr/>
              </p:nvSpPr>
              <p:spPr>
                <a:xfrm>
                  <a:off x="7613403" y="2883386"/>
                  <a:ext cx="60816" cy="88481"/>
                </a:xfrm>
                <a:custGeom>
                  <a:avLst/>
                  <a:gdLst>
                    <a:gd name="connsiteX0" fmla="*/ 100 w 60816"/>
                    <a:gd name="connsiteY0" fmla="*/ 66496 h 88481"/>
                    <a:gd name="connsiteX1" fmla="*/ 52917 w 60816"/>
                    <a:gd name="connsiteY1" fmla="*/ 1207 h 88481"/>
                    <a:gd name="connsiteX2" fmla="*/ 59100 w 60816"/>
                    <a:gd name="connsiteY2" fmla="*/ 854 h 88481"/>
                    <a:gd name="connsiteX3" fmla="*/ 59771 w 60816"/>
                    <a:gd name="connsiteY3" fmla="*/ 9510 h 88481"/>
                    <a:gd name="connsiteX4" fmla="*/ 33910 w 60816"/>
                    <a:gd name="connsiteY4" fmla="*/ 60101 h 88481"/>
                    <a:gd name="connsiteX5" fmla="*/ 13949 w 60816"/>
                    <a:gd name="connsiteY5" fmla="*/ 84514 h 88481"/>
                    <a:gd name="connsiteX6" fmla="*/ 135 w 60816"/>
                    <a:gd name="connsiteY6" fmla="*/ 78755 h 88481"/>
                    <a:gd name="connsiteX7" fmla="*/ 100 w 60816"/>
                    <a:gd name="connsiteY7" fmla="*/ 66496 h 8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16" h="88481">
                      <a:moveTo>
                        <a:pt x="100" y="66496"/>
                      </a:moveTo>
                      <a:cubicBezTo>
                        <a:pt x="2326" y="29683"/>
                        <a:pt x="17623" y="17918"/>
                        <a:pt x="52917" y="1207"/>
                      </a:cubicBezTo>
                      <a:cubicBezTo>
                        <a:pt x="54931" y="253"/>
                        <a:pt x="57334" y="-771"/>
                        <a:pt x="59100" y="854"/>
                      </a:cubicBezTo>
                      <a:cubicBezTo>
                        <a:pt x="61785" y="3292"/>
                        <a:pt x="60761" y="6542"/>
                        <a:pt x="59771" y="9510"/>
                      </a:cubicBezTo>
                      <a:cubicBezTo>
                        <a:pt x="53659" y="27669"/>
                        <a:pt x="43555" y="43744"/>
                        <a:pt x="33910" y="60101"/>
                      </a:cubicBezTo>
                      <a:cubicBezTo>
                        <a:pt x="28470" y="69322"/>
                        <a:pt x="22428" y="77731"/>
                        <a:pt x="13949" y="84514"/>
                      </a:cubicBezTo>
                      <a:cubicBezTo>
                        <a:pt x="5223" y="91474"/>
                        <a:pt x="1160" y="89107"/>
                        <a:pt x="135" y="78755"/>
                      </a:cubicBezTo>
                      <a:cubicBezTo>
                        <a:pt x="-147" y="75682"/>
                        <a:pt x="100" y="72573"/>
                        <a:pt x="100" y="6649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1" name="Freeform: Shape 2580">
                  <a:extLst>
                    <a:ext uri="{FF2B5EF4-FFF2-40B4-BE49-F238E27FC236}">
                      <a16:creationId xmlns:a16="http://schemas.microsoft.com/office/drawing/2014/main" id="{6C95180F-0891-A3FF-E04F-47BB50FDCF49}"/>
                    </a:ext>
                  </a:extLst>
                </p:cNvPr>
                <p:cNvSpPr/>
                <p:nvPr/>
              </p:nvSpPr>
              <p:spPr>
                <a:xfrm>
                  <a:off x="8887700" y="2868519"/>
                  <a:ext cx="80759" cy="215085"/>
                </a:xfrm>
                <a:custGeom>
                  <a:avLst/>
                  <a:gdLst>
                    <a:gd name="connsiteX0" fmla="*/ 309 w 80759"/>
                    <a:gd name="connsiteY0" fmla="*/ 0 h 215085"/>
                    <a:gd name="connsiteX1" fmla="*/ 75490 w 80759"/>
                    <a:gd name="connsiteY1" fmla="*/ 119978 h 215085"/>
                    <a:gd name="connsiteX2" fmla="*/ 64821 w 80759"/>
                    <a:gd name="connsiteY2" fmla="*/ 215085 h 215085"/>
                    <a:gd name="connsiteX3" fmla="*/ 65033 w 80759"/>
                    <a:gd name="connsiteY3" fmla="*/ 189754 h 215085"/>
                    <a:gd name="connsiteX4" fmla="*/ 45672 w 80759"/>
                    <a:gd name="connsiteY4" fmla="*/ 81540 h 215085"/>
                    <a:gd name="connsiteX5" fmla="*/ 3948 w 80759"/>
                    <a:gd name="connsiteY5" fmla="*/ 12295 h 215085"/>
                    <a:gd name="connsiteX6" fmla="*/ 309 w 80759"/>
                    <a:gd name="connsiteY6" fmla="*/ 0 h 215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59" h="215085">
                      <a:moveTo>
                        <a:pt x="309" y="0"/>
                      </a:moveTo>
                      <a:cubicBezTo>
                        <a:pt x="31505" y="38014"/>
                        <a:pt x="62631" y="73096"/>
                        <a:pt x="75490" y="119978"/>
                      </a:cubicBezTo>
                      <a:cubicBezTo>
                        <a:pt x="84499" y="152764"/>
                        <a:pt x="82591" y="184349"/>
                        <a:pt x="64821" y="215085"/>
                      </a:cubicBezTo>
                      <a:cubicBezTo>
                        <a:pt x="64821" y="206641"/>
                        <a:pt x="63584" y="197950"/>
                        <a:pt x="65033" y="189754"/>
                      </a:cubicBezTo>
                      <a:cubicBezTo>
                        <a:pt x="71851" y="151210"/>
                        <a:pt x="66481" y="115668"/>
                        <a:pt x="45672" y="81540"/>
                      </a:cubicBezTo>
                      <a:cubicBezTo>
                        <a:pt x="31647" y="58576"/>
                        <a:pt x="20871" y="33598"/>
                        <a:pt x="3948" y="12295"/>
                      </a:cubicBezTo>
                      <a:cubicBezTo>
                        <a:pt x="1970" y="9822"/>
                        <a:pt x="-962" y="7101"/>
                        <a:pt x="309" y="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2" name="Freeform: Shape 2581">
                  <a:extLst>
                    <a:ext uri="{FF2B5EF4-FFF2-40B4-BE49-F238E27FC236}">
                      <a16:creationId xmlns:a16="http://schemas.microsoft.com/office/drawing/2014/main" id="{A9D2EDAD-DF53-BF35-ED3E-2DC0DBB0E3B5}"/>
                    </a:ext>
                  </a:extLst>
                </p:cNvPr>
                <p:cNvSpPr/>
                <p:nvPr/>
              </p:nvSpPr>
              <p:spPr>
                <a:xfrm>
                  <a:off x="8048336" y="3823966"/>
                  <a:ext cx="238438" cy="55112"/>
                </a:xfrm>
                <a:custGeom>
                  <a:avLst/>
                  <a:gdLst>
                    <a:gd name="connsiteX0" fmla="*/ 238297 w 238438"/>
                    <a:gd name="connsiteY0" fmla="*/ 36354 h 55112"/>
                    <a:gd name="connsiteX1" fmla="*/ 195195 w 238438"/>
                    <a:gd name="connsiteY1" fmla="*/ 53771 h 55112"/>
                    <a:gd name="connsiteX2" fmla="*/ 40311 w 238438"/>
                    <a:gd name="connsiteY2" fmla="*/ 38580 h 55112"/>
                    <a:gd name="connsiteX3" fmla="*/ 1025 w 238438"/>
                    <a:gd name="connsiteY3" fmla="*/ 5052 h 55112"/>
                    <a:gd name="connsiteX4" fmla="*/ 884 w 238438"/>
                    <a:gd name="connsiteY4" fmla="*/ 0 h 55112"/>
                    <a:gd name="connsiteX5" fmla="*/ 11906 w 238438"/>
                    <a:gd name="connsiteY5" fmla="*/ 8408 h 55112"/>
                    <a:gd name="connsiteX6" fmla="*/ 96944 w 238438"/>
                    <a:gd name="connsiteY6" fmla="*/ 46670 h 55112"/>
                    <a:gd name="connsiteX7" fmla="*/ 194842 w 238438"/>
                    <a:gd name="connsiteY7" fmla="*/ 47129 h 55112"/>
                    <a:gd name="connsiteX8" fmla="*/ 238438 w 238438"/>
                    <a:gd name="connsiteY8" fmla="*/ 36460 h 55112"/>
                    <a:gd name="connsiteX9" fmla="*/ 238332 w 238438"/>
                    <a:gd name="connsiteY9" fmla="*/ 36354 h 5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438" h="55112">
                      <a:moveTo>
                        <a:pt x="238297" y="36354"/>
                      </a:moveTo>
                      <a:cubicBezTo>
                        <a:pt x="226815" y="49249"/>
                        <a:pt x="211129" y="53100"/>
                        <a:pt x="195195" y="53771"/>
                      </a:cubicBezTo>
                      <a:cubicBezTo>
                        <a:pt x="142908" y="55997"/>
                        <a:pt x="90514" y="57834"/>
                        <a:pt x="40311" y="38580"/>
                      </a:cubicBezTo>
                      <a:cubicBezTo>
                        <a:pt x="23353" y="32079"/>
                        <a:pt x="8444" y="22858"/>
                        <a:pt x="1025" y="5052"/>
                      </a:cubicBezTo>
                      <a:cubicBezTo>
                        <a:pt x="389" y="3498"/>
                        <a:pt x="-847" y="1908"/>
                        <a:pt x="884" y="0"/>
                      </a:cubicBezTo>
                      <a:cubicBezTo>
                        <a:pt x="6360" y="283"/>
                        <a:pt x="8974" y="4981"/>
                        <a:pt x="11906" y="8408"/>
                      </a:cubicBezTo>
                      <a:cubicBezTo>
                        <a:pt x="34235" y="34693"/>
                        <a:pt x="65042" y="42289"/>
                        <a:pt x="96944" y="46670"/>
                      </a:cubicBezTo>
                      <a:cubicBezTo>
                        <a:pt x="129483" y="51122"/>
                        <a:pt x="162127" y="50768"/>
                        <a:pt x="194842" y="47129"/>
                      </a:cubicBezTo>
                      <a:cubicBezTo>
                        <a:pt x="209998" y="45433"/>
                        <a:pt x="223352" y="37661"/>
                        <a:pt x="238438" y="36460"/>
                      </a:cubicBezTo>
                      <a:lnTo>
                        <a:pt x="238332" y="36354"/>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3" name="Freeform: Shape 2582">
                  <a:extLst>
                    <a:ext uri="{FF2B5EF4-FFF2-40B4-BE49-F238E27FC236}">
                      <a16:creationId xmlns:a16="http://schemas.microsoft.com/office/drawing/2014/main" id="{D9244EFA-CDD4-BF9C-5DFA-3AFF4F5C642D}"/>
                    </a:ext>
                  </a:extLst>
                </p:cNvPr>
                <p:cNvSpPr/>
                <p:nvPr/>
              </p:nvSpPr>
              <p:spPr>
                <a:xfrm>
                  <a:off x="7823854" y="2651950"/>
                  <a:ext cx="88711" cy="63592"/>
                </a:xfrm>
                <a:custGeom>
                  <a:avLst/>
                  <a:gdLst>
                    <a:gd name="connsiteX0" fmla="*/ 88712 w 88711"/>
                    <a:gd name="connsiteY0" fmla="*/ 0 h 63592"/>
                    <a:gd name="connsiteX1" fmla="*/ 74227 w 88711"/>
                    <a:gd name="connsiteY1" fmla="*/ 17594 h 63592"/>
                    <a:gd name="connsiteX2" fmla="*/ 33810 w 88711"/>
                    <a:gd name="connsiteY2" fmla="*/ 49002 h 63592"/>
                    <a:gd name="connsiteX3" fmla="*/ 0 w 88711"/>
                    <a:gd name="connsiteY3" fmla="*/ 63593 h 63592"/>
                    <a:gd name="connsiteX4" fmla="*/ 88712 w 88711"/>
                    <a:gd name="connsiteY4" fmla="*/ 0 h 63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711" h="63592">
                      <a:moveTo>
                        <a:pt x="88712" y="0"/>
                      </a:moveTo>
                      <a:cubicBezTo>
                        <a:pt x="86557" y="9115"/>
                        <a:pt x="80904" y="14591"/>
                        <a:pt x="74227" y="17594"/>
                      </a:cubicBezTo>
                      <a:cubicBezTo>
                        <a:pt x="58152" y="24907"/>
                        <a:pt x="45540" y="36319"/>
                        <a:pt x="33810" y="49002"/>
                      </a:cubicBezTo>
                      <a:cubicBezTo>
                        <a:pt x="24907" y="58647"/>
                        <a:pt x="13142" y="61049"/>
                        <a:pt x="0" y="63593"/>
                      </a:cubicBezTo>
                      <a:cubicBezTo>
                        <a:pt x="14132" y="36531"/>
                        <a:pt x="54018" y="8055"/>
                        <a:pt x="88712" y="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4" name="Freeform: Shape 2583">
                  <a:extLst>
                    <a:ext uri="{FF2B5EF4-FFF2-40B4-BE49-F238E27FC236}">
                      <a16:creationId xmlns:a16="http://schemas.microsoft.com/office/drawing/2014/main" id="{89F8DC02-5C3A-432D-7CEF-4CEBA00AA8E4}"/>
                    </a:ext>
                  </a:extLst>
                </p:cNvPr>
                <p:cNvSpPr/>
                <p:nvPr/>
              </p:nvSpPr>
              <p:spPr>
                <a:xfrm>
                  <a:off x="8953187" y="3091642"/>
                  <a:ext cx="41498" cy="91414"/>
                </a:xfrm>
                <a:custGeom>
                  <a:avLst/>
                  <a:gdLst>
                    <a:gd name="connsiteX0" fmla="*/ 23393 w 41498"/>
                    <a:gd name="connsiteY0" fmla="*/ 91379 h 91414"/>
                    <a:gd name="connsiteX1" fmla="*/ 24170 w 41498"/>
                    <a:gd name="connsiteY1" fmla="*/ 76081 h 91414"/>
                    <a:gd name="connsiteX2" fmla="*/ 22439 w 41498"/>
                    <a:gd name="connsiteY2" fmla="*/ 24571 h 91414"/>
                    <a:gd name="connsiteX3" fmla="*/ 8166 w 41498"/>
                    <a:gd name="connsiteY3" fmla="*/ 15880 h 91414"/>
                    <a:gd name="connsiteX4" fmla="*/ 217 w 41498"/>
                    <a:gd name="connsiteY4" fmla="*/ 4292 h 91414"/>
                    <a:gd name="connsiteX5" fmla="*/ 23605 w 41498"/>
                    <a:gd name="connsiteY5" fmla="*/ 3267 h 91414"/>
                    <a:gd name="connsiteX6" fmla="*/ 34733 w 41498"/>
                    <a:gd name="connsiteY6" fmla="*/ 4963 h 91414"/>
                    <a:gd name="connsiteX7" fmla="*/ 23357 w 41498"/>
                    <a:gd name="connsiteY7" fmla="*/ 91414 h 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98" h="91414">
                      <a:moveTo>
                        <a:pt x="23393" y="91379"/>
                      </a:moveTo>
                      <a:cubicBezTo>
                        <a:pt x="19577" y="85337"/>
                        <a:pt x="21096" y="81027"/>
                        <a:pt x="24170" y="76081"/>
                      </a:cubicBezTo>
                      <a:cubicBezTo>
                        <a:pt x="35016" y="58664"/>
                        <a:pt x="30600" y="41494"/>
                        <a:pt x="22439" y="24571"/>
                      </a:cubicBezTo>
                      <a:cubicBezTo>
                        <a:pt x="19577" y="18671"/>
                        <a:pt x="13571" y="17540"/>
                        <a:pt x="8166" y="15880"/>
                      </a:cubicBezTo>
                      <a:cubicBezTo>
                        <a:pt x="3220" y="14361"/>
                        <a:pt x="-1020" y="12912"/>
                        <a:pt x="217" y="4292"/>
                      </a:cubicBezTo>
                      <a:cubicBezTo>
                        <a:pt x="9685" y="16940"/>
                        <a:pt x="16998" y="10474"/>
                        <a:pt x="23605" y="3267"/>
                      </a:cubicBezTo>
                      <a:cubicBezTo>
                        <a:pt x="28692" y="-2279"/>
                        <a:pt x="32154" y="-124"/>
                        <a:pt x="34733" y="4963"/>
                      </a:cubicBezTo>
                      <a:cubicBezTo>
                        <a:pt x="47629" y="30153"/>
                        <a:pt x="41128" y="79720"/>
                        <a:pt x="23357" y="9141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5" name="Freeform: Shape 2584">
                  <a:extLst>
                    <a:ext uri="{FF2B5EF4-FFF2-40B4-BE49-F238E27FC236}">
                      <a16:creationId xmlns:a16="http://schemas.microsoft.com/office/drawing/2014/main" id="{6FF21AB9-7A62-5269-0938-6014DDD2BCE8}"/>
                    </a:ext>
                  </a:extLst>
                </p:cNvPr>
                <p:cNvSpPr/>
                <p:nvPr/>
              </p:nvSpPr>
              <p:spPr>
                <a:xfrm>
                  <a:off x="8312671" y="3850871"/>
                  <a:ext cx="88782" cy="35065"/>
                </a:xfrm>
                <a:custGeom>
                  <a:avLst/>
                  <a:gdLst>
                    <a:gd name="connsiteX0" fmla="*/ 35 w 88782"/>
                    <a:gd name="connsiteY0" fmla="*/ 3230 h 35065"/>
                    <a:gd name="connsiteX1" fmla="*/ 21127 w 88782"/>
                    <a:gd name="connsiteY1" fmla="*/ 6657 h 35065"/>
                    <a:gd name="connsiteX2" fmla="*/ 88782 w 88782"/>
                    <a:gd name="connsiteY2" fmla="*/ 34037 h 35065"/>
                    <a:gd name="connsiteX3" fmla="*/ 0 w 88782"/>
                    <a:gd name="connsiteY3" fmla="*/ 3266 h 35065"/>
                  </a:gdLst>
                  <a:ahLst/>
                  <a:cxnLst>
                    <a:cxn ang="0">
                      <a:pos x="connsiteX0" y="connsiteY0"/>
                    </a:cxn>
                    <a:cxn ang="0">
                      <a:pos x="connsiteX1" y="connsiteY1"/>
                    </a:cxn>
                    <a:cxn ang="0">
                      <a:pos x="connsiteX2" y="connsiteY2"/>
                    </a:cxn>
                    <a:cxn ang="0">
                      <a:pos x="connsiteX3" y="connsiteY3"/>
                    </a:cxn>
                  </a:cxnLst>
                  <a:rect l="l" t="t" r="r" b="b"/>
                  <a:pathLst>
                    <a:path w="88782" h="35065">
                      <a:moveTo>
                        <a:pt x="35" y="3230"/>
                      </a:moveTo>
                      <a:cubicBezTo>
                        <a:pt x="8656" y="-2599"/>
                        <a:pt x="14450" y="15"/>
                        <a:pt x="21127" y="6657"/>
                      </a:cubicBezTo>
                      <a:cubicBezTo>
                        <a:pt x="38615" y="24004"/>
                        <a:pt x="60060" y="33366"/>
                        <a:pt x="88782" y="34037"/>
                      </a:cubicBezTo>
                      <a:cubicBezTo>
                        <a:pt x="51616" y="38948"/>
                        <a:pt x="15827" y="25876"/>
                        <a:pt x="0" y="326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6" name="Freeform: Shape 2585">
                  <a:extLst>
                    <a:ext uri="{FF2B5EF4-FFF2-40B4-BE49-F238E27FC236}">
                      <a16:creationId xmlns:a16="http://schemas.microsoft.com/office/drawing/2014/main" id="{949FE8B1-BADE-0CF1-708A-A8A9C7A51CC4}"/>
                    </a:ext>
                  </a:extLst>
                </p:cNvPr>
                <p:cNvSpPr/>
                <p:nvPr/>
              </p:nvSpPr>
              <p:spPr>
                <a:xfrm>
                  <a:off x="7980363" y="3785665"/>
                  <a:ext cx="45998" cy="31362"/>
                </a:xfrm>
                <a:custGeom>
                  <a:avLst/>
                  <a:gdLst>
                    <a:gd name="connsiteX0" fmla="*/ 35 w 45998"/>
                    <a:gd name="connsiteY0" fmla="*/ 145 h 31362"/>
                    <a:gd name="connsiteX1" fmla="*/ 13496 w 45998"/>
                    <a:gd name="connsiteY1" fmla="*/ 8412 h 31362"/>
                    <a:gd name="connsiteX2" fmla="*/ 45999 w 45998"/>
                    <a:gd name="connsiteY2" fmla="*/ 29927 h 31362"/>
                    <a:gd name="connsiteX3" fmla="*/ 0 w 45998"/>
                    <a:gd name="connsiteY3" fmla="*/ 145 h 31362"/>
                    <a:gd name="connsiteX4" fmla="*/ 0 w 45998"/>
                    <a:gd name="connsiteY4" fmla="*/ 145 h 31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98" h="31362">
                      <a:moveTo>
                        <a:pt x="35" y="145"/>
                      </a:moveTo>
                      <a:cubicBezTo>
                        <a:pt x="6748" y="-739"/>
                        <a:pt x="11588" y="2476"/>
                        <a:pt x="13496" y="8412"/>
                      </a:cubicBezTo>
                      <a:cubicBezTo>
                        <a:pt x="18407" y="23921"/>
                        <a:pt x="30383" y="28549"/>
                        <a:pt x="45999" y="29927"/>
                      </a:cubicBezTo>
                      <a:cubicBezTo>
                        <a:pt x="19678" y="35580"/>
                        <a:pt x="2932" y="24310"/>
                        <a:pt x="0" y="145"/>
                      </a:cubicBezTo>
                      <a:lnTo>
                        <a:pt x="0" y="145"/>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7" name="Freeform: Shape 2586">
                  <a:extLst>
                    <a:ext uri="{FF2B5EF4-FFF2-40B4-BE49-F238E27FC236}">
                      <a16:creationId xmlns:a16="http://schemas.microsoft.com/office/drawing/2014/main" id="{A34F35EB-165F-88FC-A71A-6600CDAC1226}"/>
                    </a:ext>
                  </a:extLst>
                </p:cNvPr>
                <p:cNvSpPr/>
                <p:nvPr/>
              </p:nvSpPr>
              <p:spPr>
                <a:xfrm>
                  <a:off x="7858406" y="3729142"/>
                  <a:ext cx="63416" cy="24765"/>
                </a:xfrm>
                <a:custGeom>
                  <a:avLst/>
                  <a:gdLst>
                    <a:gd name="connsiteX0" fmla="*/ 63416 w 63416"/>
                    <a:gd name="connsiteY0" fmla="*/ 24660 h 24765"/>
                    <a:gd name="connsiteX1" fmla="*/ 0 w 63416"/>
                    <a:gd name="connsiteY1" fmla="*/ 0 h 24765"/>
                    <a:gd name="connsiteX2" fmla="*/ 55679 w 63416"/>
                    <a:gd name="connsiteY2" fmla="*/ 9362 h 24765"/>
                    <a:gd name="connsiteX3" fmla="*/ 63310 w 63416"/>
                    <a:gd name="connsiteY3" fmla="*/ 24766 h 24765"/>
                    <a:gd name="connsiteX4" fmla="*/ 63381 w 63416"/>
                    <a:gd name="connsiteY4" fmla="*/ 24660 h 24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16" h="24765">
                      <a:moveTo>
                        <a:pt x="63416" y="24660"/>
                      </a:moveTo>
                      <a:cubicBezTo>
                        <a:pt x="44126" y="11659"/>
                        <a:pt x="20915" y="9327"/>
                        <a:pt x="0" y="0"/>
                      </a:cubicBezTo>
                      <a:cubicBezTo>
                        <a:pt x="18583" y="3003"/>
                        <a:pt x="37308" y="5370"/>
                        <a:pt x="55679" y="9362"/>
                      </a:cubicBezTo>
                      <a:cubicBezTo>
                        <a:pt x="62180" y="10775"/>
                        <a:pt x="63593" y="18159"/>
                        <a:pt x="63310" y="24766"/>
                      </a:cubicBezTo>
                      <a:lnTo>
                        <a:pt x="63381" y="24660"/>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8" name="Freeform: Shape 2587">
                  <a:extLst>
                    <a:ext uri="{FF2B5EF4-FFF2-40B4-BE49-F238E27FC236}">
                      <a16:creationId xmlns:a16="http://schemas.microsoft.com/office/drawing/2014/main" id="{E3E9A434-5406-7D27-3F6F-A300F19935C6}"/>
                    </a:ext>
                  </a:extLst>
                </p:cNvPr>
                <p:cNvSpPr/>
                <p:nvPr/>
              </p:nvSpPr>
              <p:spPr>
                <a:xfrm>
                  <a:off x="8852856" y="2839372"/>
                  <a:ext cx="18406" cy="31019"/>
                </a:xfrm>
                <a:custGeom>
                  <a:avLst/>
                  <a:gdLst>
                    <a:gd name="connsiteX0" fmla="*/ 18407 w 18406"/>
                    <a:gd name="connsiteY0" fmla="*/ 31019 h 31019"/>
                    <a:gd name="connsiteX1" fmla="*/ 0 w 18406"/>
                    <a:gd name="connsiteY1" fmla="*/ 0 h 31019"/>
                    <a:gd name="connsiteX2" fmla="*/ 18407 w 18406"/>
                    <a:gd name="connsiteY2" fmla="*/ 31019 h 31019"/>
                  </a:gdLst>
                  <a:ahLst/>
                  <a:cxnLst>
                    <a:cxn ang="0">
                      <a:pos x="connsiteX0" y="connsiteY0"/>
                    </a:cxn>
                    <a:cxn ang="0">
                      <a:pos x="connsiteX1" y="connsiteY1"/>
                    </a:cxn>
                    <a:cxn ang="0">
                      <a:pos x="connsiteX2" y="connsiteY2"/>
                    </a:cxn>
                  </a:cxnLst>
                  <a:rect l="l" t="t" r="r" b="b"/>
                  <a:pathLst>
                    <a:path w="18406" h="31019">
                      <a:moveTo>
                        <a:pt x="18407" y="31019"/>
                      </a:moveTo>
                      <a:cubicBezTo>
                        <a:pt x="10104" y="22010"/>
                        <a:pt x="3992" y="11659"/>
                        <a:pt x="0" y="0"/>
                      </a:cubicBezTo>
                      <a:cubicBezTo>
                        <a:pt x="13284" y="5935"/>
                        <a:pt x="14662" y="19219"/>
                        <a:pt x="18407" y="3101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9" name="Freeform: Shape 2588">
                  <a:extLst>
                    <a:ext uri="{FF2B5EF4-FFF2-40B4-BE49-F238E27FC236}">
                      <a16:creationId xmlns:a16="http://schemas.microsoft.com/office/drawing/2014/main" id="{84DA8F83-B3FA-3296-2E03-237B17E202E4}"/>
                    </a:ext>
                  </a:extLst>
                </p:cNvPr>
                <p:cNvSpPr/>
                <p:nvPr/>
              </p:nvSpPr>
              <p:spPr>
                <a:xfrm>
                  <a:off x="8286668" y="3858447"/>
                  <a:ext cx="4805" cy="1978"/>
                </a:xfrm>
                <a:custGeom>
                  <a:avLst/>
                  <a:gdLst>
                    <a:gd name="connsiteX0" fmla="*/ 71 w 4805"/>
                    <a:gd name="connsiteY0" fmla="*/ 1978 h 1978"/>
                    <a:gd name="connsiteX1" fmla="*/ 4134 w 4805"/>
                    <a:gd name="connsiteY1" fmla="*/ 0 h 1978"/>
                    <a:gd name="connsiteX2" fmla="*/ 4805 w 4805"/>
                    <a:gd name="connsiteY2" fmla="*/ 1201 h 1978"/>
                    <a:gd name="connsiteX3" fmla="*/ 0 w 4805"/>
                    <a:gd name="connsiteY3" fmla="*/ 1837 h 1978"/>
                    <a:gd name="connsiteX4" fmla="*/ 106 w 4805"/>
                    <a:gd name="connsiteY4" fmla="*/ 1943 h 1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5" h="1978">
                      <a:moveTo>
                        <a:pt x="71" y="1978"/>
                      </a:moveTo>
                      <a:cubicBezTo>
                        <a:pt x="1413" y="1307"/>
                        <a:pt x="2756" y="636"/>
                        <a:pt x="4134" y="0"/>
                      </a:cubicBezTo>
                      <a:cubicBezTo>
                        <a:pt x="4134" y="0"/>
                        <a:pt x="4558" y="777"/>
                        <a:pt x="4805" y="1201"/>
                      </a:cubicBezTo>
                      <a:cubicBezTo>
                        <a:pt x="3215" y="1413"/>
                        <a:pt x="1590" y="1625"/>
                        <a:pt x="0" y="1837"/>
                      </a:cubicBezTo>
                      <a:cubicBezTo>
                        <a:pt x="0" y="1837"/>
                        <a:pt x="106" y="1943"/>
                        <a:pt x="106" y="194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0" name="Freeform: Shape 2589">
                  <a:extLst>
                    <a:ext uri="{FF2B5EF4-FFF2-40B4-BE49-F238E27FC236}">
                      <a16:creationId xmlns:a16="http://schemas.microsoft.com/office/drawing/2014/main" id="{B37A6207-0BB4-2DC1-0A2E-96F01A2E2FE5}"/>
                    </a:ext>
                  </a:extLst>
                </p:cNvPr>
                <p:cNvSpPr/>
                <p:nvPr/>
              </p:nvSpPr>
              <p:spPr>
                <a:xfrm>
                  <a:off x="8848652" y="2832271"/>
                  <a:ext cx="989" cy="1377"/>
                </a:xfrm>
                <a:custGeom>
                  <a:avLst/>
                  <a:gdLst>
                    <a:gd name="connsiteX0" fmla="*/ 0 w 989"/>
                    <a:gd name="connsiteY0" fmla="*/ 141 h 1377"/>
                    <a:gd name="connsiteX1" fmla="*/ 989 w 989"/>
                    <a:gd name="connsiteY1" fmla="*/ 1378 h 1377"/>
                    <a:gd name="connsiteX2" fmla="*/ 353 w 989"/>
                    <a:gd name="connsiteY2" fmla="*/ 1025 h 1377"/>
                    <a:gd name="connsiteX3" fmla="*/ 141 w 989"/>
                    <a:gd name="connsiteY3" fmla="*/ 0 h 1377"/>
                    <a:gd name="connsiteX4" fmla="*/ 35 w 989"/>
                    <a:gd name="connsiteY4" fmla="*/ 106 h 1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 h="1377">
                      <a:moveTo>
                        <a:pt x="0" y="141"/>
                      </a:moveTo>
                      <a:lnTo>
                        <a:pt x="989" y="1378"/>
                      </a:lnTo>
                      <a:cubicBezTo>
                        <a:pt x="777" y="1272"/>
                        <a:pt x="424" y="1201"/>
                        <a:pt x="353" y="1025"/>
                      </a:cubicBezTo>
                      <a:cubicBezTo>
                        <a:pt x="212" y="742"/>
                        <a:pt x="176" y="353"/>
                        <a:pt x="141" y="0"/>
                      </a:cubicBezTo>
                      <a:lnTo>
                        <a:pt x="35" y="106"/>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1" name="Freeform: Shape 2590">
                  <a:extLst>
                    <a:ext uri="{FF2B5EF4-FFF2-40B4-BE49-F238E27FC236}">
                      <a16:creationId xmlns:a16="http://schemas.microsoft.com/office/drawing/2014/main" id="{72D3C69C-AC0B-2104-EDDC-635EDE6D5419}"/>
                    </a:ext>
                  </a:extLst>
                </p:cNvPr>
                <p:cNvSpPr/>
                <p:nvPr/>
              </p:nvSpPr>
              <p:spPr>
                <a:xfrm>
                  <a:off x="8847380" y="2831352"/>
                  <a:ext cx="1377" cy="1059"/>
                </a:xfrm>
                <a:custGeom>
                  <a:avLst/>
                  <a:gdLst>
                    <a:gd name="connsiteX0" fmla="*/ 1378 w 1377"/>
                    <a:gd name="connsiteY0" fmla="*/ 919 h 1059"/>
                    <a:gd name="connsiteX1" fmla="*/ 0 w 1377"/>
                    <a:gd name="connsiteY1" fmla="*/ 0 h 1059"/>
                    <a:gd name="connsiteX2" fmla="*/ 706 w 1377"/>
                    <a:gd name="connsiteY2" fmla="*/ 141 h 1059"/>
                    <a:gd name="connsiteX3" fmla="*/ 1272 w 1377"/>
                    <a:gd name="connsiteY3" fmla="*/ 1060 h 1059"/>
                    <a:gd name="connsiteX4" fmla="*/ 1378 w 1377"/>
                    <a:gd name="connsiteY4" fmla="*/ 954 h 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 h="1059">
                      <a:moveTo>
                        <a:pt x="1378" y="919"/>
                      </a:moveTo>
                      <a:cubicBezTo>
                        <a:pt x="919" y="601"/>
                        <a:pt x="459" y="283"/>
                        <a:pt x="0" y="0"/>
                      </a:cubicBezTo>
                      <a:cubicBezTo>
                        <a:pt x="247" y="35"/>
                        <a:pt x="565" y="0"/>
                        <a:pt x="706" y="141"/>
                      </a:cubicBezTo>
                      <a:cubicBezTo>
                        <a:pt x="954" y="389"/>
                        <a:pt x="1095" y="742"/>
                        <a:pt x="1272" y="1060"/>
                      </a:cubicBezTo>
                      <a:cubicBezTo>
                        <a:pt x="1272" y="1060"/>
                        <a:pt x="1378" y="954"/>
                        <a:pt x="1378" y="95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2" name="Freeform: Shape 2591">
                  <a:extLst>
                    <a:ext uri="{FF2B5EF4-FFF2-40B4-BE49-F238E27FC236}">
                      <a16:creationId xmlns:a16="http://schemas.microsoft.com/office/drawing/2014/main" id="{97DA9770-23FC-C615-58FC-328359C8C7C2}"/>
                    </a:ext>
                  </a:extLst>
                </p:cNvPr>
                <p:cNvSpPr/>
                <p:nvPr/>
              </p:nvSpPr>
              <p:spPr>
                <a:xfrm>
                  <a:off x="7921716" y="3753802"/>
                  <a:ext cx="1271" cy="1130"/>
                </a:xfrm>
                <a:custGeom>
                  <a:avLst/>
                  <a:gdLst>
                    <a:gd name="connsiteX0" fmla="*/ 0 w 1271"/>
                    <a:gd name="connsiteY0" fmla="*/ 106 h 1130"/>
                    <a:gd name="connsiteX1" fmla="*/ 1272 w 1271"/>
                    <a:gd name="connsiteY1" fmla="*/ 1131 h 1130"/>
                    <a:gd name="connsiteX2" fmla="*/ 565 w 1271"/>
                    <a:gd name="connsiteY2" fmla="*/ 954 h 1130"/>
                    <a:gd name="connsiteX3" fmla="*/ 106 w 1271"/>
                    <a:gd name="connsiteY3" fmla="*/ 0 h 1130"/>
                    <a:gd name="connsiteX4" fmla="*/ 35 w 1271"/>
                    <a:gd name="connsiteY4" fmla="*/ 106 h 1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 h="1130">
                      <a:moveTo>
                        <a:pt x="0" y="106"/>
                      </a:moveTo>
                      <a:lnTo>
                        <a:pt x="1272" y="1131"/>
                      </a:lnTo>
                      <a:cubicBezTo>
                        <a:pt x="1024" y="1095"/>
                        <a:pt x="706" y="1131"/>
                        <a:pt x="565" y="954"/>
                      </a:cubicBezTo>
                      <a:cubicBezTo>
                        <a:pt x="353" y="707"/>
                        <a:pt x="247" y="318"/>
                        <a:pt x="106" y="0"/>
                      </a:cubicBezTo>
                      <a:cubicBezTo>
                        <a:pt x="106" y="0"/>
                        <a:pt x="35" y="106"/>
                        <a:pt x="35" y="10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3" name="Freeform: Shape 2592">
                  <a:extLst>
                    <a:ext uri="{FF2B5EF4-FFF2-40B4-BE49-F238E27FC236}">
                      <a16:creationId xmlns:a16="http://schemas.microsoft.com/office/drawing/2014/main" id="{B5658CF3-A492-7EFD-2C43-E766E2F5C96F}"/>
                    </a:ext>
                  </a:extLst>
                </p:cNvPr>
                <p:cNvSpPr/>
                <p:nvPr/>
              </p:nvSpPr>
              <p:spPr>
                <a:xfrm>
                  <a:off x="7979444" y="3785033"/>
                  <a:ext cx="918" cy="777"/>
                </a:xfrm>
                <a:custGeom>
                  <a:avLst/>
                  <a:gdLst>
                    <a:gd name="connsiteX0" fmla="*/ 919 w 918"/>
                    <a:gd name="connsiteY0" fmla="*/ 777 h 777"/>
                    <a:gd name="connsiteX1" fmla="*/ 0 w 918"/>
                    <a:gd name="connsiteY1" fmla="*/ 0 h 777"/>
                    <a:gd name="connsiteX2" fmla="*/ 919 w 918"/>
                    <a:gd name="connsiteY2" fmla="*/ 742 h 777"/>
                    <a:gd name="connsiteX3" fmla="*/ 919 w 918"/>
                    <a:gd name="connsiteY3" fmla="*/ 742 h 777"/>
                  </a:gdLst>
                  <a:ahLst/>
                  <a:cxnLst>
                    <a:cxn ang="0">
                      <a:pos x="connsiteX0" y="connsiteY0"/>
                    </a:cxn>
                    <a:cxn ang="0">
                      <a:pos x="connsiteX1" y="connsiteY1"/>
                    </a:cxn>
                    <a:cxn ang="0">
                      <a:pos x="connsiteX2" y="connsiteY2"/>
                    </a:cxn>
                    <a:cxn ang="0">
                      <a:pos x="connsiteX3" y="connsiteY3"/>
                    </a:cxn>
                  </a:cxnLst>
                  <a:rect l="l" t="t" r="r" b="b"/>
                  <a:pathLst>
                    <a:path w="918" h="777">
                      <a:moveTo>
                        <a:pt x="919" y="777"/>
                      </a:moveTo>
                      <a:cubicBezTo>
                        <a:pt x="601" y="530"/>
                        <a:pt x="318" y="283"/>
                        <a:pt x="0" y="0"/>
                      </a:cubicBezTo>
                      <a:cubicBezTo>
                        <a:pt x="318" y="247"/>
                        <a:pt x="636" y="495"/>
                        <a:pt x="919" y="742"/>
                      </a:cubicBezTo>
                      <a:cubicBezTo>
                        <a:pt x="919" y="742"/>
                        <a:pt x="919" y="742"/>
                        <a:pt x="919" y="742"/>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4" name="Freeform: Shape 2593">
                  <a:extLst>
                    <a:ext uri="{FF2B5EF4-FFF2-40B4-BE49-F238E27FC236}">
                      <a16:creationId xmlns:a16="http://schemas.microsoft.com/office/drawing/2014/main" id="{8E145B1C-028A-0198-71F8-7645163B577A}"/>
                    </a:ext>
                  </a:extLst>
                </p:cNvPr>
                <p:cNvSpPr/>
                <p:nvPr/>
              </p:nvSpPr>
              <p:spPr>
                <a:xfrm>
                  <a:off x="7900725" y="2838283"/>
                  <a:ext cx="830972" cy="796660"/>
                </a:xfrm>
                <a:custGeom>
                  <a:avLst/>
                  <a:gdLst>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221450 w 830972"/>
                    <a:gd name="connsiteY29" fmla="*/ 191585 h 796660"/>
                    <a:gd name="connsiteX30" fmla="*/ 225230 w 830972"/>
                    <a:gd name="connsiteY30" fmla="*/ 179220 h 796660"/>
                    <a:gd name="connsiteX31" fmla="*/ 198238 w 830972"/>
                    <a:gd name="connsiteY31" fmla="*/ 152122 h 796660"/>
                    <a:gd name="connsiteX32" fmla="*/ 166796 w 830972"/>
                    <a:gd name="connsiteY32" fmla="*/ 166325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81881 w 830972"/>
                    <a:gd name="connsiteY47" fmla="*/ 20732 h 796660"/>
                    <a:gd name="connsiteX48" fmla="*/ 341111 w 830972"/>
                    <a:gd name="connsiteY48" fmla="*/ 24866 h 796660"/>
                    <a:gd name="connsiteX49" fmla="*/ 230176 w 830972"/>
                    <a:gd name="connsiteY49" fmla="*/ 74150 h 796660"/>
                    <a:gd name="connsiteX50" fmla="*/ 209261 w 830972"/>
                    <a:gd name="connsiteY50" fmla="*/ 92451 h 796660"/>
                    <a:gd name="connsiteX51" fmla="*/ 212052 w 830972"/>
                    <a:gd name="connsiteY51" fmla="*/ 110857 h 796660"/>
                    <a:gd name="connsiteX52" fmla="*/ 226078 w 830972"/>
                    <a:gd name="connsiteY52" fmla="*/ 114108 h 796660"/>
                    <a:gd name="connsiteX53" fmla="*/ 272678 w 830972"/>
                    <a:gd name="connsiteY53" fmla="*/ 102520 h 796660"/>
                    <a:gd name="connsiteX54" fmla="*/ 267484 w 830972"/>
                    <a:gd name="connsiteY54" fmla="*/ 112129 h 796660"/>
                    <a:gd name="connsiteX55" fmla="*/ 242754 w 830972"/>
                    <a:gd name="connsiteY55" fmla="*/ 161096 h 796660"/>
                    <a:gd name="connsiteX56" fmla="*/ 221415 w 830972"/>
                    <a:gd name="connsiteY56" fmla="*/ 191656 h 796660"/>
                    <a:gd name="connsiteX57" fmla="*/ 105358 w 830972"/>
                    <a:gd name="connsiteY57" fmla="*/ 191726 h 796660"/>
                    <a:gd name="connsiteX58" fmla="*/ 59041 w 830972"/>
                    <a:gd name="connsiteY58" fmla="*/ 237513 h 796660"/>
                    <a:gd name="connsiteX59" fmla="*/ 23888 w 830972"/>
                    <a:gd name="connsiteY59" fmla="*/ 356008 h 796660"/>
                    <a:gd name="connsiteX60" fmla="*/ 28834 w 830972"/>
                    <a:gd name="connsiteY60" fmla="*/ 363816 h 796660"/>
                    <a:gd name="connsiteX61" fmla="*/ 36466 w 830972"/>
                    <a:gd name="connsiteY61" fmla="*/ 358092 h 796660"/>
                    <a:gd name="connsiteX62" fmla="*/ 62892 w 830972"/>
                    <a:gd name="connsiteY62" fmla="*/ 292097 h 796660"/>
                    <a:gd name="connsiteX63" fmla="*/ 99988 w 830972"/>
                    <a:gd name="connsiteY63" fmla="*/ 216068 h 796660"/>
                    <a:gd name="connsiteX64" fmla="*/ 105358 w 830972"/>
                    <a:gd name="connsiteY64" fmla="*/ 191691 h 796660"/>
                    <a:gd name="connsiteX65" fmla="*/ 295182 w 830972"/>
                    <a:gd name="connsiteY65" fmla="*/ 327038 h 796660"/>
                    <a:gd name="connsiteX66" fmla="*/ 354394 w 830972"/>
                    <a:gd name="connsiteY66" fmla="*/ 281922 h 796660"/>
                    <a:gd name="connsiteX67" fmla="*/ 351956 w 830972"/>
                    <a:gd name="connsiteY67" fmla="*/ 253765 h 796660"/>
                    <a:gd name="connsiteX68" fmla="*/ 322492 w 830972"/>
                    <a:gd name="connsiteY68" fmla="*/ 247617 h 796660"/>
                    <a:gd name="connsiteX69" fmla="*/ 309137 w 830972"/>
                    <a:gd name="connsiteY69" fmla="*/ 271535 h 796660"/>
                    <a:gd name="connsiteX70" fmla="*/ 288187 w 830972"/>
                    <a:gd name="connsiteY70" fmla="*/ 297290 h 796660"/>
                    <a:gd name="connsiteX71" fmla="*/ 277165 w 830972"/>
                    <a:gd name="connsiteY71" fmla="*/ 315980 h 796660"/>
                    <a:gd name="connsiteX72" fmla="*/ 295147 w 830972"/>
                    <a:gd name="connsiteY72" fmla="*/ 327038 h 796660"/>
                    <a:gd name="connsiteX73" fmla="*/ 431624 w 830972"/>
                    <a:gd name="connsiteY73" fmla="*/ 76729 h 796660"/>
                    <a:gd name="connsiteX74" fmla="*/ 425760 w 830972"/>
                    <a:gd name="connsiteY74" fmla="*/ 78602 h 796660"/>
                    <a:gd name="connsiteX75" fmla="*/ 374073 w 830972"/>
                    <a:gd name="connsiteY75" fmla="*/ 101389 h 796660"/>
                    <a:gd name="connsiteX76" fmla="*/ 358174 w 830972"/>
                    <a:gd name="connsiteY76" fmla="*/ 110610 h 796660"/>
                    <a:gd name="connsiteX77" fmla="*/ 355596 w 830972"/>
                    <a:gd name="connsiteY77" fmla="*/ 140287 h 796660"/>
                    <a:gd name="connsiteX78" fmla="*/ 382729 w 830972"/>
                    <a:gd name="connsiteY78" fmla="*/ 137143 h 796660"/>
                    <a:gd name="connsiteX79" fmla="*/ 408448 w 830972"/>
                    <a:gd name="connsiteY79" fmla="*/ 123753 h 796660"/>
                    <a:gd name="connsiteX80" fmla="*/ 446462 w 830972"/>
                    <a:gd name="connsiteY80" fmla="*/ 93405 h 796660"/>
                    <a:gd name="connsiteX81" fmla="*/ 431624 w 830972"/>
                    <a:gd name="connsiteY81" fmla="*/ 76694 h 79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30972" h="796660">
                      <a:moveTo>
                        <a:pt x="157469" y="124883"/>
                      </a:moveTo>
                      <a:cubicBezTo>
                        <a:pt x="165983" y="119478"/>
                        <a:pt x="171954" y="111246"/>
                        <a:pt x="176476" y="102979"/>
                      </a:cubicBezTo>
                      <a:cubicBezTo>
                        <a:pt x="192162" y="74292"/>
                        <a:pt x="217316" y="57051"/>
                        <a:pt x="245015" y="42177"/>
                      </a:cubicBezTo>
                      <a:cubicBezTo>
                        <a:pt x="275928" y="25572"/>
                        <a:pt x="307230" y="10593"/>
                        <a:pt x="342171" y="3845"/>
                      </a:cubicBezTo>
                      <a:cubicBezTo>
                        <a:pt x="373331" y="-2161"/>
                        <a:pt x="403714" y="-1596"/>
                        <a:pt x="433638" y="8862"/>
                      </a:cubicBezTo>
                      <a:cubicBezTo>
                        <a:pt x="464799" y="19743"/>
                        <a:pt x="496737" y="25502"/>
                        <a:pt x="529734" y="25643"/>
                      </a:cubicBezTo>
                      <a:cubicBezTo>
                        <a:pt x="551850" y="25749"/>
                        <a:pt x="573825" y="25855"/>
                        <a:pt x="595870" y="30165"/>
                      </a:cubicBezTo>
                      <a:cubicBezTo>
                        <a:pt x="623498" y="35535"/>
                        <a:pt x="645438" y="49702"/>
                        <a:pt x="662890" y="70370"/>
                      </a:cubicBezTo>
                      <a:cubicBezTo>
                        <a:pt x="682816" y="93970"/>
                        <a:pt x="705180" y="114532"/>
                        <a:pt x="730864" y="131455"/>
                      </a:cubicBezTo>
                      <a:cubicBezTo>
                        <a:pt x="781950" y="165159"/>
                        <a:pt x="811097" y="213984"/>
                        <a:pt x="827914" y="271359"/>
                      </a:cubicBezTo>
                      <a:cubicBezTo>
                        <a:pt x="836640" y="301106"/>
                        <a:pt x="824875" y="328027"/>
                        <a:pt x="815372" y="355125"/>
                      </a:cubicBezTo>
                      <a:cubicBezTo>
                        <a:pt x="811556" y="365971"/>
                        <a:pt x="806928" y="376570"/>
                        <a:pt x="802052" y="386992"/>
                      </a:cubicBezTo>
                      <a:cubicBezTo>
                        <a:pt x="792408" y="407589"/>
                        <a:pt x="790641" y="428822"/>
                        <a:pt x="797142" y="450408"/>
                      </a:cubicBezTo>
                      <a:cubicBezTo>
                        <a:pt x="815266" y="510856"/>
                        <a:pt x="797566" y="562155"/>
                        <a:pt x="756584" y="606882"/>
                      </a:cubicBezTo>
                      <a:cubicBezTo>
                        <a:pt x="746586" y="617798"/>
                        <a:pt x="733655" y="626454"/>
                        <a:pt x="720972" y="634474"/>
                      </a:cubicBezTo>
                      <a:cubicBezTo>
                        <a:pt x="701788" y="646592"/>
                        <a:pt x="689564" y="662207"/>
                        <a:pt x="682392" y="684430"/>
                      </a:cubicBezTo>
                      <a:cubicBezTo>
                        <a:pt x="664480" y="739932"/>
                        <a:pt x="628338" y="777416"/>
                        <a:pt x="568526" y="786743"/>
                      </a:cubicBezTo>
                      <a:cubicBezTo>
                        <a:pt x="540686" y="791089"/>
                        <a:pt x="512564" y="788686"/>
                        <a:pt x="485431" y="781868"/>
                      </a:cubicBezTo>
                      <a:cubicBezTo>
                        <a:pt x="452963" y="773707"/>
                        <a:pt x="422262" y="776533"/>
                        <a:pt x="390536" y="786496"/>
                      </a:cubicBezTo>
                      <a:cubicBezTo>
                        <a:pt x="332455" y="804691"/>
                        <a:pt x="276952" y="799638"/>
                        <a:pt x="226714" y="761730"/>
                      </a:cubicBezTo>
                      <a:cubicBezTo>
                        <a:pt x="196755" y="739119"/>
                        <a:pt x="164923" y="720748"/>
                        <a:pt x="126273" y="716650"/>
                      </a:cubicBezTo>
                      <a:cubicBezTo>
                        <a:pt x="104157" y="714318"/>
                        <a:pt x="87375" y="699833"/>
                        <a:pt x="71265" y="686090"/>
                      </a:cubicBezTo>
                      <a:cubicBezTo>
                        <a:pt x="43461" y="662384"/>
                        <a:pt x="16928" y="637053"/>
                        <a:pt x="6082" y="600558"/>
                      </a:cubicBezTo>
                      <a:cubicBezTo>
                        <a:pt x="-383" y="578830"/>
                        <a:pt x="-948" y="556361"/>
                        <a:pt x="960" y="533573"/>
                      </a:cubicBezTo>
                      <a:cubicBezTo>
                        <a:pt x="3963" y="497502"/>
                        <a:pt x="5658" y="461501"/>
                        <a:pt x="3362" y="424971"/>
                      </a:cubicBezTo>
                      <a:cubicBezTo>
                        <a:pt x="748" y="383635"/>
                        <a:pt x="-2715" y="341311"/>
                        <a:pt x="7036" y="300505"/>
                      </a:cubicBezTo>
                      <a:cubicBezTo>
                        <a:pt x="20002" y="246346"/>
                        <a:pt x="51304" y="203703"/>
                        <a:pt x="97091" y="171765"/>
                      </a:cubicBezTo>
                      <a:cubicBezTo>
                        <a:pt x="107583" y="164452"/>
                        <a:pt x="117688" y="156574"/>
                        <a:pt x="127933" y="148978"/>
                      </a:cubicBezTo>
                      <a:cubicBezTo>
                        <a:pt x="143902" y="148413"/>
                        <a:pt x="154748" y="141594"/>
                        <a:pt x="157469" y="124848"/>
                      </a:cubicBezTo>
                      <a:close/>
                      <a:moveTo>
                        <a:pt x="221450" y="191585"/>
                      </a:moveTo>
                      <a:cubicBezTo>
                        <a:pt x="222722" y="187452"/>
                        <a:pt x="224206" y="183389"/>
                        <a:pt x="225230" y="179220"/>
                      </a:cubicBezTo>
                      <a:cubicBezTo>
                        <a:pt x="230282" y="158941"/>
                        <a:pt x="218412" y="146964"/>
                        <a:pt x="198238" y="152122"/>
                      </a:cubicBezTo>
                      <a:cubicBezTo>
                        <a:pt x="186969" y="155019"/>
                        <a:pt x="176971" y="160955"/>
                        <a:pt x="166796" y="166325"/>
                      </a:cubicBezTo>
                      <a:cubicBezTo>
                        <a:pt x="123552" y="189183"/>
                        <a:pt x="95395" y="222110"/>
                        <a:pt x="95572" y="273867"/>
                      </a:cubicBezTo>
                      <a:cubicBezTo>
                        <a:pt x="95572" y="283229"/>
                        <a:pt x="89884" y="290083"/>
                        <a:pt x="84372" y="297255"/>
                      </a:cubicBezTo>
                      <a:cubicBezTo>
                        <a:pt x="73915" y="310857"/>
                        <a:pt x="59394" y="321244"/>
                        <a:pt x="52823" y="337919"/>
                      </a:cubicBezTo>
                      <a:cubicBezTo>
                        <a:pt x="50668" y="343431"/>
                        <a:pt x="48725" y="348977"/>
                        <a:pt x="56427" y="350390"/>
                      </a:cubicBezTo>
                      <a:cubicBezTo>
                        <a:pt x="65648" y="352086"/>
                        <a:pt x="66990" y="359293"/>
                        <a:pt x="68509" y="365865"/>
                      </a:cubicBezTo>
                      <a:cubicBezTo>
                        <a:pt x="74515" y="391549"/>
                        <a:pt x="94971" y="404798"/>
                        <a:pt x="119737" y="395859"/>
                      </a:cubicBezTo>
                      <a:cubicBezTo>
                        <a:pt x="133763" y="390807"/>
                        <a:pt x="147576" y="385826"/>
                        <a:pt x="162132" y="382717"/>
                      </a:cubicBezTo>
                      <a:cubicBezTo>
                        <a:pt x="173508" y="380279"/>
                        <a:pt x="181387" y="370917"/>
                        <a:pt x="192303" y="366642"/>
                      </a:cubicBezTo>
                      <a:cubicBezTo>
                        <a:pt x="214137" y="358092"/>
                        <a:pt x="233603" y="346186"/>
                        <a:pt x="246534" y="324635"/>
                      </a:cubicBezTo>
                      <a:cubicBezTo>
                        <a:pt x="264305" y="294994"/>
                        <a:pt x="275610" y="262986"/>
                        <a:pt x="284230" y="230059"/>
                      </a:cubicBezTo>
                      <a:cubicBezTo>
                        <a:pt x="297974" y="177630"/>
                        <a:pt x="312741" y="125943"/>
                        <a:pt x="349908" y="84113"/>
                      </a:cubicBezTo>
                      <a:cubicBezTo>
                        <a:pt x="352169" y="81605"/>
                        <a:pt x="354854" y="77825"/>
                        <a:pt x="353370" y="74468"/>
                      </a:cubicBezTo>
                      <a:cubicBezTo>
                        <a:pt x="350084" y="67014"/>
                        <a:pt x="355242" y="65530"/>
                        <a:pt x="359906" y="62845"/>
                      </a:cubicBezTo>
                      <a:cubicBezTo>
                        <a:pt x="372872" y="55320"/>
                        <a:pt x="382905" y="45216"/>
                        <a:pt x="388805" y="31013"/>
                      </a:cubicBezTo>
                      <a:cubicBezTo>
                        <a:pt x="392197" y="22887"/>
                        <a:pt x="389865" y="21015"/>
                        <a:pt x="381881" y="20732"/>
                      </a:cubicBezTo>
                      <a:cubicBezTo>
                        <a:pt x="368032" y="20238"/>
                        <a:pt x="354536" y="22463"/>
                        <a:pt x="341111" y="24866"/>
                      </a:cubicBezTo>
                      <a:cubicBezTo>
                        <a:pt x="300164" y="32179"/>
                        <a:pt x="266036" y="55178"/>
                        <a:pt x="230176" y="74150"/>
                      </a:cubicBezTo>
                      <a:cubicBezTo>
                        <a:pt x="221768" y="78602"/>
                        <a:pt x="215762" y="85844"/>
                        <a:pt x="209261" y="92451"/>
                      </a:cubicBezTo>
                      <a:cubicBezTo>
                        <a:pt x="201984" y="99799"/>
                        <a:pt x="204174" y="105805"/>
                        <a:pt x="212052" y="110857"/>
                      </a:cubicBezTo>
                      <a:cubicBezTo>
                        <a:pt x="216327" y="113613"/>
                        <a:pt x="221168" y="113578"/>
                        <a:pt x="226078" y="114108"/>
                      </a:cubicBezTo>
                      <a:cubicBezTo>
                        <a:pt x="242612" y="115874"/>
                        <a:pt x="257874" y="111493"/>
                        <a:pt x="272678" y="102520"/>
                      </a:cubicBezTo>
                      <a:cubicBezTo>
                        <a:pt x="273278" y="109515"/>
                        <a:pt x="269604" y="110116"/>
                        <a:pt x="267484" y="112129"/>
                      </a:cubicBezTo>
                      <a:cubicBezTo>
                        <a:pt x="253353" y="125519"/>
                        <a:pt x="239857" y="140711"/>
                        <a:pt x="242754" y="161096"/>
                      </a:cubicBezTo>
                      <a:cubicBezTo>
                        <a:pt x="245333" y="179255"/>
                        <a:pt x="233851" y="184873"/>
                        <a:pt x="221415" y="191656"/>
                      </a:cubicBezTo>
                      <a:close/>
                      <a:moveTo>
                        <a:pt x="105358" y="191726"/>
                      </a:moveTo>
                      <a:cubicBezTo>
                        <a:pt x="86351" y="205187"/>
                        <a:pt x="71336" y="220131"/>
                        <a:pt x="59041" y="237513"/>
                      </a:cubicBezTo>
                      <a:cubicBezTo>
                        <a:pt x="33993" y="272949"/>
                        <a:pt x="21345" y="312270"/>
                        <a:pt x="23888" y="356008"/>
                      </a:cubicBezTo>
                      <a:cubicBezTo>
                        <a:pt x="24100" y="359576"/>
                        <a:pt x="23747" y="363498"/>
                        <a:pt x="28834" y="363816"/>
                      </a:cubicBezTo>
                      <a:cubicBezTo>
                        <a:pt x="32933" y="364098"/>
                        <a:pt x="36183" y="362155"/>
                        <a:pt x="36466" y="358092"/>
                      </a:cubicBezTo>
                      <a:cubicBezTo>
                        <a:pt x="38267" y="333291"/>
                        <a:pt x="53035" y="313577"/>
                        <a:pt x="62892" y="292097"/>
                      </a:cubicBezTo>
                      <a:cubicBezTo>
                        <a:pt x="74657" y="266519"/>
                        <a:pt x="81016" y="238326"/>
                        <a:pt x="99988" y="216068"/>
                      </a:cubicBezTo>
                      <a:cubicBezTo>
                        <a:pt x="104863" y="210310"/>
                        <a:pt x="107442" y="202043"/>
                        <a:pt x="105358" y="191691"/>
                      </a:cubicBezTo>
                      <a:close/>
                      <a:moveTo>
                        <a:pt x="295182" y="327038"/>
                      </a:moveTo>
                      <a:cubicBezTo>
                        <a:pt x="319241" y="327144"/>
                        <a:pt x="346233" y="305840"/>
                        <a:pt x="354394" y="281922"/>
                      </a:cubicBezTo>
                      <a:cubicBezTo>
                        <a:pt x="357857" y="271818"/>
                        <a:pt x="356337" y="262703"/>
                        <a:pt x="351956" y="253765"/>
                      </a:cubicBezTo>
                      <a:cubicBezTo>
                        <a:pt x="345491" y="240587"/>
                        <a:pt x="333833" y="238502"/>
                        <a:pt x="322492" y="247617"/>
                      </a:cubicBezTo>
                      <a:cubicBezTo>
                        <a:pt x="314684" y="253906"/>
                        <a:pt x="311716" y="262844"/>
                        <a:pt x="309137" y="271535"/>
                      </a:cubicBezTo>
                      <a:cubicBezTo>
                        <a:pt x="305604" y="283406"/>
                        <a:pt x="299245" y="291850"/>
                        <a:pt x="288187" y="297290"/>
                      </a:cubicBezTo>
                      <a:cubicBezTo>
                        <a:pt x="280697" y="300965"/>
                        <a:pt x="274126" y="306511"/>
                        <a:pt x="277165" y="315980"/>
                      </a:cubicBezTo>
                      <a:cubicBezTo>
                        <a:pt x="279885" y="324529"/>
                        <a:pt x="286774" y="328345"/>
                        <a:pt x="295147" y="327038"/>
                      </a:cubicBezTo>
                      <a:close/>
                      <a:moveTo>
                        <a:pt x="431624" y="76729"/>
                      </a:moveTo>
                      <a:cubicBezTo>
                        <a:pt x="430635" y="77012"/>
                        <a:pt x="427738" y="77153"/>
                        <a:pt x="425760" y="78602"/>
                      </a:cubicBezTo>
                      <a:cubicBezTo>
                        <a:pt x="410144" y="89907"/>
                        <a:pt x="392126" y="95595"/>
                        <a:pt x="374073" y="101389"/>
                      </a:cubicBezTo>
                      <a:cubicBezTo>
                        <a:pt x="368243" y="103262"/>
                        <a:pt x="362732" y="106123"/>
                        <a:pt x="358174" y="110610"/>
                      </a:cubicBezTo>
                      <a:cubicBezTo>
                        <a:pt x="349943" y="118736"/>
                        <a:pt x="348565" y="132444"/>
                        <a:pt x="355596" y="140287"/>
                      </a:cubicBezTo>
                      <a:cubicBezTo>
                        <a:pt x="363015" y="148554"/>
                        <a:pt x="372872" y="147671"/>
                        <a:pt x="382729" y="137143"/>
                      </a:cubicBezTo>
                      <a:cubicBezTo>
                        <a:pt x="389830" y="129511"/>
                        <a:pt x="396860" y="124565"/>
                        <a:pt x="408448" y="123753"/>
                      </a:cubicBezTo>
                      <a:cubicBezTo>
                        <a:pt x="430812" y="122234"/>
                        <a:pt x="443283" y="110822"/>
                        <a:pt x="446462" y="93405"/>
                      </a:cubicBezTo>
                      <a:cubicBezTo>
                        <a:pt x="448300" y="83336"/>
                        <a:pt x="442894" y="76517"/>
                        <a:pt x="431624" y="76694"/>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5" name="Freeform: Shape 2594">
                  <a:extLst>
                    <a:ext uri="{FF2B5EF4-FFF2-40B4-BE49-F238E27FC236}">
                      <a16:creationId xmlns:a16="http://schemas.microsoft.com/office/drawing/2014/main" id="{0B89EAFF-D8D5-3AFC-5E23-63B519EB1F19}"/>
                    </a:ext>
                  </a:extLst>
                </p:cNvPr>
                <p:cNvSpPr/>
                <p:nvPr/>
              </p:nvSpPr>
              <p:spPr>
                <a:xfrm>
                  <a:off x="8495973" y="3534517"/>
                  <a:ext cx="163666" cy="150089"/>
                </a:xfrm>
                <a:custGeom>
                  <a:avLst/>
                  <a:gdLst>
                    <a:gd name="connsiteX0" fmla="*/ 163455 w 163666"/>
                    <a:gd name="connsiteY0" fmla="*/ 30520 h 150089"/>
                    <a:gd name="connsiteX1" fmla="*/ 137983 w 163666"/>
                    <a:gd name="connsiteY1" fmla="*/ 79028 h 150089"/>
                    <a:gd name="connsiteX2" fmla="*/ 120353 w 163666"/>
                    <a:gd name="connsiteY2" fmla="*/ 104818 h 150089"/>
                    <a:gd name="connsiteX3" fmla="*/ 64392 w 163666"/>
                    <a:gd name="connsiteY3" fmla="*/ 144740 h 150089"/>
                    <a:gd name="connsiteX4" fmla="*/ 15814 w 163666"/>
                    <a:gd name="connsiteY4" fmla="*/ 149828 h 150089"/>
                    <a:gd name="connsiteX5" fmla="*/ 198 w 163666"/>
                    <a:gd name="connsiteY5" fmla="*/ 143256 h 150089"/>
                    <a:gd name="connsiteX6" fmla="*/ 12387 w 163666"/>
                    <a:gd name="connsiteY6" fmla="*/ 131527 h 150089"/>
                    <a:gd name="connsiteX7" fmla="*/ 46268 w 163666"/>
                    <a:gd name="connsiteY7" fmla="*/ 120010 h 150089"/>
                    <a:gd name="connsiteX8" fmla="*/ 74460 w 163666"/>
                    <a:gd name="connsiteY8" fmla="*/ 94043 h 150089"/>
                    <a:gd name="connsiteX9" fmla="*/ 104561 w 163666"/>
                    <a:gd name="connsiteY9" fmla="*/ 62069 h 150089"/>
                    <a:gd name="connsiteX10" fmla="*/ 139678 w 163666"/>
                    <a:gd name="connsiteY10" fmla="*/ 19886 h 150089"/>
                    <a:gd name="connsiteX11" fmla="*/ 144236 w 163666"/>
                    <a:gd name="connsiteY11" fmla="*/ 11796 h 150089"/>
                    <a:gd name="connsiteX12" fmla="*/ 155365 w 163666"/>
                    <a:gd name="connsiteY12" fmla="*/ 208 h 150089"/>
                    <a:gd name="connsiteX13" fmla="*/ 163526 w 163666"/>
                    <a:gd name="connsiteY13" fmla="*/ 18155 h 150089"/>
                    <a:gd name="connsiteX14" fmla="*/ 163526 w 163666"/>
                    <a:gd name="connsiteY14" fmla="*/ 30520 h 15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666" h="150089">
                      <a:moveTo>
                        <a:pt x="163455" y="30520"/>
                      </a:moveTo>
                      <a:cubicBezTo>
                        <a:pt x="165151" y="50693"/>
                        <a:pt x="156672" y="67263"/>
                        <a:pt x="137983" y="79028"/>
                      </a:cubicBezTo>
                      <a:cubicBezTo>
                        <a:pt x="128620" y="84928"/>
                        <a:pt x="123921" y="94467"/>
                        <a:pt x="120353" y="104818"/>
                      </a:cubicBezTo>
                      <a:cubicBezTo>
                        <a:pt x="111097" y="131845"/>
                        <a:pt x="93432" y="143610"/>
                        <a:pt x="64392" y="144740"/>
                      </a:cubicBezTo>
                      <a:cubicBezTo>
                        <a:pt x="48140" y="145376"/>
                        <a:pt x="32030" y="148202"/>
                        <a:pt x="15814" y="149828"/>
                      </a:cubicBezTo>
                      <a:cubicBezTo>
                        <a:pt x="9490" y="150464"/>
                        <a:pt x="1682" y="150499"/>
                        <a:pt x="198" y="143256"/>
                      </a:cubicBezTo>
                      <a:cubicBezTo>
                        <a:pt x="-1392" y="135590"/>
                        <a:pt x="6946" y="133682"/>
                        <a:pt x="12387" y="131527"/>
                      </a:cubicBezTo>
                      <a:cubicBezTo>
                        <a:pt x="23480" y="127146"/>
                        <a:pt x="34715" y="122942"/>
                        <a:pt x="46268" y="120010"/>
                      </a:cubicBezTo>
                      <a:cubicBezTo>
                        <a:pt x="60682" y="116335"/>
                        <a:pt x="68878" y="106408"/>
                        <a:pt x="74460" y="94043"/>
                      </a:cubicBezTo>
                      <a:cubicBezTo>
                        <a:pt x="80926" y="79770"/>
                        <a:pt x="90217" y="69453"/>
                        <a:pt x="104561" y="62069"/>
                      </a:cubicBezTo>
                      <a:cubicBezTo>
                        <a:pt x="121625" y="53272"/>
                        <a:pt x="130704" y="36279"/>
                        <a:pt x="139678" y="19886"/>
                      </a:cubicBezTo>
                      <a:cubicBezTo>
                        <a:pt x="141162" y="17166"/>
                        <a:pt x="142222" y="14092"/>
                        <a:pt x="144236" y="11796"/>
                      </a:cubicBezTo>
                      <a:cubicBezTo>
                        <a:pt x="147875" y="7627"/>
                        <a:pt x="149606" y="-1488"/>
                        <a:pt x="155365" y="208"/>
                      </a:cubicBezTo>
                      <a:cubicBezTo>
                        <a:pt x="162360" y="2257"/>
                        <a:pt x="163490" y="10842"/>
                        <a:pt x="163526" y="18155"/>
                      </a:cubicBezTo>
                      <a:cubicBezTo>
                        <a:pt x="163526" y="21688"/>
                        <a:pt x="163526" y="25256"/>
                        <a:pt x="163526" y="30520"/>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6" name="Freeform: Shape 2595">
                  <a:extLst>
                    <a:ext uri="{FF2B5EF4-FFF2-40B4-BE49-F238E27FC236}">
                      <a16:creationId xmlns:a16="http://schemas.microsoft.com/office/drawing/2014/main" id="{6795E96D-1D4A-580F-598D-88AA2980F843}"/>
                    </a:ext>
                  </a:extLst>
                </p:cNvPr>
                <p:cNvSpPr/>
                <p:nvPr/>
              </p:nvSpPr>
              <p:spPr>
                <a:xfrm>
                  <a:off x="8197125" y="2618977"/>
                  <a:ext cx="259018" cy="180014"/>
                </a:xfrm>
                <a:custGeom>
                  <a:avLst/>
                  <a:gdLst>
                    <a:gd name="connsiteX0" fmla="*/ 259018 w 259018"/>
                    <a:gd name="connsiteY0" fmla="*/ 60071 h 180014"/>
                    <a:gd name="connsiteX1" fmla="*/ 198216 w 259018"/>
                    <a:gd name="connsiteY1" fmla="*/ 70635 h 180014"/>
                    <a:gd name="connsiteX2" fmla="*/ 242342 w 259018"/>
                    <a:gd name="connsiteY2" fmla="*/ 80491 h 180014"/>
                    <a:gd name="connsiteX3" fmla="*/ 258488 w 259018"/>
                    <a:gd name="connsiteY3" fmla="*/ 86003 h 180014"/>
                    <a:gd name="connsiteX4" fmla="*/ 242766 w 259018"/>
                    <a:gd name="connsiteY4" fmla="*/ 90631 h 180014"/>
                    <a:gd name="connsiteX5" fmla="*/ 194577 w 259018"/>
                    <a:gd name="connsiteY5" fmla="*/ 83565 h 180014"/>
                    <a:gd name="connsiteX6" fmla="*/ 173768 w 259018"/>
                    <a:gd name="connsiteY6" fmla="*/ 59647 h 180014"/>
                    <a:gd name="connsiteX7" fmla="*/ 129818 w 259018"/>
                    <a:gd name="connsiteY7" fmla="*/ 17888 h 180014"/>
                    <a:gd name="connsiteX8" fmla="*/ 50327 w 259018"/>
                    <a:gd name="connsiteY8" fmla="*/ 48624 h 180014"/>
                    <a:gd name="connsiteX9" fmla="*/ 41778 w 259018"/>
                    <a:gd name="connsiteY9" fmla="*/ 77488 h 180014"/>
                    <a:gd name="connsiteX10" fmla="*/ 41354 w 259018"/>
                    <a:gd name="connsiteY10" fmla="*/ 112076 h 180014"/>
                    <a:gd name="connsiteX11" fmla="*/ 125 w 259018"/>
                    <a:gd name="connsiteY11" fmla="*/ 180014 h 180014"/>
                    <a:gd name="connsiteX12" fmla="*/ 11183 w 259018"/>
                    <a:gd name="connsiteY12" fmla="*/ 158216 h 180014"/>
                    <a:gd name="connsiteX13" fmla="*/ 28423 w 259018"/>
                    <a:gd name="connsiteY13" fmla="*/ 100876 h 180014"/>
                    <a:gd name="connsiteX14" fmla="*/ 79792 w 259018"/>
                    <a:gd name="connsiteY14" fmla="*/ 8490 h 180014"/>
                    <a:gd name="connsiteX15" fmla="*/ 184650 w 259018"/>
                    <a:gd name="connsiteY15" fmla="*/ 22693 h 180014"/>
                    <a:gd name="connsiteX16" fmla="*/ 233440 w 259018"/>
                    <a:gd name="connsiteY16" fmla="*/ 48306 h 180014"/>
                    <a:gd name="connsiteX17" fmla="*/ 259018 w 259018"/>
                    <a:gd name="connsiteY17" fmla="*/ 60142 h 1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018" h="180014">
                      <a:moveTo>
                        <a:pt x="259018" y="60071"/>
                      </a:moveTo>
                      <a:cubicBezTo>
                        <a:pt x="239375" y="70564"/>
                        <a:pt x="218636" y="69257"/>
                        <a:pt x="198216" y="70635"/>
                      </a:cubicBezTo>
                      <a:cubicBezTo>
                        <a:pt x="211853" y="79856"/>
                        <a:pt x="227045" y="80032"/>
                        <a:pt x="242342" y="80491"/>
                      </a:cubicBezTo>
                      <a:cubicBezTo>
                        <a:pt x="248136" y="80668"/>
                        <a:pt x="258559" y="76711"/>
                        <a:pt x="258488" y="86003"/>
                      </a:cubicBezTo>
                      <a:cubicBezTo>
                        <a:pt x="258453" y="93599"/>
                        <a:pt x="248384" y="90702"/>
                        <a:pt x="242766" y="90631"/>
                      </a:cubicBezTo>
                      <a:cubicBezTo>
                        <a:pt x="226444" y="90454"/>
                        <a:pt x="210087" y="89783"/>
                        <a:pt x="194577" y="83565"/>
                      </a:cubicBezTo>
                      <a:cubicBezTo>
                        <a:pt x="183484" y="79114"/>
                        <a:pt x="175711" y="71588"/>
                        <a:pt x="173768" y="59647"/>
                      </a:cubicBezTo>
                      <a:cubicBezTo>
                        <a:pt x="169599" y="34457"/>
                        <a:pt x="152288" y="23258"/>
                        <a:pt x="129818" y="17888"/>
                      </a:cubicBezTo>
                      <a:cubicBezTo>
                        <a:pt x="100778" y="10928"/>
                        <a:pt x="65943" y="24812"/>
                        <a:pt x="50327" y="48624"/>
                      </a:cubicBezTo>
                      <a:cubicBezTo>
                        <a:pt x="44498" y="57457"/>
                        <a:pt x="42096" y="67172"/>
                        <a:pt x="41778" y="77488"/>
                      </a:cubicBezTo>
                      <a:cubicBezTo>
                        <a:pt x="41424" y="89006"/>
                        <a:pt x="42237" y="100594"/>
                        <a:pt x="41354" y="112076"/>
                      </a:cubicBezTo>
                      <a:cubicBezTo>
                        <a:pt x="39163" y="140763"/>
                        <a:pt x="23689" y="161537"/>
                        <a:pt x="125" y="180014"/>
                      </a:cubicBezTo>
                      <a:cubicBezTo>
                        <a:pt x="-1077" y="168285"/>
                        <a:pt x="6696" y="163798"/>
                        <a:pt x="11183" y="158216"/>
                      </a:cubicBezTo>
                      <a:cubicBezTo>
                        <a:pt x="24784" y="141258"/>
                        <a:pt x="31779" y="123664"/>
                        <a:pt x="28423" y="100876"/>
                      </a:cubicBezTo>
                      <a:cubicBezTo>
                        <a:pt x="21817" y="56185"/>
                        <a:pt x="38598" y="23647"/>
                        <a:pt x="79792" y="8490"/>
                      </a:cubicBezTo>
                      <a:cubicBezTo>
                        <a:pt x="115687" y="-4688"/>
                        <a:pt x="152924" y="-4370"/>
                        <a:pt x="184650" y="22693"/>
                      </a:cubicBezTo>
                      <a:cubicBezTo>
                        <a:pt x="199099" y="35023"/>
                        <a:pt x="215210" y="43396"/>
                        <a:pt x="233440" y="48306"/>
                      </a:cubicBezTo>
                      <a:cubicBezTo>
                        <a:pt x="242237" y="50673"/>
                        <a:pt x="251245" y="53076"/>
                        <a:pt x="259018" y="60142"/>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7" name="Freeform: Shape 2596">
                  <a:extLst>
                    <a:ext uri="{FF2B5EF4-FFF2-40B4-BE49-F238E27FC236}">
                      <a16:creationId xmlns:a16="http://schemas.microsoft.com/office/drawing/2014/main" id="{5711357F-BC5A-A47A-EF15-3FB051A5F0CC}"/>
                    </a:ext>
                  </a:extLst>
                </p:cNvPr>
                <p:cNvSpPr/>
                <p:nvPr/>
              </p:nvSpPr>
              <p:spPr>
                <a:xfrm>
                  <a:off x="8277348" y="3721780"/>
                  <a:ext cx="113296" cy="47143"/>
                </a:xfrm>
                <a:custGeom>
                  <a:avLst/>
                  <a:gdLst>
                    <a:gd name="connsiteX0" fmla="*/ 73302 w 113296"/>
                    <a:gd name="connsiteY0" fmla="*/ 42691 h 47143"/>
                    <a:gd name="connsiteX1" fmla="*/ 23699 w 113296"/>
                    <a:gd name="connsiteY1" fmla="*/ 45199 h 47143"/>
                    <a:gd name="connsiteX2" fmla="*/ 21085 w 113296"/>
                    <a:gd name="connsiteY2" fmla="*/ 44881 h 47143"/>
                    <a:gd name="connsiteX3" fmla="*/ 28 w 113296"/>
                    <a:gd name="connsiteY3" fmla="*/ 27711 h 47143"/>
                    <a:gd name="connsiteX4" fmla="*/ 23487 w 113296"/>
                    <a:gd name="connsiteY4" fmla="*/ 16194 h 47143"/>
                    <a:gd name="connsiteX5" fmla="*/ 81462 w 113296"/>
                    <a:gd name="connsiteY5" fmla="*/ 3934 h 47143"/>
                    <a:gd name="connsiteX6" fmla="*/ 100787 w 113296"/>
                    <a:gd name="connsiteY6" fmla="*/ 225 h 47143"/>
                    <a:gd name="connsiteX7" fmla="*/ 112376 w 113296"/>
                    <a:gd name="connsiteY7" fmla="*/ 3828 h 47143"/>
                    <a:gd name="connsiteX8" fmla="*/ 109231 w 113296"/>
                    <a:gd name="connsiteY8" fmla="*/ 18596 h 47143"/>
                    <a:gd name="connsiteX9" fmla="*/ 92627 w 113296"/>
                    <a:gd name="connsiteY9" fmla="*/ 31703 h 47143"/>
                    <a:gd name="connsiteX10" fmla="*/ 73195 w 113296"/>
                    <a:gd name="connsiteY10" fmla="*/ 42726 h 47143"/>
                    <a:gd name="connsiteX11" fmla="*/ 73266 w 113296"/>
                    <a:gd name="connsiteY11" fmla="*/ 42655 h 4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296" h="47143">
                      <a:moveTo>
                        <a:pt x="73302" y="42691"/>
                      </a:moveTo>
                      <a:cubicBezTo>
                        <a:pt x="56732" y="42761"/>
                        <a:pt x="40551" y="50710"/>
                        <a:pt x="23699" y="45199"/>
                      </a:cubicBezTo>
                      <a:cubicBezTo>
                        <a:pt x="22886" y="44916"/>
                        <a:pt x="21862" y="45199"/>
                        <a:pt x="21085" y="44881"/>
                      </a:cubicBezTo>
                      <a:cubicBezTo>
                        <a:pt x="12111" y="41278"/>
                        <a:pt x="-678" y="38381"/>
                        <a:pt x="28" y="27711"/>
                      </a:cubicBezTo>
                      <a:cubicBezTo>
                        <a:pt x="841" y="15805"/>
                        <a:pt x="13559" y="16264"/>
                        <a:pt x="23487" y="16194"/>
                      </a:cubicBezTo>
                      <a:cubicBezTo>
                        <a:pt x="43625" y="16052"/>
                        <a:pt x="62985" y="11813"/>
                        <a:pt x="81462" y="3934"/>
                      </a:cubicBezTo>
                      <a:cubicBezTo>
                        <a:pt x="87786" y="1249"/>
                        <a:pt x="94040" y="-340"/>
                        <a:pt x="100787" y="225"/>
                      </a:cubicBezTo>
                      <a:cubicBezTo>
                        <a:pt x="104886" y="578"/>
                        <a:pt x="110468" y="-1860"/>
                        <a:pt x="112376" y="3828"/>
                      </a:cubicBezTo>
                      <a:cubicBezTo>
                        <a:pt x="114107" y="8986"/>
                        <a:pt x="113577" y="14251"/>
                        <a:pt x="109231" y="18596"/>
                      </a:cubicBezTo>
                      <a:cubicBezTo>
                        <a:pt x="104179" y="23613"/>
                        <a:pt x="99127" y="28382"/>
                        <a:pt x="92627" y="31703"/>
                      </a:cubicBezTo>
                      <a:cubicBezTo>
                        <a:pt x="86020" y="35095"/>
                        <a:pt x="78424" y="36861"/>
                        <a:pt x="73195" y="42726"/>
                      </a:cubicBezTo>
                      <a:cubicBezTo>
                        <a:pt x="73195" y="42726"/>
                        <a:pt x="73266" y="42655"/>
                        <a:pt x="73266" y="42655"/>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8" name="Freeform: Shape 2597">
                  <a:extLst>
                    <a:ext uri="{FF2B5EF4-FFF2-40B4-BE49-F238E27FC236}">
                      <a16:creationId xmlns:a16="http://schemas.microsoft.com/office/drawing/2014/main" id="{AC3AA4A6-30FA-75EC-E89E-C20BFF968018}"/>
                    </a:ext>
                  </a:extLst>
                </p:cNvPr>
                <p:cNvSpPr/>
                <p:nvPr/>
              </p:nvSpPr>
              <p:spPr>
                <a:xfrm>
                  <a:off x="7860694" y="2711784"/>
                  <a:ext cx="83657" cy="93306"/>
                </a:xfrm>
                <a:custGeom>
                  <a:avLst/>
                  <a:gdLst>
                    <a:gd name="connsiteX0" fmla="*/ 8 w 83657"/>
                    <a:gd name="connsiteY0" fmla="*/ 65373 h 93306"/>
                    <a:gd name="connsiteX1" fmla="*/ 20040 w 83657"/>
                    <a:gd name="connsiteY1" fmla="*/ 33259 h 93306"/>
                    <a:gd name="connsiteX2" fmla="*/ 58513 w 83657"/>
                    <a:gd name="connsiteY2" fmla="*/ 5313 h 93306"/>
                    <a:gd name="connsiteX3" fmla="*/ 63142 w 83657"/>
                    <a:gd name="connsiteY3" fmla="*/ 2734 h 93306"/>
                    <a:gd name="connsiteX4" fmla="*/ 82820 w 83657"/>
                    <a:gd name="connsiteY4" fmla="*/ 3017 h 93306"/>
                    <a:gd name="connsiteX5" fmla="*/ 73917 w 83657"/>
                    <a:gd name="connsiteY5" fmla="*/ 15630 h 93306"/>
                    <a:gd name="connsiteX6" fmla="*/ 23325 w 83657"/>
                    <a:gd name="connsiteY6" fmla="*/ 84451 h 93306"/>
                    <a:gd name="connsiteX7" fmla="*/ 8134 w 83657"/>
                    <a:gd name="connsiteY7" fmla="*/ 84698 h 93306"/>
                    <a:gd name="connsiteX8" fmla="*/ 8 w 83657"/>
                    <a:gd name="connsiteY8" fmla="*/ 65373 h 93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657" h="93306">
                      <a:moveTo>
                        <a:pt x="8" y="65373"/>
                      </a:moveTo>
                      <a:cubicBezTo>
                        <a:pt x="-345" y="48239"/>
                        <a:pt x="10925" y="40996"/>
                        <a:pt x="20040" y="33259"/>
                      </a:cubicBezTo>
                      <a:cubicBezTo>
                        <a:pt x="32087" y="23013"/>
                        <a:pt x="45583" y="14499"/>
                        <a:pt x="58513" y="5313"/>
                      </a:cubicBezTo>
                      <a:cubicBezTo>
                        <a:pt x="59927" y="4289"/>
                        <a:pt x="61516" y="3370"/>
                        <a:pt x="63142" y="2734"/>
                      </a:cubicBezTo>
                      <a:cubicBezTo>
                        <a:pt x="69854" y="155"/>
                        <a:pt x="78899" y="-1964"/>
                        <a:pt x="82820" y="3017"/>
                      </a:cubicBezTo>
                      <a:cubicBezTo>
                        <a:pt x="86353" y="7468"/>
                        <a:pt x="77803" y="12061"/>
                        <a:pt x="73917" y="15630"/>
                      </a:cubicBezTo>
                      <a:cubicBezTo>
                        <a:pt x="52472" y="35273"/>
                        <a:pt x="37281" y="59403"/>
                        <a:pt x="23325" y="84451"/>
                      </a:cubicBezTo>
                      <a:cubicBezTo>
                        <a:pt x="16825" y="96145"/>
                        <a:pt x="15659" y="96286"/>
                        <a:pt x="8134" y="84698"/>
                      </a:cubicBezTo>
                      <a:cubicBezTo>
                        <a:pt x="1280" y="74100"/>
                        <a:pt x="-63" y="70531"/>
                        <a:pt x="8" y="65373"/>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9" name="Freeform: Shape 2598">
                  <a:extLst>
                    <a:ext uri="{FF2B5EF4-FFF2-40B4-BE49-F238E27FC236}">
                      <a16:creationId xmlns:a16="http://schemas.microsoft.com/office/drawing/2014/main" id="{A56FA916-BFD9-80D6-C3B1-5D4C43327133}"/>
                    </a:ext>
                  </a:extLst>
                </p:cNvPr>
                <p:cNvSpPr/>
                <p:nvPr/>
              </p:nvSpPr>
              <p:spPr>
                <a:xfrm>
                  <a:off x="7972147" y="2750760"/>
                  <a:ext cx="72185" cy="116204"/>
                </a:xfrm>
                <a:custGeom>
                  <a:avLst/>
                  <a:gdLst>
                    <a:gd name="connsiteX0" fmla="*/ 1150 w 72185"/>
                    <a:gd name="connsiteY0" fmla="*/ 116204 h 116204"/>
                    <a:gd name="connsiteX1" fmla="*/ 41320 w 72185"/>
                    <a:gd name="connsiteY1" fmla="*/ 18624 h 116204"/>
                    <a:gd name="connsiteX2" fmla="*/ 63083 w 72185"/>
                    <a:gd name="connsiteY2" fmla="*/ 3503 h 116204"/>
                    <a:gd name="connsiteX3" fmla="*/ 70961 w 72185"/>
                    <a:gd name="connsiteY3" fmla="*/ 1278 h 116204"/>
                    <a:gd name="connsiteX4" fmla="*/ 67746 w 72185"/>
                    <a:gd name="connsiteY4" fmla="*/ 10004 h 116204"/>
                    <a:gd name="connsiteX5" fmla="*/ 30050 w 72185"/>
                    <a:gd name="connsiteY5" fmla="*/ 51057 h 116204"/>
                    <a:gd name="connsiteX6" fmla="*/ 8110 w 72185"/>
                    <a:gd name="connsiteY6" fmla="*/ 104651 h 116204"/>
                    <a:gd name="connsiteX7" fmla="*/ 1150 w 72185"/>
                    <a:gd name="connsiteY7" fmla="*/ 116204 h 11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85" h="116204">
                      <a:moveTo>
                        <a:pt x="1150" y="116204"/>
                      </a:moveTo>
                      <a:cubicBezTo>
                        <a:pt x="-4750" y="74056"/>
                        <a:pt x="12561" y="43850"/>
                        <a:pt x="41320" y="18624"/>
                      </a:cubicBezTo>
                      <a:cubicBezTo>
                        <a:pt x="47926" y="12830"/>
                        <a:pt x="55699" y="8344"/>
                        <a:pt x="63083" y="3503"/>
                      </a:cubicBezTo>
                      <a:cubicBezTo>
                        <a:pt x="65379" y="1984"/>
                        <a:pt x="68029" y="-2043"/>
                        <a:pt x="70961" y="1278"/>
                      </a:cubicBezTo>
                      <a:cubicBezTo>
                        <a:pt x="74282" y="5058"/>
                        <a:pt x="70042" y="7637"/>
                        <a:pt x="67746" y="10004"/>
                      </a:cubicBezTo>
                      <a:cubicBezTo>
                        <a:pt x="54851" y="23394"/>
                        <a:pt x="40401" y="35265"/>
                        <a:pt x="30050" y="51057"/>
                      </a:cubicBezTo>
                      <a:cubicBezTo>
                        <a:pt x="19239" y="67556"/>
                        <a:pt x="10866" y="84938"/>
                        <a:pt x="8110" y="104651"/>
                      </a:cubicBezTo>
                      <a:cubicBezTo>
                        <a:pt x="7545" y="108573"/>
                        <a:pt x="6873" y="112318"/>
                        <a:pt x="1150" y="116204"/>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0" name="Freeform: Shape 2599">
                  <a:extLst>
                    <a:ext uri="{FF2B5EF4-FFF2-40B4-BE49-F238E27FC236}">
                      <a16:creationId xmlns:a16="http://schemas.microsoft.com/office/drawing/2014/main" id="{50FA0545-765A-A588-56B7-1C55FEB875B1}"/>
                    </a:ext>
                  </a:extLst>
                </p:cNvPr>
                <p:cNvSpPr/>
                <p:nvPr/>
              </p:nvSpPr>
              <p:spPr>
                <a:xfrm>
                  <a:off x="8312514" y="2699732"/>
                  <a:ext cx="54458" cy="29082"/>
                </a:xfrm>
                <a:custGeom>
                  <a:avLst/>
                  <a:gdLst>
                    <a:gd name="connsiteX0" fmla="*/ 15701 w 54458"/>
                    <a:gd name="connsiteY0" fmla="*/ 29060 h 29082"/>
                    <a:gd name="connsiteX1" fmla="*/ 15 w 54458"/>
                    <a:gd name="connsiteY1" fmla="*/ 23796 h 29082"/>
                    <a:gd name="connsiteX2" fmla="*/ 15454 w 54458"/>
                    <a:gd name="connsiteY2" fmla="*/ 17542 h 29082"/>
                    <a:gd name="connsiteX3" fmla="*/ 45236 w 54458"/>
                    <a:gd name="connsiteY3" fmla="*/ 3729 h 29082"/>
                    <a:gd name="connsiteX4" fmla="*/ 52903 w 54458"/>
                    <a:gd name="connsiteY4" fmla="*/ 1079 h 29082"/>
                    <a:gd name="connsiteX5" fmla="*/ 53009 w 54458"/>
                    <a:gd name="connsiteY5" fmla="*/ 9699 h 29082"/>
                    <a:gd name="connsiteX6" fmla="*/ 15736 w 54458"/>
                    <a:gd name="connsiteY6" fmla="*/ 29060 h 2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58" h="29082">
                      <a:moveTo>
                        <a:pt x="15701" y="29060"/>
                      </a:moveTo>
                      <a:cubicBezTo>
                        <a:pt x="10790" y="27646"/>
                        <a:pt x="721" y="32275"/>
                        <a:pt x="15" y="23796"/>
                      </a:cubicBezTo>
                      <a:cubicBezTo>
                        <a:pt x="-444" y="17966"/>
                        <a:pt x="9695" y="18885"/>
                        <a:pt x="15454" y="17542"/>
                      </a:cubicBezTo>
                      <a:cubicBezTo>
                        <a:pt x="26265" y="14963"/>
                        <a:pt x="36475" y="10865"/>
                        <a:pt x="45236" y="3729"/>
                      </a:cubicBezTo>
                      <a:cubicBezTo>
                        <a:pt x="47427" y="1927"/>
                        <a:pt x="49476" y="-1854"/>
                        <a:pt x="52903" y="1079"/>
                      </a:cubicBezTo>
                      <a:cubicBezTo>
                        <a:pt x="55659" y="3446"/>
                        <a:pt x="54139" y="6767"/>
                        <a:pt x="53009" y="9699"/>
                      </a:cubicBezTo>
                      <a:cubicBezTo>
                        <a:pt x="48593" y="21146"/>
                        <a:pt x="33719" y="29095"/>
                        <a:pt x="15736" y="29060"/>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1" name="Freeform: Shape 2600">
                  <a:extLst>
                    <a:ext uri="{FF2B5EF4-FFF2-40B4-BE49-F238E27FC236}">
                      <a16:creationId xmlns:a16="http://schemas.microsoft.com/office/drawing/2014/main" id="{50148308-DBFE-32DE-D83F-E535A1E2FA9F}"/>
                    </a:ext>
                  </a:extLst>
                </p:cNvPr>
                <p:cNvSpPr/>
                <p:nvPr/>
              </p:nvSpPr>
              <p:spPr>
                <a:xfrm>
                  <a:off x="7951647" y="2858875"/>
                  <a:ext cx="339427" cy="377968"/>
                </a:xfrm>
                <a:custGeom>
                  <a:avLst/>
                  <a:gdLst>
                    <a:gd name="connsiteX0" fmla="*/ 170528 w 339427"/>
                    <a:gd name="connsiteY0" fmla="*/ 170993 h 377968"/>
                    <a:gd name="connsiteX1" fmla="*/ 191867 w 339427"/>
                    <a:gd name="connsiteY1" fmla="*/ 140433 h 377968"/>
                    <a:gd name="connsiteX2" fmla="*/ 216597 w 339427"/>
                    <a:gd name="connsiteY2" fmla="*/ 91467 h 377968"/>
                    <a:gd name="connsiteX3" fmla="*/ 221790 w 339427"/>
                    <a:gd name="connsiteY3" fmla="*/ 81857 h 377968"/>
                    <a:gd name="connsiteX4" fmla="*/ 175191 w 339427"/>
                    <a:gd name="connsiteY4" fmla="*/ 93445 h 377968"/>
                    <a:gd name="connsiteX5" fmla="*/ 161165 w 339427"/>
                    <a:gd name="connsiteY5" fmla="*/ 90195 h 377968"/>
                    <a:gd name="connsiteX6" fmla="*/ 158374 w 339427"/>
                    <a:gd name="connsiteY6" fmla="*/ 71788 h 377968"/>
                    <a:gd name="connsiteX7" fmla="*/ 179289 w 339427"/>
                    <a:gd name="connsiteY7" fmla="*/ 53488 h 377968"/>
                    <a:gd name="connsiteX8" fmla="*/ 290223 w 339427"/>
                    <a:gd name="connsiteY8" fmla="*/ 4203 h 377968"/>
                    <a:gd name="connsiteX9" fmla="*/ 330994 w 339427"/>
                    <a:gd name="connsiteY9" fmla="*/ 69 h 377968"/>
                    <a:gd name="connsiteX10" fmla="*/ 337918 w 339427"/>
                    <a:gd name="connsiteY10" fmla="*/ 10350 h 377968"/>
                    <a:gd name="connsiteX11" fmla="*/ 309018 w 339427"/>
                    <a:gd name="connsiteY11" fmla="*/ 42182 h 377968"/>
                    <a:gd name="connsiteX12" fmla="*/ 302483 w 339427"/>
                    <a:gd name="connsiteY12" fmla="*/ 53805 h 377968"/>
                    <a:gd name="connsiteX13" fmla="*/ 299020 w 339427"/>
                    <a:gd name="connsiteY13" fmla="*/ 63450 h 377968"/>
                    <a:gd name="connsiteX14" fmla="*/ 233343 w 339427"/>
                    <a:gd name="connsiteY14" fmla="*/ 209396 h 377968"/>
                    <a:gd name="connsiteX15" fmla="*/ 195647 w 339427"/>
                    <a:gd name="connsiteY15" fmla="*/ 303973 h 377968"/>
                    <a:gd name="connsiteX16" fmla="*/ 141416 w 339427"/>
                    <a:gd name="connsiteY16" fmla="*/ 345979 h 377968"/>
                    <a:gd name="connsiteX17" fmla="*/ 111245 w 339427"/>
                    <a:gd name="connsiteY17" fmla="*/ 362054 h 377968"/>
                    <a:gd name="connsiteX18" fmla="*/ 68850 w 339427"/>
                    <a:gd name="connsiteY18" fmla="*/ 375197 h 377968"/>
                    <a:gd name="connsiteX19" fmla="*/ 17622 w 339427"/>
                    <a:gd name="connsiteY19" fmla="*/ 345202 h 377968"/>
                    <a:gd name="connsiteX20" fmla="*/ 5539 w 339427"/>
                    <a:gd name="connsiteY20" fmla="*/ 329728 h 377968"/>
                    <a:gd name="connsiteX21" fmla="*/ 1936 w 339427"/>
                    <a:gd name="connsiteY21" fmla="*/ 317256 h 377968"/>
                    <a:gd name="connsiteX22" fmla="*/ 33485 w 339427"/>
                    <a:gd name="connsiteY22" fmla="*/ 276592 h 377968"/>
                    <a:gd name="connsiteX23" fmla="*/ 44684 w 339427"/>
                    <a:gd name="connsiteY23" fmla="*/ 253204 h 377968"/>
                    <a:gd name="connsiteX24" fmla="*/ 115908 w 339427"/>
                    <a:gd name="connsiteY24" fmla="*/ 145662 h 377968"/>
                    <a:gd name="connsiteX25" fmla="*/ 147351 w 339427"/>
                    <a:gd name="connsiteY25" fmla="*/ 131459 h 377968"/>
                    <a:gd name="connsiteX26" fmla="*/ 174343 w 339427"/>
                    <a:gd name="connsiteY26" fmla="*/ 158557 h 377968"/>
                    <a:gd name="connsiteX27" fmla="*/ 170563 w 339427"/>
                    <a:gd name="connsiteY27" fmla="*/ 170922 h 377968"/>
                    <a:gd name="connsiteX28" fmla="*/ 99657 w 339427"/>
                    <a:gd name="connsiteY28" fmla="*/ 311568 h 377968"/>
                    <a:gd name="connsiteX29" fmla="*/ 107429 w 339427"/>
                    <a:gd name="connsiteY29" fmla="*/ 306764 h 377968"/>
                    <a:gd name="connsiteX30" fmla="*/ 110962 w 339427"/>
                    <a:gd name="connsiteY30" fmla="*/ 280938 h 377968"/>
                    <a:gd name="connsiteX31" fmla="*/ 107535 w 339427"/>
                    <a:gd name="connsiteY31" fmla="*/ 272070 h 377968"/>
                    <a:gd name="connsiteX32" fmla="*/ 64363 w 339427"/>
                    <a:gd name="connsiteY32" fmla="*/ 272777 h 377968"/>
                    <a:gd name="connsiteX33" fmla="*/ 58957 w 339427"/>
                    <a:gd name="connsiteY33" fmla="*/ 279737 h 377968"/>
                    <a:gd name="connsiteX34" fmla="*/ 64221 w 339427"/>
                    <a:gd name="connsiteY34" fmla="*/ 284789 h 377968"/>
                    <a:gd name="connsiteX35" fmla="*/ 87115 w 339427"/>
                    <a:gd name="connsiteY35" fmla="*/ 305456 h 377968"/>
                    <a:gd name="connsiteX36" fmla="*/ 99621 w 339427"/>
                    <a:gd name="connsiteY36" fmla="*/ 311533 h 377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9427" h="377968">
                      <a:moveTo>
                        <a:pt x="170528" y="170993"/>
                      </a:moveTo>
                      <a:cubicBezTo>
                        <a:pt x="182964" y="164210"/>
                        <a:pt x="194446" y="158592"/>
                        <a:pt x="191867" y="140433"/>
                      </a:cubicBezTo>
                      <a:cubicBezTo>
                        <a:pt x="188969" y="120048"/>
                        <a:pt x="202465" y="104856"/>
                        <a:pt x="216597" y="91467"/>
                      </a:cubicBezTo>
                      <a:cubicBezTo>
                        <a:pt x="218752" y="89453"/>
                        <a:pt x="222426" y="88852"/>
                        <a:pt x="221790" y="81857"/>
                      </a:cubicBezTo>
                      <a:cubicBezTo>
                        <a:pt x="206987" y="90831"/>
                        <a:pt x="191725" y="95211"/>
                        <a:pt x="175191" y="93445"/>
                      </a:cubicBezTo>
                      <a:cubicBezTo>
                        <a:pt x="170315" y="92915"/>
                        <a:pt x="165440" y="92950"/>
                        <a:pt x="161165" y="90195"/>
                      </a:cubicBezTo>
                      <a:cubicBezTo>
                        <a:pt x="153287" y="85143"/>
                        <a:pt x="151132" y="79137"/>
                        <a:pt x="158374" y="71788"/>
                      </a:cubicBezTo>
                      <a:cubicBezTo>
                        <a:pt x="164910" y="65182"/>
                        <a:pt x="170916" y="57939"/>
                        <a:pt x="179289" y="53488"/>
                      </a:cubicBezTo>
                      <a:cubicBezTo>
                        <a:pt x="215148" y="34551"/>
                        <a:pt x="249277" y="11552"/>
                        <a:pt x="290223" y="4203"/>
                      </a:cubicBezTo>
                      <a:cubicBezTo>
                        <a:pt x="303648" y="1801"/>
                        <a:pt x="317180" y="-425"/>
                        <a:pt x="330994" y="69"/>
                      </a:cubicBezTo>
                      <a:cubicBezTo>
                        <a:pt x="338978" y="352"/>
                        <a:pt x="341309" y="2225"/>
                        <a:pt x="337918" y="10350"/>
                      </a:cubicBezTo>
                      <a:cubicBezTo>
                        <a:pt x="331982" y="24553"/>
                        <a:pt x="321949" y="34657"/>
                        <a:pt x="309018" y="42182"/>
                      </a:cubicBezTo>
                      <a:cubicBezTo>
                        <a:pt x="304355" y="44902"/>
                        <a:pt x="299197" y="46386"/>
                        <a:pt x="302483" y="53805"/>
                      </a:cubicBezTo>
                      <a:cubicBezTo>
                        <a:pt x="303967" y="57162"/>
                        <a:pt x="301246" y="60942"/>
                        <a:pt x="299020" y="63450"/>
                      </a:cubicBezTo>
                      <a:cubicBezTo>
                        <a:pt x="261854" y="105280"/>
                        <a:pt x="247086" y="156967"/>
                        <a:pt x="233343" y="209396"/>
                      </a:cubicBezTo>
                      <a:cubicBezTo>
                        <a:pt x="224723" y="242323"/>
                        <a:pt x="213417" y="274331"/>
                        <a:pt x="195647" y="303973"/>
                      </a:cubicBezTo>
                      <a:cubicBezTo>
                        <a:pt x="182751" y="325523"/>
                        <a:pt x="163249" y="337394"/>
                        <a:pt x="141416" y="345979"/>
                      </a:cubicBezTo>
                      <a:cubicBezTo>
                        <a:pt x="130500" y="350254"/>
                        <a:pt x="122621" y="359616"/>
                        <a:pt x="111245" y="362054"/>
                      </a:cubicBezTo>
                      <a:cubicBezTo>
                        <a:pt x="96654" y="365198"/>
                        <a:pt x="82840" y="370180"/>
                        <a:pt x="68850" y="375197"/>
                      </a:cubicBezTo>
                      <a:cubicBezTo>
                        <a:pt x="44084" y="384099"/>
                        <a:pt x="23593" y="370886"/>
                        <a:pt x="17622" y="345202"/>
                      </a:cubicBezTo>
                      <a:cubicBezTo>
                        <a:pt x="16103" y="338631"/>
                        <a:pt x="14760" y="331459"/>
                        <a:pt x="5539" y="329728"/>
                      </a:cubicBezTo>
                      <a:cubicBezTo>
                        <a:pt x="-2162" y="328314"/>
                        <a:pt x="-255" y="322768"/>
                        <a:pt x="1936" y="317256"/>
                      </a:cubicBezTo>
                      <a:cubicBezTo>
                        <a:pt x="8507" y="300581"/>
                        <a:pt x="23028" y="290194"/>
                        <a:pt x="33485" y="276592"/>
                      </a:cubicBezTo>
                      <a:cubicBezTo>
                        <a:pt x="38996" y="269420"/>
                        <a:pt x="44720" y="262567"/>
                        <a:pt x="44684" y="253204"/>
                      </a:cubicBezTo>
                      <a:cubicBezTo>
                        <a:pt x="44508" y="201447"/>
                        <a:pt x="72630" y="168520"/>
                        <a:pt x="115908" y="145662"/>
                      </a:cubicBezTo>
                      <a:cubicBezTo>
                        <a:pt x="126083" y="140292"/>
                        <a:pt x="136081" y="134356"/>
                        <a:pt x="147351" y="131459"/>
                      </a:cubicBezTo>
                      <a:cubicBezTo>
                        <a:pt x="167525" y="126266"/>
                        <a:pt x="179431" y="138243"/>
                        <a:pt x="174343" y="158557"/>
                      </a:cubicBezTo>
                      <a:cubicBezTo>
                        <a:pt x="173283" y="162726"/>
                        <a:pt x="171835" y="166824"/>
                        <a:pt x="170563" y="170922"/>
                      </a:cubicBezTo>
                      <a:close/>
                      <a:moveTo>
                        <a:pt x="99657" y="311568"/>
                      </a:moveTo>
                      <a:cubicBezTo>
                        <a:pt x="102271" y="310756"/>
                        <a:pt x="107571" y="313935"/>
                        <a:pt x="107429" y="306764"/>
                      </a:cubicBezTo>
                      <a:cubicBezTo>
                        <a:pt x="107253" y="298002"/>
                        <a:pt x="108878" y="289452"/>
                        <a:pt x="110962" y="280938"/>
                      </a:cubicBezTo>
                      <a:cubicBezTo>
                        <a:pt x="111739" y="277723"/>
                        <a:pt x="112057" y="273943"/>
                        <a:pt x="107535" y="272070"/>
                      </a:cubicBezTo>
                      <a:cubicBezTo>
                        <a:pt x="92980" y="266099"/>
                        <a:pt x="78565" y="262743"/>
                        <a:pt x="64363" y="272777"/>
                      </a:cubicBezTo>
                      <a:cubicBezTo>
                        <a:pt x="61854" y="274543"/>
                        <a:pt x="58922" y="276239"/>
                        <a:pt x="58957" y="279737"/>
                      </a:cubicBezTo>
                      <a:cubicBezTo>
                        <a:pt x="58993" y="282881"/>
                        <a:pt x="61748" y="283764"/>
                        <a:pt x="64221" y="284789"/>
                      </a:cubicBezTo>
                      <a:cubicBezTo>
                        <a:pt x="74290" y="288958"/>
                        <a:pt x="82628" y="295140"/>
                        <a:pt x="87115" y="305456"/>
                      </a:cubicBezTo>
                      <a:cubicBezTo>
                        <a:pt x="89482" y="310932"/>
                        <a:pt x="93898" y="311851"/>
                        <a:pt x="99621" y="31153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2" name="Freeform: Shape 2601">
                  <a:extLst>
                    <a:ext uri="{FF2B5EF4-FFF2-40B4-BE49-F238E27FC236}">
                      <a16:creationId xmlns:a16="http://schemas.microsoft.com/office/drawing/2014/main" id="{213F2EE2-7BB4-6BBD-710C-14837D881A45}"/>
                    </a:ext>
                  </a:extLst>
                </p:cNvPr>
                <p:cNvSpPr/>
                <p:nvPr/>
              </p:nvSpPr>
              <p:spPr>
                <a:xfrm>
                  <a:off x="7924292" y="3030009"/>
                  <a:ext cx="82518" cy="172151"/>
                </a:xfrm>
                <a:custGeom>
                  <a:avLst/>
                  <a:gdLst>
                    <a:gd name="connsiteX0" fmla="*/ 81791 w 82518"/>
                    <a:gd name="connsiteY0" fmla="*/ 0 h 172151"/>
                    <a:gd name="connsiteX1" fmla="*/ 76421 w 82518"/>
                    <a:gd name="connsiteY1" fmla="*/ 24377 h 172151"/>
                    <a:gd name="connsiteX2" fmla="*/ 39325 w 82518"/>
                    <a:gd name="connsiteY2" fmla="*/ 100406 h 172151"/>
                    <a:gd name="connsiteX3" fmla="*/ 12899 w 82518"/>
                    <a:gd name="connsiteY3" fmla="*/ 166401 h 172151"/>
                    <a:gd name="connsiteX4" fmla="*/ 5267 w 82518"/>
                    <a:gd name="connsiteY4" fmla="*/ 172125 h 172151"/>
                    <a:gd name="connsiteX5" fmla="*/ 321 w 82518"/>
                    <a:gd name="connsiteY5" fmla="*/ 164317 h 172151"/>
                    <a:gd name="connsiteX6" fmla="*/ 35474 w 82518"/>
                    <a:gd name="connsiteY6" fmla="*/ 45822 h 172151"/>
                    <a:gd name="connsiteX7" fmla="*/ 81791 w 82518"/>
                    <a:gd name="connsiteY7" fmla="*/ 35 h 17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518" h="172151">
                      <a:moveTo>
                        <a:pt x="81791" y="0"/>
                      </a:moveTo>
                      <a:cubicBezTo>
                        <a:pt x="83875" y="10316"/>
                        <a:pt x="81296" y="18619"/>
                        <a:pt x="76421" y="24377"/>
                      </a:cubicBezTo>
                      <a:cubicBezTo>
                        <a:pt x="57449" y="46635"/>
                        <a:pt x="51125" y="74828"/>
                        <a:pt x="39325" y="100406"/>
                      </a:cubicBezTo>
                      <a:cubicBezTo>
                        <a:pt x="29433" y="121886"/>
                        <a:pt x="14665" y="141565"/>
                        <a:pt x="12899" y="166401"/>
                      </a:cubicBezTo>
                      <a:cubicBezTo>
                        <a:pt x="12616" y="170464"/>
                        <a:pt x="9366" y="172407"/>
                        <a:pt x="5267" y="172125"/>
                      </a:cubicBezTo>
                      <a:cubicBezTo>
                        <a:pt x="180" y="171771"/>
                        <a:pt x="533" y="167850"/>
                        <a:pt x="321" y="164317"/>
                      </a:cubicBezTo>
                      <a:cubicBezTo>
                        <a:pt x="-2223" y="120579"/>
                        <a:pt x="10425" y="81222"/>
                        <a:pt x="35474" y="45822"/>
                      </a:cubicBezTo>
                      <a:cubicBezTo>
                        <a:pt x="47769" y="28440"/>
                        <a:pt x="62819" y="13496"/>
                        <a:pt x="81791" y="3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3" name="Freeform: Shape 2602">
                  <a:extLst>
                    <a:ext uri="{FF2B5EF4-FFF2-40B4-BE49-F238E27FC236}">
                      <a16:creationId xmlns:a16="http://schemas.microsoft.com/office/drawing/2014/main" id="{412A6D16-DF91-6DA3-31EC-E0994B292120}"/>
                    </a:ext>
                  </a:extLst>
                </p:cNvPr>
                <p:cNvSpPr/>
                <p:nvPr/>
              </p:nvSpPr>
              <p:spPr>
                <a:xfrm>
                  <a:off x="8177166" y="3080344"/>
                  <a:ext cx="79878" cy="85227"/>
                </a:xfrm>
                <a:custGeom>
                  <a:avLst/>
                  <a:gdLst>
                    <a:gd name="connsiteX0" fmla="*/ 18742 w 79878"/>
                    <a:gd name="connsiteY0" fmla="*/ 84976 h 85227"/>
                    <a:gd name="connsiteX1" fmla="*/ 759 w 79878"/>
                    <a:gd name="connsiteY1" fmla="*/ 73918 h 85227"/>
                    <a:gd name="connsiteX2" fmla="*/ 11782 w 79878"/>
                    <a:gd name="connsiteY2" fmla="*/ 55229 h 85227"/>
                    <a:gd name="connsiteX3" fmla="*/ 32732 w 79878"/>
                    <a:gd name="connsiteY3" fmla="*/ 29474 h 85227"/>
                    <a:gd name="connsiteX4" fmla="*/ 46087 w 79878"/>
                    <a:gd name="connsiteY4" fmla="*/ 5556 h 85227"/>
                    <a:gd name="connsiteX5" fmla="*/ 75551 w 79878"/>
                    <a:gd name="connsiteY5" fmla="*/ 11703 h 85227"/>
                    <a:gd name="connsiteX6" fmla="*/ 77989 w 79878"/>
                    <a:gd name="connsiteY6" fmla="*/ 39861 h 85227"/>
                    <a:gd name="connsiteX7" fmla="*/ 18777 w 79878"/>
                    <a:gd name="connsiteY7" fmla="*/ 84976 h 8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78" h="85227">
                      <a:moveTo>
                        <a:pt x="18742" y="84976"/>
                      </a:moveTo>
                      <a:cubicBezTo>
                        <a:pt x="10333" y="86283"/>
                        <a:pt x="3479" y="82468"/>
                        <a:pt x="759" y="73918"/>
                      </a:cubicBezTo>
                      <a:cubicBezTo>
                        <a:pt x="-2279" y="64450"/>
                        <a:pt x="4292" y="58903"/>
                        <a:pt x="11782" y="55229"/>
                      </a:cubicBezTo>
                      <a:cubicBezTo>
                        <a:pt x="22875" y="49788"/>
                        <a:pt x="29234" y="41345"/>
                        <a:pt x="32732" y="29474"/>
                      </a:cubicBezTo>
                      <a:cubicBezTo>
                        <a:pt x="35311" y="20783"/>
                        <a:pt x="38279" y="11845"/>
                        <a:pt x="46087" y="5556"/>
                      </a:cubicBezTo>
                      <a:cubicBezTo>
                        <a:pt x="57392" y="-3524"/>
                        <a:pt x="69086" y="-1475"/>
                        <a:pt x="75551" y="11703"/>
                      </a:cubicBezTo>
                      <a:cubicBezTo>
                        <a:pt x="79932" y="20642"/>
                        <a:pt x="81416" y="29757"/>
                        <a:pt x="77989" y="39861"/>
                      </a:cubicBezTo>
                      <a:cubicBezTo>
                        <a:pt x="69828" y="63779"/>
                        <a:pt x="42836" y="85082"/>
                        <a:pt x="18777" y="8497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4" name="Freeform: Shape 2603">
                  <a:extLst>
                    <a:ext uri="{FF2B5EF4-FFF2-40B4-BE49-F238E27FC236}">
                      <a16:creationId xmlns:a16="http://schemas.microsoft.com/office/drawing/2014/main" id="{141BCBAF-4029-4F02-FF35-8C89A4AF5CC0}"/>
                    </a:ext>
                  </a:extLst>
                </p:cNvPr>
                <p:cNvSpPr/>
                <p:nvPr/>
              </p:nvSpPr>
              <p:spPr>
                <a:xfrm>
                  <a:off x="8251791" y="2915008"/>
                  <a:ext cx="95748" cy="69166"/>
                </a:xfrm>
                <a:custGeom>
                  <a:avLst/>
                  <a:gdLst>
                    <a:gd name="connsiteX0" fmla="*/ 80558 w 95748"/>
                    <a:gd name="connsiteY0" fmla="*/ 5 h 69166"/>
                    <a:gd name="connsiteX1" fmla="*/ 95397 w 95748"/>
                    <a:gd name="connsiteY1" fmla="*/ 16716 h 69166"/>
                    <a:gd name="connsiteX2" fmla="*/ 57382 w 95748"/>
                    <a:gd name="connsiteY2" fmla="*/ 47063 h 69166"/>
                    <a:gd name="connsiteX3" fmla="*/ 31663 w 95748"/>
                    <a:gd name="connsiteY3" fmla="*/ 60453 h 69166"/>
                    <a:gd name="connsiteX4" fmla="*/ 4530 w 95748"/>
                    <a:gd name="connsiteY4" fmla="*/ 63598 h 69166"/>
                    <a:gd name="connsiteX5" fmla="*/ 7109 w 95748"/>
                    <a:gd name="connsiteY5" fmla="*/ 33921 h 69166"/>
                    <a:gd name="connsiteX6" fmla="*/ 23007 w 95748"/>
                    <a:gd name="connsiteY6" fmla="*/ 24700 h 69166"/>
                    <a:gd name="connsiteX7" fmla="*/ 74694 w 95748"/>
                    <a:gd name="connsiteY7" fmla="*/ 1913 h 69166"/>
                    <a:gd name="connsiteX8" fmla="*/ 80558 w 95748"/>
                    <a:gd name="connsiteY8" fmla="*/ 40 h 6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748" h="69166">
                      <a:moveTo>
                        <a:pt x="80558" y="5"/>
                      </a:moveTo>
                      <a:cubicBezTo>
                        <a:pt x="91828" y="-207"/>
                        <a:pt x="97234" y="6647"/>
                        <a:pt x="95397" y="16716"/>
                      </a:cubicBezTo>
                      <a:cubicBezTo>
                        <a:pt x="92217" y="34098"/>
                        <a:pt x="79746" y="45509"/>
                        <a:pt x="57382" y="47063"/>
                      </a:cubicBezTo>
                      <a:cubicBezTo>
                        <a:pt x="45794" y="47841"/>
                        <a:pt x="38764" y="52822"/>
                        <a:pt x="31663" y="60453"/>
                      </a:cubicBezTo>
                      <a:cubicBezTo>
                        <a:pt x="21806" y="71017"/>
                        <a:pt x="11949" y="71865"/>
                        <a:pt x="4530" y="63598"/>
                      </a:cubicBezTo>
                      <a:cubicBezTo>
                        <a:pt x="-2501" y="55754"/>
                        <a:pt x="-1123" y="42011"/>
                        <a:pt x="7109" y="33921"/>
                      </a:cubicBezTo>
                      <a:cubicBezTo>
                        <a:pt x="11666" y="29434"/>
                        <a:pt x="17177" y="26537"/>
                        <a:pt x="23007" y="24700"/>
                      </a:cubicBezTo>
                      <a:cubicBezTo>
                        <a:pt x="41060" y="18941"/>
                        <a:pt x="59078" y="13218"/>
                        <a:pt x="74694" y="1913"/>
                      </a:cubicBezTo>
                      <a:cubicBezTo>
                        <a:pt x="76672" y="464"/>
                        <a:pt x="79569" y="323"/>
                        <a:pt x="80558" y="4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5" name="Freeform: Shape 2604">
                  <a:extLst>
                    <a:ext uri="{FF2B5EF4-FFF2-40B4-BE49-F238E27FC236}">
                      <a16:creationId xmlns:a16="http://schemas.microsoft.com/office/drawing/2014/main" id="{0449AC6A-3438-D520-0BD3-195C77F5E674}"/>
                    </a:ext>
                  </a:extLst>
                </p:cNvPr>
                <p:cNvSpPr/>
                <p:nvPr/>
              </p:nvSpPr>
              <p:spPr>
                <a:xfrm>
                  <a:off x="8010640" y="3125292"/>
                  <a:ext cx="52467" cy="45216"/>
                </a:xfrm>
                <a:custGeom>
                  <a:avLst/>
                  <a:gdLst>
                    <a:gd name="connsiteX0" fmla="*/ 40664 w 52467"/>
                    <a:gd name="connsiteY0" fmla="*/ 45152 h 45216"/>
                    <a:gd name="connsiteX1" fmla="*/ 28158 w 52467"/>
                    <a:gd name="connsiteY1" fmla="*/ 39075 h 45216"/>
                    <a:gd name="connsiteX2" fmla="*/ 5264 w 52467"/>
                    <a:gd name="connsiteY2" fmla="*/ 18407 h 45216"/>
                    <a:gd name="connsiteX3" fmla="*/ 0 w 52467"/>
                    <a:gd name="connsiteY3" fmla="*/ 13355 h 45216"/>
                    <a:gd name="connsiteX4" fmla="*/ 5406 w 52467"/>
                    <a:gd name="connsiteY4" fmla="*/ 6395 h 45216"/>
                    <a:gd name="connsiteX5" fmla="*/ 48578 w 52467"/>
                    <a:gd name="connsiteY5" fmla="*/ 5689 h 45216"/>
                    <a:gd name="connsiteX6" fmla="*/ 52005 w 52467"/>
                    <a:gd name="connsiteY6" fmla="*/ 14556 h 45216"/>
                    <a:gd name="connsiteX7" fmla="*/ 48472 w 52467"/>
                    <a:gd name="connsiteY7" fmla="*/ 40382 h 45216"/>
                    <a:gd name="connsiteX8" fmla="*/ 40700 w 52467"/>
                    <a:gd name="connsiteY8" fmla="*/ 45187 h 4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67" h="45216">
                      <a:moveTo>
                        <a:pt x="40664" y="45152"/>
                      </a:moveTo>
                      <a:cubicBezTo>
                        <a:pt x="34941" y="45505"/>
                        <a:pt x="30525" y="44551"/>
                        <a:pt x="28158" y="39075"/>
                      </a:cubicBezTo>
                      <a:cubicBezTo>
                        <a:pt x="23706" y="28759"/>
                        <a:pt x="15333" y="22576"/>
                        <a:pt x="5264" y="18407"/>
                      </a:cubicBezTo>
                      <a:cubicBezTo>
                        <a:pt x="2756" y="17383"/>
                        <a:pt x="36" y="16499"/>
                        <a:pt x="0" y="13355"/>
                      </a:cubicBezTo>
                      <a:cubicBezTo>
                        <a:pt x="-35" y="9858"/>
                        <a:pt x="2897" y="8162"/>
                        <a:pt x="5406" y="6395"/>
                      </a:cubicBezTo>
                      <a:cubicBezTo>
                        <a:pt x="19643" y="-3638"/>
                        <a:pt x="34058" y="-282"/>
                        <a:pt x="48578" y="5689"/>
                      </a:cubicBezTo>
                      <a:cubicBezTo>
                        <a:pt x="53100" y="7526"/>
                        <a:pt x="52782" y="11341"/>
                        <a:pt x="52005" y="14556"/>
                      </a:cubicBezTo>
                      <a:cubicBezTo>
                        <a:pt x="49921" y="23071"/>
                        <a:pt x="48295" y="31620"/>
                        <a:pt x="48472" y="40382"/>
                      </a:cubicBezTo>
                      <a:cubicBezTo>
                        <a:pt x="48614" y="47554"/>
                        <a:pt x="43314" y="44374"/>
                        <a:pt x="40700" y="45187"/>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59" name="Group 58">
                <a:extLst>
                  <a:ext uri="{FF2B5EF4-FFF2-40B4-BE49-F238E27FC236}">
                    <a16:creationId xmlns:a16="http://schemas.microsoft.com/office/drawing/2014/main" id="{4A1D6ABE-F50D-58C9-02C0-B646361B5DA8}"/>
                  </a:ext>
                </a:extLst>
              </p:cNvPr>
              <p:cNvGrpSpPr/>
              <p:nvPr/>
            </p:nvGrpSpPr>
            <p:grpSpPr>
              <a:xfrm rot="7710667">
                <a:off x="1191121" y="2169270"/>
                <a:ext cx="220303" cy="268756"/>
                <a:chOff x="7023864" y="4381061"/>
                <a:chExt cx="1454089" cy="1773897"/>
              </a:xfrm>
            </p:grpSpPr>
            <p:sp>
              <p:nvSpPr>
                <p:cNvPr id="680" name="Freeform: Shape 679">
                  <a:extLst>
                    <a:ext uri="{FF2B5EF4-FFF2-40B4-BE49-F238E27FC236}">
                      <a16:creationId xmlns:a16="http://schemas.microsoft.com/office/drawing/2014/main" id="{B053FD91-C995-E6D1-9DA9-6ADE2E39CC6A}"/>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1" name="Freeform: Shape 680">
                  <a:extLst>
                    <a:ext uri="{FF2B5EF4-FFF2-40B4-BE49-F238E27FC236}">
                      <a16:creationId xmlns:a16="http://schemas.microsoft.com/office/drawing/2014/main" id="{E3681755-3404-C36C-3D11-10E03FB9CD5E}"/>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2" name="Rectangle: Rounded Corners 681">
                  <a:extLst>
                    <a:ext uri="{FF2B5EF4-FFF2-40B4-BE49-F238E27FC236}">
                      <a16:creationId xmlns:a16="http://schemas.microsoft.com/office/drawing/2014/main" id="{7002AD85-D6AD-6EBC-2C52-3AD2DA6F6E7F}"/>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3" name="Freeform: Shape 682">
                  <a:extLst>
                    <a:ext uri="{FF2B5EF4-FFF2-40B4-BE49-F238E27FC236}">
                      <a16:creationId xmlns:a16="http://schemas.microsoft.com/office/drawing/2014/main" id="{E2EAAA1D-1D13-26E5-219D-70F653B7DA42}"/>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4" name="Freeform: Shape 683">
                  <a:extLst>
                    <a:ext uri="{FF2B5EF4-FFF2-40B4-BE49-F238E27FC236}">
                      <a16:creationId xmlns:a16="http://schemas.microsoft.com/office/drawing/2014/main" id="{BBB3E138-3DE2-9DE0-D68F-6F35D05E8EAF}"/>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5" name="Freeform: Shape 684">
                  <a:extLst>
                    <a:ext uri="{FF2B5EF4-FFF2-40B4-BE49-F238E27FC236}">
                      <a16:creationId xmlns:a16="http://schemas.microsoft.com/office/drawing/2014/main" id="{214CB65F-DB45-D819-6E5E-C4DC810C53EA}"/>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6" name="Freeform: Shape 685">
                  <a:extLst>
                    <a:ext uri="{FF2B5EF4-FFF2-40B4-BE49-F238E27FC236}">
                      <a16:creationId xmlns:a16="http://schemas.microsoft.com/office/drawing/2014/main" id="{2184EF1B-E80D-989D-501D-6924FCC3DC93}"/>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7" name="Rectangle: Rounded Corners 686">
                  <a:extLst>
                    <a:ext uri="{FF2B5EF4-FFF2-40B4-BE49-F238E27FC236}">
                      <a16:creationId xmlns:a16="http://schemas.microsoft.com/office/drawing/2014/main" id="{1F981A24-FEA2-5FA2-570D-3539DB533867}"/>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688" name="Group 687">
                  <a:extLst>
                    <a:ext uri="{FF2B5EF4-FFF2-40B4-BE49-F238E27FC236}">
                      <a16:creationId xmlns:a16="http://schemas.microsoft.com/office/drawing/2014/main" id="{D1519F83-14CC-64A2-A663-88C01BD851AA}"/>
                    </a:ext>
                  </a:extLst>
                </p:cNvPr>
                <p:cNvGrpSpPr/>
                <p:nvPr/>
              </p:nvGrpSpPr>
              <p:grpSpPr>
                <a:xfrm rot="18900000">
                  <a:off x="7023864" y="4541844"/>
                  <a:ext cx="155034" cy="650324"/>
                  <a:chOff x="1687853" y="3177376"/>
                  <a:chExt cx="389584" cy="2276476"/>
                </a:xfrm>
              </p:grpSpPr>
              <p:sp>
                <p:nvSpPr>
                  <p:cNvPr id="699" name="Freeform: Shape 698">
                    <a:extLst>
                      <a:ext uri="{FF2B5EF4-FFF2-40B4-BE49-F238E27FC236}">
                        <a16:creationId xmlns:a16="http://schemas.microsoft.com/office/drawing/2014/main" id="{BAC28025-8F2E-041B-1D8B-D972D7BBAF91}"/>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00" name="Freeform: Shape 699">
                    <a:extLst>
                      <a:ext uri="{FF2B5EF4-FFF2-40B4-BE49-F238E27FC236}">
                        <a16:creationId xmlns:a16="http://schemas.microsoft.com/office/drawing/2014/main" id="{3213211C-6940-80C2-11DD-42990863F9F0}"/>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689" name="Group 688">
                  <a:extLst>
                    <a:ext uri="{FF2B5EF4-FFF2-40B4-BE49-F238E27FC236}">
                      <a16:creationId xmlns:a16="http://schemas.microsoft.com/office/drawing/2014/main" id="{87DD3617-CF44-7D76-79F2-5F81829EDE19}"/>
                    </a:ext>
                  </a:extLst>
                </p:cNvPr>
                <p:cNvGrpSpPr/>
                <p:nvPr/>
              </p:nvGrpSpPr>
              <p:grpSpPr>
                <a:xfrm rot="18900000">
                  <a:off x="7159822" y="4381061"/>
                  <a:ext cx="155034" cy="650324"/>
                  <a:chOff x="1687853" y="3177376"/>
                  <a:chExt cx="389584" cy="2276476"/>
                </a:xfrm>
              </p:grpSpPr>
              <p:sp>
                <p:nvSpPr>
                  <p:cNvPr id="697" name="Freeform: Shape 696">
                    <a:extLst>
                      <a:ext uri="{FF2B5EF4-FFF2-40B4-BE49-F238E27FC236}">
                        <a16:creationId xmlns:a16="http://schemas.microsoft.com/office/drawing/2014/main" id="{3DF98B50-AC27-7A2B-F6CC-05408E9C658C}"/>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98" name="Freeform: Shape 697">
                    <a:extLst>
                      <a:ext uri="{FF2B5EF4-FFF2-40B4-BE49-F238E27FC236}">
                        <a16:creationId xmlns:a16="http://schemas.microsoft.com/office/drawing/2014/main" id="{2D45DF92-E106-AF26-B5F0-A784331585CE}"/>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90" name="Rectangle: Rounded Corners 689">
                  <a:extLst>
                    <a:ext uri="{FF2B5EF4-FFF2-40B4-BE49-F238E27FC236}">
                      <a16:creationId xmlns:a16="http://schemas.microsoft.com/office/drawing/2014/main" id="{714FB09E-EE28-1F8D-A751-2BB35B1D94B7}"/>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691" name="Group 690">
                  <a:extLst>
                    <a:ext uri="{FF2B5EF4-FFF2-40B4-BE49-F238E27FC236}">
                      <a16:creationId xmlns:a16="http://schemas.microsoft.com/office/drawing/2014/main" id="{72F06B87-5CDA-B599-6489-91B22B22171D}"/>
                    </a:ext>
                  </a:extLst>
                </p:cNvPr>
                <p:cNvGrpSpPr/>
                <p:nvPr/>
              </p:nvGrpSpPr>
              <p:grpSpPr>
                <a:xfrm rot="2700000" flipH="1">
                  <a:off x="8075274" y="4531570"/>
                  <a:ext cx="155034" cy="650324"/>
                  <a:chOff x="1687853" y="3177376"/>
                  <a:chExt cx="389584" cy="2276476"/>
                </a:xfrm>
              </p:grpSpPr>
              <p:sp>
                <p:nvSpPr>
                  <p:cNvPr id="695" name="Freeform: Shape 694">
                    <a:extLst>
                      <a:ext uri="{FF2B5EF4-FFF2-40B4-BE49-F238E27FC236}">
                        <a16:creationId xmlns:a16="http://schemas.microsoft.com/office/drawing/2014/main" id="{4FD5F519-96A8-00B5-EBA6-E9298AAD8EE2}"/>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96" name="Freeform: Shape 695">
                    <a:extLst>
                      <a:ext uri="{FF2B5EF4-FFF2-40B4-BE49-F238E27FC236}">
                        <a16:creationId xmlns:a16="http://schemas.microsoft.com/office/drawing/2014/main" id="{16651B94-94C7-F0FC-CB9D-DA6A16E7400D}"/>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692" name="Group 691">
                  <a:extLst>
                    <a:ext uri="{FF2B5EF4-FFF2-40B4-BE49-F238E27FC236}">
                      <a16:creationId xmlns:a16="http://schemas.microsoft.com/office/drawing/2014/main" id="{91A72DA5-6290-7D45-FD30-E924D04C7107}"/>
                    </a:ext>
                  </a:extLst>
                </p:cNvPr>
                <p:cNvGrpSpPr/>
                <p:nvPr/>
              </p:nvGrpSpPr>
              <p:grpSpPr>
                <a:xfrm rot="2700000" flipH="1">
                  <a:off x="7938470" y="4374279"/>
                  <a:ext cx="155034" cy="650324"/>
                  <a:chOff x="1687853" y="3177376"/>
                  <a:chExt cx="389584" cy="2276476"/>
                </a:xfrm>
              </p:grpSpPr>
              <p:sp>
                <p:nvSpPr>
                  <p:cNvPr id="693" name="Freeform: Shape 692">
                    <a:extLst>
                      <a:ext uri="{FF2B5EF4-FFF2-40B4-BE49-F238E27FC236}">
                        <a16:creationId xmlns:a16="http://schemas.microsoft.com/office/drawing/2014/main" id="{A1A5176D-BF02-457F-6A2F-3978B2FE682C}"/>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94" name="Freeform: Shape 693">
                    <a:extLst>
                      <a:ext uri="{FF2B5EF4-FFF2-40B4-BE49-F238E27FC236}">
                        <a16:creationId xmlns:a16="http://schemas.microsoft.com/office/drawing/2014/main" id="{DC0F8FBF-791E-BD7A-F056-07A9938CA501}"/>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60" name="Freeform: Shape 59">
                <a:extLst>
                  <a:ext uri="{FF2B5EF4-FFF2-40B4-BE49-F238E27FC236}">
                    <a16:creationId xmlns:a16="http://schemas.microsoft.com/office/drawing/2014/main" id="{47448F5D-109B-007F-A2D4-58DC257F0D9A}"/>
                  </a:ext>
                </a:extLst>
              </p:cNvPr>
              <p:cNvSpPr/>
              <p:nvPr/>
            </p:nvSpPr>
            <p:spPr>
              <a:xfrm>
                <a:off x="1439164" y="2246717"/>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 name="Freeform: Shape 60">
                <a:extLst>
                  <a:ext uri="{FF2B5EF4-FFF2-40B4-BE49-F238E27FC236}">
                    <a16:creationId xmlns:a16="http://schemas.microsoft.com/office/drawing/2014/main" id="{A9A84654-1111-44A7-D70E-40C656393FE5}"/>
                  </a:ext>
                </a:extLst>
              </p:cNvPr>
              <p:cNvSpPr/>
              <p:nvPr/>
            </p:nvSpPr>
            <p:spPr>
              <a:xfrm rot="3911719">
                <a:off x="1956712" y="1994766"/>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2" name="Freeform: Shape 61">
                <a:extLst>
                  <a:ext uri="{FF2B5EF4-FFF2-40B4-BE49-F238E27FC236}">
                    <a16:creationId xmlns:a16="http://schemas.microsoft.com/office/drawing/2014/main" id="{D13DFE85-D001-FFB4-2C0A-DE80C47167B7}"/>
                  </a:ext>
                </a:extLst>
              </p:cNvPr>
              <p:cNvSpPr/>
              <p:nvPr/>
            </p:nvSpPr>
            <p:spPr>
              <a:xfrm rot="5597451">
                <a:off x="2145294" y="1994766"/>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3" name="Freeform: Shape 62">
                <a:extLst>
                  <a:ext uri="{FF2B5EF4-FFF2-40B4-BE49-F238E27FC236}">
                    <a16:creationId xmlns:a16="http://schemas.microsoft.com/office/drawing/2014/main" id="{E7CE4BB7-B3F1-FD51-670A-11318007E768}"/>
                  </a:ext>
                </a:extLst>
              </p:cNvPr>
              <p:cNvSpPr/>
              <p:nvPr/>
            </p:nvSpPr>
            <p:spPr>
              <a:xfrm rot="12349605">
                <a:off x="2411205" y="3058102"/>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 name="Freeform: Shape 255">
                <a:extLst>
                  <a:ext uri="{FF2B5EF4-FFF2-40B4-BE49-F238E27FC236}">
                    <a16:creationId xmlns:a16="http://schemas.microsoft.com/office/drawing/2014/main" id="{89474EA1-5DF7-6C29-1A27-E8DB0297D4F0}"/>
                  </a:ext>
                </a:extLst>
              </p:cNvPr>
              <p:cNvSpPr/>
              <p:nvPr/>
            </p:nvSpPr>
            <p:spPr>
              <a:xfrm rot="15025914">
                <a:off x="1893222" y="3183742"/>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 name="Freeform: Shape 256">
                <a:extLst>
                  <a:ext uri="{FF2B5EF4-FFF2-40B4-BE49-F238E27FC236}">
                    <a16:creationId xmlns:a16="http://schemas.microsoft.com/office/drawing/2014/main" id="{40BC7C6D-70AD-16EC-4F52-F950A7BD7D40}"/>
                  </a:ext>
                </a:extLst>
              </p:cNvPr>
              <p:cNvSpPr/>
              <p:nvPr/>
            </p:nvSpPr>
            <p:spPr>
              <a:xfrm rot="17207955">
                <a:off x="1694210" y="3114723"/>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 name="Freeform: Shape 257">
                <a:extLst>
                  <a:ext uri="{FF2B5EF4-FFF2-40B4-BE49-F238E27FC236}">
                    <a16:creationId xmlns:a16="http://schemas.microsoft.com/office/drawing/2014/main" id="{7A4EBAF2-A3F3-46DB-6CEC-7A81FD0457CB}"/>
                  </a:ext>
                </a:extLst>
              </p:cNvPr>
              <p:cNvSpPr/>
              <p:nvPr/>
            </p:nvSpPr>
            <p:spPr>
              <a:xfrm rot="18910163">
                <a:off x="1489680" y="2958250"/>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9" name="Freeform: Shape 258">
                <a:extLst>
                  <a:ext uri="{FF2B5EF4-FFF2-40B4-BE49-F238E27FC236}">
                    <a16:creationId xmlns:a16="http://schemas.microsoft.com/office/drawing/2014/main" id="{90C43DE8-36D7-F256-964A-61C332C1E124}"/>
                  </a:ext>
                </a:extLst>
              </p:cNvPr>
              <p:cNvSpPr/>
              <p:nvPr/>
            </p:nvSpPr>
            <p:spPr>
              <a:xfrm rot="20175320">
                <a:off x="1337885" y="2581602"/>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60" name="Group 259">
                <a:extLst>
                  <a:ext uri="{FF2B5EF4-FFF2-40B4-BE49-F238E27FC236}">
                    <a16:creationId xmlns:a16="http://schemas.microsoft.com/office/drawing/2014/main" id="{F0E44EFF-2A6E-44B9-10B6-05D8CB8D4AB3}"/>
                  </a:ext>
                </a:extLst>
              </p:cNvPr>
              <p:cNvGrpSpPr/>
              <p:nvPr/>
            </p:nvGrpSpPr>
            <p:grpSpPr>
              <a:xfrm rot="2171114">
                <a:off x="1109516" y="2522456"/>
                <a:ext cx="220303" cy="268756"/>
                <a:chOff x="7023864" y="4381061"/>
                <a:chExt cx="1454089" cy="1773897"/>
              </a:xfrm>
            </p:grpSpPr>
            <p:sp>
              <p:nvSpPr>
                <p:cNvPr id="659" name="Freeform: Shape 658">
                  <a:extLst>
                    <a:ext uri="{FF2B5EF4-FFF2-40B4-BE49-F238E27FC236}">
                      <a16:creationId xmlns:a16="http://schemas.microsoft.com/office/drawing/2014/main" id="{F3A55D60-0ECD-7DF9-285B-85D9F9DBE728}"/>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0" name="Freeform: Shape 659">
                  <a:extLst>
                    <a:ext uri="{FF2B5EF4-FFF2-40B4-BE49-F238E27FC236}">
                      <a16:creationId xmlns:a16="http://schemas.microsoft.com/office/drawing/2014/main" id="{3699A9E6-C153-8B49-8FD4-3DE4515A0842}"/>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1" name="Rectangle: Rounded Corners 660">
                  <a:extLst>
                    <a:ext uri="{FF2B5EF4-FFF2-40B4-BE49-F238E27FC236}">
                      <a16:creationId xmlns:a16="http://schemas.microsoft.com/office/drawing/2014/main" id="{96E599D1-E204-2053-925A-1239D8509335}"/>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2" name="Freeform: Shape 661">
                  <a:extLst>
                    <a:ext uri="{FF2B5EF4-FFF2-40B4-BE49-F238E27FC236}">
                      <a16:creationId xmlns:a16="http://schemas.microsoft.com/office/drawing/2014/main" id="{7EE6229F-3202-C75C-7027-C47A502BDE98}"/>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3" name="Freeform: Shape 662">
                  <a:extLst>
                    <a:ext uri="{FF2B5EF4-FFF2-40B4-BE49-F238E27FC236}">
                      <a16:creationId xmlns:a16="http://schemas.microsoft.com/office/drawing/2014/main" id="{B3E50C86-C077-3095-994C-DCE7C912DC21}"/>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4" name="Freeform: Shape 663">
                  <a:extLst>
                    <a:ext uri="{FF2B5EF4-FFF2-40B4-BE49-F238E27FC236}">
                      <a16:creationId xmlns:a16="http://schemas.microsoft.com/office/drawing/2014/main" id="{8A3E8AAB-7FE0-F56B-1727-218C4D4E792E}"/>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5" name="Freeform: Shape 664">
                  <a:extLst>
                    <a:ext uri="{FF2B5EF4-FFF2-40B4-BE49-F238E27FC236}">
                      <a16:creationId xmlns:a16="http://schemas.microsoft.com/office/drawing/2014/main" id="{460702FF-D37F-041F-0DCB-0517792853EC}"/>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6" name="Rectangle: Rounded Corners 665">
                  <a:extLst>
                    <a:ext uri="{FF2B5EF4-FFF2-40B4-BE49-F238E27FC236}">
                      <a16:creationId xmlns:a16="http://schemas.microsoft.com/office/drawing/2014/main" id="{B6A970A2-2E09-EE1A-7BA7-4DF4C7A213F4}"/>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667" name="Group 666">
                  <a:extLst>
                    <a:ext uri="{FF2B5EF4-FFF2-40B4-BE49-F238E27FC236}">
                      <a16:creationId xmlns:a16="http://schemas.microsoft.com/office/drawing/2014/main" id="{72ADBBB7-5C89-FD8F-9292-91F9BEB155A7}"/>
                    </a:ext>
                  </a:extLst>
                </p:cNvPr>
                <p:cNvGrpSpPr/>
                <p:nvPr/>
              </p:nvGrpSpPr>
              <p:grpSpPr>
                <a:xfrm rot="18900000">
                  <a:off x="7023864" y="4541844"/>
                  <a:ext cx="155034" cy="650324"/>
                  <a:chOff x="1687853" y="3177376"/>
                  <a:chExt cx="389584" cy="2276476"/>
                </a:xfrm>
              </p:grpSpPr>
              <p:sp>
                <p:nvSpPr>
                  <p:cNvPr id="678" name="Freeform: Shape 677">
                    <a:extLst>
                      <a:ext uri="{FF2B5EF4-FFF2-40B4-BE49-F238E27FC236}">
                        <a16:creationId xmlns:a16="http://schemas.microsoft.com/office/drawing/2014/main" id="{8F90226D-4778-0A12-D467-0492B88B6B22}"/>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9" name="Freeform: Shape 678">
                    <a:extLst>
                      <a:ext uri="{FF2B5EF4-FFF2-40B4-BE49-F238E27FC236}">
                        <a16:creationId xmlns:a16="http://schemas.microsoft.com/office/drawing/2014/main" id="{CE788185-FCF6-0200-A8D3-6DCD94CFCBA9}"/>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668" name="Group 667">
                  <a:extLst>
                    <a:ext uri="{FF2B5EF4-FFF2-40B4-BE49-F238E27FC236}">
                      <a16:creationId xmlns:a16="http://schemas.microsoft.com/office/drawing/2014/main" id="{CF6F2907-B9F5-D2F0-B797-573AA06673C2}"/>
                    </a:ext>
                  </a:extLst>
                </p:cNvPr>
                <p:cNvGrpSpPr/>
                <p:nvPr/>
              </p:nvGrpSpPr>
              <p:grpSpPr>
                <a:xfrm rot="18900000">
                  <a:off x="7159822" y="4381061"/>
                  <a:ext cx="155034" cy="650324"/>
                  <a:chOff x="1687853" y="3177376"/>
                  <a:chExt cx="389584" cy="2276476"/>
                </a:xfrm>
              </p:grpSpPr>
              <p:sp>
                <p:nvSpPr>
                  <p:cNvPr id="676" name="Freeform: Shape 675">
                    <a:extLst>
                      <a:ext uri="{FF2B5EF4-FFF2-40B4-BE49-F238E27FC236}">
                        <a16:creationId xmlns:a16="http://schemas.microsoft.com/office/drawing/2014/main" id="{31962520-C8E0-C3A3-C856-60D0926CC1C0}"/>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7" name="Freeform: Shape 676">
                    <a:extLst>
                      <a:ext uri="{FF2B5EF4-FFF2-40B4-BE49-F238E27FC236}">
                        <a16:creationId xmlns:a16="http://schemas.microsoft.com/office/drawing/2014/main" id="{6D15F292-F390-05B9-5BE1-6FD32C2C1738}"/>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69" name="Rectangle: Rounded Corners 668">
                  <a:extLst>
                    <a:ext uri="{FF2B5EF4-FFF2-40B4-BE49-F238E27FC236}">
                      <a16:creationId xmlns:a16="http://schemas.microsoft.com/office/drawing/2014/main" id="{6AD0AC8A-1A29-5C1F-A1E5-52502605DB00}"/>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670" name="Group 669">
                  <a:extLst>
                    <a:ext uri="{FF2B5EF4-FFF2-40B4-BE49-F238E27FC236}">
                      <a16:creationId xmlns:a16="http://schemas.microsoft.com/office/drawing/2014/main" id="{7DBB630A-3DC7-DA6D-621A-77FF99407B34}"/>
                    </a:ext>
                  </a:extLst>
                </p:cNvPr>
                <p:cNvGrpSpPr/>
                <p:nvPr/>
              </p:nvGrpSpPr>
              <p:grpSpPr>
                <a:xfrm rot="2700000" flipH="1">
                  <a:off x="8075274" y="4531570"/>
                  <a:ext cx="155034" cy="650324"/>
                  <a:chOff x="1687853" y="3177376"/>
                  <a:chExt cx="389584" cy="2276476"/>
                </a:xfrm>
              </p:grpSpPr>
              <p:sp>
                <p:nvSpPr>
                  <p:cNvPr id="674" name="Freeform: Shape 673">
                    <a:extLst>
                      <a:ext uri="{FF2B5EF4-FFF2-40B4-BE49-F238E27FC236}">
                        <a16:creationId xmlns:a16="http://schemas.microsoft.com/office/drawing/2014/main" id="{7EA904F8-4AE2-1C14-D9A4-7B23C98BE74A}"/>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5" name="Freeform: Shape 674">
                    <a:extLst>
                      <a:ext uri="{FF2B5EF4-FFF2-40B4-BE49-F238E27FC236}">
                        <a16:creationId xmlns:a16="http://schemas.microsoft.com/office/drawing/2014/main" id="{15B1F1CE-7F32-D806-2C90-4B9607C5C70B}"/>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671" name="Group 670">
                  <a:extLst>
                    <a:ext uri="{FF2B5EF4-FFF2-40B4-BE49-F238E27FC236}">
                      <a16:creationId xmlns:a16="http://schemas.microsoft.com/office/drawing/2014/main" id="{FB0D50C4-53EE-D9B3-96F2-C388ECE79092}"/>
                    </a:ext>
                  </a:extLst>
                </p:cNvPr>
                <p:cNvGrpSpPr/>
                <p:nvPr/>
              </p:nvGrpSpPr>
              <p:grpSpPr>
                <a:xfrm rot="2700000" flipH="1">
                  <a:off x="7938470" y="4374279"/>
                  <a:ext cx="155034" cy="650324"/>
                  <a:chOff x="1687853" y="3177376"/>
                  <a:chExt cx="389584" cy="2276476"/>
                </a:xfrm>
              </p:grpSpPr>
              <p:sp>
                <p:nvSpPr>
                  <p:cNvPr id="672" name="Freeform: Shape 671">
                    <a:extLst>
                      <a:ext uri="{FF2B5EF4-FFF2-40B4-BE49-F238E27FC236}">
                        <a16:creationId xmlns:a16="http://schemas.microsoft.com/office/drawing/2014/main" id="{3B781E45-89A4-F51B-5991-CD004131B5EF}"/>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3" name="Freeform: Shape 672">
                    <a:extLst>
                      <a:ext uri="{FF2B5EF4-FFF2-40B4-BE49-F238E27FC236}">
                        <a16:creationId xmlns:a16="http://schemas.microsoft.com/office/drawing/2014/main" id="{301D9B9C-4BD9-628C-E2BE-3C8F1DD75201}"/>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261" name="Group 260">
                <a:extLst>
                  <a:ext uri="{FF2B5EF4-FFF2-40B4-BE49-F238E27FC236}">
                    <a16:creationId xmlns:a16="http://schemas.microsoft.com/office/drawing/2014/main" id="{F622BBD5-A41D-5A8F-BB0E-BD3A7E1383FC}"/>
                  </a:ext>
                </a:extLst>
              </p:cNvPr>
              <p:cNvGrpSpPr/>
              <p:nvPr/>
            </p:nvGrpSpPr>
            <p:grpSpPr>
              <a:xfrm rot="5400000">
                <a:off x="1281677" y="3034185"/>
                <a:ext cx="220303" cy="268756"/>
                <a:chOff x="7023864" y="4381061"/>
                <a:chExt cx="1454089" cy="1773897"/>
              </a:xfrm>
            </p:grpSpPr>
            <p:sp>
              <p:nvSpPr>
                <p:cNvPr id="381" name="Freeform: Shape 380">
                  <a:extLst>
                    <a:ext uri="{FF2B5EF4-FFF2-40B4-BE49-F238E27FC236}">
                      <a16:creationId xmlns:a16="http://schemas.microsoft.com/office/drawing/2014/main" id="{84AF6083-E719-1DE7-D861-1E99A816C5B5}"/>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2" name="Freeform: Shape 381">
                  <a:extLst>
                    <a:ext uri="{FF2B5EF4-FFF2-40B4-BE49-F238E27FC236}">
                      <a16:creationId xmlns:a16="http://schemas.microsoft.com/office/drawing/2014/main" id="{809A6B60-E917-C395-36A1-5529822C1CE5}"/>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3" name="Rectangle: Rounded Corners 382">
                  <a:extLst>
                    <a:ext uri="{FF2B5EF4-FFF2-40B4-BE49-F238E27FC236}">
                      <a16:creationId xmlns:a16="http://schemas.microsoft.com/office/drawing/2014/main" id="{B3FCDC8B-ADC0-1A34-E587-8EAD128053F9}"/>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40" name="Freeform: Shape 639">
                  <a:extLst>
                    <a:ext uri="{FF2B5EF4-FFF2-40B4-BE49-F238E27FC236}">
                      <a16:creationId xmlns:a16="http://schemas.microsoft.com/office/drawing/2014/main" id="{967C85B4-63F3-9308-7935-B7AA2727444F}"/>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41" name="Freeform: Shape 640">
                  <a:extLst>
                    <a:ext uri="{FF2B5EF4-FFF2-40B4-BE49-F238E27FC236}">
                      <a16:creationId xmlns:a16="http://schemas.microsoft.com/office/drawing/2014/main" id="{56BB159D-742B-AA36-5DD6-8276C242507A}"/>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42" name="Freeform: Shape 641">
                  <a:extLst>
                    <a:ext uri="{FF2B5EF4-FFF2-40B4-BE49-F238E27FC236}">
                      <a16:creationId xmlns:a16="http://schemas.microsoft.com/office/drawing/2014/main" id="{E7CC262E-35CF-94E8-1D0D-391EE9FB0465}"/>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43" name="Freeform: Shape 642">
                  <a:extLst>
                    <a:ext uri="{FF2B5EF4-FFF2-40B4-BE49-F238E27FC236}">
                      <a16:creationId xmlns:a16="http://schemas.microsoft.com/office/drawing/2014/main" id="{7A343624-D183-C3F5-A0A9-5841DABB4BFB}"/>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44" name="Rectangle: Rounded Corners 643">
                  <a:extLst>
                    <a:ext uri="{FF2B5EF4-FFF2-40B4-BE49-F238E27FC236}">
                      <a16:creationId xmlns:a16="http://schemas.microsoft.com/office/drawing/2014/main" id="{B5E2FE1E-555D-4BBF-75F6-E115D2FA197E}"/>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645" name="Group 644">
                  <a:extLst>
                    <a:ext uri="{FF2B5EF4-FFF2-40B4-BE49-F238E27FC236}">
                      <a16:creationId xmlns:a16="http://schemas.microsoft.com/office/drawing/2014/main" id="{50251885-5E7C-03A0-03DD-67117FBDFDE4}"/>
                    </a:ext>
                  </a:extLst>
                </p:cNvPr>
                <p:cNvGrpSpPr/>
                <p:nvPr/>
              </p:nvGrpSpPr>
              <p:grpSpPr>
                <a:xfrm rot="18900000">
                  <a:off x="7023864" y="4541844"/>
                  <a:ext cx="155034" cy="650324"/>
                  <a:chOff x="1687853" y="3177376"/>
                  <a:chExt cx="389584" cy="2276476"/>
                </a:xfrm>
              </p:grpSpPr>
              <p:sp>
                <p:nvSpPr>
                  <p:cNvPr id="657" name="Freeform: Shape 656">
                    <a:extLst>
                      <a:ext uri="{FF2B5EF4-FFF2-40B4-BE49-F238E27FC236}">
                        <a16:creationId xmlns:a16="http://schemas.microsoft.com/office/drawing/2014/main" id="{3672BB50-0B60-D25B-AB5A-32D68157ABE5}"/>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58" name="Freeform: Shape 657">
                    <a:extLst>
                      <a:ext uri="{FF2B5EF4-FFF2-40B4-BE49-F238E27FC236}">
                        <a16:creationId xmlns:a16="http://schemas.microsoft.com/office/drawing/2014/main" id="{820A9A11-EA7D-B8C1-FA68-CD7509758338}"/>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646" name="Group 645">
                  <a:extLst>
                    <a:ext uri="{FF2B5EF4-FFF2-40B4-BE49-F238E27FC236}">
                      <a16:creationId xmlns:a16="http://schemas.microsoft.com/office/drawing/2014/main" id="{83934413-70EB-7DEA-8291-0A2DCCFFBBC0}"/>
                    </a:ext>
                  </a:extLst>
                </p:cNvPr>
                <p:cNvGrpSpPr/>
                <p:nvPr/>
              </p:nvGrpSpPr>
              <p:grpSpPr>
                <a:xfrm rot="18900000">
                  <a:off x="7159822" y="4381061"/>
                  <a:ext cx="155034" cy="650324"/>
                  <a:chOff x="1687853" y="3177376"/>
                  <a:chExt cx="389584" cy="2276476"/>
                </a:xfrm>
              </p:grpSpPr>
              <p:sp>
                <p:nvSpPr>
                  <p:cNvPr id="654" name="Freeform: Shape 653">
                    <a:extLst>
                      <a:ext uri="{FF2B5EF4-FFF2-40B4-BE49-F238E27FC236}">
                        <a16:creationId xmlns:a16="http://schemas.microsoft.com/office/drawing/2014/main" id="{6E84E5BC-696B-6C9C-F9AC-C4EB94A94CFE}"/>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56" name="Freeform: Shape 655">
                    <a:extLst>
                      <a:ext uri="{FF2B5EF4-FFF2-40B4-BE49-F238E27FC236}">
                        <a16:creationId xmlns:a16="http://schemas.microsoft.com/office/drawing/2014/main" id="{394FDB93-B6C3-BA49-97F8-94489BB458D4}"/>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47" name="Rectangle: Rounded Corners 646">
                  <a:extLst>
                    <a:ext uri="{FF2B5EF4-FFF2-40B4-BE49-F238E27FC236}">
                      <a16:creationId xmlns:a16="http://schemas.microsoft.com/office/drawing/2014/main" id="{2293B8D4-871D-65A7-7824-854F83833914}"/>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648" name="Group 647">
                  <a:extLst>
                    <a:ext uri="{FF2B5EF4-FFF2-40B4-BE49-F238E27FC236}">
                      <a16:creationId xmlns:a16="http://schemas.microsoft.com/office/drawing/2014/main" id="{08E8C507-088A-A1C1-DF5D-22C7525AE069}"/>
                    </a:ext>
                  </a:extLst>
                </p:cNvPr>
                <p:cNvGrpSpPr/>
                <p:nvPr/>
              </p:nvGrpSpPr>
              <p:grpSpPr>
                <a:xfrm rot="2700000" flipH="1">
                  <a:off x="8075274" y="4531570"/>
                  <a:ext cx="155034" cy="650324"/>
                  <a:chOff x="1687853" y="3177376"/>
                  <a:chExt cx="389584" cy="2276476"/>
                </a:xfrm>
              </p:grpSpPr>
              <p:sp>
                <p:nvSpPr>
                  <p:cNvPr id="652" name="Freeform: Shape 651">
                    <a:extLst>
                      <a:ext uri="{FF2B5EF4-FFF2-40B4-BE49-F238E27FC236}">
                        <a16:creationId xmlns:a16="http://schemas.microsoft.com/office/drawing/2014/main" id="{A5DC4655-4249-B1D5-FD5E-BBB635FB1C55}"/>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53" name="Freeform: Shape 652">
                    <a:extLst>
                      <a:ext uri="{FF2B5EF4-FFF2-40B4-BE49-F238E27FC236}">
                        <a16:creationId xmlns:a16="http://schemas.microsoft.com/office/drawing/2014/main" id="{CE587AFD-55A7-5B95-A9C1-113234CA7B69}"/>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649" name="Group 648">
                  <a:extLst>
                    <a:ext uri="{FF2B5EF4-FFF2-40B4-BE49-F238E27FC236}">
                      <a16:creationId xmlns:a16="http://schemas.microsoft.com/office/drawing/2014/main" id="{4D79B5AF-4DE3-B611-E332-DB8A23D05BF2}"/>
                    </a:ext>
                  </a:extLst>
                </p:cNvPr>
                <p:cNvGrpSpPr/>
                <p:nvPr/>
              </p:nvGrpSpPr>
              <p:grpSpPr>
                <a:xfrm rot="2700000" flipH="1">
                  <a:off x="7938470" y="4374279"/>
                  <a:ext cx="155034" cy="650324"/>
                  <a:chOff x="1687853" y="3177376"/>
                  <a:chExt cx="389584" cy="2276476"/>
                </a:xfrm>
              </p:grpSpPr>
              <p:sp>
                <p:nvSpPr>
                  <p:cNvPr id="650" name="Freeform: Shape 649">
                    <a:extLst>
                      <a:ext uri="{FF2B5EF4-FFF2-40B4-BE49-F238E27FC236}">
                        <a16:creationId xmlns:a16="http://schemas.microsoft.com/office/drawing/2014/main" id="{346DF59C-B55F-A289-5383-BA4F3A6D9CF7}"/>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51" name="Freeform: Shape 650">
                    <a:extLst>
                      <a:ext uri="{FF2B5EF4-FFF2-40B4-BE49-F238E27FC236}">
                        <a16:creationId xmlns:a16="http://schemas.microsoft.com/office/drawing/2014/main" id="{67695334-9676-60B5-F27F-9EFEA63CE968}"/>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262" name="Group 261">
                <a:extLst>
                  <a:ext uri="{FF2B5EF4-FFF2-40B4-BE49-F238E27FC236}">
                    <a16:creationId xmlns:a16="http://schemas.microsoft.com/office/drawing/2014/main" id="{04B2C841-C428-7FEA-421B-D6B0D5AA66AB}"/>
                  </a:ext>
                </a:extLst>
              </p:cNvPr>
              <p:cNvGrpSpPr/>
              <p:nvPr/>
            </p:nvGrpSpPr>
            <p:grpSpPr>
              <a:xfrm rot="1016803">
                <a:off x="1726177" y="3206516"/>
                <a:ext cx="220303" cy="268756"/>
                <a:chOff x="7023864" y="4381061"/>
                <a:chExt cx="1454089" cy="1773897"/>
              </a:xfrm>
            </p:grpSpPr>
            <p:sp>
              <p:nvSpPr>
                <p:cNvPr id="360" name="Freeform: Shape 359">
                  <a:extLst>
                    <a:ext uri="{FF2B5EF4-FFF2-40B4-BE49-F238E27FC236}">
                      <a16:creationId xmlns:a16="http://schemas.microsoft.com/office/drawing/2014/main" id="{17991E54-CD3F-A474-B182-DDE0B41E5ECE}"/>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1" name="Freeform: Shape 360">
                  <a:extLst>
                    <a:ext uri="{FF2B5EF4-FFF2-40B4-BE49-F238E27FC236}">
                      <a16:creationId xmlns:a16="http://schemas.microsoft.com/office/drawing/2014/main" id="{AEEE1051-8A02-5D04-6707-A3BBDBBFB5E5}"/>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2" name="Rectangle: Rounded Corners 361">
                  <a:extLst>
                    <a:ext uri="{FF2B5EF4-FFF2-40B4-BE49-F238E27FC236}">
                      <a16:creationId xmlns:a16="http://schemas.microsoft.com/office/drawing/2014/main" id="{54509E69-923E-851D-3D0E-87ADDE6291FC}"/>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3" name="Freeform: Shape 362">
                  <a:extLst>
                    <a:ext uri="{FF2B5EF4-FFF2-40B4-BE49-F238E27FC236}">
                      <a16:creationId xmlns:a16="http://schemas.microsoft.com/office/drawing/2014/main" id="{A71599B0-2930-62AB-1ECB-47E04BEEFEE8}"/>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4" name="Freeform: Shape 363">
                  <a:extLst>
                    <a:ext uri="{FF2B5EF4-FFF2-40B4-BE49-F238E27FC236}">
                      <a16:creationId xmlns:a16="http://schemas.microsoft.com/office/drawing/2014/main" id="{1E456B76-EEDB-27CE-0A7C-D9686EBC368F}"/>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5" name="Freeform: Shape 364">
                  <a:extLst>
                    <a:ext uri="{FF2B5EF4-FFF2-40B4-BE49-F238E27FC236}">
                      <a16:creationId xmlns:a16="http://schemas.microsoft.com/office/drawing/2014/main" id="{517763F7-7F14-5DAC-BC8E-CB89666C8DA7}"/>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6" name="Freeform: Shape 365">
                  <a:extLst>
                    <a:ext uri="{FF2B5EF4-FFF2-40B4-BE49-F238E27FC236}">
                      <a16:creationId xmlns:a16="http://schemas.microsoft.com/office/drawing/2014/main" id="{8D9A47C3-847F-951A-F349-DD4457644080}"/>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7" name="Rectangle: Rounded Corners 366">
                  <a:extLst>
                    <a:ext uri="{FF2B5EF4-FFF2-40B4-BE49-F238E27FC236}">
                      <a16:creationId xmlns:a16="http://schemas.microsoft.com/office/drawing/2014/main" id="{372BE8BB-7A30-30C4-5449-1EB243319769}"/>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68" name="Group 367">
                  <a:extLst>
                    <a:ext uri="{FF2B5EF4-FFF2-40B4-BE49-F238E27FC236}">
                      <a16:creationId xmlns:a16="http://schemas.microsoft.com/office/drawing/2014/main" id="{1803BA5D-EE11-A58D-40DE-C68D2B216A52}"/>
                    </a:ext>
                  </a:extLst>
                </p:cNvPr>
                <p:cNvGrpSpPr/>
                <p:nvPr/>
              </p:nvGrpSpPr>
              <p:grpSpPr>
                <a:xfrm rot="18900000">
                  <a:off x="7023864" y="4541844"/>
                  <a:ext cx="155034" cy="650324"/>
                  <a:chOff x="1687853" y="3177376"/>
                  <a:chExt cx="389584" cy="2276476"/>
                </a:xfrm>
              </p:grpSpPr>
              <p:sp>
                <p:nvSpPr>
                  <p:cNvPr id="379" name="Freeform: Shape 378">
                    <a:extLst>
                      <a:ext uri="{FF2B5EF4-FFF2-40B4-BE49-F238E27FC236}">
                        <a16:creationId xmlns:a16="http://schemas.microsoft.com/office/drawing/2014/main" id="{9499838F-EEDA-C6DB-B7F2-D066AB1C1C89}"/>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0" name="Freeform: Shape 379">
                    <a:extLst>
                      <a:ext uri="{FF2B5EF4-FFF2-40B4-BE49-F238E27FC236}">
                        <a16:creationId xmlns:a16="http://schemas.microsoft.com/office/drawing/2014/main" id="{A6CADD6C-3EB0-6884-A088-797724C8E8F5}"/>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69" name="Group 368">
                  <a:extLst>
                    <a:ext uri="{FF2B5EF4-FFF2-40B4-BE49-F238E27FC236}">
                      <a16:creationId xmlns:a16="http://schemas.microsoft.com/office/drawing/2014/main" id="{4B68993A-F18A-8290-1B2C-49D519A52A3C}"/>
                    </a:ext>
                  </a:extLst>
                </p:cNvPr>
                <p:cNvGrpSpPr/>
                <p:nvPr/>
              </p:nvGrpSpPr>
              <p:grpSpPr>
                <a:xfrm rot="18900000">
                  <a:off x="7159822" y="4381061"/>
                  <a:ext cx="155034" cy="650324"/>
                  <a:chOff x="1687853" y="3177376"/>
                  <a:chExt cx="389584" cy="2276476"/>
                </a:xfrm>
              </p:grpSpPr>
              <p:sp>
                <p:nvSpPr>
                  <p:cNvPr id="377" name="Freeform: Shape 376">
                    <a:extLst>
                      <a:ext uri="{FF2B5EF4-FFF2-40B4-BE49-F238E27FC236}">
                        <a16:creationId xmlns:a16="http://schemas.microsoft.com/office/drawing/2014/main" id="{382AAD7A-1AA2-9A00-9D49-114BA273BA98}"/>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8" name="Freeform: Shape 377">
                    <a:extLst>
                      <a:ext uri="{FF2B5EF4-FFF2-40B4-BE49-F238E27FC236}">
                        <a16:creationId xmlns:a16="http://schemas.microsoft.com/office/drawing/2014/main" id="{0D9D836F-B367-513A-F332-B6062F07AE34}"/>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70" name="Rectangle: Rounded Corners 369">
                  <a:extLst>
                    <a:ext uri="{FF2B5EF4-FFF2-40B4-BE49-F238E27FC236}">
                      <a16:creationId xmlns:a16="http://schemas.microsoft.com/office/drawing/2014/main" id="{89EBC1E3-BACF-F1CD-1ACB-843D7BA57DC0}"/>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71" name="Group 370">
                  <a:extLst>
                    <a:ext uri="{FF2B5EF4-FFF2-40B4-BE49-F238E27FC236}">
                      <a16:creationId xmlns:a16="http://schemas.microsoft.com/office/drawing/2014/main" id="{D3813803-9703-FC63-A9FD-8846ED0BA6E7}"/>
                    </a:ext>
                  </a:extLst>
                </p:cNvPr>
                <p:cNvGrpSpPr/>
                <p:nvPr/>
              </p:nvGrpSpPr>
              <p:grpSpPr>
                <a:xfrm rot="2700000" flipH="1">
                  <a:off x="8075274" y="4531570"/>
                  <a:ext cx="155034" cy="650324"/>
                  <a:chOff x="1687853" y="3177376"/>
                  <a:chExt cx="389584" cy="2276476"/>
                </a:xfrm>
              </p:grpSpPr>
              <p:sp>
                <p:nvSpPr>
                  <p:cNvPr id="375" name="Freeform: Shape 374">
                    <a:extLst>
                      <a:ext uri="{FF2B5EF4-FFF2-40B4-BE49-F238E27FC236}">
                        <a16:creationId xmlns:a16="http://schemas.microsoft.com/office/drawing/2014/main" id="{528E42FD-9F87-052A-D5FD-EBEFBEF670E3}"/>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6" name="Freeform: Shape 375">
                    <a:extLst>
                      <a:ext uri="{FF2B5EF4-FFF2-40B4-BE49-F238E27FC236}">
                        <a16:creationId xmlns:a16="http://schemas.microsoft.com/office/drawing/2014/main" id="{7C352D1E-8E68-FEDD-8735-2D248C4F061E}"/>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72" name="Group 371">
                  <a:extLst>
                    <a:ext uri="{FF2B5EF4-FFF2-40B4-BE49-F238E27FC236}">
                      <a16:creationId xmlns:a16="http://schemas.microsoft.com/office/drawing/2014/main" id="{787D0337-51DD-E249-FDD4-3C4B9E81AB8E}"/>
                    </a:ext>
                  </a:extLst>
                </p:cNvPr>
                <p:cNvGrpSpPr/>
                <p:nvPr/>
              </p:nvGrpSpPr>
              <p:grpSpPr>
                <a:xfrm rot="2700000" flipH="1">
                  <a:off x="7938470" y="4374279"/>
                  <a:ext cx="155034" cy="650324"/>
                  <a:chOff x="1687853" y="3177376"/>
                  <a:chExt cx="389584" cy="2276476"/>
                </a:xfrm>
              </p:grpSpPr>
              <p:sp>
                <p:nvSpPr>
                  <p:cNvPr id="373" name="Freeform: Shape 372">
                    <a:extLst>
                      <a:ext uri="{FF2B5EF4-FFF2-40B4-BE49-F238E27FC236}">
                        <a16:creationId xmlns:a16="http://schemas.microsoft.com/office/drawing/2014/main" id="{4DFB1732-AE85-52F5-90D4-1000C5E95838}"/>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4" name="Freeform: Shape 373">
                    <a:extLst>
                      <a:ext uri="{FF2B5EF4-FFF2-40B4-BE49-F238E27FC236}">
                        <a16:creationId xmlns:a16="http://schemas.microsoft.com/office/drawing/2014/main" id="{8093ECF2-D80F-CAB6-461F-C305711ADE0A}"/>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263" name="Group 262">
                <a:extLst>
                  <a:ext uri="{FF2B5EF4-FFF2-40B4-BE49-F238E27FC236}">
                    <a16:creationId xmlns:a16="http://schemas.microsoft.com/office/drawing/2014/main" id="{838FC88E-1996-64F5-0623-EA12A409E7FC}"/>
                  </a:ext>
                </a:extLst>
              </p:cNvPr>
              <p:cNvGrpSpPr/>
              <p:nvPr/>
            </p:nvGrpSpPr>
            <p:grpSpPr>
              <a:xfrm>
                <a:off x="2536915" y="3105464"/>
                <a:ext cx="220303" cy="268756"/>
                <a:chOff x="7023864" y="4381061"/>
                <a:chExt cx="1454089" cy="1773897"/>
              </a:xfrm>
            </p:grpSpPr>
            <p:sp>
              <p:nvSpPr>
                <p:cNvPr id="339" name="Freeform: Shape 338">
                  <a:extLst>
                    <a:ext uri="{FF2B5EF4-FFF2-40B4-BE49-F238E27FC236}">
                      <a16:creationId xmlns:a16="http://schemas.microsoft.com/office/drawing/2014/main" id="{BB3EF67B-FA7B-615E-85F6-95DF94F7FA7D}"/>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0" name="Freeform: Shape 339">
                  <a:extLst>
                    <a:ext uri="{FF2B5EF4-FFF2-40B4-BE49-F238E27FC236}">
                      <a16:creationId xmlns:a16="http://schemas.microsoft.com/office/drawing/2014/main" id="{42A70978-825B-0B7A-ED00-D456CA3F9A2C}"/>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1" name="Rectangle: Rounded Corners 340">
                  <a:extLst>
                    <a:ext uri="{FF2B5EF4-FFF2-40B4-BE49-F238E27FC236}">
                      <a16:creationId xmlns:a16="http://schemas.microsoft.com/office/drawing/2014/main" id="{9895966E-0D18-A525-1A40-A9244B683592}"/>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2" name="Freeform: Shape 341">
                  <a:extLst>
                    <a:ext uri="{FF2B5EF4-FFF2-40B4-BE49-F238E27FC236}">
                      <a16:creationId xmlns:a16="http://schemas.microsoft.com/office/drawing/2014/main" id="{29336655-B4C5-6ABA-845B-8B2FA8DC4F0D}"/>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3" name="Freeform: Shape 342">
                  <a:extLst>
                    <a:ext uri="{FF2B5EF4-FFF2-40B4-BE49-F238E27FC236}">
                      <a16:creationId xmlns:a16="http://schemas.microsoft.com/office/drawing/2014/main" id="{2027DFFB-8F6A-243D-2B6C-35AFCFE25DE5}"/>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4" name="Freeform: Shape 343">
                  <a:extLst>
                    <a:ext uri="{FF2B5EF4-FFF2-40B4-BE49-F238E27FC236}">
                      <a16:creationId xmlns:a16="http://schemas.microsoft.com/office/drawing/2014/main" id="{30B683EF-AC81-1255-A716-567E0E12634A}"/>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5" name="Freeform: Shape 344">
                  <a:extLst>
                    <a:ext uri="{FF2B5EF4-FFF2-40B4-BE49-F238E27FC236}">
                      <a16:creationId xmlns:a16="http://schemas.microsoft.com/office/drawing/2014/main" id="{F9DA34FA-27D2-5399-3211-C826DB127CFE}"/>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6" name="Rectangle: Rounded Corners 345">
                  <a:extLst>
                    <a:ext uri="{FF2B5EF4-FFF2-40B4-BE49-F238E27FC236}">
                      <a16:creationId xmlns:a16="http://schemas.microsoft.com/office/drawing/2014/main" id="{371DB5D9-62D3-13EE-EDFB-6C9EB3096756}"/>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47" name="Group 346">
                  <a:extLst>
                    <a:ext uri="{FF2B5EF4-FFF2-40B4-BE49-F238E27FC236}">
                      <a16:creationId xmlns:a16="http://schemas.microsoft.com/office/drawing/2014/main" id="{10ECF661-7E3F-5C67-D63A-71F4DA06C0EB}"/>
                    </a:ext>
                  </a:extLst>
                </p:cNvPr>
                <p:cNvGrpSpPr/>
                <p:nvPr/>
              </p:nvGrpSpPr>
              <p:grpSpPr>
                <a:xfrm rot="18900000">
                  <a:off x="7023864" y="4541844"/>
                  <a:ext cx="155034" cy="650324"/>
                  <a:chOff x="1687853" y="3177376"/>
                  <a:chExt cx="389584" cy="2276476"/>
                </a:xfrm>
              </p:grpSpPr>
              <p:sp>
                <p:nvSpPr>
                  <p:cNvPr id="358" name="Freeform: Shape 357">
                    <a:extLst>
                      <a:ext uri="{FF2B5EF4-FFF2-40B4-BE49-F238E27FC236}">
                        <a16:creationId xmlns:a16="http://schemas.microsoft.com/office/drawing/2014/main" id="{97DB8FCD-5F45-35E4-4569-52A0EAFC9B80}"/>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9" name="Freeform: Shape 358">
                    <a:extLst>
                      <a:ext uri="{FF2B5EF4-FFF2-40B4-BE49-F238E27FC236}">
                        <a16:creationId xmlns:a16="http://schemas.microsoft.com/office/drawing/2014/main" id="{CCD12E5D-EF1F-4EC9-3B46-CE420D545927}"/>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48" name="Group 347">
                  <a:extLst>
                    <a:ext uri="{FF2B5EF4-FFF2-40B4-BE49-F238E27FC236}">
                      <a16:creationId xmlns:a16="http://schemas.microsoft.com/office/drawing/2014/main" id="{B70D7A5E-9DA1-8CEA-69FA-F1BCDADFA057}"/>
                    </a:ext>
                  </a:extLst>
                </p:cNvPr>
                <p:cNvGrpSpPr/>
                <p:nvPr/>
              </p:nvGrpSpPr>
              <p:grpSpPr>
                <a:xfrm rot="18900000">
                  <a:off x="7159822" y="4381061"/>
                  <a:ext cx="155034" cy="650324"/>
                  <a:chOff x="1687853" y="3177376"/>
                  <a:chExt cx="389584" cy="2276476"/>
                </a:xfrm>
              </p:grpSpPr>
              <p:sp>
                <p:nvSpPr>
                  <p:cNvPr id="356" name="Freeform: Shape 355">
                    <a:extLst>
                      <a:ext uri="{FF2B5EF4-FFF2-40B4-BE49-F238E27FC236}">
                        <a16:creationId xmlns:a16="http://schemas.microsoft.com/office/drawing/2014/main" id="{D10DFB64-40AE-AD71-EE2A-1AEB017C5E29}"/>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7" name="Freeform: Shape 356">
                    <a:extLst>
                      <a:ext uri="{FF2B5EF4-FFF2-40B4-BE49-F238E27FC236}">
                        <a16:creationId xmlns:a16="http://schemas.microsoft.com/office/drawing/2014/main" id="{D0C8CE57-99EF-E2E3-D603-4D15B5D91DC5}"/>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49" name="Rectangle: Rounded Corners 348">
                  <a:extLst>
                    <a:ext uri="{FF2B5EF4-FFF2-40B4-BE49-F238E27FC236}">
                      <a16:creationId xmlns:a16="http://schemas.microsoft.com/office/drawing/2014/main" id="{9B5A9ACC-8980-5B19-EB42-978DF4484607}"/>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50" name="Group 349">
                  <a:extLst>
                    <a:ext uri="{FF2B5EF4-FFF2-40B4-BE49-F238E27FC236}">
                      <a16:creationId xmlns:a16="http://schemas.microsoft.com/office/drawing/2014/main" id="{64DF45C7-14E6-9461-1A6F-49A004E9DF1E}"/>
                    </a:ext>
                  </a:extLst>
                </p:cNvPr>
                <p:cNvGrpSpPr/>
                <p:nvPr/>
              </p:nvGrpSpPr>
              <p:grpSpPr>
                <a:xfrm rot="2700000" flipH="1">
                  <a:off x="8075274" y="4531570"/>
                  <a:ext cx="155034" cy="650324"/>
                  <a:chOff x="1687853" y="3177376"/>
                  <a:chExt cx="389584" cy="2276476"/>
                </a:xfrm>
              </p:grpSpPr>
              <p:sp>
                <p:nvSpPr>
                  <p:cNvPr id="354" name="Freeform: Shape 353">
                    <a:extLst>
                      <a:ext uri="{FF2B5EF4-FFF2-40B4-BE49-F238E27FC236}">
                        <a16:creationId xmlns:a16="http://schemas.microsoft.com/office/drawing/2014/main" id="{F2D0ED3C-2291-1290-9979-87B355216A8A}"/>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5" name="Freeform: Shape 354">
                    <a:extLst>
                      <a:ext uri="{FF2B5EF4-FFF2-40B4-BE49-F238E27FC236}">
                        <a16:creationId xmlns:a16="http://schemas.microsoft.com/office/drawing/2014/main" id="{17B7F723-8A0D-CDF8-BDC7-5B7A39B79F28}"/>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51" name="Group 350">
                  <a:extLst>
                    <a:ext uri="{FF2B5EF4-FFF2-40B4-BE49-F238E27FC236}">
                      <a16:creationId xmlns:a16="http://schemas.microsoft.com/office/drawing/2014/main" id="{CEC96DBE-08EB-06F9-713D-15DCA537C49F}"/>
                    </a:ext>
                  </a:extLst>
                </p:cNvPr>
                <p:cNvGrpSpPr/>
                <p:nvPr/>
              </p:nvGrpSpPr>
              <p:grpSpPr>
                <a:xfrm rot="2700000" flipH="1">
                  <a:off x="7938470" y="4374279"/>
                  <a:ext cx="155034" cy="650324"/>
                  <a:chOff x="1687853" y="3177376"/>
                  <a:chExt cx="389584" cy="2276476"/>
                </a:xfrm>
              </p:grpSpPr>
              <p:sp>
                <p:nvSpPr>
                  <p:cNvPr id="352" name="Freeform: Shape 351">
                    <a:extLst>
                      <a:ext uri="{FF2B5EF4-FFF2-40B4-BE49-F238E27FC236}">
                        <a16:creationId xmlns:a16="http://schemas.microsoft.com/office/drawing/2014/main" id="{2902285E-9369-1331-C268-24A67D58A0D1}"/>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3" name="Freeform: Shape 352">
                    <a:extLst>
                      <a:ext uri="{FF2B5EF4-FFF2-40B4-BE49-F238E27FC236}">
                        <a16:creationId xmlns:a16="http://schemas.microsoft.com/office/drawing/2014/main" id="{A55D77A6-2454-75D2-ABD3-1D6ECD8920E0}"/>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264" name="Freeform: Shape 263">
                <a:extLst>
                  <a:ext uri="{FF2B5EF4-FFF2-40B4-BE49-F238E27FC236}">
                    <a16:creationId xmlns:a16="http://schemas.microsoft.com/office/drawing/2014/main" id="{77474917-9334-1536-E4B7-B220012B7B11}"/>
                  </a:ext>
                </a:extLst>
              </p:cNvPr>
              <p:cNvSpPr/>
              <p:nvPr/>
            </p:nvSpPr>
            <p:spPr>
              <a:xfrm rot="20761897">
                <a:off x="2557864" y="2733167"/>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65" name="Group 264">
                <a:extLst>
                  <a:ext uri="{FF2B5EF4-FFF2-40B4-BE49-F238E27FC236}">
                    <a16:creationId xmlns:a16="http://schemas.microsoft.com/office/drawing/2014/main" id="{96D948E7-FB98-07C0-024B-6A1B9117DDAB}"/>
                  </a:ext>
                </a:extLst>
              </p:cNvPr>
              <p:cNvGrpSpPr/>
              <p:nvPr/>
            </p:nvGrpSpPr>
            <p:grpSpPr>
              <a:xfrm rot="16200000">
                <a:off x="2700944" y="2531288"/>
                <a:ext cx="220303" cy="268756"/>
                <a:chOff x="7023864" y="4381061"/>
                <a:chExt cx="1454089" cy="1773897"/>
              </a:xfrm>
            </p:grpSpPr>
            <p:sp>
              <p:nvSpPr>
                <p:cNvPr id="317" name="Freeform: Shape 316">
                  <a:extLst>
                    <a:ext uri="{FF2B5EF4-FFF2-40B4-BE49-F238E27FC236}">
                      <a16:creationId xmlns:a16="http://schemas.microsoft.com/office/drawing/2014/main" id="{463995DD-0336-9079-7CB9-1D64EF92A293}"/>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8" name="Freeform: Shape 317">
                  <a:extLst>
                    <a:ext uri="{FF2B5EF4-FFF2-40B4-BE49-F238E27FC236}">
                      <a16:creationId xmlns:a16="http://schemas.microsoft.com/office/drawing/2014/main" id="{0F82A27F-7DD8-C2CD-36AF-2E660536B7E3}"/>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9" name="Rectangle: Rounded Corners 318">
                  <a:extLst>
                    <a:ext uri="{FF2B5EF4-FFF2-40B4-BE49-F238E27FC236}">
                      <a16:creationId xmlns:a16="http://schemas.microsoft.com/office/drawing/2014/main" id="{BD4C58F9-A584-C24D-6F4B-0EBEC3DCE898}"/>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0" name="Freeform: Shape 319">
                  <a:extLst>
                    <a:ext uri="{FF2B5EF4-FFF2-40B4-BE49-F238E27FC236}">
                      <a16:creationId xmlns:a16="http://schemas.microsoft.com/office/drawing/2014/main" id="{E76B7A61-707E-1879-00CD-A476F46B7D0B}"/>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1" name="Freeform: Shape 320">
                  <a:extLst>
                    <a:ext uri="{FF2B5EF4-FFF2-40B4-BE49-F238E27FC236}">
                      <a16:creationId xmlns:a16="http://schemas.microsoft.com/office/drawing/2014/main" id="{A23EAC4C-1AEF-353A-7E1D-EF775C2040CC}"/>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3" name="Freeform: Shape 322">
                  <a:extLst>
                    <a:ext uri="{FF2B5EF4-FFF2-40B4-BE49-F238E27FC236}">
                      <a16:creationId xmlns:a16="http://schemas.microsoft.com/office/drawing/2014/main" id="{7D2F2210-F00C-4FF4-B690-2C5342E9B2E4}"/>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4" name="Freeform: Shape 323">
                  <a:extLst>
                    <a:ext uri="{FF2B5EF4-FFF2-40B4-BE49-F238E27FC236}">
                      <a16:creationId xmlns:a16="http://schemas.microsoft.com/office/drawing/2014/main" id="{5A2DBDCB-B21F-6B52-C633-44D1F75873D2}"/>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5" name="Rectangle: Rounded Corners 324">
                  <a:extLst>
                    <a:ext uri="{FF2B5EF4-FFF2-40B4-BE49-F238E27FC236}">
                      <a16:creationId xmlns:a16="http://schemas.microsoft.com/office/drawing/2014/main" id="{CB812385-2B32-1692-2D81-0C3B76E353B6}"/>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26" name="Group 325">
                  <a:extLst>
                    <a:ext uri="{FF2B5EF4-FFF2-40B4-BE49-F238E27FC236}">
                      <a16:creationId xmlns:a16="http://schemas.microsoft.com/office/drawing/2014/main" id="{95054F97-593B-BCF7-C9E7-7FAD300F986F}"/>
                    </a:ext>
                  </a:extLst>
                </p:cNvPr>
                <p:cNvGrpSpPr/>
                <p:nvPr/>
              </p:nvGrpSpPr>
              <p:grpSpPr>
                <a:xfrm rot="18900000">
                  <a:off x="7023864" y="4541844"/>
                  <a:ext cx="155034" cy="650324"/>
                  <a:chOff x="1687853" y="3177376"/>
                  <a:chExt cx="389584" cy="2276476"/>
                </a:xfrm>
              </p:grpSpPr>
              <p:sp>
                <p:nvSpPr>
                  <p:cNvPr id="337" name="Freeform: Shape 336">
                    <a:extLst>
                      <a:ext uri="{FF2B5EF4-FFF2-40B4-BE49-F238E27FC236}">
                        <a16:creationId xmlns:a16="http://schemas.microsoft.com/office/drawing/2014/main" id="{B1015D13-A28C-2853-6480-C82979CEE818}"/>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8" name="Freeform: Shape 337">
                    <a:extLst>
                      <a:ext uri="{FF2B5EF4-FFF2-40B4-BE49-F238E27FC236}">
                        <a16:creationId xmlns:a16="http://schemas.microsoft.com/office/drawing/2014/main" id="{D1BCE00D-0631-D579-194D-B9EBC64F92EC}"/>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27" name="Group 326">
                  <a:extLst>
                    <a:ext uri="{FF2B5EF4-FFF2-40B4-BE49-F238E27FC236}">
                      <a16:creationId xmlns:a16="http://schemas.microsoft.com/office/drawing/2014/main" id="{39C0452C-25E3-0938-F196-E08957C0D03A}"/>
                    </a:ext>
                  </a:extLst>
                </p:cNvPr>
                <p:cNvGrpSpPr/>
                <p:nvPr/>
              </p:nvGrpSpPr>
              <p:grpSpPr>
                <a:xfrm rot="18900000">
                  <a:off x="7159822" y="4381061"/>
                  <a:ext cx="155034" cy="650324"/>
                  <a:chOff x="1687853" y="3177376"/>
                  <a:chExt cx="389584" cy="2276476"/>
                </a:xfrm>
              </p:grpSpPr>
              <p:sp>
                <p:nvSpPr>
                  <p:cNvPr id="335" name="Freeform: Shape 334">
                    <a:extLst>
                      <a:ext uri="{FF2B5EF4-FFF2-40B4-BE49-F238E27FC236}">
                        <a16:creationId xmlns:a16="http://schemas.microsoft.com/office/drawing/2014/main" id="{4B768F2F-28A3-C99E-E31C-280CB113FAC1}"/>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6" name="Freeform: Shape 335">
                    <a:extLst>
                      <a:ext uri="{FF2B5EF4-FFF2-40B4-BE49-F238E27FC236}">
                        <a16:creationId xmlns:a16="http://schemas.microsoft.com/office/drawing/2014/main" id="{9E1DD74C-6C04-021B-D306-C1F7AE24783A}"/>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28" name="Rectangle: Rounded Corners 327">
                  <a:extLst>
                    <a:ext uri="{FF2B5EF4-FFF2-40B4-BE49-F238E27FC236}">
                      <a16:creationId xmlns:a16="http://schemas.microsoft.com/office/drawing/2014/main" id="{2355AD84-DF0B-C389-FF86-A32BFAA5575D}"/>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29" name="Group 328">
                  <a:extLst>
                    <a:ext uri="{FF2B5EF4-FFF2-40B4-BE49-F238E27FC236}">
                      <a16:creationId xmlns:a16="http://schemas.microsoft.com/office/drawing/2014/main" id="{AA955971-4262-41E1-3850-C800D9B101C4}"/>
                    </a:ext>
                  </a:extLst>
                </p:cNvPr>
                <p:cNvGrpSpPr/>
                <p:nvPr/>
              </p:nvGrpSpPr>
              <p:grpSpPr>
                <a:xfrm rot="2700000" flipH="1">
                  <a:off x="8075274" y="4531570"/>
                  <a:ext cx="155034" cy="650324"/>
                  <a:chOff x="1687853" y="3177376"/>
                  <a:chExt cx="389584" cy="2276476"/>
                </a:xfrm>
              </p:grpSpPr>
              <p:sp>
                <p:nvSpPr>
                  <p:cNvPr id="333" name="Freeform: Shape 332">
                    <a:extLst>
                      <a:ext uri="{FF2B5EF4-FFF2-40B4-BE49-F238E27FC236}">
                        <a16:creationId xmlns:a16="http://schemas.microsoft.com/office/drawing/2014/main" id="{57DD9933-6619-6B5B-8EAF-1F0DD10A4B63}"/>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4" name="Freeform: Shape 333">
                    <a:extLst>
                      <a:ext uri="{FF2B5EF4-FFF2-40B4-BE49-F238E27FC236}">
                        <a16:creationId xmlns:a16="http://schemas.microsoft.com/office/drawing/2014/main" id="{B12964A6-12D2-4815-E06B-DB1CB3F6C313}"/>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30" name="Group 329">
                  <a:extLst>
                    <a:ext uri="{FF2B5EF4-FFF2-40B4-BE49-F238E27FC236}">
                      <a16:creationId xmlns:a16="http://schemas.microsoft.com/office/drawing/2014/main" id="{CA80D48B-83DA-8E0F-348F-8906081B04B0}"/>
                    </a:ext>
                  </a:extLst>
                </p:cNvPr>
                <p:cNvGrpSpPr/>
                <p:nvPr/>
              </p:nvGrpSpPr>
              <p:grpSpPr>
                <a:xfrm rot="2700000" flipH="1">
                  <a:off x="7938470" y="4374279"/>
                  <a:ext cx="155034" cy="650324"/>
                  <a:chOff x="1687853" y="3177376"/>
                  <a:chExt cx="389584" cy="2276476"/>
                </a:xfrm>
              </p:grpSpPr>
              <p:sp>
                <p:nvSpPr>
                  <p:cNvPr id="331" name="Freeform: Shape 330">
                    <a:extLst>
                      <a:ext uri="{FF2B5EF4-FFF2-40B4-BE49-F238E27FC236}">
                        <a16:creationId xmlns:a16="http://schemas.microsoft.com/office/drawing/2014/main" id="{A470CAFD-937E-3E6B-37AE-89B3CF7050BA}"/>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2" name="Freeform: Shape 331">
                    <a:extLst>
                      <a:ext uri="{FF2B5EF4-FFF2-40B4-BE49-F238E27FC236}">
                        <a16:creationId xmlns:a16="http://schemas.microsoft.com/office/drawing/2014/main" id="{0E9B651C-E46C-AC41-2863-55EDD52FFF9D}"/>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266" name="Group 265">
                <a:extLst>
                  <a:ext uri="{FF2B5EF4-FFF2-40B4-BE49-F238E27FC236}">
                    <a16:creationId xmlns:a16="http://schemas.microsoft.com/office/drawing/2014/main" id="{1E499B97-1157-F2F6-B3C2-8987F33DCBAD}"/>
                  </a:ext>
                </a:extLst>
              </p:cNvPr>
              <p:cNvGrpSpPr/>
              <p:nvPr/>
            </p:nvGrpSpPr>
            <p:grpSpPr>
              <a:xfrm rot="10646756">
                <a:off x="1984707" y="1727195"/>
                <a:ext cx="220303" cy="268756"/>
                <a:chOff x="7023864" y="4381061"/>
                <a:chExt cx="1454089" cy="1773897"/>
              </a:xfrm>
            </p:grpSpPr>
            <p:sp>
              <p:nvSpPr>
                <p:cNvPr id="295" name="Freeform: Shape 294">
                  <a:extLst>
                    <a:ext uri="{FF2B5EF4-FFF2-40B4-BE49-F238E27FC236}">
                      <a16:creationId xmlns:a16="http://schemas.microsoft.com/office/drawing/2014/main" id="{5CBCCD8D-1EF2-BC2C-0B3F-E447A21539EE}"/>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6" name="Freeform: Shape 295">
                  <a:extLst>
                    <a:ext uri="{FF2B5EF4-FFF2-40B4-BE49-F238E27FC236}">
                      <a16:creationId xmlns:a16="http://schemas.microsoft.com/office/drawing/2014/main" id="{526FEAAA-0971-1C8E-EE6B-EFBD04EAF2AE}"/>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7" name="Rectangle: Rounded Corners 296">
                  <a:extLst>
                    <a:ext uri="{FF2B5EF4-FFF2-40B4-BE49-F238E27FC236}">
                      <a16:creationId xmlns:a16="http://schemas.microsoft.com/office/drawing/2014/main" id="{71A1A235-BE69-63B5-F29A-2ADF746A1576}"/>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8" name="Freeform: Shape 297">
                  <a:extLst>
                    <a:ext uri="{FF2B5EF4-FFF2-40B4-BE49-F238E27FC236}">
                      <a16:creationId xmlns:a16="http://schemas.microsoft.com/office/drawing/2014/main" id="{9D88A19B-F27C-0D55-22F3-EE282473ABD0}"/>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9" name="Freeform: Shape 298">
                  <a:extLst>
                    <a:ext uri="{FF2B5EF4-FFF2-40B4-BE49-F238E27FC236}">
                      <a16:creationId xmlns:a16="http://schemas.microsoft.com/office/drawing/2014/main" id="{E35AC8E1-07F1-4779-BFF3-1B89FF2C4FE4}"/>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0" name="Freeform: Shape 299">
                  <a:extLst>
                    <a:ext uri="{FF2B5EF4-FFF2-40B4-BE49-F238E27FC236}">
                      <a16:creationId xmlns:a16="http://schemas.microsoft.com/office/drawing/2014/main" id="{C54595A6-285D-676C-7A71-F73C76A7A556}"/>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1" name="Freeform: Shape 300">
                  <a:extLst>
                    <a:ext uri="{FF2B5EF4-FFF2-40B4-BE49-F238E27FC236}">
                      <a16:creationId xmlns:a16="http://schemas.microsoft.com/office/drawing/2014/main" id="{270F6659-53FF-0574-7F44-E95B384FD57A}"/>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2" name="Rectangle: Rounded Corners 301">
                  <a:extLst>
                    <a:ext uri="{FF2B5EF4-FFF2-40B4-BE49-F238E27FC236}">
                      <a16:creationId xmlns:a16="http://schemas.microsoft.com/office/drawing/2014/main" id="{919C4EAA-EACA-1BDF-0AC9-79373478137A}"/>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03" name="Group 302">
                  <a:extLst>
                    <a:ext uri="{FF2B5EF4-FFF2-40B4-BE49-F238E27FC236}">
                      <a16:creationId xmlns:a16="http://schemas.microsoft.com/office/drawing/2014/main" id="{D9FFC9E7-1724-97C7-65A5-D76A934B6CC6}"/>
                    </a:ext>
                  </a:extLst>
                </p:cNvPr>
                <p:cNvGrpSpPr/>
                <p:nvPr/>
              </p:nvGrpSpPr>
              <p:grpSpPr>
                <a:xfrm rot="18900000">
                  <a:off x="7023864" y="4541844"/>
                  <a:ext cx="155034" cy="650324"/>
                  <a:chOff x="1687853" y="3177376"/>
                  <a:chExt cx="389584" cy="2276476"/>
                </a:xfrm>
              </p:grpSpPr>
              <p:sp>
                <p:nvSpPr>
                  <p:cNvPr id="314" name="Freeform: Shape 313">
                    <a:extLst>
                      <a:ext uri="{FF2B5EF4-FFF2-40B4-BE49-F238E27FC236}">
                        <a16:creationId xmlns:a16="http://schemas.microsoft.com/office/drawing/2014/main" id="{609BCBEE-0942-0F07-6832-1C10D5775D3A}"/>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6" name="Freeform: Shape 315">
                    <a:extLst>
                      <a:ext uri="{FF2B5EF4-FFF2-40B4-BE49-F238E27FC236}">
                        <a16:creationId xmlns:a16="http://schemas.microsoft.com/office/drawing/2014/main" id="{4107A457-7721-9579-4499-55D731243F93}"/>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04" name="Group 303">
                  <a:extLst>
                    <a:ext uri="{FF2B5EF4-FFF2-40B4-BE49-F238E27FC236}">
                      <a16:creationId xmlns:a16="http://schemas.microsoft.com/office/drawing/2014/main" id="{46A17C3E-FCE6-FED0-C70B-F42F27034CD5}"/>
                    </a:ext>
                  </a:extLst>
                </p:cNvPr>
                <p:cNvGrpSpPr/>
                <p:nvPr/>
              </p:nvGrpSpPr>
              <p:grpSpPr>
                <a:xfrm rot="18900000">
                  <a:off x="7159822" y="4381061"/>
                  <a:ext cx="155034" cy="650324"/>
                  <a:chOff x="1687853" y="3177376"/>
                  <a:chExt cx="389584" cy="2276476"/>
                </a:xfrm>
              </p:grpSpPr>
              <p:sp>
                <p:nvSpPr>
                  <p:cNvPr id="312" name="Freeform: Shape 311">
                    <a:extLst>
                      <a:ext uri="{FF2B5EF4-FFF2-40B4-BE49-F238E27FC236}">
                        <a16:creationId xmlns:a16="http://schemas.microsoft.com/office/drawing/2014/main" id="{5ADE8BA6-9B5B-D8D9-2883-0CC3206418D4}"/>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3" name="Freeform: Shape 312">
                    <a:extLst>
                      <a:ext uri="{FF2B5EF4-FFF2-40B4-BE49-F238E27FC236}">
                        <a16:creationId xmlns:a16="http://schemas.microsoft.com/office/drawing/2014/main" id="{A0DF7052-71B8-74D7-07E6-2372E8B5D8BC}"/>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05" name="Rectangle: Rounded Corners 304">
                  <a:extLst>
                    <a:ext uri="{FF2B5EF4-FFF2-40B4-BE49-F238E27FC236}">
                      <a16:creationId xmlns:a16="http://schemas.microsoft.com/office/drawing/2014/main" id="{BEB54F3F-4BAB-C2D4-CB53-1228488D1244}"/>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06" name="Group 305">
                  <a:extLst>
                    <a:ext uri="{FF2B5EF4-FFF2-40B4-BE49-F238E27FC236}">
                      <a16:creationId xmlns:a16="http://schemas.microsoft.com/office/drawing/2014/main" id="{F5AB1779-A6BE-984A-6164-100F4B12E0BD}"/>
                    </a:ext>
                  </a:extLst>
                </p:cNvPr>
                <p:cNvGrpSpPr/>
                <p:nvPr/>
              </p:nvGrpSpPr>
              <p:grpSpPr>
                <a:xfrm rot="2700000" flipH="1">
                  <a:off x="8075274" y="4531570"/>
                  <a:ext cx="155034" cy="650324"/>
                  <a:chOff x="1687853" y="3177376"/>
                  <a:chExt cx="389584" cy="2276476"/>
                </a:xfrm>
              </p:grpSpPr>
              <p:sp>
                <p:nvSpPr>
                  <p:cNvPr id="310" name="Freeform: Shape 309">
                    <a:extLst>
                      <a:ext uri="{FF2B5EF4-FFF2-40B4-BE49-F238E27FC236}">
                        <a16:creationId xmlns:a16="http://schemas.microsoft.com/office/drawing/2014/main" id="{FE49ABEE-9814-8643-D409-A006D0316D01}"/>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1" name="Freeform: Shape 310">
                    <a:extLst>
                      <a:ext uri="{FF2B5EF4-FFF2-40B4-BE49-F238E27FC236}">
                        <a16:creationId xmlns:a16="http://schemas.microsoft.com/office/drawing/2014/main" id="{3D434658-12BE-84F8-E342-3A5C1511C62A}"/>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07" name="Group 306">
                  <a:extLst>
                    <a:ext uri="{FF2B5EF4-FFF2-40B4-BE49-F238E27FC236}">
                      <a16:creationId xmlns:a16="http://schemas.microsoft.com/office/drawing/2014/main" id="{C36B06A2-8E4B-35D8-5BCD-505234DAF756}"/>
                    </a:ext>
                  </a:extLst>
                </p:cNvPr>
                <p:cNvGrpSpPr/>
                <p:nvPr/>
              </p:nvGrpSpPr>
              <p:grpSpPr>
                <a:xfrm rot="2700000" flipH="1">
                  <a:off x="7938470" y="4374279"/>
                  <a:ext cx="155034" cy="650324"/>
                  <a:chOff x="1687853" y="3177376"/>
                  <a:chExt cx="389584" cy="2276476"/>
                </a:xfrm>
              </p:grpSpPr>
              <p:sp>
                <p:nvSpPr>
                  <p:cNvPr id="308" name="Freeform: Shape 307">
                    <a:extLst>
                      <a:ext uri="{FF2B5EF4-FFF2-40B4-BE49-F238E27FC236}">
                        <a16:creationId xmlns:a16="http://schemas.microsoft.com/office/drawing/2014/main" id="{89F8453F-75C1-D8FB-A6CE-777FF3901D73}"/>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9" name="Freeform: Shape 308">
                    <a:extLst>
                      <a:ext uri="{FF2B5EF4-FFF2-40B4-BE49-F238E27FC236}">
                        <a16:creationId xmlns:a16="http://schemas.microsoft.com/office/drawing/2014/main" id="{28023B6D-AEDD-4EF7-840B-140488B08F56}"/>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267" name="Group 266">
                <a:extLst>
                  <a:ext uri="{FF2B5EF4-FFF2-40B4-BE49-F238E27FC236}">
                    <a16:creationId xmlns:a16="http://schemas.microsoft.com/office/drawing/2014/main" id="{CC5441FD-2DD4-99C4-2A5E-30B54F2A16A1}"/>
                  </a:ext>
                </a:extLst>
              </p:cNvPr>
              <p:cNvGrpSpPr/>
              <p:nvPr/>
            </p:nvGrpSpPr>
            <p:grpSpPr>
              <a:xfrm rot="18430606">
                <a:off x="1566009" y="2378872"/>
                <a:ext cx="81298" cy="90599"/>
                <a:chOff x="12022333" y="4189944"/>
                <a:chExt cx="135993" cy="142213"/>
              </a:xfrm>
              <a:solidFill>
                <a:schemeClr val="accent5">
                  <a:lumMod val="75000"/>
                </a:schemeClr>
              </a:solidFill>
            </p:grpSpPr>
            <p:sp>
              <p:nvSpPr>
                <p:cNvPr id="292" name="Freeform: Shape 291">
                  <a:extLst>
                    <a:ext uri="{FF2B5EF4-FFF2-40B4-BE49-F238E27FC236}">
                      <a16:creationId xmlns:a16="http://schemas.microsoft.com/office/drawing/2014/main" id="{69B54A04-1F43-B282-78E9-44CD55349E8A}"/>
                    </a:ext>
                  </a:extLst>
                </p:cNvPr>
                <p:cNvSpPr/>
                <p:nvPr/>
              </p:nvSpPr>
              <p:spPr>
                <a:xfrm>
                  <a:off x="12136547" y="4260505"/>
                  <a:ext cx="21779" cy="71652"/>
                </a:xfrm>
                <a:custGeom>
                  <a:avLst/>
                  <a:gdLst>
                    <a:gd name="connsiteX0" fmla="*/ 96933 w 174603"/>
                    <a:gd name="connsiteY0" fmla="*/ 106 h 574405"/>
                    <a:gd name="connsiteX1" fmla="*/ 13934 w 174603"/>
                    <a:gd name="connsiteY1" fmla="*/ 77750 h 574405"/>
                    <a:gd name="connsiteX2" fmla="*/ 46 w 174603"/>
                    <a:gd name="connsiteY2" fmla="*/ 491424 h 574405"/>
                    <a:gd name="connsiteX3" fmla="*/ 77690 w 174603"/>
                    <a:gd name="connsiteY3" fmla="*/ 574406 h 574405"/>
                    <a:gd name="connsiteX4" fmla="*/ 80416 w 174603"/>
                    <a:gd name="connsiteY4" fmla="*/ 574406 h 574405"/>
                    <a:gd name="connsiteX5" fmla="*/ 160672 w 174603"/>
                    <a:gd name="connsiteY5" fmla="*/ 496796 h 574405"/>
                    <a:gd name="connsiteX6" fmla="*/ 174560 w 174603"/>
                    <a:gd name="connsiteY6" fmla="*/ 83105 h 574405"/>
                    <a:gd name="connsiteX7" fmla="*/ 96938 w 174603"/>
                    <a:gd name="connsiteY7" fmla="*/ 106 h 57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603" h="574405">
                      <a:moveTo>
                        <a:pt x="96933" y="106"/>
                      </a:moveTo>
                      <a:cubicBezTo>
                        <a:pt x="52419" y="-2192"/>
                        <a:pt x="15380" y="33282"/>
                        <a:pt x="13934" y="77750"/>
                      </a:cubicBezTo>
                      <a:lnTo>
                        <a:pt x="46" y="491424"/>
                      </a:lnTo>
                      <a:cubicBezTo>
                        <a:pt x="-1445" y="535659"/>
                        <a:pt x="33313" y="572920"/>
                        <a:pt x="77690" y="574406"/>
                      </a:cubicBezTo>
                      <a:lnTo>
                        <a:pt x="80416" y="574406"/>
                      </a:lnTo>
                      <a:cubicBezTo>
                        <a:pt x="123547" y="574406"/>
                        <a:pt x="159220" y="540173"/>
                        <a:pt x="160672" y="496796"/>
                      </a:cubicBezTo>
                      <a:lnTo>
                        <a:pt x="174560" y="83105"/>
                      </a:lnTo>
                      <a:cubicBezTo>
                        <a:pt x="176005" y="38722"/>
                        <a:pt x="141292" y="1598"/>
                        <a:pt x="96938" y="106"/>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93" name="Freeform: Shape 292">
                  <a:extLst>
                    <a:ext uri="{FF2B5EF4-FFF2-40B4-BE49-F238E27FC236}">
                      <a16:creationId xmlns:a16="http://schemas.microsoft.com/office/drawing/2014/main" id="{850FB46C-E613-167A-997F-E8B7B3BDEBD6}"/>
                    </a:ext>
                  </a:extLst>
                </p:cNvPr>
                <p:cNvSpPr/>
                <p:nvPr/>
              </p:nvSpPr>
              <p:spPr>
                <a:xfrm>
                  <a:off x="12054135" y="4239422"/>
                  <a:ext cx="57784" cy="55319"/>
                </a:xfrm>
                <a:custGeom>
                  <a:avLst/>
                  <a:gdLst>
                    <a:gd name="connsiteX0" fmla="*/ 327971 w 463234"/>
                    <a:gd name="connsiteY0" fmla="*/ 21648 h 443472"/>
                    <a:gd name="connsiteX1" fmla="*/ 25476 w 463234"/>
                    <a:gd name="connsiteY1" fmla="*/ 304369 h 443472"/>
                    <a:gd name="connsiteX2" fmla="*/ 21682 w 463234"/>
                    <a:gd name="connsiteY2" fmla="*/ 418040 h 443472"/>
                    <a:gd name="connsiteX3" fmla="*/ 80392 w 463234"/>
                    <a:gd name="connsiteY3" fmla="*/ 443472 h 443472"/>
                    <a:gd name="connsiteX4" fmla="*/ 135267 w 463234"/>
                    <a:gd name="connsiteY4" fmla="*/ 421813 h 443472"/>
                    <a:gd name="connsiteX5" fmla="*/ 437762 w 463234"/>
                    <a:gd name="connsiteY5" fmla="*/ 139074 h 443472"/>
                    <a:gd name="connsiteX6" fmla="*/ 441557 w 463234"/>
                    <a:gd name="connsiteY6" fmla="*/ 25443 h 443472"/>
                    <a:gd name="connsiteX7" fmla="*/ 327971 w 463234"/>
                    <a:gd name="connsiteY7" fmla="*/ 21648 h 44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34" h="443472">
                      <a:moveTo>
                        <a:pt x="327971" y="21648"/>
                      </a:moveTo>
                      <a:lnTo>
                        <a:pt x="25476" y="304369"/>
                      </a:lnTo>
                      <a:cubicBezTo>
                        <a:pt x="-6939" y="334716"/>
                        <a:pt x="-8659" y="385579"/>
                        <a:pt x="21682" y="418040"/>
                      </a:cubicBezTo>
                      <a:cubicBezTo>
                        <a:pt x="37489" y="434843"/>
                        <a:pt x="58921" y="443472"/>
                        <a:pt x="80392" y="443472"/>
                      </a:cubicBezTo>
                      <a:cubicBezTo>
                        <a:pt x="100057" y="443472"/>
                        <a:pt x="119774" y="436329"/>
                        <a:pt x="135267" y="421813"/>
                      </a:cubicBezTo>
                      <a:lnTo>
                        <a:pt x="437762" y="139074"/>
                      </a:lnTo>
                      <a:cubicBezTo>
                        <a:pt x="470172" y="108756"/>
                        <a:pt x="471892" y="57858"/>
                        <a:pt x="441557" y="25443"/>
                      </a:cubicBezTo>
                      <a:cubicBezTo>
                        <a:pt x="411330" y="-6904"/>
                        <a:pt x="360433" y="-8670"/>
                        <a:pt x="327971" y="21648"/>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94" name="Freeform: Shape 293">
                  <a:extLst>
                    <a:ext uri="{FF2B5EF4-FFF2-40B4-BE49-F238E27FC236}">
                      <a16:creationId xmlns:a16="http://schemas.microsoft.com/office/drawing/2014/main" id="{1F1DB982-8A6D-4039-9B98-E6BDE2AC7FC8}"/>
                    </a:ext>
                  </a:extLst>
                </p:cNvPr>
                <p:cNvSpPr/>
                <p:nvPr/>
              </p:nvSpPr>
              <p:spPr>
                <a:xfrm>
                  <a:off x="12022333" y="4189944"/>
                  <a:ext cx="71660" cy="21802"/>
                </a:xfrm>
                <a:custGeom>
                  <a:avLst/>
                  <a:gdLst>
                    <a:gd name="connsiteX0" fmla="*/ 494171 w 574473"/>
                    <a:gd name="connsiteY0" fmla="*/ 174779 h 174778"/>
                    <a:gd name="connsiteX1" fmla="*/ 574427 w 574473"/>
                    <a:gd name="connsiteY1" fmla="*/ 97135 h 174778"/>
                    <a:gd name="connsiteX2" fmla="*/ 496783 w 574473"/>
                    <a:gd name="connsiteY2" fmla="*/ 14136 h 174778"/>
                    <a:gd name="connsiteX3" fmla="*/ 83046 w 574473"/>
                    <a:gd name="connsiteY3" fmla="*/ 203 h 174778"/>
                    <a:gd name="connsiteX4" fmla="*/ 47 w 574473"/>
                    <a:gd name="connsiteY4" fmla="*/ 77732 h 174778"/>
                    <a:gd name="connsiteX5" fmla="*/ 77691 w 574473"/>
                    <a:gd name="connsiteY5" fmla="*/ 160823 h 174778"/>
                    <a:gd name="connsiteX6" fmla="*/ 491428 w 574473"/>
                    <a:gd name="connsiteY6" fmla="*/ 174756 h 174778"/>
                    <a:gd name="connsiteX7" fmla="*/ 494171 w 574473"/>
                    <a:gd name="connsiteY7" fmla="*/ 174779 h 17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473" h="174778">
                      <a:moveTo>
                        <a:pt x="494171" y="174779"/>
                      </a:moveTo>
                      <a:cubicBezTo>
                        <a:pt x="537302" y="174779"/>
                        <a:pt x="572975" y="140535"/>
                        <a:pt x="574427" y="97135"/>
                      </a:cubicBezTo>
                      <a:cubicBezTo>
                        <a:pt x="575924" y="52775"/>
                        <a:pt x="541166" y="15650"/>
                        <a:pt x="496783" y="14136"/>
                      </a:cubicBezTo>
                      <a:lnTo>
                        <a:pt x="83046" y="203"/>
                      </a:lnTo>
                      <a:cubicBezTo>
                        <a:pt x="39069" y="-3055"/>
                        <a:pt x="1561" y="33378"/>
                        <a:pt x="47" y="77732"/>
                      </a:cubicBezTo>
                      <a:cubicBezTo>
                        <a:pt x="-1451" y="122092"/>
                        <a:pt x="33308" y="159331"/>
                        <a:pt x="77691" y="160823"/>
                      </a:cubicBezTo>
                      <a:lnTo>
                        <a:pt x="491428" y="174756"/>
                      </a:lnTo>
                      <a:cubicBezTo>
                        <a:pt x="492365" y="174779"/>
                        <a:pt x="493280" y="174779"/>
                        <a:pt x="494171" y="174779"/>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grpSp>
          <p:sp>
            <p:nvSpPr>
              <p:cNvPr id="268" name="Oval 267">
                <a:extLst>
                  <a:ext uri="{FF2B5EF4-FFF2-40B4-BE49-F238E27FC236}">
                    <a16:creationId xmlns:a16="http://schemas.microsoft.com/office/drawing/2014/main" id="{CAFE8AAC-1358-E7DA-D7C5-0435C9A80CE3}"/>
                  </a:ext>
                </a:extLst>
              </p:cNvPr>
              <p:cNvSpPr/>
              <p:nvPr/>
            </p:nvSpPr>
            <p:spPr>
              <a:xfrm>
                <a:off x="1563881" y="2307636"/>
                <a:ext cx="72000" cy="72000"/>
              </a:xfrm>
              <a:prstGeom prst="ellipse">
                <a:avLst/>
              </a:prstGeom>
              <a:solidFill>
                <a:schemeClr val="accent3">
                  <a:lumMod val="7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9" name="Oval 268">
                <a:extLst>
                  <a:ext uri="{FF2B5EF4-FFF2-40B4-BE49-F238E27FC236}">
                    <a16:creationId xmlns:a16="http://schemas.microsoft.com/office/drawing/2014/main" id="{8A2FEFD6-3A8B-8ACD-52BA-78E01E3FBEF3}"/>
                  </a:ext>
                </a:extLst>
              </p:cNvPr>
              <p:cNvSpPr/>
              <p:nvPr/>
            </p:nvSpPr>
            <p:spPr>
              <a:xfrm>
                <a:off x="2135572" y="2100249"/>
                <a:ext cx="72000" cy="72000"/>
              </a:xfrm>
              <a:prstGeom prst="ellipse">
                <a:avLst/>
              </a:prstGeom>
              <a:solidFill>
                <a:schemeClr val="accent3">
                  <a:lumMod val="7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0" name="Oval 269">
                <a:extLst>
                  <a:ext uri="{FF2B5EF4-FFF2-40B4-BE49-F238E27FC236}">
                    <a16:creationId xmlns:a16="http://schemas.microsoft.com/office/drawing/2014/main" id="{697FCF46-5B95-42EB-1F4B-8DE2EEADB7C5}"/>
                  </a:ext>
                </a:extLst>
              </p:cNvPr>
              <p:cNvSpPr/>
              <p:nvPr/>
            </p:nvSpPr>
            <p:spPr>
              <a:xfrm>
                <a:off x="2503397" y="2725994"/>
                <a:ext cx="72000" cy="72000"/>
              </a:xfrm>
              <a:prstGeom prst="ellipse">
                <a:avLst/>
              </a:prstGeom>
              <a:solidFill>
                <a:schemeClr val="accent3">
                  <a:lumMod val="7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1" name="Oval 270">
                <a:extLst>
                  <a:ext uri="{FF2B5EF4-FFF2-40B4-BE49-F238E27FC236}">
                    <a16:creationId xmlns:a16="http://schemas.microsoft.com/office/drawing/2014/main" id="{55303DCF-BCE1-02F3-7625-A5F50E1C76A1}"/>
                  </a:ext>
                </a:extLst>
              </p:cNvPr>
              <p:cNvSpPr/>
              <p:nvPr/>
            </p:nvSpPr>
            <p:spPr>
              <a:xfrm>
                <a:off x="1766742" y="3055889"/>
                <a:ext cx="72000" cy="72000"/>
              </a:xfrm>
              <a:prstGeom prst="ellipse">
                <a:avLst/>
              </a:prstGeom>
              <a:solidFill>
                <a:schemeClr val="accent3">
                  <a:lumMod val="7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72" name="Group 271">
                <a:extLst>
                  <a:ext uri="{FF2B5EF4-FFF2-40B4-BE49-F238E27FC236}">
                    <a16:creationId xmlns:a16="http://schemas.microsoft.com/office/drawing/2014/main" id="{B2625A5D-1FCD-6C2D-1D76-07C025C927E1}"/>
                  </a:ext>
                </a:extLst>
              </p:cNvPr>
              <p:cNvGrpSpPr/>
              <p:nvPr/>
            </p:nvGrpSpPr>
            <p:grpSpPr>
              <a:xfrm rot="21227423">
                <a:off x="2073436" y="2145356"/>
                <a:ext cx="81297" cy="90585"/>
                <a:chOff x="11798430" y="4365772"/>
                <a:chExt cx="135991" cy="142191"/>
              </a:xfrm>
              <a:solidFill>
                <a:schemeClr val="accent5">
                  <a:lumMod val="75000"/>
                </a:schemeClr>
              </a:solidFill>
            </p:grpSpPr>
            <p:sp>
              <p:nvSpPr>
                <p:cNvPr id="289" name="Freeform: Shape 288">
                  <a:extLst>
                    <a:ext uri="{FF2B5EF4-FFF2-40B4-BE49-F238E27FC236}">
                      <a16:creationId xmlns:a16="http://schemas.microsoft.com/office/drawing/2014/main" id="{77BE158E-7536-5F26-511E-12F184174C5D}"/>
                    </a:ext>
                  </a:extLst>
                </p:cNvPr>
                <p:cNvSpPr/>
                <p:nvPr/>
              </p:nvSpPr>
              <p:spPr>
                <a:xfrm>
                  <a:off x="11912642" y="4436311"/>
                  <a:ext cx="21779" cy="71652"/>
                </a:xfrm>
                <a:custGeom>
                  <a:avLst/>
                  <a:gdLst>
                    <a:gd name="connsiteX0" fmla="*/ 96933 w 174603"/>
                    <a:gd name="connsiteY0" fmla="*/ 106 h 574405"/>
                    <a:gd name="connsiteX1" fmla="*/ 13934 w 174603"/>
                    <a:gd name="connsiteY1" fmla="*/ 77750 h 574405"/>
                    <a:gd name="connsiteX2" fmla="*/ 46 w 174603"/>
                    <a:gd name="connsiteY2" fmla="*/ 491424 h 574405"/>
                    <a:gd name="connsiteX3" fmla="*/ 77690 w 174603"/>
                    <a:gd name="connsiteY3" fmla="*/ 574406 h 574405"/>
                    <a:gd name="connsiteX4" fmla="*/ 80416 w 174603"/>
                    <a:gd name="connsiteY4" fmla="*/ 574406 h 574405"/>
                    <a:gd name="connsiteX5" fmla="*/ 160672 w 174603"/>
                    <a:gd name="connsiteY5" fmla="*/ 496796 h 574405"/>
                    <a:gd name="connsiteX6" fmla="*/ 174560 w 174603"/>
                    <a:gd name="connsiteY6" fmla="*/ 83105 h 574405"/>
                    <a:gd name="connsiteX7" fmla="*/ 96938 w 174603"/>
                    <a:gd name="connsiteY7" fmla="*/ 106 h 57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603" h="574405">
                      <a:moveTo>
                        <a:pt x="96933" y="106"/>
                      </a:moveTo>
                      <a:cubicBezTo>
                        <a:pt x="52419" y="-2192"/>
                        <a:pt x="15380" y="33282"/>
                        <a:pt x="13934" y="77750"/>
                      </a:cubicBezTo>
                      <a:lnTo>
                        <a:pt x="46" y="491424"/>
                      </a:lnTo>
                      <a:cubicBezTo>
                        <a:pt x="-1445" y="535659"/>
                        <a:pt x="33313" y="572920"/>
                        <a:pt x="77690" y="574406"/>
                      </a:cubicBezTo>
                      <a:lnTo>
                        <a:pt x="80416" y="574406"/>
                      </a:lnTo>
                      <a:cubicBezTo>
                        <a:pt x="123547" y="574406"/>
                        <a:pt x="159220" y="540173"/>
                        <a:pt x="160672" y="496796"/>
                      </a:cubicBezTo>
                      <a:lnTo>
                        <a:pt x="174560" y="83105"/>
                      </a:lnTo>
                      <a:cubicBezTo>
                        <a:pt x="176005" y="38722"/>
                        <a:pt x="141292" y="1598"/>
                        <a:pt x="96938" y="106"/>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90" name="Freeform: Shape 289">
                  <a:extLst>
                    <a:ext uri="{FF2B5EF4-FFF2-40B4-BE49-F238E27FC236}">
                      <a16:creationId xmlns:a16="http://schemas.microsoft.com/office/drawing/2014/main" id="{216D62AC-A7F4-A584-E606-1DB078A42740}"/>
                    </a:ext>
                  </a:extLst>
                </p:cNvPr>
                <p:cNvSpPr/>
                <p:nvPr/>
              </p:nvSpPr>
              <p:spPr>
                <a:xfrm>
                  <a:off x="11830234" y="4415251"/>
                  <a:ext cx="57784" cy="55320"/>
                </a:xfrm>
                <a:custGeom>
                  <a:avLst/>
                  <a:gdLst>
                    <a:gd name="connsiteX0" fmla="*/ 327971 w 463234"/>
                    <a:gd name="connsiteY0" fmla="*/ 21648 h 443472"/>
                    <a:gd name="connsiteX1" fmla="*/ 25476 w 463234"/>
                    <a:gd name="connsiteY1" fmla="*/ 304369 h 443472"/>
                    <a:gd name="connsiteX2" fmla="*/ 21682 w 463234"/>
                    <a:gd name="connsiteY2" fmla="*/ 418040 h 443472"/>
                    <a:gd name="connsiteX3" fmla="*/ 80392 w 463234"/>
                    <a:gd name="connsiteY3" fmla="*/ 443472 h 443472"/>
                    <a:gd name="connsiteX4" fmla="*/ 135267 w 463234"/>
                    <a:gd name="connsiteY4" fmla="*/ 421813 h 443472"/>
                    <a:gd name="connsiteX5" fmla="*/ 437762 w 463234"/>
                    <a:gd name="connsiteY5" fmla="*/ 139074 h 443472"/>
                    <a:gd name="connsiteX6" fmla="*/ 441557 w 463234"/>
                    <a:gd name="connsiteY6" fmla="*/ 25443 h 443472"/>
                    <a:gd name="connsiteX7" fmla="*/ 327971 w 463234"/>
                    <a:gd name="connsiteY7" fmla="*/ 21648 h 44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34" h="443472">
                      <a:moveTo>
                        <a:pt x="327971" y="21648"/>
                      </a:moveTo>
                      <a:lnTo>
                        <a:pt x="25476" y="304369"/>
                      </a:lnTo>
                      <a:cubicBezTo>
                        <a:pt x="-6939" y="334716"/>
                        <a:pt x="-8659" y="385579"/>
                        <a:pt x="21682" y="418040"/>
                      </a:cubicBezTo>
                      <a:cubicBezTo>
                        <a:pt x="37489" y="434843"/>
                        <a:pt x="58921" y="443472"/>
                        <a:pt x="80392" y="443472"/>
                      </a:cubicBezTo>
                      <a:cubicBezTo>
                        <a:pt x="100057" y="443472"/>
                        <a:pt x="119774" y="436329"/>
                        <a:pt x="135267" y="421813"/>
                      </a:cubicBezTo>
                      <a:lnTo>
                        <a:pt x="437762" y="139074"/>
                      </a:lnTo>
                      <a:cubicBezTo>
                        <a:pt x="470172" y="108756"/>
                        <a:pt x="471892" y="57858"/>
                        <a:pt x="441557" y="25443"/>
                      </a:cubicBezTo>
                      <a:cubicBezTo>
                        <a:pt x="411330" y="-6904"/>
                        <a:pt x="360433" y="-8670"/>
                        <a:pt x="327971" y="21648"/>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91" name="Freeform: Shape 290">
                  <a:extLst>
                    <a:ext uri="{FF2B5EF4-FFF2-40B4-BE49-F238E27FC236}">
                      <a16:creationId xmlns:a16="http://schemas.microsoft.com/office/drawing/2014/main" id="{D69627D6-BE01-E1C2-FEC5-E8D3D45DD167}"/>
                    </a:ext>
                  </a:extLst>
                </p:cNvPr>
                <p:cNvSpPr/>
                <p:nvPr/>
              </p:nvSpPr>
              <p:spPr>
                <a:xfrm>
                  <a:off x="11798430" y="4365772"/>
                  <a:ext cx="71660" cy="21802"/>
                </a:xfrm>
                <a:custGeom>
                  <a:avLst/>
                  <a:gdLst>
                    <a:gd name="connsiteX0" fmla="*/ 494171 w 574473"/>
                    <a:gd name="connsiteY0" fmla="*/ 174779 h 174778"/>
                    <a:gd name="connsiteX1" fmla="*/ 574427 w 574473"/>
                    <a:gd name="connsiteY1" fmla="*/ 97135 h 174778"/>
                    <a:gd name="connsiteX2" fmla="*/ 496783 w 574473"/>
                    <a:gd name="connsiteY2" fmla="*/ 14136 h 174778"/>
                    <a:gd name="connsiteX3" fmla="*/ 83046 w 574473"/>
                    <a:gd name="connsiteY3" fmla="*/ 203 h 174778"/>
                    <a:gd name="connsiteX4" fmla="*/ 47 w 574473"/>
                    <a:gd name="connsiteY4" fmla="*/ 77732 h 174778"/>
                    <a:gd name="connsiteX5" fmla="*/ 77691 w 574473"/>
                    <a:gd name="connsiteY5" fmla="*/ 160823 h 174778"/>
                    <a:gd name="connsiteX6" fmla="*/ 491428 w 574473"/>
                    <a:gd name="connsiteY6" fmla="*/ 174756 h 174778"/>
                    <a:gd name="connsiteX7" fmla="*/ 494171 w 574473"/>
                    <a:gd name="connsiteY7" fmla="*/ 174779 h 17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473" h="174778">
                      <a:moveTo>
                        <a:pt x="494171" y="174779"/>
                      </a:moveTo>
                      <a:cubicBezTo>
                        <a:pt x="537302" y="174779"/>
                        <a:pt x="572975" y="140535"/>
                        <a:pt x="574427" y="97135"/>
                      </a:cubicBezTo>
                      <a:cubicBezTo>
                        <a:pt x="575924" y="52775"/>
                        <a:pt x="541166" y="15650"/>
                        <a:pt x="496783" y="14136"/>
                      </a:cubicBezTo>
                      <a:lnTo>
                        <a:pt x="83046" y="203"/>
                      </a:lnTo>
                      <a:cubicBezTo>
                        <a:pt x="39069" y="-3055"/>
                        <a:pt x="1561" y="33378"/>
                        <a:pt x="47" y="77732"/>
                      </a:cubicBezTo>
                      <a:cubicBezTo>
                        <a:pt x="-1451" y="122092"/>
                        <a:pt x="33308" y="159331"/>
                        <a:pt x="77691" y="160823"/>
                      </a:cubicBezTo>
                      <a:lnTo>
                        <a:pt x="491428" y="174756"/>
                      </a:lnTo>
                      <a:cubicBezTo>
                        <a:pt x="492365" y="174779"/>
                        <a:pt x="493280" y="174779"/>
                        <a:pt x="494171" y="174779"/>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grpSp>
          <p:grpSp>
            <p:nvGrpSpPr>
              <p:cNvPr id="273" name="Group 272">
                <a:extLst>
                  <a:ext uri="{FF2B5EF4-FFF2-40B4-BE49-F238E27FC236}">
                    <a16:creationId xmlns:a16="http://schemas.microsoft.com/office/drawing/2014/main" id="{D4D1F690-B71B-8A31-1503-BE3F46A91E5A}"/>
                  </a:ext>
                </a:extLst>
              </p:cNvPr>
              <p:cNvGrpSpPr/>
              <p:nvPr/>
            </p:nvGrpSpPr>
            <p:grpSpPr>
              <a:xfrm rot="3954368">
                <a:off x="2427909" y="2678088"/>
                <a:ext cx="81320" cy="90582"/>
                <a:chOff x="11808968" y="4498656"/>
                <a:chExt cx="136030" cy="142185"/>
              </a:xfrm>
              <a:solidFill>
                <a:schemeClr val="accent5">
                  <a:lumMod val="75000"/>
                </a:schemeClr>
              </a:solidFill>
            </p:grpSpPr>
            <p:sp>
              <p:nvSpPr>
                <p:cNvPr id="286" name="Freeform: Shape 285">
                  <a:extLst>
                    <a:ext uri="{FF2B5EF4-FFF2-40B4-BE49-F238E27FC236}">
                      <a16:creationId xmlns:a16="http://schemas.microsoft.com/office/drawing/2014/main" id="{12FDCFB7-4435-97EE-27FE-710E4A36E86D}"/>
                    </a:ext>
                  </a:extLst>
                </p:cNvPr>
                <p:cNvSpPr/>
                <p:nvPr/>
              </p:nvSpPr>
              <p:spPr>
                <a:xfrm>
                  <a:off x="11923219" y="4569189"/>
                  <a:ext cx="21779" cy="71652"/>
                </a:xfrm>
                <a:custGeom>
                  <a:avLst/>
                  <a:gdLst>
                    <a:gd name="connsiteX0" fmla="*/ 96933 w 174603"/>
                    <a:gd name="connsiteY0" fmla="*/ 106 h 574405"/>
                    <a:gd name="connsiteX1" fmla="*/ 13934 w 174603"/>
                    <a:gd name="connsiteY1" fmla="*/ 77750 h 574405"/>
                    <a:gd name="connsiteX2" fmla="*/ 46 w 174603"/>
                    <a:gd name="connsiteY2" fmla="*/ 491424 h 574405"/>
                    <a:gd name="connsiteX3" fmla="*/ 77690 w 174603"/>
                    <a:gd name="connsiteY3" fmla="*/ 574406 h 574405"/>
                    <a:gd name="connsiteX4" fmla="*/ 80416 w 174603"/>
                    <a:gd name="connsiteY4" fmla="*/ 574406 h 574405"/>
                    <a:gd name="connsiteX5" fmla="*/ 160672 w 174603"/>
                    <a:gd name="connsiteY5" fmla="*/ 496796 h 574405"/>
                    <a:gd name="connsiteX6" fmla="*/ 174560 w 174603"/>
                    <a:gd name="connsiteY6" fmla="*/ 83105 h 574405"/>
                    <a:gd name="connsiteX7" fmla="*/ 96938 w 174603"/>
                    <a:gd name="connsiteY7" fmla="*/ 106 h 57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603" h="574405">
                      <a:moveTo>
                        <a:pt x="96933" y="106"/>
                      </a:moveTo>
                      <a:cubicBezTo>
                        <a:pt x="52419" y="-2192"/>
                        <a:pt x="15380" y="33282"/>
                        <a:pt x="13934" y="77750"/>
                      </a:cubicBezTo>
                      <a:lnTo>
                        <a:pt x="46" y="491424"/>
                      </a:lnTo>
                      <a:cubicBezTo>
                        <a:pt x="-1445" y="535659"/>
                        <a:pt x="33313" y="572920"/>
                        <a:pt x="77690" y="574406"/>
                      </a:cubicBezTo>
                      <a:lnTo>
                        <a:pt x="80416" y="574406"/>
                      </a:lnTo>
                      <a:cubicBezTo>
                        <a:pt x="123547" y="574406"/>
                        <a:pt x="159220" y="540173"/>
                        <a:pt x="160672" y="496796"/>
                      </a:cubicBezTo>
                      <a:lnTo>
                        <a:pt x="174560" y="83105"/>
                      </a:lnTo>
                      <a:cubicBezTo>
                        <a:pt x="176005" y="38722"/>
                        <a:pt x="141292" y="1598"/>
                        <a:pt x="96938" y="106"/>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87" name="Freeform: Shape 286">
                  <a:extLst>
                    <a:ext uri="{FF2B5EF4-FFF2-40B4-BE49-F238E27FC236}">
                      <a16:creationId xmlns:a16="http://schemas.microsoft.com/office/drawing/2014/main" id="{999B798D-6DB9-8E90-17DE-6A5A605427F6}"/>
                    </a:ext>
                  </a:extLst>
                </p:cNvPr>
                <p:cNvSpPr/>
                <p:nvPr/>
              </p:nvSpPr>
              <p:spPr>
                <a:xfrm>
                  <a:off x="11840769" y="4548121"/>
                  <a:ext cx="57784" cy="55319"/>
                </a:xfrm>
                <a:custGeom>
                  <a:avLst/>
                  <a:gdLst>
                    <a:gd name="connsiteX0" fmla="*/ 327971 w 463234"/>
                    <a:gd name="connsiteY0" fmla="*/ 21648 h 443472"/>
                    <a:gd name="connsiteX1" fmla="*/ 25476 w 463234"/>
                    <a:gd name="connsiteY1" fmla="*/ 304369 h 443472"/>
                    <a:gd name="connsiteX2" fmla="*/ 21682 w 463234"/>
                    <a:gd name="connsiteY2" fmla="*/ 418040 h 443472"/>
                    <a:gd name="connsiteX3" fmla="*/ 80392 w 463234"/>
                    <a:gd name="connsiteY3" fmla="*/ 443472 h 443472"/>
                    <a:gd name="connsiteX4" fmla="*/ 135267 w 463234"/>
                    <a:gd name="connsiteY4" fmla="*/ 421813 h 443472"/>
                    <a:gd name="connsiteX5" fmla="*/ 437762 w 463234"/>
                    <a:gd name="connsiteY5" fmla="*/ 139074 h 443472"/>
                    <a:gd name="connsiteX6" fmla="*/ 441557 w 463234"/>
                    <a:gd name="connsiteY6" fmla="*/ 25443 h 443472"/>
                    <a:gd name="connsiteX7" fmla="*/ 327971 w 463234"/>
                    <a:gd name="connsiteY7" fmla="*/ 21648 h 44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34" h="443472">
                      <a:moveTo>
                        <a:pt x="327971" y="21648"/>
                      </a:moveTo>
                      <a:lnTo>
                        <a:pt x="25476" y="304369"/>
                      </a:lnTo>
                      <a:cubicBezTo>
                        <a:pt x="-6939" y="334716"/>
                        <a:pt x="-8659" y="385579"/>
                        <a:pt x="21682" y="418040"/>
                      </a:cubicBezTo>
                      <a:cubicBezTo>
                        <a:pt x="37489" y="434843"/>
                        <a:pt x="58921" y="443472"/>
                        <a:pt x="80392" y="443472"/>
                      </a:cubicBezTo>
                      <a:cubicBezTo>
                        <a:pt x="100057" y="443472"/>
                        <a:pt x="119774" y="436329"/>
                        <a:pt x="135267" y="421813"/>
                      </a:cubicBezTo>
                      <a:lnTo>
                        <a:pt x="437762" y="139074"/>
                      </a:lnTo>
                      <a:cubicBezTo>
                        <a:pt x="470172" y="108756"/>
                        <a:pt x="471892" y="57858"/>
                        <a:pt x="441557" y="25443"/>
                      </a:cubicBezTo>
                      <a:cubicBezTo>
                        <a:pt x="411330" y="-6904"/>
                        <a:pt x="360433" y="-8670"/>
                        <a:pt x="327971" y="21648"/>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88" name="Freeform: Shape 287">
                  <a:extLst>
                    <a:ext uri="{FF2B5EF4-FFF2-40B4-BE49-F238E27FC236}">
                      <a16:creationId xmlns:a16="http://schemas.microsoft.com/office/drawing/2014/main" id="{5C0FC15C-25AA-B2DC-69F9-843DBB475E4D}"/>
                    </a:ext>
                  </a:extLst>
                </p:cNvPr>
                <p:cNvSpPr/>
                <p:nvPr/>
              </p:nvSpPr>
              <p:spPr>
                <a:xfrm>
                  <a:off x="11808968" y="4498656"/>
                  <a:ext cx="71660" cy="21802"/>
                </a:xfrm>
                <a:custGeom>
                  <a:avLst/>
                  <a:gdLst>
                    <a:gd name="connsiteX0" fmla="*/ 494171 w 574473"/>
                    <a:gd name="connsiteY0" fmla="*/ 174779 h 174778"/>
                    <a:gd name="connsiteX1" fmla="*/ 574427 w 574473"/>
                    <a:gd name="connsiteY1" fmla="*/ 97135 h 174778"/>
                    <a:gd name="connsiteX2" fmla="*/ 496783 w 574473"/>
                    <a:gd name="connsiteY2" fmla="*/ 14136 h 174778"/>
                    <a:gd name="connsiteX3" fmla="*/ 83046 w 574473"/>
                    <a:gd name="connsiteY3" fmla="*/ 203 h 174778"/>
                    <a:gd name="connsiteX4" fmla="*/ 47 w 574473"/>
                    <a:gd name="connsiteY4" fmla="*/ 77732 h 174778"/>
                    <a:gd name="connsiteX5" fmla="*/ 77691 w 574473"/>
                    <a:gd name="connsiteY5" fmla="*/ 160823 h 174778"/>
                    <a:gd name="connsiteX6" fmla="*/ 491428 w 574473"/>
                    <a:gd name="connsiteY6" fmla="*/ 174756 h 174778"/>
                    <a:gd name="connsiteX7" fmla="*/ 494171 w 574473"/>
                    <a:gd name="connsiteY7" fmla="*/ 174779 h 17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473" h="174778">
                      <a:moveTo>
                        <a:pt x="494171" y="174779"/>
                      </a:moveTo>
                      <a:cubicBezTo>
                        <a:pt x="537302" y="174779"/>
                        <a:pt x="572975" y="140535"/>
                        <a:pt x="574427" y="97135"/>
                      </a:cubicBezTo>
                      <a:cubicBezTo>
                        <a:pt x="575924" y="52775"/>
                        <a:pt x="541166" y="15650"/>
                        <a:pt x="496783" y="14136"/>
                      </a:cubicBezTo>
                      <a:lnTo>
                        <a:pt x="83046" y="203"/>
                      </a:lnTo>
                      <a:cubicBezTo>
                        <a:pt x="39069" y="-3055"/>
                        <a:pt x="1561" y="33378"/>
                        <a:pt x="47" y="77732"/>
                      </a:cubicBezTo>
                      <a:cubicBezTo>
                        <a:pt x="-1451" y="122092"/>
                        <a:pt x="33308" y="159331"/>
                        <a:pt x="77691" y="160823"/>
                      </a:cubicBezTo>
                      <a:lnTo>
                        <a:pt x="491428" y="174756"/>
                      </a:lnTo>
                      <a:cubicBezTo>
                        <a:pt x="492365" y="174779"/>
                        <a:pt x="493280" y="174779"/>
                        <a:pt x="494171" y="174779"/>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grpSp>
          <p:grpSp>
            <p:nvGrpSpPr>
              <p:cNvPr id="274" name="Group 273">
                <a:extLst>
                  <a:ext uri="{FF2B5EF4-FFF2-40B4-BE49-F238E27FC236}">
                    <a16:creationId xmlns:a16="http://schemas.microsoft.com/office/drawing/2014/main" id="{56759859-D06A-AC7F-3189-F6FAFC116698}"/>
                  </a:ext>
                </a:extLst>
              </p:cNvPr>
              <p:cNvGrpSpPr/>
              <p:nvPr/>
            </p:nvGrpSpPr>
            <p:grpSpPr>
              <a:xfrm rot="9645033">
                <a:off x="1803228" y="2981726"/>
                <a:ext cx="81344" cy="90596"/>
                <a:chOff x="11769652" y="4540479"/>
                <a:chExt cx="136070" cy="142208"/>
              </a:xfrm>
              <a:solidFill>
                <a:schemeClr val="accent5">
                  <a:lumMod val="75000"/>
                </a:schemeClr>
              </a:solidFill>
            </p:grpSpPr>
            <p:sp>
              <p:nvSpPr>
                <p:cNvPr id="283" name="Freeform: Shape 282">
                  <a:extLst>
                    <a:ext uri="{FF2B5EF4-FFF2-40B4-BE49-F238E27FC236}">
                      <a16:creationId xmlns:a16="http://schemas.microsoft.com/office/drawing/2014/main" id="{087AFBCC-6AE4-AEFB-02C5-B6A784AB9402}"/>
                    </a:ext>
                  </a:extLst>
                </p:cNvPr>
                <p:cNvSpPr/>
                <p:nvPr/>
              </p:nvSpPr>
              <p:spPr>
                <a:xfrm>
                  <a:off x="11883942" y="4611035"/>
                  <a:ext cx="21780" cy="71652"/>
                </a:xfrm>
                <a:custGeom>
                  <a:avLst/>
                  <a:gdLst>
                    <a:gd name="connsiteX0" fmla="*/ 96933 w 174603"/>
                    <a:gd name="connsiteY0" fmla="*/ 106 h 574405"/>
                    <a:gd name="connsiteX1" fmla="*/ 13934 w 174603"/>
                    <a:gd name="connsiteY1" fmla="*/ 77750 h 574405"/>
                    <a:gd name="connsiteX2" fmla="*/ 46 w 174603"/>
                    <a:gd name="connsiteY2" fmla="*/ 491424 h 574405"/>
                    <a:gd name="connsiteX3" fmla="*/ 77690 w 174603"/>
                    <a:gd name="connsiteY3" fmla="*/ 574406 h 574405"/>
                    <a:gd name="connsiteX4" fmla="*/ 80416 w 174603"/>
                    <a:gd name="connsiteY4" fmla="*/ 574406 h 574405"/>
                    <a:gd name="connsiteX5" fmla="*/ 160672 w 174603"/>
                    <a:gd name="connsiteY5" fmla="*/ 496796 h 574405"/>
                    <a:gd name="connsiteX6" fmla="*/ 174560 w 174603"/>
                    <a:gd name="connsiteY6" fmla="*/ 83105 h 574405"/>
                    <a:gd name="connsiteX7" fmla="*/ 96938 w 174603"/>
                    <a:gd name="connsiteY7" fmla="*/ 106 h 57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603" h="574405">
                      <a:moveTo>
                        <a:pt x="96933" y="106"/>
                      </a:moveTo>
                      <a:cubicBezTo>
                        <a:pt x="52419" y="-2192"/>
                        <a:pt x="15380" y="33282"/>
                        <a:pt x="13934" y="77750"/>
                      </a:cubicBezTo>
                      <a:lnTo>
                        <a:pt x="46" y="491424"/>
                      </a:lnTo>
                      <a:cubicBezTo>
                        <a:pt x="-1445" y="535659"/>
                        <a:pt x="33313" y="572920"/>
                        <a:pt x="77690" y="574406"/>
                      </a:cubicBezTo>
                      <a:lnTo>
                        <a:pt x="80416" y="574406"/>
                      </a:lnTo>
                      <a:cubicBezTo>
                        <a:pt x="123547" y="574406"/>
                        <a:pt x="159220" y="540173"/>
                        <a:pt x="160672" y="496796"/>
                      </a:cubicBezTo>
                      <a:lnTo>
                        <a:pt x="174560" y="83105"/>
                      </a:lnTo>
                      <a:cubicBezTo>
                        <a:pt x="176005" y="38722"/>
                        <a:pt x="141292" y="1598"/>
                        <a:pt x="96938" y="106"/>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84" name="Freeform: Shape 283">
                  <a:extLst>
                    <a:ext uri="{FF2B5EF4-FFF2-40B4-BE49-F238E27FC236}">
                      <a16:creationId xmlns:a16="http://schemas.microsoft.com/office/drawing/2014/main" id="{25195443-9BFB-71BF-FBED-5DDB5E74C1B9}"/>
                    </a:ext>
                  </a:extLst>
                </p:cNvPr>
                <p:cNvSpPr/>
                <p:nvPr/>
              </p:nvSpPr>
              <p:spPr>
                <a:xfrm>
                  <a:off x="11801483" y="4589948"/>
                  <a:ext cx="57784" cy="55319"/>
                </a:xfrm>
                <a:custGeom>
                  <a:avLst/>
                  <a:gdLst>
                    <a:gd name="connsiteX0" fmla="*/ 327971 w 463234"/>
                    <a:gd name="connsiteY0" fmla="*/ 21648 h 443472"/>
                    <a:gd name="connsiteX1" fmla="*/ 25476 w 463234"/>
                    <a:gd name="connsiteY1" fmla="*/ 304369 h 443472"/>
                    <a:gd name="connsiteX2" fmla="*/ 21682 w 463234"/>
                    <a:gd name="connsiteY2" fmla="*/ 418040 h 443472"/>
                    <a:gd name="connsiteX3" fmla="*/ 80392 w 463234"/>
                    <a:gd name="connsiteY3" fmla="*/ 443472 h 443472"/>
                    <a:gd name="connsiteX4" fmla="*/ 135267 w 463234"/>
                    <a:gd name="connsiteY4" fmla="*/ 421813 h 443472"/>
                    <a:gd name="connsiteX5" fmla="*/ 437762 w 463234"/>
                    <a:gd name="connsiteY5" fmla="*/ 139074 h 443472"/>
                    <a:gd name="connsiteX6" fmla="*/ 441557 w 463234"/>
                    <a:gd name="connsiteY6" fmla="*/ 25443 h 443472"/>
                    <a:gd name="connsiteX7" fmla="*/ 327971 w 463234"/>
                    <a:gd name="connsiteY7" fmla="*/ 21648 h 44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34" h="443472">
                      <a:moveTo>
                        <a:pt x="327971" y="21648"/>
                      </a:moveTo>
                      <a:lnTo>
                        <a:pt x="25476" y="304369"/>
                      </a:lnTo>
                      <a:cubicBezTo>
                        <a:pt x="-6939" y="334716"/>
                        <a:pt x="-8659" y="385579"/>
                        <a:pt x="21682" y="418040"/>
                      </a:cubicBezTo>
                      <a:cubicBezTo>
                        <a:pt x="37489" y="434843"/>
                        <a:pt x="58921" y="443472"/>
                        <a:pt x="80392" y="443472"/>
                      </a:cubicBezTo>
                      <a:cubicBezTo>
                        <a:pt x="100057" y="443472"/>
                        <a:pt x="119774" y="436329"/>
                        <a:pt x="135267" y="421813"/>
                      </a:cubicBezTo>
                      <a:lnTo>
                        <a:pt x="437762" y="139074"/>
                      </a:lnTo>
                      <a:cubicBezTo>
                        <a:pt x="470172" y="108756"/>
                        <a:pt x="471892" y="57858"/>
                        <a:pt x="441557" y="25443"/>
                      </a:cubicBezTo>
                      <a:cubicBezTo>
                        <a:pt x="411330" y="-6904"/>
                        <a:pt x="360433" y="-8670"/>
                        <a:pt x="327971" y="21648"/>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85" name="Freeform: Shape 284">
                  <a:extLst>
                    <a:ext uri="{FF2B5EF4-FFF2-40B4-BE49-F238E27FC236}">
                      <a16:creationId xmlns:a16="http://schemas.microsoft.com/office/drawing/2014/main" id="{E0D5D482-DF85-40F9-8EA0-5E0A317DD471}"/>
                    </a:ext>
                  </a:extLst>
                </p:cNvPr>
                <p:cNvSpPr/>
                <p:nvPr/>
              </p:nvSpPr>
              <p:spPr>
                <a:xfrm>
                  <a:off x="11769652" y="4540479"/>
                  <a:ext cx="71660" cy="21802"/>
                </a:xfrm>
                <a:custGeom>
                  <a:avLst/>
                  <a:gdLst>
                    <a:gd name="connsiteX0" fmla="*/ 494171 w 574473"/>
                    <a:gd name="connsiteY0" fmla="*/ 174779 h 174778"/>
                    <a:gd name="connsiteX1" fmla="*/ 574427 w 574473"/>
                    <a:gd name="connsiteY1" fmla="*/ 97135 h 174778"/>
                    <a:gd name="connsiteX2" fmla="*/ 496783 w 574473"/>
                    <a:gd name="connsiteY2" fmla="*/ 14136 h 174778"/>
                    <a:gd name="connsiteX3" fmla="*/ 83046 w 574473"/>
                    <a:gd name="connsiteY3" fmla="*/ 203 h 174778"/>
                    <a:gd name="connsiteX4" fmla="*/ 47 w 574473"/>
                    <a:gd name="connsiteY4" fmla="*/ 77732 h 174778"/>
                    <a:gd name="connsiteX5" fmla="*/ 77691 w 574473"/>
                    <a:gd name="connsiteY5" fmla="*/ 160823 h 174778"/>
                    <a:gd name="connsiteX6" fmla="*/ 491428 w 574473"/>
                    <a:gd name="connsiteY6" fmla="*/ 174756 h 174778"/>
                    <a:gd name="connsiteX7" fmla="*/ 494171 w 574473"/>
                    <a:gd name="connsiteY7" fmla="*/ 174779 h 17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473" h="174778">
                      <a:moveTo>
                        <a:pt x="494171" y="174779"/>
                      </a:moveTo>
                      <a:cubicBezTo>
                        <a:pt x="537302" y="174779"/>
                        <a:pt x="572975" y="140535"/>
                        <a:pt x="574427" y="97135"/>
                      </a:cubicBezTo>
                      <a:cubicBezTo>
                        <a:pt x="575924" y="52775"/>
                        <a:pt x="541166" y="15650"/>
                        <a:pt x="496783" y="14136"/>
                      </a:cubicBezTo>
                      <a:lnTo>
                        <a:pt x="83046" y="203"/>
                      </a:lnTo>
                      <a:cubicBezTo>
                        <a:pt x="39069" y="-3055"/>
                        <a:pt x="1561" y="33378"/>
                        <a:pt x="47" y="77732"/>
                      </a:cubicBezTo>
                      <a:cubicBezTo>
                        <a:pt x="-1451" y="122092"/>
                        <a:pt x="33308" y="159331"/>
                        <a:pt x="77691" y="160823"/>
                      </a:cubicBezTo>
                      <a:lnTo>
                        <a:pt x="491428" y="174756"/>
                      </a:lnTo>
                      <a:cubicBezTo>
                        <a:pt x="492365" y="174779"/>
                        <a:pt x="493280" y="174779"/>
                        <a:pt x="494171" y="174779"/>
                      </a:cubicBezTo>
                      <a:close/>
                    </a:path>
                  </a:pathLst>
                </a:custGeom>
                <a:grp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grpSp>
          <p:sp>
            <p:nvSpPr>
              <p:cNvPr id="275" name="Oval 274">
                <a:extLst>
                  <a:ext uri="{FF2B5EF4-FFF2-40B4-BE49-F238E27FC236}">
                    <a16:creationId xmlns:a16="http://schemas.microsoft.com/office/drawing/2014/main" id="{EB3E1C6A-62E9-D0A4-72DF-FBBB557EC94C}"/>
                  </a:ext>
                </a:extLst>
              </p:cNvPr>
              <p:cNvSpPr/>
              <p:nvPr/>
            </p:nvSpPr>
            <p:spPr>
              <a:xfrm>
                <a:off x="1572682" y="2923848"/>
                <a:ext cx="72000" cy="72000"/>
              </a:xfrm>
              <a:prstGeom prst="ellipse">
                <a:avLst/>
              </a:prstGeom>
              <a:solidFill>
                <a:schemeClr val="accent3">
                  <a:lumMod val="7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6" name="Freeform: Shape 275">
                <a:extLst>
                  <a:ext uri="{FF2B5EF4-FFF2-40B4-BE49-F238E27FC236}">
                    <a16:creationId xmlns:a16="http://schemas.microsoft.com/office/drawing/2014/main" id="{4CB49BC1-A6B0-62AE-F017-F3F5D0106267}"/>
                  </a:ext>
                </a:extLst>
              </p:cNvPr>
              <p:cNvSpPr/>
              <p:nvPr/>
            </p:nvSpPr>
            <p:spPr>
              <a:xfrm rot="9645033">
                <a:off x="1603669" y="2862204"/>
                <a:ext cx="13020" cy="45647"/>
              </a:xfrm>
              <a:custGeom>
                <a:avLst/>
                <a:gdLst>
                  <a:gd name="connsiteX0" fmla="*/ 96933 w 174603"/>
                  <a:gd name="connsiteY0" fmla="*/ 106 h 574405"/>
                  <a:gd name="connsiteX1" fmla="*/ 13934 w 174603"/>
                  <a:gd name="connsiteY1" fmla="*/ 77750 h 574405"/>
                  <a:gd name="connsiteX2" fmla="*/ 46 w 174603"/>
                  <a:gd name="connsiteY2" fmla="*/ 491424 h 574405"/>
                  <a:gd name="connsiteX3" fmla="*/ 77690 w 174603"/>
                  <a:gd name="connsiteY3" fmla="*/ 574406 h 574405"/>
                  <a:gd name="connsiteX4" fmla="*/ 80416 w 174603"/>
                  <a:gd name="connsiteY4" fmla="*/ 574406 h 574405"/>
                  <a:gd name="connsiteX5" fmla="*/ 160672 w 174603"/>
                  <a:gd name="connsiteY5" fmla="*/ 496796 h 574405"/>
                  <a:gd name="connsiteX6" fmla="*/ 174560 w 174603"/>
                  <a:gd name="connsiteY6" fmla="*/ 83105 h 574405"/>
                  <a:gd name="connsiteX7" fmla="*/ 96938 w 174603"/>
                  <a:gd name="connsiteY7" fmla="*/ 106 h 57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603" h="574405">
                    <a:moveTo>
                      <a:pt x="96933" y="106"/>
                    </a:moveTo>
                    <a:cubicBezTo>
                      <a:pt x="52419" y="-2192"/>
                      <a:pt x="15380" y="33282"/>
                      <a:pt x="13934" y="77750"/>
                    </a:cubicBezTo>
                    <a:lnTo>
                      <a:pt x="46" y="491424"/>
                    </a:lnTo>
                    <a:cubicBezTo>
                      <a:pt x="-1445" y="535659"/>
                      <a:pt x="33313" y="572920"/>
                      <a:pt x="77690" y="574406"/>
                    </a:cubicBezTo>
                    <a:lnTo>
                      <a:pt x="80416" y="574406"/>
                    </a:lnTo>
                    <a:cubicBezTo>
                      <a:pt x="123547" y="574406"/>
                      <a:pt x="159220" y="540173"/>
                      <a:pt x="160672" y="496796"/>
                    </a:cubicBezTo>
                    <a:lnTo>
                      <a:pt x="174560" y="83105"/>
                    </a:lnTo>
                    <a:cubicBezTo>
                      <a:pt x="176005" y="38722"/>
                      <a:pt x="141292" y="1598"/>
                      <a:pt x="96938" y="106"/>
                    </a:cubicBezTo>
                    <a:close/>
                  </a:path>
                </a:pathLst>
              </a:custGeom>
              <a:solidFill>
                <a:schemeClr val="accent5">
                  <a:lumMod val="75000"/>
                </a:schemeClr>
              </a:solid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77" name="Freeform: Shape 276">
                <a:extLst>
                  <a:ext uri="{FF2B5EF4-FFF2-40B4-BE49-F238E27FC236}">
                    <a16:creationId xmlns:a16="http://schemas.microsoft.com/office/drawing/2014/main" id="{EC58A664-65F8-6F06-B1BC-99823E57F4AC}"/>
                  </a:ext>
                </a:extLst>
              </p:cNvPr>
              <p:cNvSpPr/>
              <p:nvPr/>
            </p:nvSpPr>
            <p:spPr>
              <a:xfrm rot="9645033">
                <a:off x="1635430" y="2872298"/>
                <a:ext cx="34544" cy="35242"/>
              </a:xfrm>
              <a:custGeom>
                <a:avLst/>
                <a:gdLst>
                  <a:gd name="connsiteX0" fmla="*/ 327971 w 463234"/>
                  <a:gd name="connsiteY0" fmla="*/ 21648 h 443472"/>
                  <a:gd name="connsiteX1" fmla="*/ 25476 w 463234"/>
                  <a:gd name="connsiteY1" fmla="*/ 304369 h 443472"/>
                  <a:gd name="connsiteX2" fmla="*/ 21682 w 463234"/>
                  <a:gd name="connsiteY2" fmla="*/ 418040 h 443472"/>
                  <a:gd name="connsiteX3" fmla="*/ 80392 w 463234"/>
                  <a:gd name="connsiteY3" fmla="*/ 443472 h 443472"/>
                  <a:gd name="connsiteX4" fmla="*/ 135267 w 463234"/>
                  <a:gd name="connsiteY4" fmla="*/ 421813 h 443472"/>
                  <a:gd name="connsiteX5" fmla="*/ 437762 w 463234"/>
                  <a:gd name="connsiteY5" fmla="*/ 139074 h 443472"/>
                  <a:gd name="connsiteX6" fmla="*/ 441557 w 463234"/>
                  <a:gd name="connsiteY6" fmla="*/ 25443 h 443472"/>
                  <a:gd name="connsiteX7" fmla="*/ 327971 w 463234"/>
                  <a:gd name="connsiteY7" fmla="*/ 21648 h 44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34" h="443472">
                    <a:moveTo>
                      <a:pt x="327971" y="21648"/>
                    </a:moveTo>
                    <a:lnTo>
                      <a:pt x="25476" y="304369"/>
                    </a:lnTo>
                    <a:cubicBezTo>
                      <a:pt x="-6939" y="334716"/>
                      <a:pt x="-8659" y="385579"/>
                      <a:pt x="21682" y="418040"/>
                    </a:cubicBezTo>
                    <a:cubicBezTo>
                      <a:pt x="37489" y="434843"/>
                      <a:pt x="58921" y="443472"/>
                      <a:pt x="80392" y="443472"/>
                    </a:cubicBezTo>
                    <a:cubicBezTo>
                      <a:pt x="100057" y="443472"/>
                      <a:pt x="119774" y="436329"/>
                      <a:pt x="135267" y="421813"/>
                    </a:cubicBezTo>
                    <a:lnTo>
                      <a:pt x="437762" y="139074"/>
                    </a:lnTo>
                    <a:cubicBezTo>
                      <a:pt x="470172" y="108756"/>
                      <a:pt x="471892" y="57858"/>
                      <a:pt x="441557" y="25443"/>
                    </a:cubicBezTo>
                    <a:cubicBezTo>
                      <a:pt x="411330" y="-6904"/>
                      <a:pt x="360433" y="-8670"/>
                      <a:pt x="327971" y="21648"/>
                    </a:cubicBezTo>
                    <a:close/>
                  </a:path>
                </a:pathLst>
              </a:custGeom>
              <a:solidFill>
                <a:schemeClr val="accent5">
                  <a:lumMod val="75000"/>
                </a:schemeClr>
              </a:solid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78" name="Freeform: Shape 277">
                <a:extLst>
                  <a:ext uri="{FF2B5EF4-FFF2-40B4-BE49-F238E27FC236}">
                    <a16:creationId xmlns:a16="http://schemas.microsoft.com/office/drawing/2014/main" id="{103383CF-951A-A92C-39E6-C6E83161855C}"/>
                  </a:ext>
                </a:extLst>
              </p:cNvPr>
              <p:cNvSpPr/>
              <p:nvPr/>
            </p:nvSpPr>
            <p:spPr>
              <a:xfrm rot="9645033">
                <a:off x="1659241" y="2917900"/>
                <a:ext cx="42839" cy="13889"/>
              </a:xfrm>
              <a:custGeom>
                <a:avLst/>
                <a:gdLst>
                  <a:gd name="connsiteX0" fmla="*/ 494171 w 574473"/>
                  <a:gd name="connsiteY0" fmla="*/ 174779 h 174778"/>
                  <a:gd name="connsiteX1" fmla="*/ 574427 w 574473"/>
                  <a:gd name="connsiteY1" fmla="*/ 97135 h 174778"/>
                  <a:gd name="connsiteX2" fmla="*/ 496783 w 574473"/>
                  <a:gd name="connsiteY2" fmla="*/ 14136 h 174778"/>
                  <a:gd name="connsiteX3" fmla="*/ 83046 w 574473"/>
                  <a:gd name="connsiteY3" fmla="*/ 203 h 174778"/>
                  <a:gd name="connsiteX4" fmla="*/ 47 w 574473"/>
                  <a:gd name="connsiteY4" fmla="*/ 77732 h 174778"/>
                  <a:gd name="connsiteX5" fmla="*/ 77691 w 574473"/>
                  <a:gd name="connsiteY5" fmla="*/ 160823 h 174778"/>
                  <a:gd name="connsiteX6" fmla="*/ 491428 w 574473"/>
                  <a:gd name="connsiteY6" fmla="*/ 174756 h 174778"/>
                  <a:gd name="connsiteX7" fmla="*/ 494171 w 574473"/>
                  <a:gd name="connsiteY7" fmla="*/ 174779 h 17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473" h="174778">
                    <a:moveTo>
                      <a:pt x="494171" y="174779"/>
                    </a:moveTo>
                    <a:cubicBezTo>
                      <a:pt x="537302" y="174779"/>
                      <a:pt x="572975" y="140535"/>
                      <a:pt x="574427" y="97135"/>
                    </a:cubicBezTo>
                    <a:cubicBezTo>
                      <a:pt x="575924" y="52775"/>
                      <a:pt x="541166" y="15650"/>
                      <a:pt x="496783" y="14136"/>
                    </a:cubicBezTo>
                    <a:lnTo>
                      <a:pt x="83046" y="203"/>
                    </a:lnTo>
                    <a:cubicBezTo>
                      <a:pt x="39069" y="-3055"/>
                      <a:pt x="1561" y="33378"/>
                      <a:pt x="47" y="77732"/>
                    </a:cubicBezTo>
                    <a:cubicBezTo>
                      <a:pt x="-1451" y="122092"/>
                      <a:pt x="33308" y="159331"/>
                      <a:pt x="77691" y="160823"/>
                    </a:cubicBezTo>
                    <a:lnTo>
                      <a:pt x="491428" y="174756"/>
                    </a:lnTo>
                    <a:cubicBezTo>
                      <a:pt x="492365" y="174779"/>
                      <a:pt x="493280" y="174779"/>
                      <a:pt x="494171" y="174779"/>
                    </a:cubicBezTo>
                    <a:close/>
                  </a:path>
                </a:pathLst>
              </a:custGeom>
              <a:solidFill>
                <a:schemeClr val="accent5">
                  <a:lumMod val="75000"/>
                </a:schemeClr>
              </a:solid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79" name="Oval 278">
                <a:extLst>
                  <a:ext uri="{FF2B5EF4-FFF2-40B4-BE49-F238E27FC236}">
                    <a16:creationId xmlns:a16="http://schemas.microsoft.com/office/drawing/2014/main" id="{CCB7F450-07AD-E558-F11D-7B023553B60D}"/>
                  </a:ext>
                </a:extLst>
              </p:cNvPr>
              <p:cNvSpPr/>
              <p:nvPr/>
            </p:nvSpPr>
            <p:spPr>
              <a:xfrm>
                <a:off x="2379871" y="2980852"/>
                <a:ext cx="72000" cy="72000"/>
              </a:xfrm>
              <a:prstGeom prst="ellipse">
                <a:avLst/>
              </a:prstGeom>
              <a:solidFill>
                <a:schemeClr val="accent3">
                  <a:lumMod val="7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0" name="Freeform: Shape 279">
                <a:extLst>
                  <a:ext uri="{FF2B5EF4-FFF2-40B4-BE49-F238E27FC236}">
                    <a16:creationId xmlns:a16="http://schemas.microsoft.com/office/drawing/2014/main" id="{FA8D5BC9-0E21-5F7D-D3AE-AE98D0F1D156}"/>
                  </a:ext>
                </a:extLst>
              </p:cNvPr>
              <p:cNvSpPr/>
              <p:nvPr/>
            </p:nvSpPr>
            <p:spPr>
              <a:xfrm rot="3954368">
                <a:off x="2331964" y="2995760"/>
                <a:ext cx="13020" cy="45647"/>
              </a:xfrm>
              <a:custGeom>
                <a:avLst/>
                <a:gdLst>
                  <a:gd name="connsiteX0" fmla="*/ 96933 w 174603"/>
                  <a:gd name="connsiteY0" fmla="*/ 106 h 574405"/>
                  <a:gd name="connsiteX1" fmla="*/ 13934 w 174603"/>
                  <a:gd name="connsiteY1" fmla="*/ 77750 h 574405"/>
                  <a:gd name="connsiteX2" fmla="*/ 46 w 174603"/>
                  <a:gd name="connsiteY2" fmla="*/ 491424 h 574405"/>
                  <a:gd name="connsiteX3" fmla="*/ 77690 w 174603"/>
                  <a:gd name="connsiteY3" fmla="*/ 574406 h 574405"/>
                  <a:gd name="connsiteX4" fmla="*/ 80416 w 174603"/>
                  <a:gd name="connsiteY4" fmla="*/ 574406 h 574405"/>
                  <a:gd name="connsiteX5" fmla="*/ 160672 w 174603"/>
                  <a:gd name="connsiteY5" fmla="*/ 496796 h 574405"/>
                  <a:gd name="connsiteX6" fmla="*/ 174560 w 174603"/>
                  <a:gd name="connsiteY6" fmla="*/ 83105 h 574405"/>
                  <a:gd name="connsiteX7" fmla="*/ 96938 w 174603"/>
                  <a:gd name="connsiteY7" fmla="*/ 106 h 57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603" h="574405">
                    <a:moveTo>
                      <a:pt x="96933" y="106"/>
                    </a:moveTo>
                    <a:cubicBezTo>
                      <a:pt x="52419" y="-2192"/>
                      <a:pt x="15380" y="33282"/>
                      <a:pt x="13934" y="77750"/>
                    </a:cubicBezTo>
                    <a:lnTo>
                      <a:pt x="46" y="491424"/>
                    </a:lnTo>
                    <a:cubicBezTo>
                      <a:pt x="-1445" y="535659"/>
                      <a:pt x="33313" y="572920"/>
                      <a:pt x="77690" y="574406"/>
                    </a:cubicBezTo>
                    <a:lnTo>
                      <a:pt x="80416" y="574406"/>
                    </a:lnTo>
                    <a:cubicBezTo>
                      <a:pt x="123547" y="574406"/>
                      <a:pt x="159220" y="540173"/>
                      <a:pt x="160672" y="496796"/>
                    </a:cubicBezTo>
                    <a:lnTo>
                      <a:pt x="174560" y="83105"/>
                    </a:lnTo>
                    <a:cubicBezTo>
                      <a:pt x="176005" y="38722"/>
                      <a:pt x="141292" y="1598"/>
                      <a:pt x="96938" y="106"/>
                    </a:cubicBezTo>
                    <a:close/>
                  </a:path>
                </a:pathLst>
              </a:custGeom>
              <a:solidFill>
                <a:schemeClr val="accent5">
                  <a:lumMod val="75000"/>
                </a:schemeClr>
              </a:solid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81" name="Freeform: Shape 280">
                <a:extLst>
                  <a:ext uri="{FF2B5EF4-FFF2-40B4-BE49-F238E27FC236}">
                    <a16:creationId xmlns:a16="http://schemas.microsoft.com/office/drawing/2014/main" id="{486673CB-F529-0656-98E4-1558631E1DE5}"/>
                  </a:ext>
                </a:extLst>
              </p:cNvPr>
              <p:cNvSpPr/>
              <p:nvPr/>
            </p:nvSpPr>
            <p:spPr>
              <a:xfrm rot="3954368">
                <a:off x="2322476" y="2958189"/>
                <a:ext cx="34544" cy="35242"/>
              </a:xfrm>
              <a:custGeom>
                <a:avLst/>
                <a:gdLst>
                  <a:gd name="connsiteX0" fmla="*/ 327971 w 463234"/>
                  <a:gd name="connsiteY0" fmla="*/ 21648 h 443472"/>
                  <a:gd name="connsiteX1" fmla="*/ 25476 w 463234"/>
                  <a:gd name="connsiteY1" fmla="*/ 304369 h 443472"/>
                  <a:gd name="connsiteX2" fmla="*/ 21682 w 463234"/>
                  <a:gd name="connsiteY2" fmla="*/ 418040 h 443472"/>
                  <a:gd name="connsiteX3" fmla="*/ 80392 w 463234"/>
                  <a:gd name="connsiteY3" fmla="*/ 443472 h 443472"/>
                  <a:gd name="connsiteX4" fmla="*/ 135267 w 463234"/>
                  <a:gd name="connsiteY4" fmla="*/ 421813 h 443472"/>
                  <a:gd name="connsiteX5" fmla="*/ 437762 w 463234"/>
                  <a:gd name="connsiteY5" fmla="*/ 139074 h 443472"/>
                  <a:gd name="connsiteX6" fmla="*/ 441557 w 463234"/>
                  <a:gd name="connsiteY6" fmla="*/ 25443 h 443472"/>
                  <a:gd name="connsiteX7" fmla="*/ 327971 w 463234"/>
                  <a:gd name="connsiteY7" fmla="*/ 21648 h 44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34" h="443472">
                    <a:moveTo>
                      <a:pt x="327971" y="21648"/>
                    </a:moveTo>
                    <a:lnTo>
                      <a:pt x="25476" y="304369"/>
                    </a:lnTo>
                    <a:cubicBezTo>
                      <a:pt x="-6939" y="334716"/>
                      <a:pt x="-8659" y="385579"/>
                      <a:pt x="21682" y="418040"/>
                    </a:cubicBezTo>
                    <a:cubicBezTo>
                      <a:pt x="37489" y="434843"/>
                      <a:pt x="58921" y="443472"/>
                      <a:pt x="80392" y="443472"/>
                    </a:cubicBezTo>
                    <a:cubicBezTo>
                      <a:pt x="100057" y="443472"/>
                      <a:pt x="119774" y="436329"/>
                      <a:pt x="135267" y="421813"/>
                    </a:cubicBezTo>
                    <a:lnTo>
                      <a:pt x="437762" y="139074"/>
                    </a:lnTo>
                    <a:cubicBezTo>
                      <a:pt x="470172" y="108756"/>
                      <a:pt x="471892" y="57858"/>
                      <a:pt x="441557" y="25443"/>
                    </a:cubicBezTo>
                    <a:cubicBezTo>
                      <a:pt x="411330" y="-6904"/>
                      <a:pt x="360433" y="-8670"/>
                      <a:pt x="327971" y="21648"/>
                    </a:cubicBezTo>
                    <a:close/>
                  </a:path>
                </a:pathLst>
              </a:custGeom>
              <a:solidFill>
                <a:schemeClr val="accent5">
                  <a:lumMod val="75000"/>
                </a:schemeClr>
              </a:solid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282" name="Freeform: Shape 281">
                <a:extLst>
                  <a:ext uri="{FF2B5EF4-FFF2-40B4-BE49-F238E27FC236}">
                    <a16:creationId xmlns:a16="http://schemas.microsoft.com/office/drawing/2014/main" id="{57C4DEB7-43A3-651F-368B-8E75E66D83C2}"/>
                  </a:ext>
                </a:extLst>
              </p:cNvPr>
              <p:cNvSpPr/>
              <p:nvPr/>
            </p:nvSpPr>
            <p:spPr>
              <a:xfrm rot="3954368">
                <a:off x="2350774" y="2938074"/>
                <a:ext cx="42839" cy="13889"/>
              </a:xfrm>
              <a:custGeom>
                <a:avLst/>
                <a:gdLst>
                  <a:gd name="connsiteX0" fmla="*/ 494171 w 574473"/>
                  <a:gd name="connsiteY0" fmla="*/ 174779 h 174778"/>
                  <a:gd name="connsiteX1" fmla="*/ 574427 w 574473"/>
                  <a:gd name="connsiteY1" fmla="*/ 97135 h 174778"/>
                  <a:gd name="connsiteX2" fmla="*/ 496783 w 574473"/>
                  <a:gd name="connsiteY2" fmla="*/ 14136 h 174778"/>
                  <a:gd name="connsiteX3" fmla="*/ 83046 w 574473"/>
                  <a:gd name="connsiteY3" fmla="*/ 203 h 174778"/>
                  <a:gd name="connsiteX4" fmla="*/ 47 w 574473"/>
                  <a:gd name="connsiteY4" fmla="*/ 77732 h 174778"/>
                  <a:gd name="connsiteX5" fmla="*/ 77691 w 574473"/>
                  <a:gd name="connsiteY5" fmla="*/ 160823 h 174778"/>
                  <a:gd name="connsiteX6" fmla="*/ 491428 w 574473"/>
                  <a:gd name="connsiteY6" fmla="*/ 174756 h 174778"/>
                  <a:gd name="connsiteX7" fmla="*/ 494171 w 574473"/>
                  <a:gd name="connsiteY7" fmla="*/ 174779 h 17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473" h="174778">
                    <a:moveTo>
                      <a:pt x="494171" y="174779"/>
                    </a:moveTo>
                    <a:cubicBezTo>
                      <a:pt x="537302" y="174779"/>
                      <a:pt x="572975" y="140535"/>
                      <a:pt x="574427" y="97135"/>
                    </a:cubicBezTo>
                    <a:cubicBezTo>
                      <a:pt x="575924" y="52775"/>
                      <a:pt x="541166" y="15650"/>
                      <a:pt x="496783" y="14136"/>
                    </a:cubicBezTo>
                    <a:lnTo>
                      <a:pt x="83046" y="203"/>
                    </a:lnTo>
                    <a:cubicBezTo>
                      <a:pt x="39069" y="-3055"/>
                      <a:pt x="1561" y="33378"/>
                      <a:pt x="47" y="77732"/>
                    </a:cubicBezTo>
                    <a:cubicBezTo>
                      <a:pt x="-1451" y="122092"/>
                      <a:pt x="33308" y="159331"/>
                      <a:pt x="77691" y="160823"/>
                    </a:cubicBezTo>
                    <a:lnTo>
                      <a:pt x="491428" y="174756"/>
                    </a:lnTo>
                    <a:cubicBezTo>
                      <a:pt x="492365" y="174779"/>
                      <a:pt x="493280" y="174779"/>
                      <a:pt x="494171" y="174779"/>
                    </a:cubicBezTo>
                    <a:close/>
                  </a:path>
                </a:pathLst>
              </a:custGeom>
              <a:solidFill>
                <a:schemeClr val="accent5">
                  <a:lumMod val="75000"/>
                </a:schemeClr>
              </a:solidFill>
              <a:ln w="571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grpSp>
        <p:sp>
          <p:nvSpPr>
            <p:cNvPr id="57" name="Freeform: Shape 56">
              <a:extLst>
                <a:ext uri="{FF2B5EF4-FFF2-40B4-BE49-F238E27FC236}">
                  <a16:creationId xmlns:a16="http://schemas.microsoft.com/office/drawing/2014/main" id="{68D00B34-D748-6FE3-E749-CB09BCABA0A0}"/>
                </a:ext>
              </a:extLst>
            </p:cNvPr>
            <p:cNvSpPr/>
            <p:nvPr/>
          </p:nvSpPr>
          <p:spPr>
            <a:xfrm rot="9635826">
              <a:off x="2569431" y="2553354"/>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606" name="!!Box 3">
            <a:extLst>
              <a:ext uri="{FF2B5EF4-FFF2-40B4-BE49-F238E27FC236}">
                <a16:creationId xmlns:a16="http://schemas.microsoft.com/office/drawing/2014/main" id="{F0DF9623-7427-3CFD-5B87-0CA4DE1F9D09}"/>
              </a:ext>
            </a:extLst>
          </p:cNvPr>
          <p:cNvSpPr/>
          <p:nvPr/>
        </p:nvSpPr>
        <p:spPr>
          <a:xfrm>
            <a:off x="7783182" y="1571667"/>
            <a:ext cx="4053882" cy="3524607"/>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07" name="!!Box2">
            <a:extLst>
              <a:ext uri="{FF2B5EF4-FFF2-40B4-BE49-F238E27FC236}">
                <a16:creationId xmlns:a16="http://schemas.microsoft.com/office/drawing/2014/main" id="{F7A60E0B-3EA7-5052-8F33-A361885ADF6E}"/>
              </a:ext>
            </a:extLst>
          </p:cNvPr>
          <p:cNvSpPr/>
          <p:nvPr/>
        </p:nvSpPr>
        <p:spPr>
          <a:xfrm>
            <a:off x="4087645" y="1571669"/>
            <a:ext cx="3419603" cy="3524606"/>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08" name="Rectangle 2607">
            <a:extLst>
              <a:ext uri="{FF2B5EF4-FFF2-40B4-BE49-F238E27FC236}">
                <a16:creationId xmlns:a16="http://schemas.microsoft.com/office/drawing/2014/main" id="{DDD8C6EE-5C09-97EF-EF2A-13DB8E30D4AC}"/>
              </a:ext>
            </a:extLst>
          </p:cNvPr>
          <p:cNvSpPr/>
          <p:nvPr/>
        </p:nvSpPr>
        <p:spPr>
          <a:xfrm>
            <a:off x="7602446" y="1098471"/>
            <a:ext cx="4411075" cy="430887"/>
          </a:xfrm>
          <a:prstGeom prst="rect">
            <a:avLst/>
          </a:prstGeom>
          <a:noFill/>
        </p:spPr>
        <p:txBody>
          <a:bodyPr wrap="square" lIns="108000" tIns="0" rIns="108000" bIns="0" anchor="ctr" anchorCtr="0">
            <a:no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mmune-mediated activity </a:t>
            </a:r>
            <a:b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ia amivantamab</a:t>
            </a:r>
            <a:r>
              <a:rPr kumimoji="0" lang="en-GB" sz="14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2</a:t>
            </a:r>
          </a:p>
        </p:txBody>
      </p:sp>
      <p:grpSp>
        <p:nvGrpSpPr>
          <p:cNvPr id="2609" name="Group 2608">
            <a:extLst>
              <a:ext uri="{FF2B5EF4-FFF2-40B4-BE49-F238E27FC236}">
                <a16:creationId xmlns:a16="http://schemas.microsoft.com/office/drawing/2014/main" id="{A6A6D25D-3B79-5F77-1EDD-D624777FCD34}"/>
              </a:ext>
            </a:extLst>
          </p:cNvPr>
          <p:cNvGrpSpPr/>
          <p:nvPr/>
        </p:nvGrpSpPr>
        <p:grpSpPr>
          <a:xfrm>
            <a:off x="7971792" y="2576780"/>
            <a:ext cx="1133904" cy="1363534"/>
            <a:chOff x="7901841" y="2373855"/>
            <a:chExt cx="1133904" cy="1363534"/>
          </a:xfrm>
        </p:grpSpPr>
        <p:grpSp>
          <p:nvGrpSpPr>
            <p:cNvPr id="2610" name="Group 2609">
              <a:extLst>
                <a:ext uri="{FF2B5EF4-FFF2-40B4-BE49-F238E27FC236}">
                  <a16:creationId xmlns:a16="http://schemas.microsoft.com/office/drawing/2014/main" id="{02D64FB7-D5BA-CB1A-710C-7BFD75938AD6}"/>
                </a:ext>
              </a:extLst>
            </p:cNvPr>
            <p:cNvGrpSpPr/>
            <p:nvPr/>
          </p:nvGrpSpPr>
          <p:grpSpPr>
            <a:xfrm>
              <a:off x="7901841" y="2373855"/>
              <a:ext cx="1133904" cy="1081097"/>
              <a:chOff x="7545955" y="2504509"/>
              <a:chExt cx="1477099" cy="1408309"/>
            </a:xfrm>
          </p:grpSpPr>
          <p:sp>
            <p:nvSpPr>
              <p:cNvPr id="2612" name="Freeform: Shape 2611">
                <a:extLst>
                  <a:ext uri="{FF2B5EF4-FFF2-40B4-BE49-F238E27FC236}">
                    <a16:creationId xmlns:a16="http://schemas.microsoft.com/office/drawing/2014/main" id="{BE3F5A90-B259-40D4-D3AD-047F3E00BE7B}"/>
                  </a:ext>
                </a:extLst>
              </p:cNvPr>
              <p:cNvSpPr/>
              <p:nvPr/>
            </p:nvSpPr>
            <p:spPr>
              <a:xfrm>
                <a:off x="7545955" y="2504509"/>
                <a:ext cx="1477099" cy="1408309"/>
              </a:xfrm>
              <a:custGeom>
                <a:avLst/>
                <a:gdLst>
                  <a:gd name="connsiteX0" fmla="*/ 1449985 w 1477099"/>
                  <a:gd name="connsiteY0" fmla="*/ 526913 h 1408309"/>
                  <a:gd name="connsiteX1" fmla="*/ 1463163 w 1477099"/>
                  <a:gd name="connsiteY1" fmla="*/ 578388 h 1408309"/>
                  <a:gd name="connsiteX2" fmla="*/ 1463269 w 1477099"/>
                  <a:gd name="connsiteY2" fmla="*/ 681373 h 1408309"/>
                  <a:gd name="connsiteX3" fmla="*/ 1457510 w 1477099"/>
                  <a:gd name="connsiteY3" fmla="*/ 702641 h 1408309"/>
                  <a:gd name="connsiteX4" fmla="*/ 1462385 w 1477099"/>
                  <a:gd name="connsiteY4" fmla="*/ 771569 h 1408309"/>
                  <a:gd name="connsiteX5" fmla="*/ 1448748 w 1477099"/>
                  <a:gd name="connsiteY5" fmla="*/ 924686 h 1408309"/>
                  <a:gd name="connsiteX6" fmla="*/ 1420732 w 1477099"/>
                  <a:gd name="connsiteY6" fmla="*/ 983156 h 1408309"/>
                  <a:gd name="connsiteX7" fmla="*/ 1403173 w 1477099"/>
                  <a:gd name="connsiteY7" fmla="*/ 1075896 h 1408309"/>
                  <a:gd name="connsiteX8" fmla="*/ 1400064 w 1477099"/>
                  <a:gd name="connsiteY8" fmla="*/ 1154786 h 1408309"/>
                  <a:gd name="connsiteX9" fmla="*/ 1353395 w 1477099"/>
                  <a:gd name="connsiteY9" fmla="*/ 1203647 h 1408309"/>
                  <a:gd name="connsiteX10" fmla="*/ 1288636 w 1477099"/>
                  <a:gd name="connsiteY10" fmla="*/ 1217284 h 1408309"/>
                  <a:gd name="connsiteX11" fmla="*/ 1269629 w 1477099"/>
                  <a:gd name="connsiteY11" fmla="*/ 1227247 h 1408309"/>
                  <a:gd name="connsiteX12" fmla="*/ 1238150 w 1477099"/>
                  <a:gd name="connsiteY12" fmla="*/ 1255404 h 1408309"/>
                  <a:gd name="connsiteX13" fmla="*/ 1215328 w 1477099"/>
                  <a:gd name="connsiteY13" fmla="*/ 1279040 h 1408309"/>
                  <a:gd name="connsiteX14" fmla="*/ 1156540 w 1477099"/>
                  <a:gd name="connsiteY14" fmla="*/ 1301827 h 1408309"/>
                  <a:gd name="connsiteX15" fmla="*/ 1104181 w 1477099"/>
                  <a:gd name="connsiteY15" fmla="*/ 1313910 h 1408309"/>
                  <a:gd name="connsiteX16" fmla="*/ 986641 w 1477099"/>
                  <a:gd name="connsiteY16" fmla="*/ 1380082 h 1408309"/>
                  <a:gd name="connsiteX17" fmla="*/ 876484 w 1477099"/>
                  <a:gd name="connsiteY17" fmla="*/ 1404282 h 1408309"/>
                  <a:gd name="connsiteX18" fmla="*/ 763889 w 1477099"/>
                  <a:gd name="connsiteY18" fmla="*/ 1383897 h 1408309"/>
                  <a:gd name="connsiteX19" fmla="*/ 753184 w 1477099"/>
                  <a:gd name="connsiteY19" fmla="*/ 1382413 h 1408309"/>
                  <a:gd name="connsiteX20" fmla="*/ 686165 w 1477099"/>
                  <a:gd name="connsiteY20" fmla="*/ 1400431 h 1408309"/>
                  <a:gd name="connsiteX21" fmla="*/ 540325 w 1477099"/>
                  <a:gd name="connsiteY21" fmla="*/ 1385028 h 1408309"/>
                  <a:gd name="connsiteX22" fmla="*/ 483940 w 1477099"/>
                  <a:gd name="connsiteY22" fmla="*/ 1345247 h 1408309"/>
                  <a:gd name="connsiteX23" fmla="*/ 472811 w 1477099"/>
                  <a:gd name="connsiteY23" fmla="*/ 1340124 h 1408309"/>
                  <a:gd name="connsiteX24" fmla="*/ 415683 w 1477099"/>
                  <a:gd name="connsiteY24" fmla="*/ 1311684 h 1408309"/>
                  <a:gd name="connsiteX25" fmla="*/ 400668 w 1477099"/>
                  <a:gd name="connsiteY25" fmla="*/ 1302145 h 1408309"/>
                  <a:gd name="connsiteX26" fmla="*/ 368059 w 1477099"/>
                  <a:gd name="connsiteY26" fmla="*/ 1283350 h 1408309"/>
                  <a:gd name="connsiteX27" fmla="*/ 324710 w 1477099"/>
                  <a:gd name="connsiteY27" fmla="*/ 1257913 h 1408309"/>
                  <a:gd name="connsiteX28" fmla="*/ 203177 w 1477099"/>
                  <a:gd name="connsiteY28" fmla="*/ 1193013 h 1408309"/>
                  <a:gd name="connsiteX29" fmla="*/ 168978 w 1477099"/>
                  <a:gd name="connsiteY29" fmla="*/ 1144294 h 1408309"/>
                  <a:gd name="connsiteX30" fmla="*/ 158132 w 1477099"/>
                  <a:gd name="connsiteY30" fmla="*/ 1134613 h 1408309"/>
                  <a:gd name="connsiteX31" fmla="*/ 97931 w 1477099"/>
                  <a:gd name="connsiteY31" fmla="*/ 1047915 h 1408309"/>
                  <a:gd name="connsiteX32" fmla="*/ 98284 w 1477099"/>
                  <a:gd name="connsiteY32" fmla="*/ 1042616 h 1408309"/>
                  <a:gd name="connsiteX33" fmla="*/ 81467 w 1477099"/>
                  <a:gd name="connsiteY33" fmla="*/ 999655 h 1408309"/>
                  <a:gd name="connsiteX34" fmla="*/ 54087 w 1477099"/>
                  <a:gd name="connsiteY34" fmla="*/ 906810 h 1408309"/>
                  <a:gd name="connsiteX35" fmla="*/ 37271 w 1477099"/>
                  <a:gd name="connsiteY35" fmla="*/ 868089 h 1408309"/>
                  <a:gd name="connsiteX36" fmla="*/ 2966 w 1477099"/>
                  <a:gd name="connsiteY36" fmla="*/ 794392 h 1408309"/>
                  <a:gd name="connsiteX37" fmla="*/ 139 w 1477099"/>
                  <a:gd name="connsiteY37" fmla="*/ 717303 h 1408309"/>
                  <a:gd name="connsiteX38" fmla="*/ 14836 w 1477099"/>
                  <a:gd name="connsiteY38" fmla="*/ 654770 h 1408309"/>
                  <a:gd name="connsiteX39" fmla="*/ 36705 w 1477099"/>
                  <a:gd name="connsiteY39" fmla="*/ 584465 h 1408309"/>
                  <a:gd name="connsiteX40" fmla="*/ 51049 w 1477099"/>
                  <a:gd name="connsiteY40" fmla="*/ 542246 h 1408309"/>
                  <a:gd name="connsiteX41" fmla="*/ 54017 w 1477099"/>
                  <a:gd name="connsiteY41" fmla="*/ 510202 h 1408309"/>
                  <a:gd name="connsiteX42" fmla="*/ 40379 w 1477099"/>
                  <a:gd name="connsiteY42" fmla="*/ 453746 h 1408309"/>
                  <a:gd name="connsiteX43" fmla="*/ 88180 w 1477099"/>
                  <a:gd name="connsiteY43" fmla="*/ 366907 h 1408309"/>
                  <a:gd name="connsiteX44" fmla="*/ 142411 w 1477099"/>
                  <a:gd name="connsiteY44" fmla="*/ 346027 h 1408309"/>
                  <a:gd name="connsiteX45" fmla="*/ 154564 w 1477099"/>
                  <a:gd name="connsiteY45" fmla="*/ 334086 h 1408309"/>
                  <a:gd name="connsiteX46" fmla="*/ 211091 w 1477099"/>
                  <a:gd name="connsiteY46" fmla="*/ 260813 h 1408309"/>
                  <a:gd name="connsiteX47" fmla="*/ 218298 w 1477099"/>
                  <a:gd name="connsiteY47" fmla="*/ 248730 h 1408309"/>
                  <a:gd name="connsiteX48" fmla="*/ 255253 w 1477099"/>
                  <a:gd name="connsiteY48" fmla="*/ 191920 h 1408309"/>
                  <a:gd name="connsiteX49" fmla="*/ 301534 w 1477099"/>
                  <a:gd name="connsiteY49" fmla="*/ 148077 h 1408309"/>
                  <a:gd name="connsiteX50" fmla="*/ 407946 w 1477099"/>
                  <a:gd name="connsiteY50" fmla="*/ 115326 h 1408309"/>
                  <a:gd name="connsiteX51" fmla="*/ 424763 w 1477099"/>
                  <a:gd name="connsiteY51" fmla="*/ 105646 h 1408309"/>
                  <a:gd name="connsiteX52" fmla="*/ 495139 w 1477099"/>
                  <a:gd name="connsiteY52" fmla="*/ 31384 h 1408309"/>
                  <a:gd name="connsiteX53" fmla="*/ 623526 w 1477099"/>
                  <a:gd name="connsiteY53" fmla="*/ 4428 h 1408309"/>
                  <a:gd name="connsiteX54" fmla="*/ 701957 w 1477099"/>
                  <a:gd name="connsiteY54" fmla="*/ 17782 h 1408309"/>
                  <a:gd name="connsiteX55" fmla="*/ 727783 w 1477099"/>
                  <a:gd name="connsiteY55" fmla="*/ 14355 h 1408309"/>
                  <a:gd name="connsiteX56" fmla="*/ 777067 w 1477099"/>
                  <a:gd name="connsiteY56" fmla="*/ 21209 h 1408309"/>
                  <a:gd name="connsiteX57" fmla="*/ 799749 w 1477099"/>
                  <a:gd name="connsiteY57" fmla="*/ 22340 h 1408309"/>
                  <a:gd name="connsiteX58" fmla="*/ 860621 w 1477099"/>
                  <a:gd name="connsiteY58" fmla="*/ 3827 h 1408309"/>
                  <a:gd name="connsiteX59" fmla="*/ 1161380 w 1477099"/>
                  <a:gd name="connsiteY59" fmla="*/ 132214 h 1408309"/>
                  <a:gd name="connsiteX60" fmla="*/ 1173180 w 1477099"/>
                  <a:gd name="connsiteY60" fmla="*/ 138962 h 1408309"/>
                  <a:gd name="connsiteX61" fmla="*/ 1291250 w 1477099"/>
                  <a:gd name="connsiteY61" fmla="*/ 205204 h 1408309"/>
                  <a:gd name="connsiteX62" fmla="*/ 1318737 w 1477099"/>
                  <a:gd name="connsiteY62" fmla="*/ 292256 h 1408309"/>
                  <a:gd name="connsiteX63" fmla="*/ 1328629 w 1477099"/>
                  <a:gd name="connsiteY63" fmla="*/ 315502 h 1408309"/>
                  <a:gd name="connsiteX64" fmla="*/ 1403597 w 1477099"/>
                  <a:gd name="connsiteY64" fmla="*/ 398138 h 1408309"/>
                  <a:gd name="connsiteX65" fmla="*/ 1449914 w 1477099"/>
                  <a:gd name="connsiteY65" fmla="*/ 527055 h 1408309"/>
                  <a:gd name="connsiteX66" fmla="*/ 1302697 w 1477099"/>
                  <a:gd name="connsiteY66" fmla="*/ 327903 h 1408309"/>
                  <a:gd name="connsiteX67" fmla="*/ 1302132 w 1477099"/>
                  <a:gd name="connsiteY67" fmla="*/ 326985 h 1408309"/>
                  <a:gd name="connsiteX68" fmla="*/ 1301425 w 1477099"/>
                  <a:gd name="connsiteY68" fmla="*/ 326843 h 1408309"/>
                  <a:gd name="connsiteX69" fmla="*/ 1302803 w 1477099"/>
                  <a:gd name="connsiteY69" fmla="*/ 327762 h 1408309"/>
                  <a:gd name="connsiteX70" fmla="*/ 1303015 w 1477099"/>
                  <a:gd name="connsiteY70" fmla="*/ 328786 h 1408309"/>
                  <a:gd name="connsiteX71" fmla="*/ 1303651 w 1477099"/>
                  <a:gd name="connsiteY71" fmla="*/ 329140 h 1408309"/>
                  <a:gd name="connsiteX72" fmla="*/ 1302662 w 1477099"/>
                  <a:gd name="connsiteY72" fmla="*/ 327903 h 1408309"/>
                  <a:gd name="connsiteX73" fmla="*/ 375867 w 1477099"/>
                  <a:gd name="connsiteY73" fmla="*/ 1249292 h 1408309"/>
                  <a:gd name="connsiteX74" fmla="*/ 376326 w 1477099"/>
                  <a:gd name="connsiteY74" fmla="*/ 1250246 h 1408309"/>
                  <a:gd name="connsiteX75" fmla="*/ 377033 w 1477099"/>
                  <a:gd name="connsiteY75" fmla="*/ 1250423 h 1408309"/>
                  <a:gd name="connsiteX76" fmla="*/ 375761 w 1477099"/>
                  <a:gd name="connsiteY76" fmla="*/ 1249398 h 1408309"/>
                  <a:gd name="connsiteX77" fmla="*/ 368130 w 1477099"/>
                  <a:gd name="connsiteY77" fmla="*/ 1233995 h 1408309"/>
                  <a:gd name="connsiteX78" fmla="*/ 312451 w 1477099"/>
                  <a:gd name="connsiteY78" fmla="*/ 1224633 h 1408309"/>
                  <a:gd name="connsiteX79" fmla="*/ 375867 w 1477099"/>
                  <a:gd name="connsiteY79" fmla="*/ 1249292 h 1408309"/>
                  <a:gd name="connsiteX80" fmla="*/ 434443 w 1477099"/>
                  <a:gd name="connsiteY80" fmla="*/ 1281301 h 1408309"/>
                  <a:gd name="connsiteX81" fmla="*/ 433524 w 1477099"/>
                  <a:gd name="connsiteY81" fmla="*/ 1280559 h 1408309"/>
                  <a:gd name="connsiteX82" fmla="*/ 434443 w 1477099"/>
                  <a:gd name="connsiteY82" fmla="*/ 1281336 h 1408309"/>
                  <a:gd name="connsiteX83" fmla="*/ 480442 w 1477099"/>
                  <a:gd name="connsiteY83" fmla="*/ 1311119 h 1408309"/>
                  <a:gd name="connsiteX84" fmla="*/ 447939 w 1477099"/>
                  <a:gd name="connsiteY84" fmla="*/ 1289603 h 1408309"/>
                  <a:gd name="connsiteX85" fmla="*/ 434478 w 1477099"/>
                  <a:gd name="connsiteY85" fmla="*/ 1281336 h 1408309"/>
                  <a:gd name="connsiteX86" fmla="*/ 740784 w 1477099"/>
                  <a:gd name="connsiteY86" fmla="*/ 1355916 h 1408309"/>
                  <a:gd name="connsiteX87" fmla="*/ 697187 w 1477099"/>
                  <a:gd name="connsiteY87" fmla="*/ 1366586 h 1408309"/>
                  <a:gd name="connsiteX88" fmla="*/ 599290 w 1477099"/>
                  <a:gd name="connsiteY88" fmla="*/ 1366127 h 1408309"/>
                  <a:gd name="connsiteX89" fmla="*/ 514252 w 1477099"/>
                  <a:gd name="connsiteY89" fmla="*/ 1327865 h 1408309"/>
                  <a:gd name="connsiteX90" fmla="*/ 503229 w 1477099"/>
                  <a:gd name="connsiteY90" fmla="*/ 1319457 h 1408309"/>
                  <a:gd name="connsiteX91" fmla="*/ 503371 w 1477099"/>
                  <a:gd name="connsiteY91" fmla="*/ 1324509 h 1408309"/>
                  <a:gd name="connsiteX92" fmla="*/ 542657 w 1477099"/>
                  <a:gd name="connsiteY92" fmla="*/ 1358036 h 1408309"/>
                  <a:gd name="connsiteX93" fmla="*/ 697541 w 1477099"/>
                  <a:gd name="connsiteY93" fmla="*/ 1373228 h 1408309"/>
                  <a:gd name="connsiteX94" fmla="*/ 740643 w 1477099"/>
                  <a:gd name="connsiteY94" fmla="*/ 1355810 h 1408309"/>
                  <a:gd name="connsiteX95" fmla="*/ 745447 w 1477099"/>
                  <a:gd name="connsiteY95" fmla="*/ 1355174 h 1408309"/>
                  <a:gd name="connsiteX96" fmla="*/ 744776 w 1477099"/>
                  <a:gd name="connsiteY96" fmla="*/ 1353973 h 1408309"/>
                  <a:gd name="connsiteX97" fmla="*/ 740713 w 1477099"/>
                  <a:gd name="connsiteY97" fmla="*/ 1355952 h 1408309"/>
                  <a:gd name="connsiteX98" fmla="*/ 804624 w 1477099"/>
                  <a:gd name="connsiteY98" fmla="*/ 1260033 h 1408309"/>
                  <a:gd name="connsiteX99" fmla="*/ 826493 w 1477099"/>
                  <a:gd name="connsiteY99" fmla="*/ 1270455 h 1408309"/>
                  <a:gd name="connsiteX100" fmla="*/ 866026 w 1477099"/>
                  <a:gd name="connsiteY100" fmla="*/ 1273528 h 1408309"/>
                  <a:gd name="connsiteX101" fmla="*/ 914004 w 1477099"/>
                  <a:gd name="connsiteY101" fmla="*/ 1240389 h 1408309"/>
                  <a:gd name="connsiteX102" fmla="*/ 963252 w 1477099"/>
                  <a:gd name="connsiteY102" fmla="*/ 1221170 h 1408309"/>
                  <a:gd name="connsiteX103" fmla="*/ 988902 w 1477099"/>
                  <a:gd name="connsiteY103" fmla="*/ 1224279 h 1408309"/>
                  <a:gd name="connsiteX104" fmla="*/ 1064400 w 1477099"/>
                  <a:gd name="connsiteY104" fmla="*/ 1205095 h 1408309"/>
                  <a:gd name="connsiteX105" fmla="*/ 1081005 w 1477099"/>
                  <a:gd name="connsiteY105" fmla="*/ 1200962 h 1408309"/>
                  <a:gd name="connsiteX106" fmla="*/ 1168763 w 1477099"/>
                  <a:gd name="connsiteY106" fmla="*/ 1127971 h 1408309"/>
                  <a:gd name="connsiteX107" fmla="*/ 1177136 w 1477099"/>
                  <a:gd name="connsiteY107" fmla="*/ 1064379 h 1408309"/>
                  <a:gd name="connsiteX108" fmla="*/ 1176253 w 1477099"/>
                  <a:gd name="connsiteY108" fmla="*/ 1031098 h 1408309"/>
                  <a:gd name="connsiteX109" fmla="*/ 1174451 w 1477099"/>
                  <a:gd name="connsiteY109" fmla="*/ 1008028 h 1408309"/>
                  <a:gd name="connsiteX110" fmla="*/ 1164700 w 1477099"/>
                  <a:gd name="connsiteY110" fmla="*/ 992271 h 1408309"/>
                  <a:gd name="connsiteX111" fmla="*/ 1159684 w 1477099"/>
                  <a:gd name="connsiteY111" fmla="*/ 936628 h 1408309"/>
                  <a:gd name="connsiteX112" fmla="*/ 1187806 w 1477099"/>
                  <a:gd name="connsiteY112" fmla="*/ 869643 h 1408309"/>
                  <a:gd name="connsiteX113" fmla="*/ 1207944 w 1477099"/>
                  <a:gd name="connsiteY113" fmla="*/ 845266 h 1408309"/>
                  <a:gd name="connsiteX114" fmla="*/ 1226244 w 1477099"/>
                  <a:gd name="connsiteY114" fmla="*/ 834597 h 1408309"/>
                  <a:gd name="connsiteX115" fmla="*/ 1281676 w 1477099"/>
                  <a:gd name="connsiteY115" fmla="*/ 795770 h 1408309"/>
                  <a:gd name="connsiteX116" fmla="*/ 1292381 w 1477099"/>
                  <a:gd name="connsiteY116" fmla="*/ 792555 h 1408309"/>
                  <a:gd name="connsiteX117" fmla="*/ 1290508 w 1477099"/>
                  <a:gd name="connsiteY117" fmla="*/ 804284 h 1408309"/>
                  <a:gd name="connsiteX118" fmla="*/ 1278073 w 1477099"/>
                  <a:gd name="connsiteY118" fmla="*/ 824669 h 1408309"/>
                  <a:gd name="connsiteX119" fmla="*/ 1280404 w 1477099"/>
                  <a:gd name="connsiteY119" fmla="*/ 844418 h 1408309"/>
                  <a:gd name="connsiteX120" fmla="*/ 1296938 w 1477099"/>
                  <a:gd name="connsiteY120" fmla="*/ 842157 h 1408309"/>
                  <a:gd name="connsiteX121" fmla="*/ 1306795 w 1477099"/>
                  <a:gd name="connsiteY121" fmla="*/ 833466 h 1408309"/>
                  <a:gd name="connsiteX122" fmla="*/ 1339334 w 1477099"/>
                  <a:gd name="connsiteY122" fmla="*/ 789905 h 1408309"/>
                  <a:gd name="connsiteX123" fmla="*/ 1353677 w 1477099"/>
                  <a:gd name="connsiteY123" fmla="*/ 757649 h 1408309"/>
                  <a:gd name="connsiteX124" fmla="*/ 1347494 w 1477099"/>
                  <a:gd name="connsiteY124" fmla="*/ 742882 h 1408309"/>
                  <a:gd name="connsiteX125" fmla="*/ 1330077 w 1477099"/>
                  <a:gd name="connsiteY125" fmla="*/ 743624 h 1408309"/>
                  <a:gd name="connsiteX126" fmla="*/ 1315804 w 1477099"/>
                  <a:gd name="connsiteY126" fmla="*/ 755424 h 1408309"/>
                  <a:gd name="connsiteX127" fmla="*/ 1293794 w 1477099"/>
                  <a:gd name="connsiteY127" fmla="*/ 760723 h 1408309"/>
                  <a:gd name="connsiteX128" fmla="*/ 1284220 w 1477099"/>
                  <a:gd name="connsiteY128" fmla="*/ 741716 h 1408309"/>
                  <a:gd name="connsiteX129" fmla="*/ 1298175 w 1477099"/>
                  <a:gd name="connsiteY129" fmla="*/ 709849 h 1408309"/>
                  <a:gd name="connsiteX130" fmla="*/ 1312624 w 1477099"/>
                  <a:gd name="connsiteY130" fmla="*/ 683387 h 1408309"/>
                  <a:gd name="connsiteX131" fmla="*/ 1316440 w 1477099"/>
                  <a:gd name="connsiteY131" fmla="*/ 653216 h 1408309"/>
                  <a:gd name="connsiteX132" fmla="*/ 1326403 w 1477099"/>
                  <a:gd name="connsiteY132" fmla="*/ 548005 h 1408309"/>
                  <a:gd name="connsiteX133" fmla="*/ 1327958 w 1477099"/>
                  <a:gd name="connsiteY133" fmla="*/ 498085 h 1408309"/>
                  <a:gd name="connsiteX134" fmla="*/ 1330713 w 1477099"/>
                  <a:gd name="connsiteY134" fmla="*/ 458622 h 1408309"/>
                  <a:gd name="connsiteX135" fmla="*/ 1332056 w 1477099"/>
                  <a:gd name="connsiteY135" fmla="*/ 446928 h 1408309"/>
                  <a:gd name="connsiteX136" fmla="*/ 1301178 w 1477099"/>
                  <a:gd name="connsiteY136" fmla="*/ 400293 h 1408309"/>
                  <a:gd name="connsiteX137" fmla="*/ 1292240 w 1477099"/>
                  <a:gd name="connsiteY137" fmla="*/ 405698 h 1408309"/>
                  <a:gd name="connsiteX138" fmla="*/ 1286481 w 1477099"/>
                  <a:gd name="connsiteY138" fmla="*/ 435340 h 1408309"/>
                  <a:gd name="connsiteX139" fmla="*/ 1285916 w 1477099"/>
                  <a:gd name="connsiteY139" fmla="*/ 442794 h 1408309"/>
                  <a:gd name="connsiteX140" fmla="*/ 1289731 w 1477099"/>
                  <a:gd name="connsiteY140" fmla="*/ 503349 h 1408309"/>
                  <a:gd name="connsiteX141" fmla="*/ 1288495 w 1477099"/>
                  <a:gd name="connsiteY141" fmla="*/ 575986 h 1408309"/>
                  <a:gd name="connsiteX142" fmla="*/ 1280051 w 1477099"/>
                  <a:gd name="connsiteY142" fmla="*/ 646291 h 1408309"/>
                  <a:gd name="connsiteX143" fmla="*/ 1253342 w 1477099"/>
                  <a:gd name="connsiteY143" fmla="*/ 731505 h 1408309"/>
                  <a:gd name="connsiteX144" fmla="*/ 1234653 w 1477099"/>
                  <a:gd name="connsiteY144" fmla="*/ 777822 h 1408309"/>
                  <a:gd name="connsiteX145" fmla="*/ 1220803 w 1477099"/>
                  <a:gd name="connsiteY145" fmla="*/ 781426 h 1408309"/>
                  <a:gd name="connsiteX146" fmla="*/ 1219108 w 1477099"/>
                  <a:gd name="connsiteY146" fmla="*/ 768036 h 1408309"/>
                  <a:gd name="connsiteX147" fmla="*/ 1224760 w 1477099"/>
                  <a:gd name="connsiteY147" fmla="*/ 759133 h 1408309"/>
                  <a:gd name="connsiteX148" fmla="*/ 1236843 w 1477099"/>
                  <a:gd name="connsiteY148" fmla="*/ 738677 h 1408309"/>
                  <a:gd name="connsiteX149" fmla="*/ 1247336 w 1477099"/>
                  <a:gd name="connsiteY149" fmla="*/ 673742 h 1408309"/>
                  <a:gd name="connsiteX150" fmla="*/ 1259348 w 1477099"/>
                  <a:gd name="connsiteY150" fmla="*/ 574502 h 1408309"/>
                  <a:gd name="connsiteX151" fmla="*/ 1258782 w 1477099"/>
                  <a:gd name="connsiteY151" fmla="*/ 557473 h 1408309"/>
                  <a:gd name="connsiteX152" fmla="*/ 1236737 w 1477099"/>
                  <a:gd name="connsiteY152" fmla="*/ 595311 h 1408309"/>
                  <a:gd name="connsiteX153" fmla="*/ 1229071 w 1477099"/>
                  <a:gd name="connsiteY153" fmla="*/ 601458 h 1408309"/>
                  <a:gd name="connsiteX154" fmla="*/ 1223524 w 1477099"/>
                  <a:gd name="connsiteY154" fmla="*/ 593262 h 1408309"/>
                  <a:gd name="connsiteX155" fmla="*/ 1224301 w 1477099"/>
                  <a:gd name="connsiteY155" fmla="*/ 573442 h 1408309"/>
                  <a:gd name="connsiteX156" fmla="*/ 1236772 w 1477099"/>
                  <a:gd name="connsiteY156" fmla="*/ 503455 h 1408309"/>
                  <a:gd name="connsiteX157" fmla="*/ 1238998 w 1477099"/>
                  <a:gd name="connsiteY157" fmla="*/ 494516 h 1408309"/>
                  <a:gd name="connsiteX158" fmla="*/ 1246276 w 1477099"/>
                  <a:gd name="connsiteY158" fmla="*/ 490913 h 1408309"/>
                  <a:gd name="connsiteX159" fmla="*/ 1257758 w 1477099"/>
                  <a:gd name="connsiteY159" fmla="*/ 483070 h 1408309"/>
                  <a:gd name="connsiteX160" fmla="*/ 1241012 w 1477099"/>
                  <a:gd name="connsiteY160" fmla="*/ 418841 h 1408309"/>
                  <a:gd name="connsiteX161" fmla="*/ 1169788 w 1477099"/>
                  <a:gd name="connsiteY161" fmla="*/ 329881 h 1408309"/>
                  <a:gd name="connsiteX162" fmla="*/ 1152936 w 1477099"/>
                  <a:gd name="connsiteY162" fmla="*/ 331401 h 1408309"/>
                  <a:gd name="connsiteX163" fmla="*/ 1154561 w 1477099"/>
                  <a:gd name="connsiteY163" fmla="*/ 358534 h 1408309"/>
                  <a:gd name="connsiteX164" fmla="*/ 1161132 w 1477099"/>
                  <a:gd name="connsiteY164" fmla="*/ 411351 h 1408309"/>
                  <a:gd name="connsiteX165" fmla="*/ 1138133 w 1477099"/>
                  <a:gd name="connsiteY165" fmla="*/ 375598 h 1408309"/>
                  <a:gd name="connsiteX166" fmla="*/ 1109340 w 1477099"/>
                  <a:gd name="connsiteY166" fmla="*/ 299004 h 1408309"/>
                  <a:gd name="connsiteX167" fmla="*/ 1109163 w 1477099"/>
                  <a:gd name="connsiteY167" fmla="*/ 273955 h 1408309"/>
                  <a:gd name="connsiteX168" fmla="*/ 1123895 w 1477099"/>
                  <a:gd name="connsiteY168" fmla="*/ 255195 h 1408309"/>
                  <a:gd name="connsiteX169" fmla="*/ 1145340 w 1477099"/>
                  <a:gd name="connsiteY169" fmla="*/ 208455 h 1408309"/>
                  <a:gd name="connsiteX170" fmla="*/ 1036102 w 1477099"/>
                  <a:gd name="connsiteY170" fmla="*/ 95365 h 1408309"/>
                  <a:gd name="connsiteX171" fmla="*/ 972756 w 1477099"/>
                  <a:gd name="connsiteY171" fmla="*/ 58057 h 1408309"/>
                  <a:gd name="connsiteX172" fmla="*/ 934071 w 1477099"/>
                  <a:gd name="connsiteY172" fmla="*/ 31137 h 1408309"/>
                  <a:gd name="connsiteX173" fmla="*/ 849068 w 1477099"/>
                  <a:gd name="connsiteY173" fmla="*/ 33892 h 1408309"/>
                  <a:gd name="connsiteX174" fmla="*/ 769577 w 1477099"/>
                  <a:gd name="connsiteY174" fmla="*/ 62156 h 1408309"/>
                  <a:gd name="connsiteX175" fmla="*/ 743045 w 1477099"/>
                  <a:gd name="connsiteY175" fmla="*/ 62862 h 1408309"/>
                  <a:gd name="connsiteX176" fmla="*/ 666769 w 1477099"/>
                  <a:gd name="connsiteY176" fmla="*/ 78019 h 1408309"/>
                  <a:gd name="connsiteX177" fmla="*/ 613704 w 1477099"/>
                  <a:gd name="connsiteY177" fmla="*/ 128257 h 1408309"/>
                  <a:gd name="connsiteX178" fmla="*/ 567635 w 1477099"/>
                  <a:gd name="connsiteY178" fmla="*/ 153729 h 1408309"/>
                  <a:gd name="connsiteX179" fmla="*/ 448858 w 1477099"/>
                  <a:gd name="connsiteY179" fmla="*/ 179661 h 1408309"/>
                  <a:gd name="connsiteX180" fmla="*/ 444053 w 1477099"/>
                  <a:gd name="connsiteY180" fmla="*/ 173267 h 1408309"/>
                  <a:gd name="connsiteX181" fmla="*/ 445430 w 1477099"/>
                  <a:gd name="connsiteY181" fmla="*/ 147547 h 1408309"/>
                  <a:gd name="connsiteX182" fmla="*/ 435856 w 1477099"/>
                  <a:gd name="connsiteY182" fmla="*/ 145144 h 1408309"/>
                  <a:gd name="connsiteX183" fmla="*/ 361665 w 1477099"/>
                  <a:gd name="connsiteY183" fmla="*/ 191567 h 1408309"/>
                  <a:gd name="connsiteX184" fmla="*/ 276380 w 1477099"/>
                  <a:gd name="connsiteY184" fmla="*/ 234245 h 1408309"/>
                  <a:gd name="connsiteX185" fmla="*/ 267512 w 1477099"/>
                  <a:gd name="connsiteY185" fmla="*/ 241841 h 1408309"/>
                  <a:gd name="connsiteX186" fmla="*/ 230345 w 1477099"/>
                  <a:gd name="connsiteY186" fmla="*/ 281092 h 1408309"/>
                  <a:gd name="connsiteX187" fmla="*/ 178729 w 1477099"/>
                  <a:gd name="connsiteY187" fmla="*/ 348783 h 1408309"/>
                  <a:gd name="connsiteX188" fmla="*/ 170604 w 1477099"/>
                  <a:gd name="connsiteY188" fmla="*/ 379449 h 1408309"/>
                  <a:gd name="connsiteX189" fmla="*/ 170074 w 1477099"/>
                  <a:gd name="connsiteY189" fmla="*/ 390507 h 1408309"/>
                  <a:gd name="connsiteX190" fmla="*/ 181238 w 1477099"/>
                  <a:gd name="connsiteY190" fmla="*/ 389553 h 1408309"/>
                  <a:gd name="connsiteX191" fmla="*/ 188445 w 1477099"/>
                  <a:gd name="connsiteY191" fmla="*/ 388281 h 1408309"/>
                  <a:gd name="connsiteX192" fmla="*/ 188657 w 1477099"/>
                  <a:gd name="connsiteY192" fmla="*/ 396866 h 1408309"/>
                  <a:gd name="connsiteX193" fmla="*/ 182086 w 1477099"/>
                  <a:gd name="connsiteY193" fmla="*/ 409938 h 1408309"/>
                  <a:gd name="connsiteX194" fmla="*/ 142481 w 1477099"/>
                  <a:gd name="connsiteY194" fmla="*/ 511722 h 1408309"/>
                  <a:gd name="connsiteX195" fmla="*/ 159863 w 1477099"/>
                  <a:gd name="connsiteY195" fmla="*/ 546344 h 1408309"/>
                  <a:gd name="connsiteX196" fmla="*/ 191307 w 1477099"/>
                  <a:gd name="connsiteY196" fmla="*/ 544295 h 1408309"/>
                  <a:gd name="connsiteX197" fmla="*/ 215048 w 1477099"/>
                  <a:gd name="connsiteY197" fmla="*/ 525924 h 1408309"/>
                  <a:gd name="connsiteX198" fmla="*/ 213953 w 1477099"/>
                  <a:gd name="connsiteY198" fmla="*/ 539773 h 1408309"/>
                  <a:gd name="connsiteX199" fmla="*/ 188092 w 1477099"/>
                  <a:gd name="connsiteY199" fmla="*/ 570722 h 1408309"/>
                  <a:gd name="connsiteX200" fmla="*/ 151561 w 1477099"/>
                  <a:gd name="connsiteY200" fmla="*/ 603048 h 1408309"/>
                  <a:gd name="connsiteX201" fmla="*/ 139655 w 1477099"/>
                  <a:gd name="connsiteY201" fmla="*/ 701864 h 1408309"/>
                  <a:gd name="connsiteX202" fmla="*/ 163326 w 1477099"/>
                  <a:gd name="connsiteY202" fmla="*/ 753162 h 1408309"/>
                  <a:gd name="connsiteX203" fmla="*/ 209183 w 1477099"/>
                  <a:gd name="connsiteY203" fmla="*/ 764962 h 1408309"/>
                  <a:gd name="connsiteX204" fmla="*/ 215578 w 1477099"/>
                  <a:gd name="connsiteY204" fmla="*/ 780825 h 1408309"/>
                  <a:gd name="connsiteX205" fmla="*/ 209784 w 1477099"/>
                  <a:gd name="connsiteY205" fmla="*/ 830922 h 1408309"/>
                  <a:gd name="connsiteX206" fmla="*/ 218828 w 1477099"/>
                  <a:gd name="connsiteY206" fmla="*/ 892395 h 1408309"/>
                  <a:gd name="connsiteX207" fmla="*/ 211020 w 1477099"/>
                  <a:gd name="connsiteY207" fmla="*/ 907481 h 1408309"/>
                  <a:gd name="connsiteX208" fmla="*/ 195864 w 1477099"/>
                  <a:gd name="connsiteY208" fmla="*/ 898755 h 1408309"/>
                  <a:gd name="connsiteX209" fmla="*/ 181344 w 1477099"/>
                  <a:gd name="connsiteY209" fmla="*/ 873424 h 1408309"/>
                  <a:gd name="connsiteX210" fmla="*/ 156472 w 1477099"/>
                  <a:gd name="connsiteY210" fmla="*/ 833219 h 1408309"/>
                  <a:gd name="connsiteX211" fmla="*/ 136228 w 1477099"/>
                  <a:gd name="connsiteY211" fmla="*/ 798914 h 1408309"/>
                  <a:gd name="connsiteX212" fmla="*/ 121178 w 1477099"/>
                  <a:gd name="connsiteY212" fmla="*/ 754434 h 1408309"/>
                  <a:gd name="connsiteX213" fmla="*/ 101287 w 1477099"/>
                  <a:gd name="connsiteY213" fmla="*/ 717021 h 1408309"/>
                  <a:gd name="connsiteX214" fmla="*/ 99203 w 1477099"/>
                  <a:gd name="connsiteY214" fmla="*/ 714653 h 1408309"/>
                  <a:gd name="connsiteX215" fmla="*/ 78959 w 1477099"/>
                  <a:gd name="connsiteY215" fmla="*/ 834455 h 1408309"/>
                  <a:gd name="connsiteX216" fmla="*/ 80372 w 1477099"/>
                  <a:gd name="connsiteY216" fmla="*/ 856960 h 1408309"/>
                  <a:gd name="connsiteX217" fmla="*/ 80902 w 1477099"/>
                  <a:gd name="connsiteY217" fmla="*/ 939101 h 1408309"/>
                  <a:gd name="connsiteX218" fmla="*/ 130187 w 1477099"/>
                  <a:gd name="connsiteY218" fmla="*/ 998631 h 1408309"/>
                  <a:gd name="connsiteX219" fmla="*/ 189611 w 1477099"/>
                  <a:gd name="connsiteY219" fmla="*/ 967894 h 1408309"/>
                  <a:gd name="connsiteX220" fmla="*/ 202753 w 1477099"/>
                  <a:gd name="connsiteY220" fmla="*/ 956765 h 1408309"/>
                  <a:gd name="connsiteX221" fmla="*/ 213493 w 1477099"/>
                  <a:gd name="connsiteY221" fmla="*/ 971356 h 1408309"/>
                  <a:gd name="connsiteX222" fmla="*/ 254617 w 1477099"/>
                  <a:gd name="connsiteY222" fmla="*/ 1012197 h 1408309"/>
                  <a:gd name="connsiteX223" fmla="*/ 295140 w 1477099"/>
                  <a:gd name="connsiteY223" fmla="*/ 1018026 h 1408309"/>
                  <a:gd name="connsiteX224" fmla="*/ 342869 w 1477099"/>
                  <a:gd name="connsiteY224" fmla="*/ 1031734 h 1408309"/>
                  <a:gd name="connsiteX225" fmla="*/ 347992 w 1477099"/>
                  <a:gd name="connsiteY225" fmla="*/ 1040319 h 1408309"/>
                  <a:gd name="connsiteX226" fmla="*/ 340043 w 1477099"/>
                  <a:gd name="connsiteY226" fmla="*/ 1046643 h 1408309"/>
                  <a:gd name="connsiteX227" fmla="*/ 297966 w 1477099"/>
                  <a:gd name="connsiteY227" fmla="*/ 1047915 h 1408309"/>
                  <a:gd name="connsiteX228" fmla="*/ 280972 w 1477099"/>
                  <a:gd name="connsiteY228" fmla="*/ 1048056 h 1408309"/>
                  <a:gd name="connsiteX229" fmla="*/ 182015 w 1477099"/>
                  <a:gd name="connsiteY229" fmla="*/ 1054098 h 1408309"/>
                  <a:gd name="connsiteX230" fmla="*/ 168060 w 1477099"/>
                  <a:gd name="connsiteY230" fmla="*/ 1057313 h 1408309"/>
                  <a:gd name="connsiteX231" fmla="*/ 169614 w 1477099"/>
                  <a:gd name="connsiteY231" fmla="*/ 1071727 h 1408309"/>
                  <a:gd name="connsiteX232" fmla="*/ 194168 w 1477099"/>
                  <a:gd name="connsiteY232" fmla="*/ 1128643 h 1408309"/>
                  <a:gd name="connsiteX233" fmla="*/ 204590 w 1477099"/>
                  <a:gd name="connsiteY233" fmla="*/ 1152843 h 1408309"/>
                  <a:gd name="connsiteX234" fmla="*/ 350995 w 1477099"/>
                  <a:gd name="connsiteY234" fmla="*/ 1194921 h 1408309"/>
                  <a:gd name="connsiteX235" fmla="*/ 389716 w 1477099"/>
                  <a:gd name="connsiteY235" fmla="*/ 1119598 h 1408309"/>
                  <a:gd name="connsiteX236" fmla="*/ 384134 w 1477099"/>
                  <a:gd name="connsiteY236" fmla="*/ 1091088 h 1408309"/>
                  <a:gd name="connsiteX237" fmla="*/ 388939 w 1477099"/>
                  <a:gd name="connsiteY237" fmla="*/ 1082467 h 1408309"/>
                  <a:gd name="connsiteX238" fmla="*/ 398760 w 1477099"/>
                  <a:gd name="connsiteY238" fmla="*/ 1084834 h 1408309"/>
                  <a:gd name="connsiteX239" fmla="*/ 407593 w 1477099"/>
                  <a:gd name="connsiteY239" fmla="*/ 1104901 h 1408309"/>
                  <a:gd name="connsiteX240" fmla="*/ 450518 w 1477099"/>
                  <a:gd name="connsiteY240" fmla="*/ 1151819 h 1408309"/>
                  <a:gd name="connsiteX241" fmla="*/ 480124 w 1477099"/>
                  <a:gd name="connsiteY241" fmla="*/ 1158284 h 1408309"/>
                  <a:gd name="connsiteX242" fmla="*/ 489521 w 1477099"/>
                  <a:gd name="connsiteY242" fmla="*/ 1169448 h 1408309"/>
                  <a:gd name="connsiteX243" fmla="*/ 479523 w 1477099"/>
                  <a:gd name="connsiteY243" fmla="*/ 1180612 h 1408309"/>
                  <a:gd name="connsiteX244" fmla="*/ 457124 w 1477099"/>
                  <a:gd name="connsiteY244" fmla="*/ 1182414 h 1408309"/>
                  <a:gd name="connsiteX245" fmla="*/ 443381 w 1477099"/>
                  <a:gd name="connsiteY245" fmla="*/ 1188809 h 1408309"/>
                  <a:gd name="connsiteX246" fmla="*/ 460410 w 1477099"/>
                  <a:gd name="connsiteY246" fmla="*/ 1236221 h 1408309"/>
                  <a:gd name="connsiteX247" fmla="*/ 509164 w 1477099"/>
                  <a:gd name="connsiteY247" fmla="*/ 1237634 h 1408309"/>
                  <a:gd name="connsiteX248" fmla="*/ 565762 w 1477099"/>
                  <a:gd name="connsiteY248" fmla="*/ 1241131 h 1408309"/>
                  <a:gd name="connsiteX249" fmla="*/ 622360 w 1477099"/>
                  <a:gd name="connsiteY249" fmla="*/ 1255157 h 1408309"/>
                  <a:gd name="connsiteX250" fmla="*/ 648963 w 1477099"/>
                  <a:gd name="connsiteY250" fmla="*/ 1255157 h 1408309"/>
                  <a:gd name="connsiteX251" fmla="*/ 676237 w 1477099"/>
                  <a:gd name="connsiteY251" fmla="*/ 1263777 h 1408309"/>
                  <a:gd name="connsiteX252" fmla="*/ 671538 w 1477099"/>
                  <a:gd name="connsiteY252" fmla="*/ 1290274 h 1408309"/>
                  <a:gd name="connsiteX253" fmla="*/ 658467 w 1477099"/>
                  <a:gd name="connsiteY253" fmla="*/ 1291758 h 1408309"/>
                  <a:gd name="connsiteX254" fmla="*/ 566045 w 1477099"/>
                  <a:gd name="connsiteY254" fmla="*/ 1269324 h 1408309"/>
                  <a:gd name="connsiteX255" fmla="*/ 554775 w 1477099"/>
                  <a:gd name="connsiteY255" fmla="*/ 1265579 h 1408309"/>
                  <a:gd name="connsiteX256" fmla="*/ 525381 w 1477099"/>
                  <a:gd name="connsiteY256" fmla="*/ 1257453 h 1408309"/>
                  <a:gd name="connsiteX257" fmla="*/ 508175 w 1477099"/>
                  <a:gd name="connsiteY257" fmla="*/ 1264307 h 1408309"/>
                  <a:gd name="connsiteX258" fmla="*/ 515100 w 1477099"/>
                  <a:gd name="connsiteY258" fmla="*/ 1278192 h 1408309"/>
                  <a:gd name="connsiteX259" fmla="*/ 587066 w 1477099"/>
                  <a:gd name="connsiteY259" fmla="*/ 1300237 h 1408309"/>
                  <a:gd name="connsiteX260" fmla="*/ 599325 w 1477099"/>
                  <a:gd name="connsiteY260" fmla="*/ 1302710 h 1408309"/>
                  <a:gd name="connsiteX261" fmla="*/ 593849 w 1477099"/>
                  <a:gd name="connsiteY261" fmla="*/ 1312638 h 1408309"/>
                  <a:gd name="connsiteX262" fmla="*/ 611337 w 1477099"/>
                  <a:gd name="connsiteY262" fmla="*/ 1319315 h 1408309"/>
                  <a:gd name="connsiteX263" fmla="*/ 677262 w 1477099"/>
                  <a:gd name="connsiteY263" fmla="*/ 1332069 h 1408309"/>
                  <a:gd name="connsiteX264" fmla="*/ 709800 w 1477099"/>
                  <a:gd name="connsiteY264" fmla="*/ 1300838 h 1408309"/>
                  <a:gd name="connsiteX265" fmla="*/ 715382 w 1477099"/>
                  <a:gd name="connsiteY265" fmla="*/ 1294302 h 1408309"/>
                  <a:gd name="connsiteX266" fmla="*/ 737074 w 1477099"/>
                  <a:gd name="connsiteY266" fmla="*/ 1295963 h 1408309"/>
                  <a:gd name="connsiteX267" fmla="*/ 783250 w 1477099"/>
                  <a:gd name="connsiteY267" fmla="*/ 1293207 h 1408309"/>
                  <a:gd name="connsiteX268" fmla="*/ 804765 w 1477099"/>
                  <a:gd name="connsiteY268" fmla="*/ 1259997 h 1408309"/>
                  <a:gd name="connsiteX269" fmla="*/ 804695 w 1477099"/>
                  <a:gd name="connsiteY269" fmla="*/ 1260068 h 1408309"/>
                  <a:gd name="connsiteX270" fmla="*/ 493196 w 1477099"/>
                  <a:gd name="connsiteY270" fmla="*/ 138997 h 1408309"/>
                  <a:gd name="connsiteX271" fmla="*/ 514323 w 1477099"/>
                  <a:gd name="connsiteY271" fmla="*/ 137831 h 1408309"/>
                  <a:gd name="connsiteX272" fmla="*/ 600456 w 1477099"/>
                  <a:gd name="connsiteY272" fmla="*/ 100912 h 1408309"/>
                  <a:gd name="connsiteX273" fmla="*/ 659809 w 1477099"/>
                  <a:gd name="connsiteY273" fmla="*/ 48589 h 1408309"/>
                  <a:gd name="connsiteX274" fmla="*/ 654580 w 1477099"/>
                  <a:gd name="connsiteY274" fmla="*/ 34669 h 1408309"/>
                  <a:gd name="connsiteX275" fmla="*/ 578092 w 1477099"/>
                  <a:gd name="connsiteY275" fmla="*/ 32408 h 1408309"/>
                  <a:gd name="connsiteX276" fmla="*/ 450730 w 1477099"/>
                  <a:gd name="connsiteY276" fmla="*/ 114478 h 1408309"/>
                  <a:gd name="connsiteX277" fmla="*/ 454263 w 1477099"/>
                  <a:gd name="connsiteY277" fmla="*/ 128363 h 1408309"/>
                  <a:gd name="connsiteX278" fmla="*/ 493231 w 1477099"/>
                  <a:gd name="connsiteY278" fmla="*/ 138962 h 1408309"/>
                  <a:gd name="connsiteX279" fmla="*/ 852283 w 1477099"/>
                  <a:gd name="connsiteY279" fmla="*/ 1361110 h 1408309"/>
                  <a:gd name="connsiteX280" fmla="*/ 904500 w 1477099"/>
                  <a:gd name="connsiteY280" fmla="*/ 1352348 h 1408309"/>
                  <a:gd name="connsiteX281" fmla="*/ 1026704 w 1477099"/>
                  <a:gd name="connsiteY281" fmla="*/ 1298082 h 1408309"/>
                  <a:gd name="connsiteX282" fmla="*/ 1045782 w 1477099"/>
                  <a:gd name="connsiteY282" fmla="*/ 1283915 h 1408309"/>
                  <a:gd name="connsiteX283" fmla="*/ 1050658 w 1477099"/>
                  <a:gd name="connsiteY283" fmla="*/ 1262435 h 1408309"/>
                  <a:gd name="connsiteX284" fmla="*/ 1029849 w 1477099"/>
                  <a:gd name="connsiteY284" fmla="*/ 1255404 h 1408309"/>
                  <a:gd name="connsiteX285" fmla="*/ 1012749 w 1477099"/>
                  <a:gd name="connsiteY285" fmla="*/ 1257171 h 1408309"/>
                  <a:gd name="connsiteX286" fmla="*/ 953467 w 1477099"/>
                  <a:gd name="connsiteY286" fmla="*/ 1283209 h 1408309"/>
                  <a:gd name="connsiteX287" fmla="*/ 910011 w 1477099"/>
                  <a:gd name="connsiteY287" fmla="*/ 1310660 h 1408309"/>
                  <a:gd name="connsiteX288" fmla="*/ 822041 w 1477099"/>
                  <a:gd name="connsiteY288" fmla="*/ 1320870 h 1408309"/>
                  <a:gd name="connsiteX289" fmla="*/ 802257 w 1477099"/>
                  <a:gd name="connsiteY289" fmla="*/ 1335531 h 1408309"/>
                  <a:gd name="connsiteX290" fmla="*/ 816389 w 1477099"/>
                  <a:gd name="connsiteY290" fmla="*/ 1355068 h 1408309"/>
                  <a:gd name="connsiteX291" fmla="*/ 852283 w 1477099"/>
                  <a:gd name="connsiteY291" fmla="*/ 1361110 h 1408309"/>
                  <a:gd name="connsiteX292" fmla="*/ 1432038 w 1477099"/>
                  <a:gd name="connsiteY292" fmla="*/ 740197 h 1408309"/>
                  <a:gd name="connsiteX293" fmla="*/ 1427975 w 1477099"/>
                  <a:gd name="connsiteY293" fmla="*/ 762030 h 1408309"/>
                  <a:gd name="connsiteX294" fmla="*/ 1428222 w 1477099"/>
                  <a:gd name="connsiteY294" fmla="*/ 796088 h 1408309"/>
                  <a:gd name="connsiteX295" fmla="*/ 1398192 w 1477099"/>
                  <a:gd name="connsiteY295" fmla="*/ 936486 h 1408309"/>
                  <a:gd name="connsiteX296" fmla="*/ 1372190 w 1477099"/>
                  <a:gd name="connsiteY296" fmla="*/ 1003118 h 1408309"/>
                  <a:gd name="connsiteX297" fmla="*/ 1307926 w 1477099"/>
                  <a:gd name="connsiteY297" fmla="*/ 1080383 h 1408309"/>
                  <a:gd name="connsiteX298" fmla="*/ 1281429 w 1477099"/>
                  <a:gd name="connsiteY298" fmla="*/ 1131999 h 1408309"/>
                  <a:gd name="connsiteX299" fmla="*/ 1273974 w 1477099"/>
                  <a:gd name="connsiteY299" fmla="*/ 1159839 h 1408309"/>
                  <a:gd name="connsiteX300" fmla="*/ 1192293 w 1477099"/>
                  <a:gd name="connsiteY300" fmla="*/ 1248974 h 1408309"/>
                  <a:gd name="connsiteX301" fmla="*/ 1169788 w 1477099"/>
                  <a:gd name="connsiteY301" fmla="*/ 1260174 h 1408309"/>
                  <a:gd name="connsiteX302" fmla="*/ 1147566 w 1477099"/>
                  <a:gd name="connsiteY302" fmla="*/ 1252543 h 1408309"/>
                  <a:gd name="connsiteX303" fmla="*/ 1134529 w 1477099"/>
                  <a:gd name="connsiteY303" fmla="*/ 1247279 h 1408309"/>
                  <a:gd name="connsiteX304" fmla="*/ 1096162 w 1477099"/>
                  <a:gd name="connsiteY304" fmla="*/ 1284728 h 1408309"/>
                  <a:gd name="connsiteX305" fmla="*/ 1125909 w 1477099"/>
                  <a:gd name="connsiteY305" fmla="*/ 1263106 h 1408309"/>
                  <a:gd name="connsiteX306" fmla="*/ 1140429 w 1477099"/>
                  <a:gd name="connsiteY306" fmla="*/ 1262965 h 1408309"/>
                  <a:gd name="connsiteX307" fmla="*/ 1191904 w 1477099"/>
                  <a:gd name="connsiteY307" fmla="*/ 1265579 h 1408309"/>
                  <a:gd name="connsiteX308" fmla="*/ 1205683 w 1477099"/>
                  <a:gd name="connsiteY308" fmla="*/ 1246219 h 1408309"/>
                  <a:gd name="connsiteX309" fmla="*/ 1259984 w 1477099"/>
                  <a:gd name="connsiteY309" fmla="*/ 1200079 h 1408309"/>
                  <a:gd name="connsiteX310" fmla="*/ 1280051 w 1477099"/>
                  <a:gd name="connsiteY310" fmla="*/ 1181778 h 1408309"/>
                  <a:gd name="connsiteX311" fmla="*/ 1305665 w 1477099"/>
                  <a:gd name="connsiteY311" fmla="*/ 1116489 h 1408309"/>
                  <a:gd name="connsiteX312" fmla="*/ 1324778 w 1477099"/>
                  <a:gd name="connsiteY312" fmla="*/ 1085576 h 1408309"/>
                  <a:gd name="connsiteX313" fmla="*/ 1340040 w 1477099"/>
                  <a:gd name="connsiteY313" fmla="*/ 1070809 h 1408309"/>
                  <a:gd name="connsiteX314" fmla="*/ 1373603 w 1477099"/>
                  <a:gd name="connsiteY314" fmla="*/ 1025198 h 1408309"/>
                  <a:gd name="connsiteX315" fmla="*/ 1399676 w 1477099"/>
                  <a:gd name="connsiteY315" fmla="*/ 965880 h 1408309"/>
                  <a:gd name="connsiteX316" fmla="*/ 1422605 w 1477099"/>
                  <a:gd name="connsiteY316" fmla="*/ 916773 h 1408309"/>
                  <a:gd name="connsiteX317" fmla="*/ 1432038 w 1477099"/>
                  <a:gd name="connsiteY317" fmla="*/ 740126 h 1408309"/>
                  <a:gd name="connsiteX318" fmla="*/ 34162 w 1477099"/>
                  <a:gd name="connsiteY318" fmla="*/ 800716 h 1408309"/>
                  <a:gd name="connsiteX319" fmla="*/ 45008 w 1477099"/>
                  <a:gd name="connsiteY319" fmla="*/ 751184 h 1408309"/>
                  <a:gd name="connsiteX320" fmla="*/ 66771 w 1477099"/>
                  <a:gd name="connsiteY320" fmla="*/ 698508 h 1408309"/>
                  <a:gd name="connsiteX321" fmla="*/ 64580 w 1477099"/>
                  <a:gd name="connsiteY321" fmla="*/ 649153 h 1408309"/>
                  <a:gd name="connsiteX322" fmla="*/ 67901 w 1477099"/>
                  <a:gd name="connsiteY322" fmla="*/ 632053 h 1408309"/>
                  <a:gd name="connsiteX323" fmla="*/ 90229 w 1477099"/>
                  <a:gd name="connsiteY323" fmla="*/ 609796 h 1408309"/>
                  <a:gd name="connsiteX324" fmla="*/ 120507 w 1477099"/>
                  <a:gd name="connsiteY324" fmla="*/ 525394 h 1408309"/>
                  <a:gd name="connsiteX325" fmla="*/ 120400 w 1477099"/>
                  <a:gd name="connsiteY325" fmla="*/ 480208 h 1408309"/>
                  <a:gd name="connsiteX326" fmla="*/ 84153 w 1477099"/>
                  <a:gd name="connsiteY326" fmla="*/ 538961 h 1408309"/>
                  <a:gd name="connsiteX327" fmla="*/ 62990 w 1477099"/>
                  <a:gd name="connsiteY327" fmla="*/ 588316 h 1408309"/>
                  <a:gd name="connsiteX328" fmla="*/ 36175 w 1477099"/>
                  <a:gd name="connsiteY328" fmla="*/ 672046 h 1408309"/>
                  <a:gd name="connsiteX329" fmla="*/ 27378 w 1477099"/>
                  <a:gd name="connsiteY329" fmla="*/ 710379 h 1408309"/>
                  <a:gd name="connsiteX330" fmla="*/ 30063 w 1477099"/>
                  <a:gd name="connsiteY330" fmla="*/ 792625 h 1408309"/>
                  <a:gd name="connsiteX331" fmla="*/ 34162 w 1477099"/>
                  <a:gd name="connsiteY331" fmla="*/ 800716 h 1408309"/>
                  <a:gd name="connsiteX332" fmla="*/ 1246841 w 1477099"/>
                  <a:gd name="connsiteY332" fmla="*/ 256644 h 1408309"/>
                  <a:gd name="connsiteX333" fmla="*/ 1230837 w 1477099"/>
                  <a:gd name="connsiteY333" fmla="*/ 243713 h 1408309"/>
                  <a:gd name="connsiteX334" fmla="*/ 1169364 w 1477099"/>
                  <a:gd name="connsiteY334" fmla="*/ 222657 h 1408309"/>
                  <a:gd name="connsiteX335" fmla="*/ 1151063 w 1477099"/>
                  <a:gd name="connsiteY335" fmla="*/ 237601 h 1408309"/>
                  <a:gd name="connsiteX336" fmla="*/ 1162863 w 1477099"/>
                  <a:gd name="connsiteY336" fmla="*/ 257951 h 1408309"/>
                  <a:gd name="connsiteX337" fmla="*/ 1214409 w 1477099"/>
                  <a:gd name="connsiteY337" fmla="*/ 299322 h 1408309"/>
                  <a:gd name="connsiteX338" fmla="*/ 1252883 w 1477099"/>
                  <a:gd name="connsiteY338" fmla="*/ 329493 h 1408309"/>
                  <a:gd name="connsiteX339" fmla="*/ 1276341 w 1477099"/>
                  <a:gd name="connsiteY339" fmla="*/ 318717 h 1408309"/>
                  <a:gd name="connsiteX340" fmla="*/ 1278602 w 1477099"/>
                  <a:gd name="connsiteY340" fmla="*/ 310592 h 1408309"/>
                  <a:gd name="connsiteX341" fmla="*/ 1290650 w 1477099"/>
                  <a:gd name="connsiteY341" fmla="*/ 316174 h 1408309"/>
                  <a:gd name="connsiteX342" fmla="*/ 1286657 w 1477099"/>
                  <a:gd name="connsiteY342" fmla="*/ 300099 h 1408309"/>
                  <a:gd name="connsiteX343" fmla="*/ 1244086 w 1477099"/>
                  <a:gd name="connsiteY343" fmla="*/ 270917 h 1408309"/>
                  <a:gd name="connsiteX344" fmla="*/ 1234370 w 1477099"/>
                  <a:gd name="connsiteY344" fmla="*/ 263957 h 1408309"/>
                  <a:gd name="connsiteX345" fmla="*/ 1246841 w 1477099"/>
                  <a:gd name="connsiteY345" fmla="*/ 256714 h 1408309"/>
                  <a:gd name="connsiteX346" fmla="*/ 1249738 w 1477099"/>
                  <a:gd name="connsiteY346" fmla="*/ 886884 h 1408309"/>
                  <a:gd name="connsiteX347" fmla="*/ 1249738 w 1477099"/>
                  <a:gd name="connsiteY347" fmla="*/ 882892 h 1408309"/>
                  <a:gd name="connsiteX348" fmla="*/ 1237832 w 1477099"/>
                  <a:gd name="connsiteY348" fmla="*/ 858161 h 1408309"/>
                  <a:gd name="connsiteX349" fmla="*/ 1215928 w 1477099"/>
                  <a:gd name="connsiteY349" fmla="*/ 873812 h 1408309"/>
                  <a:gd name="connsiteX350" fmla="*/ 1199429 w 1477099"/>
                  <a:gd name="connsiteY350" fmla="*/ 900980 h 1408309"/>
                  <a:gd name="connsiteX351" fmla="*/ 1178868 w 1477099"/>
                  <a:gd name="connsiteY351" fmla="*/ 930692 h 1408309"/>
                  <a:gd name="connsiteX352" fmla="*/ 1196356 w 1477099"/>
                  <a:gd name="connsiteY352" fmla="*/ 964679 h 1408309"/>
                  <a:gd name="connsiteX353" fmla="*/ 1228470 w 1477099"/>
                  <a:gd name="connsiteY353" fmla="*/ 963973 h 1408309"/>
                  <a:gd name="connsiteX354" fmla="*/ 1249738 w 1477099"/>
                  <a:gd name="connsiteY354" fmla="*/ 886919 h 1408309"/>
                  <a:gd name="connsiteX355" fmla="*/ 1290367 w 1477099"/>
                  <a:gd name="connsiteY355" fmla="*/ 1190363 h 1408309"/>
                  <a:gd name="connsiteX356" fmla="*/ 1342902 w 1477099"/>
                  <a:gd name="connsiteY356" fmla="*/ 1179411 h 1408309"/>
                  <a:gd name="connsiteX357" fmla="*/ 1374098 w 1477099"/>
                  <a:gd name="connsiteY357" fmla="*/ 1147862 h 1408309"/>
                  <a:gd name="connsiteX358" fmla="*/ 1371801 w 1477099"/>
                  <a:gd name="connsiteY358" fmla="*/ 1054698 h 1408309"/>
                  <a:gd name="connsiteX359" fmla="*/ 1354772 w 1477099"/>
                  <a:gd name="connsiteY359" fmla="*/ 1114228 h 1408309"/>
                  <a:gd name="connsiteX360" fmla="*/ 1302944 w 1477099"/>
                  <a:gd name="connsiteY360" fmla="*/ 1177221 h 1408309"/>
                  <a:gd name="connsiteX361" fmla="*/ 1290367 w 1477099"/>
                  <a:gd name="connsiteY361" fmla="*/ 1190398 h 1408309"/>
                  <a:gd name="connsiteX362" fmla="*/ 1291568 w 1477099"/>
                  <a:gd name="connsiteY362" fmla="*/ 286815 h 1408309"/>
                  <a:gd name="connsiteX363" fmla="*/ 1258252 w 1477099"/>
                  <a:gd name="connsiteY363" fmla="*/ 207925 h 1408309"/>
                  <a:gd name="connsiteX364" fmla="*/ 1184096 w 1477099"/>
                  <a:gd name="connsiteY364" fmla="*/ 168638 h 1408309"/>
                  <a:gd name="connsiteX365" fmla="*/ 1173003 w 1477099"/>
                  <a:gd name="connsiteY365" fmla="*/ 169204 h 1408309"/>
                  <a:gd name="connsiteX366" fmla="*/ 1177454 w 1477099"/>
                  <a:gd name="connsiteY366" fmla="*/ 184289 h 1408309"/>
                  <a:gd name="connsiteX367" fmla="*/ 1209039 w 1477099"/>
                  <a:gd name="connsiteY367" fmla="*/ 197326 h 1408309"/>
                  <a:gd name="connsiteX368" fmla="*/ 1258889 w 1477099"/>
                  <a:gd name="connsiteY368" fmla="*/ 252475 h 1408309"/>
                  <a:gd name="connsiteX369" fmla="*/ 1276341 w 1477099"/>
                  <a:gd name="connsiteY369" fmla="*/ 277099 h 1408309"/>
                  <a:gd name="connsiteX370" fmla="*/ 1291604 w 1477099"/>
                  <a:gd name="connsiteY370" fmla="*/ 286780 h 1408309"/>
                  <a:gd name="connsiteX371" fmla="*/ 1372720 w 1477099"/>
                  <a:gd name="connsiteY371" fmla="*/ 698261 h 1408309"/>
                  <a:gd name="connsiteX372" fmla="*/ 1408614 w 1477099"/>
                  <a:gd name="connsiteY372" fmla="*/ 667241 h 1408309"/>
                  <a:gd name="connsiteX373" fmla="*/ 1392257 w 1477099"/>
                  <a:gd name="connsiteY373" fmla="*/ 629651 h 1408309"/>
                  <a:gd name="connsiteX374" fmla="*/ 1385862 w 1477099"/>
                  <a:gd name="connsiteY374" fmla="*/ 628732 h 1408309"/>
                  <a:gd name="connsiteX375" fmla="*/ 1357069 w 1477099"/>
                  <a:gd name="connsiteY375" fmla="*/ 645302 h 1408309"/>
                  <a:gd name="connsiteX376" fmla="*/ 1355762 w 1477099"/>
                  <a:gd name="connsiteY376" fmla="*/ 681514 h 1408309"/>
                  <a:gd name="connsiteX377" fmla="*/ 1372720 w 1477099"/>
                  <a:gd name="connsiteY377" fmla="*/ 698225 h 1408309"/>
                  <a:gd name="connsiteX378" fmla="*/ 67548 w 1477099"/>
                  <a:gd name="connsiteY378" fmla="*/ 445373 h 1408309"/>
                  <a:gd name="connsiteX379" fmla="*/ 67583 w 1477099"/>
                  <a:gd name="connsiteY379" fmla="*/ 457632 h 1408309"/>
                  <a:gd name="connsiteX380" fmla="*/ 81397 w 1477099"/>
                  <a:gd name="connsiteY380" fmla="*/ 463391 h 1408309"/>
                  <a:gd name="connsiteX381" fmla="*/ 101358 w 1477099"/>
                  <a:gd name="connsiteY381" fmla="*/ 438979 h 1408309"/>
                  <a:gd name="connsiteX382" fmla="*/ 127219 w 1477099"/>
                  <a:gd name="connsiteY382" fmla="*/ 388387 h 1408309"/>
                  <a:gd name="connsiteX383" fmla="*/ 126548 w 1477099"/>
                  <a:gd name="connsiteY383" fmla="*/ 379731 h 1408309"/>
                  <a:gd name="connsiteX384" fmla="*/ 120365 w 1477099"/>
                  <a:gd name="connsiteY384" fmla="*/ 380085 h 1408309"/>
                  <a:gd name="connsiteX385" fmla="*/ 67548 w 1477099"/>
                  <a:gd name="connsiteY385" fmla="*/ 445373 h 1408309"/>
                  <a:gd name="connsiteX386" fmla="*/ 1342054 w 1477099"/>
                  <a:gd name="connsiteY386" fmla="*/ 364010 h 1408309"/>
                  <a:gd name="connsiteX387" fmla="*/ 1345693 w 1477099"/>
                  <a:gd name="connsiteY387" fmla="*/ 376304 h 1408309"/>
                  <a:gd name="connsiteX388" fmla="*/ 1387417 w 1477099"/>
                  <a:gd name="connsiteY388" fmla="*/ 445550 h 1408309"/>
                  <a:gd name="connsiteX389" fmla="*/ 1406777 w 1477099"/>
                  <a:gd name="connsiteY389" fmla="*/ 553764 h 1408309"/>
                  <a:gd name="connsiteX390" fmla="*/ 1406565 w 1477099"/>
                  <a:gd name="connsiteY390" fmla="*/ 579095 h 1408309"/>
                  <a:gd name="connsiteX391" fmla="*/ 1417234 w 1477099"/>
                  <a:gd name="connsiteY391" fmla="*/ 483988 h 1408309"/>
                  <a:gd name="connsiteX392" fmla="*/ 1342054 w 1477099"/>
                  <a:gd name="connsiteY392" fmla="*/ 364010 h 1408309"/>
                  <a:gd name="connsiteX393" fmla="*/ 366611 w 1477099"/>
                  <a:gd name="connsiteY393" fmla="*/ 147441 h 1408309"/>
                  <a:gd name="connsiteX394" fmla="*/ 277899 w 1477099"/>
                  <a:gd name="connsiteY394" fmla="*/ 211034 h 1408309"/>
                  <a:gd name="connsiteX395" fmla="*/ 311709 w 1477099"/>
                  <a:gd name="connsiteY395" fmla="*/ 196443 h 1408309"/>
                  <a:gd name="connsiteX396" fmla="*/ 352126 w 1477099"/>
                  <a:gd name="connsiteY396" fmla="*/ 165035 h 1408309"/>
                  <a:gd name="connsiteX397" fmla="*/ 366611 w 1477099"/>
                  <a:gd name="connsiteY397" fmla="*/ 147441 h 1408309"/>
                  <a:gd name="connsiteX398" fmla="*/ 1430624 w 1477099"/>
                  <a:gd name="connsiteY398" fmla="*/ 678512 h 1408309"/>
                  <a:gd name="connsiteX399" fmla="*/ 1442000 w 1477099"/>
                  <a:gd name="connsiteY399" fmla="*/ 592061 h 1408309"/>
                  <a:gd name="connsiteX400" fmla="*/ 1430872 w 1477099"/>
                  <a:gd name="connsiteY400" fmla="*/ 590365 h 1408309"/>
                  <a:gd name="connsiteX401" fmla="*/ 1407484 w 1477099"/>
                  <a:gd name="connsiteY401" fmla="*/ 591389 h 1408309"/>
                  <a:gd name="connsiteX402" fmla="*/ 1415433 w 1477099"/>
                  <a:gd name="connsiteY402" fmla="*/ 602977 h 1408309"/>
                  <a:gd name="connsiteX403" fmla="*/ 1429706 w 1477099"/>
                  <a:gd name="connsiteY403" fmla="*/ 611668 h 1408309"/>
                  <a:gd name="connsiteX404" fmla="*/ 1431437 w 1477099"/>
                  <a:gd name="connsiteY404" fmla="*/ 663179 h 1408309"/>
                  <a:gd name="connsiteX405" fmla="*/ 1430660 w 1477099"/>
                  <a:gd name="connsiteY405" fmla="*/ 678476 h 1408309"/>
                  <a:gd name="connsiteX406" fmla="*/ 766751 w 1477099"/>
                  <a:gd name="connsiteY406" fmla="*/ 1349592 h 1408309"/>
                  <a:gd name="connsiteX407" fmla="*/ 855533 w 1477099"/>
                  <a:gd name="connsiteY407" fmla="*/ 1380364 h 1408309"/>
                  <a:gd name="connsiteX408" fmla="*/ 787878 w 1477099"/>
                  <a:gd name="connsiteY408" fmla="*/ 1352984 h 1408309"/>
                  <a:gd name="connsiteX409" fmla="*/ 766786 w 1477099"/>
                  <a:gd name="connsiteY409" fmla="*/ 1349557 h 1408309"/>
                  <a:gd name="connsiteX410" fmla="*/ 1325308 w 1477099"/>
                  <a:gd name="connsiteY410" fmla="*/ 365882 h 1408309"/>
                  <a:gd name="connsiteX411" fmla="*/ 1306901 w 1477099"/>
                  <a:gd name="connsiteY411" fmla="*/ 334863 h 1408309"/>
                  <a:gd name="connsiteX412" fmla="*/ 1325308 w 1477099"/>
                  <a:gd name="connsiteY412" fmla="*/ 365882 h 140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Lst>
                <a:rect l="l" t="t" r="r" b="b"/>
                <a:pathLst>
                  <a:path w="1477099" h="1408309">
                    <a:moveTo>
                      <a:pt x="1449985" y="526913"/>
                    </a:moveTo>
                    <a:cubicBezTo>
                      <a:pt x="1445109" y="543730"/>
                      <a:pt x="1450974" y="559911"/>
                      <a:pt x="1463163" y="578388"/>
                    </a:cubicBezTo>
                    <a:cubicBezTo>
                      <a:pt x="1484466" y="610714"/>
                      <a:pt x="1478778" y="646998"/>
                      <a:pt x="1463269" y="681373"/>
                    </a:cubicBezTo>
                    <a:cubicBezTo>
                      <a:pt x="1460195" y="688192"/>
                      <a:pt x="1456733" y="694410"/>
                      <a:pt x="1457510" y="702641"/>
                    </a:cubicBezTo>
                    <a:cubicBezTo>
                      <a:pt x="1459665" y="725570"/>
                      <a:pt x="1461220" y="748570"/>
                      <a:pt x="1462385" y="771569"/>
                    </a:cubicBezTo>
                    <a:cubicBezTo>
                      <a:pt x="1465035" y="823221"/>
                      <a:pt x="1460372" y="874307"/>
                      <a:pt x="1448748" y="924686"/>
                    </a:cubicBezTo>
                    <a:cubicBezTo>
                      <a:pt x="1443802" y="946131"/>
                      <a:pt x="1432815" y="965209"/>
                      <a:pt x="1420732" y="983156"/>
                    </a:cubicBezTo>
                    <a:cubicBezTo>
                      <a:pt x="1401407" y="1011879"/>
                      <a:pt x="1398016" y="1042616"/>
                      <a:pt x="1403173" y="1075896"/>
                    </a:cubicBezTo>
                    <a:cubicBezTo>
                      <a:pt x="1407236" y="1102181"/>
                      <a:pt x="1408508" y="1128643"/>
                      <a:pt x="1400064" y="1154786"/>
                    </a:cubicBezTo>
                    <a:cubicBezTo>
                      <a:pt x="1392292" y="1178881"/>
                      <a:pt x="1377489" y="1195804"/>
                      <a:pt x="1353395" y="1203647"/>
                    </a:cubicBezTo>
                    <a:cubicBezTo>
                      <a:pt x="1332338" y="1210501"/>
                      <a:pt x="1310999" y="1216754"/>
                      <a:pt x="1288636" y="1217284"/>
                    </a:cubicBezTo>
                    <a:cubicBezTo>
                      <a:pt x="1280263" y="1217461"/>
                      <a:pt x="1274398" y="1220570"/>
                      <a:pt x="1269629" y="1227247"/>
                    </a:cubicBezTo>
                    <a:cubicBezTo>
                      <a:pt x="1261256" y="1238941"/>
                      <a:pt x="1250833" y="1248515"/>
                      <a:pt x="1238150" y="1255404"/>
                    </a:cubicBezTo>
                    <a:cubicBezTo>
                      <a:pt x="1228011" y="1260880"/>
                      <a:pt x="1221404" y="1269925"/>
                      <a:pt x="1215328" y="1279040"/>
                    </a:cubicBezTo>
                    <a:cubicBezTo>
                      <a:pt x="1200913" y="1300661"/>
                      <a:pt x="1180175" y="1308999"/>
                      <a:pt x="1156540" y="1301827"/>
                    </a:cubicBezTo>
                    <a:cubicBezTo>
                      <a:pt x="1135307" y="1295362"/>
                      <a:pt x="1120150" y="1301827"/>
                      <a:pt x="1104181" y="1313910"/>
                    </a:cubicBezTo>
                    <a:cubicBezTo>
                      <a:pt x="1068039" y="1341184"/>
                      <a:pt x="1030908" y="1366904"/>
                      <a:pt x="986641" y="1380082"/>
                    </a:cubicBezTo>
                    <a:cubicBezTo>
                      <a:pt x="950463" y="1390857"/>
                      <a:pt x="913332" y="1396828"/>
                      <a:pt x="876484" y="1404282"/>
                    </a:cubicBezTo>
                    <a:cubicBezTo>
                      <a:pt x="836067" y="1412479"/>
                      <a:pt x="798053" y="1409334"/>
                      <a:pt x="763889" y="1383897"/>
                    </a:cubicBezTo>
                    <a:cubicBezTo>
                      <a:pt x="760851" y="1381636"/>
                      <a:pt x="757742" y="1379304"/>
                      <a:pt x="753184" y="1382413"/>
                    </a:cubicBezTo>
                    <a:cubicBezTo>
                      <a:pt x="733011" y="1396227"/>
                      <a:pt x="709906" y="1399054"/>
                      <a:pt x="686165" y="1400431"/>
                    </a:cubicBezTo>
                    <a:cubicBezTo>
                      <a:pt x="636633" y="1403293"/>
                      <a:pt x="587773" y="1400961"/>
                      <a:pt x="540325" y="1385028"/>
                    </a:cubicBezTo>
                    <a:cubicBezTo>
                      <a:pt x="517679" y="1377432"/>
                      <a:pt x="496976" y="1366515"/>
                      <a:pt x="483940" y="1345247"/>
                    </a:cubicBezTo>
                    <a:cubicBezTo>
                      <a:pt x="481113" y="1340619"/>
                      <a:pt x="477439" y="1340124"/>
                      <a:pt x="472811" y="1340124"/>
                    </a:cubicBezTo>
                    <a:cubicBezTo>
                      <a:pt x="449105" y="1340124"/>
                      <a:pt x="429744" y="1331009"/>
                      <a:pt x="415683" y="1311684"/>
                    </a:cubicBezTo>
                    <a:cubicBezTo>
                      <a:pt x="411797" y="1306314"/>
                      <a:pt x="407381" y="1303205"/>
                      <a:pt x="400668" y="1302145"/>
                    </a:cubicBezTo>
                    <a:cubicBezTo>
                      <a:pt x="387526" y="1300061"/>
                      <a:pt x="376326" y="1293913"/>
                      <a:pt x="368059" y="1283350"/>
                    </a:cubicBezTo>
                    <a:cubicBezTo>
                      <a:pt x="356895" y="1269112"/>
                      <a:pt x="342516" y="1261764"/>
                      <a:pt x="324710" y="1257913"/>
                    </a:cubicBezTo>
                    <a:cubicBezTo>
                      <a:pt x="278252" y="1247844"/>
                      <a:pt x="237588" y="1226010"/>
                      <a:pt x="203177" y="1193013"/>
                    </a:cubicBezTo>
                    <a:cubicBezTo>
                      <a:pt x="188586" y="1179022"/>
                      <a:pt x="177316" y="1162594"/>
                      <a:pt x="168978" y="1144294"/>
                    </a:cubicBezTo>
                    <a:cubicBezTo>
                      <a:pt x="166576" y="1139065"/>
                      <a:pt x="164279" y="1136133"/>
                      <a:pt x="158132" y="1134613"/>
                    </a:cubicBezTo>
                    <a:cubicBezTo>
                      <a:pt x="123616" y="1126099"/>
                      <a:pt x="90689" y="1098153"/>
                      <a:pt x="97931" y="1047915"/>
                    </a:cubicBezTo>
                    <a:cubicBezTo>
                      <a:pt x="98178" y="1046149"/>
                      <a:pt x="97931" y="1044312"/>
                      <a:pt x="98284" y="1042616"/>
                    </a:cubicBezTo>
                    <a:cubicBezTo>
                      <a:pt x="102206" y="1024527"/>
                      <a:pt x="96235" y="1011950"/>
                      <a:pt x="81467" y="999655"/>
                    </a:cubicBezTo>
                    <a:cubicBezTo>
                      <a:pt x="52533" y="975525"/>
                      <a:pt x="50484" y="941397"/>
                      <a:pt x="54087" y="906810"/>
                    </a:cubicBezTo>
                    <a:cubicBezTo>
                      <a:pt x="55819" y="890346"/>
                      <a:pt x="54017" y="877698"/>
                      <a:pt x="37271" y="868089"/>
                    </a:cubicBezTo>
                    <a:cubicBezTo>
                      <a:pt x="9431" y="852120"/>
                      <a:pt x="4591" y="823362"/>
                      <a:pt x="2966" y="794392"/>
                    </a:cubicBezTo>
                    <a:cubicBezTo>
                      <a:pt x="1517" y="768707"/>
                      <a:pt x="1305" y="742988"/>
                      <a:pt x="139" y="717303"/>
                    </a:cubicBezTo>
                    <a:cubicBezTo>
                      <a:pt x="-885" y="694975"/>
                      <a:pt x="3708" y="673919"/>
                      <a:pt x="14836" y="654770"/>
                    </a:cubicBezTo>
                    <a:cubicBezTo>
                      <a:pt x="27590" y="632866"/>
                      <a:pt x="35257" y="609655"/>
                      <a:pt x="36705" y="584465"/>
                    </a:cubicBezTo>
                    <a:cubicBezTo>
                      <a:pt x="37589" y="568991"/>
                      <a:pt x="42358" y="555000"/>
                      <a:pt x="51049" y="542246"/>
                    </a:cubicBezTo>
                    <a:cubicBezTo>
                      <a:pt x="57974" y="532107"/>
                      <a:pt x="59881" y="522497"/>
                      <a:pt x="54017" y="510202"/>
                    </a:cubicBezTo>
                    <a:cubicBezTo>
                      <a:pt x="45644" y="492608"/>
                      <a:pt x="41051" y="473283"/>
                      <a:pt x="40379" y="453746"/>
                    </a:cubicBezTo>
                    <a:cubicBezTo>
                      <a:pt x="39108" y="415661"/>
                      <a:pt x="53699" y="385667"/>
                      <a:pt x="88180" y="366907"/>
                    </a:cubicBezTo>
                    <a:cubicBezTo>
                      <a:pt x="105350" y="357544"/>
                      <a:pt x="122874" y="348959"/>
                      <a:pt x="142411" y="346027"/>
                    </a:cubicBezTo>
                    <a:cubicBezTo>
                      <a:pt x="149971" y="344896"/>
                      <a:pt x="152303" y="340268"/>
                      <a:pt x="154564" y="334086"/>
                    </a:cubicBezTo>
                    <a:cubicBezTo>
                      <a:pt x="165587" y="303702"/>
                      <a:pt x="183075" y="278124"/>
                      <a:pt x="211091" y="260813"/>
                    </a:cubicBezTo>
                    <a:cubicBezTo>
                      <a:pt x="215825" y="257916"/>
                      <a:pt x="217097" y="253535"/>
                      <a:pt x="218298" y="248730"/>
                    </a:cubicBezTo>
                    <a:cubicBezTo>
                      <a:pt x="224233" y="225660"/>
                      <a:pt x="236281" y="206759"/>
                      <a:pt x="255253" y="191920"/>
                    </a:cubicBezTo>
                    <a:cubicBezTo>
                      <a:pt x="271999" y="178813"/>
                      <a:pt x="283905" y="160477"/>
                      <a:pt x="301534" y="148077"/>
                    </a:cubicBezTo>
                    <a:cubicBezTo>
                      <a:pt x="333507" y="125537"/>
                      <a:pt x="369755" y="117128"/>
                      <a:pt x="407946" y="115326"/>
                    </a:cubicBezTo>
                    <a:cubicBezTo>
                      <a:pt x="416036" y="114938"/>
                      <a:pt x="420594" y="112500"/>
                      <a:pt x="424763" y="105646"/>
                    </a:cubicBezTo>
                    <a:cubicBezTo>
                      <a:pt x="442816" y="75863"/>
                      <a:pt x="462707" y="47741"/>
                      <a:pt x="495139" y="31384"/>
                    </a:cubicBezTo>
                    <a:cubicBezTo>
                      <a:pt x="535591" y="10928"/>
                      <a:pt x="578233" y="1919"/>
                      <a:pt x="623526" y="4428"/>
                    </a:cubicBezTo>
                    <a:cubicBezTo>
                      <a:pt x="650235" y="5911"/>
                      <a:pt x="676131" y="11529"/>
                      <a:pt x="701957" y="17782"/>
                    </a:cubicBezTo>
                    <a:cubicBezTo>
                      <a:pt x="711213" y="20008"/>
                      <a:pt x="719515" y="17711"/>
                      <a:pt x="727783" y="14355"/>
                    </a:cubicBezTo>
                    <a:cubicBezTo>
                      <a:pt x="745553" y="7183"/>
                      <a:pt x="762123" y="7148"/>
                      <a:pt x="777067" y="21209"/>
                    </a:cubicBezTo>
                    <a:cubicBezTo>
                      <a:pt x="783956" y="27674"/>
                      <a:pt x="792082" y="24530"/>
                      <a:pt x="799749" y="22340"/>
                    </a:cubicBezTo>
                    <a:cubicBezTo>
                      <a:pt x="820134" y="16510"/>
                      <a:pt x="839211" y="6830"/>
                      <a:pt x="860621" y="3827"/>
                    </a:cubicBezTo>
                    <a:cubicBezTo>
                      <a:pt x="986853" y="-14014"/>
                      <a:pt x="1086234" y="30819"/>
                      <a:pt x="1161380" y="132214"/>
                    </a:cubicBezTo>
                    <a:cubicBezTo>
                      <a:pt x="1164736" y="136736"/>
                      <a:pt x="1168233" y="137866"/>
                      <a:pt x="1173180" y="138962"/>
                    </a:cubicBezTo>
                    <a:cubicBezTo>
                      <a:pt x="1219108" y="149243"/>
                      <a:pt x="1260902" y="167119"/>
                      <a:pt x="1291250" y="205204"/>
                    </a:cubicBezTo>
                    <a:cubicBezTo>
                      <a:pt x="1311529" y="230641"/>
                      <a:pt x="1318171" y="260707"/>
                      <a:pt x="1318737" y="292256"/>
                    </a:cubicBezTo>
                    <a:cubicBezTo>
                      <a:pt x="1318913" y="301971"/>
                      <a:pt x="1321634" y="309002"/>
                      <a:pt x="1328629" y="315502"/>
                    </a:cubicBezTo>
                    <a:cubicBezTo>
                      <a:pt x="1356009" y="340834"/>
                      <a:pt x="1382117" y="367437"/>
                      <a:pt x="1403597" y="398138"/>
                    </a:cubicBezTo>
                    <a:cubicBezTo>
                      <a:pt x="1429953" y="435764"/>
                      <a:pt x="1449808" y="475792"/>
                      <a:pt x="1449914" y="527055"/>
                    </a:cubicBezTo>
                    <a:close/>
                    <a:moveTo>
                      <a:pt x="1302697" y="327903"/>
                    </a:moveTo>
                    <a:cubicBezTo>
                      <a:pt x="1302520" y="327585"/>
                      <a:pt x="1302379" y="327232"/>
                      <a:pt x="1302132" y="326985"/>
                    </a:cubicBezTo>
                    <a:cubicBezTo>
                      <a:pt x="1301990" y="326843"/>
                      <a:pt x="1301672" y="326879"/>
                      <a:pt x="1301425" y="326843"/>
                    </a:cubicBezTo>
                    <a:cubicBezTo>
                      <a:pt x="1301885" y="327161"/>
                      <a:pt x="1302344" y="327479"/>
                      <a:pt x="1302803" y="327762"/>
                    </a:cubicBezTo>
                    <a:cubicBezTo>
                      <a:pt x="1302873" y="328115"/>
                      <a:pt x="1302873" y="328468"/>
                      <a:pt x="1303015" y="328786"/>
                    </a:cubicBezTo>
                    <a:cubicBezTo>
                      <a:pt x="1303121" y="328963"/>
                      <a:pt x="1303439" y="329034"/>
                      <a:pt x="1303651" y="329140"/>
                    </a:cubicBezTo>
                    <a:cubicBezTo>
                      <a:pt x="1303333" y="328716"/>
                      <a:pt x="1302980" y="328292"/>
                      <a:pt x="1302662" y="327903"/>
                    </a:cubicBezTo>
                    <a:close/>
                    <a:moveTo>
                      <a:pt x="375867" y="1249292"/>
                    </a:moveTo>
                    <a:cubicBezTo>
                      <a:pt x="376008" y="1249610"/>
                      <a:pt x="376114" y="1249999"/>
                      <a:pt x="376326" y="1250246"/>
                    </a:cubicBezTo>
                    <a:cubicBezTo>
                      <a:pt x="376468" y="1250388"/>
                      <a:pt x="376786" y="1250352"/>
                      <a:pt x="377033" y="1250423"/>
                    </a:cubicBezTo>
                    <a:cubicBezTo>
                      <a:pt x="376609" y="1250070"/>
                      <a:pt x="376185" y="1249752"/>
                      <a:pt x="375761" y="1249398"/>
                    </a:cubicBezTo>
                    <a:cubicBezTo>
                      <a:pt x="376044" y="1242792"/>
                      <a:pt x="374631" y="1235408"/>
                      <a:pt x="368130" y="1233995"/>
                    </a:cubicBezTo>
                    <a:cubicBezTo>
                      <a:pt x="349759" y="1230003"/>
                      <a:pt x="331034" y="1227636"/>
                      <a:pt x="312451" y="1224633"/>
                    </a:cubicBezTo>
                    <a:cubicBezTo>
                      <a:pt x="333366" y="1233959"/>
                      <a:pt x="356577" y="1236291"/>
                      <a:pt x="375867" y="1249292"/>
                    </a:cubicBezTo>
                    <a:close/>
                    <a:moveTo>
                      <a:pt x="434443" y="1281301"/>
                    </a:moveTo>
                    <a:cubicBezTo>
                      <a:pt x="434125" y="1281054"/>
                      <a:pt x="433807" y="1280806"/>
                      <a:pt x="433524" y="1280559"/>
                    </a:cubicBezTo>
                    <a:cubicBezTo>
                      <a:pt x="433843" y="1280806"/>
                      <a:pt x="434125" y="1281054"/>
                      <a:pt x="434443" y="1281336"/>
                    </a:cubicBezTo>
                    <a:cubicBezTo>
                      <a:pt x="437340" y="1305466"/>
                      <a:pt x="454122" y="1316771"/>
                      <a:pt x="480442" y="1311119"/>
                    </a:cubicBezTo>
                    <a:cubicBezTo>
                      <a:pt x="464826" y="1309741"/>
                      <a:pt x="452814" y="1305077"/>
                      <a:pt x="447939" y="1289603"/>
                    </a:cubicBezTo>
                    <a:cubicBezTo>
                      <a:pt x="446066" y="1283668"/>
                      <a:pt x="441226" y="1280453"/>
                      <a:pt x="434478" y="1281336"/>
                    </a:cubicBezTo>
                    <a:close/>
                    <a:moveTo>
                      <a:pt x="740784" y="1355916"/>
                    </a:moveTo>
                    <a:cubicBezTo>
                      <a:pt x="725698" y="1357118"/>
                      <a:pt x="712344" y="1364890"/>
                      <a:pt x="697187" y="1366586"/>
                    </a:cubicBezTo>
                    <a:cubicBezTo>
                      <a:pt x="664472" y="1370260"/>
                      <a:pt x="631828" y="1370613"/>
                      <a:pt x="599290" y="1366127"/>
                    </a:cubicBezTo>
                    <a:cubicBezTo>
                      <a:pt x="567387" y="1361746"/>
                      <a:pt x="536580" y="1354115"/>
                      <a:pt x="514252" y="1327865"/>
                    </a:cubicBezTo>
                    <a:cubicBezTo>
                      <a:pt x="511320" y="1324438"/>
                      <a:pt x="508741" y="1319739"/>
                      <a:pt x="503229" y="1319457"/>
                    </a:cubicBezTo>
                    <a:cubicBezTo>
                      <a:pt x="501463" y="1321364"/>
                      <a:pt x="502699" y="1322954"/>
                      <a:pt x="503371" y="1324509"/>
                    </a:cubicBezTo>
                    <a:cubicBezTo>
                      <a:pt x="510825" y="1342315"/>
                      <a:pt x="525734" y="1351536"/>
                      <a:pt x="542657" y="1358036"/>
                    </a:cubicBezTo>
                    <a:cubicBezTo>
                      <a:pt x="592860" y="1377291"/>
                      <a:pt x="645253" y="1375454"/>
                      <a:pt x="697541" y="1373228"/>
                    </a:cubicBezTo>
                    <a:cubicBezTo>
                      <a:pt x="713474" y="1372557"/>
                      <a:pt x="729161" y="1368706"/>
                      <a:pt x="740643" y="1355810"/>
                    </a:cubicBezTo>
                    <a:cubicBezTo>
                      <a:pt x="742232" y="1355598"/>
                      <a:pt x="743857" y="1355386"/>
                      <a:pt x="745447" y="1355174"/>
                    </a:cubicBezTo>
                    <a:cubicBezTo>
                      <a:pt x="745235" y="1354751"/>
                      <a:pt x="744811" y="1353973"/>
                      <a:pt x="744776" y="1353973"/>
                    </a:cubicBezTo>
                    <a:cubicBezTo>
                      <a:pt x="743398" y="1354574"/>
                      <a:pt x="742055" y="1355280"/>
                      <a:pt x="740713" y="1355952"/>
                    </a:cubicBezTo>
                    <a:close/>
                    <a:moveTo>
                      <a:pt x="804624" y="1260033"/>
                    </a:moveTo>
                    <a:cubicBezTo>
                      <a:pt x="814728" y="1257630"/>
                      <a:pt x="818861" y="1267876"/>
                      <a:pt x="826493" y="1270455"/>
                    </a:cubicBezTo>
                    <a:cubicBezTo>
                      <a:pt x="839353" y="1274800"/>
                      <a:pt x="852778" y="1273670"/>
                      <a:pt x="866026" y="1273528"/>
                    </a:cubicBezTo>
                    <a:cubicBezTo>
                      <a:pt x="888531" y="1273281"/>
                      <a:pt x="905807" y="1261304"/>
                      <a:pt x="914004" y="1240389"/>
                    </a:cubicBezTo>
                    <a:cubicBezTo>
                      <a:pt x="924744" y="1212974"/>
                      <a:pt x="936190" y="1208310"/>
                      <a:pt x="963252" y="1221170"/>
                    </a:cubicBezTo>
                    <a:cubicBezTo>
                      <a:pt x="971696" y="1225198"/>
                      <a:pt x="979716" y="1226046"/>
                      <a:pt x="988902" y="1224279"/>
                    </a:cubicBezTo>
                    <a:cubicBezTo>
                      <a:pt x="1014445" y="1219368"/>
                      <a:pt x="1037939" y="1206544"/>
                      <a:pt x="1064400" y="1205095"/>
                    </a:cubicBezTo>
                    <a:cubicBezTo>
                      <a:pt x="1070053" y="1204778"/>
                      <a:pt x="1075600" y="1203400"/>
                      <a:pt x="1081005" y="1200962"/>
                    </a:cubicBezTo>
                    <a:cubicBezTo>
                      <a:pt x="1116970" y="1184640"/>
                      <a:pt x="1146117" y="1159803"/>
                      <a:pt x="1168763" y="1127971"/>
                    </a:cubicBezTo>
                    <a:cubicBezTo>
                      <a:pt x="1182224" y="1109035"/>
                      <a:pt x="1189431" y="1087661"/>
                      <a:pt x="1177136" y="1064379"/>
                    </a:cubicBezTo>
                    <a:cubicBezTo>
                      <a:pt x="1171448" y="1053603"/>
                      <a:pt x="1171342" y="1042545"/>
                      <a:pt x="1176253" y="1031098"/>
                    </a:cubicBezTo>
                    <a:cubicBezTo>
                      <a:pt x="1179504" y="1023467"/>
                      <a:pt x="1178514" y="1015447"/>
                      <a:pt x="1174451" y="1008028"/>
                    </a:cubicBezTo>
                    <a:cubicBezTo>
                      <a:pt x="1171484" y="1002588"/>
                      <a:pt x="1168905" y="997041"/>
                      <a:pt x="1164700" y="992271"/>
                    </a:cubicBezTo>
                    <a:cubicBezTo>
                      <a:pt x="1149509" y="975066"/>
                      <a:pt x="1146047" y="956553"/>
                      <a:pt x="1159684" y="936628"/>
                    </a:cubicBezTo>
                    <a:cubicBezTo>
                      <a:pt x="1173674" y="916243"/>
                      <a:pt x="1181729" y="893349"/>
                      <a:pt x="1187806" y="869643"/>
                    </a:cubicBezTo>
                    <a:cubicBezTo>
                      <a:pt x="1190738" y="858232"/>
                      <a:pt x="1196320" y="849718"/>
                      <a:pt x="1207944" y="845266"/>
                    </a:cubicBezTo>
                    <a:cubicBezTo>
                      <a:pt x="1214444" y="842758"/>
                      <a:pt x="1220450" y="838589"/>
                      <a:pt x="1226244" y="834597"/>
                    </a:cubicBezTo>
                    <a:cubicBezTo>
                      <a:pt x="1244792" y="821772"/>
                      <a:pt x="1263128" y="808630"/>
                      <a:pt x="1281676" y="795770"/>
                    </a:cubicBezTo>
                    <a:cubicBezTo>
                      <a:pt x="1284820" y="793579"/>
                      <a:pt x="1288919" y="789764"/>
                      <a:pt x="1292381" y="792555"/>
                    </a:cubicBezTo>
                    <a:cubicBezTo>
                      <a:pt x="1297150" y="796335"/>
                      <a:pt x="1292381" y="800751"/>
                      <a:pt x="1290508" y="804284"/>
                    </a:cubicBezTo>
                    <a:cubicBezTo>
                      <a:pt x="1286763" y="811279"/>
                      <a:pt x="1282065" y="817780"/>
                      <a:pt x="1278073" y="824669"/>
                    </a:cubicBezTo>
                    <a:cubicBezTo>
                      <a:pt x="1274010" y="831700"/>
                      <a:pt x="1275317" y="838765"/>
                      <a:pt x="1280404" y="844418"/>
                    </a:cubicBezTo>
                    <a:cubicBezTo>
                      <a:pt x="1286340" y="851025"/>
                      <a:pt x="1291886" y="844842"/>
                      <a:pt x="1296938" y="842157"/>
                    </a:cubicBezTo>
                    <a:cubicBezTo>
                      <a:pt x="1300718" y="840143"/>
                      <a:pt x="1304146" y="836893"/>
                      <a:pt x="1306795" y="833466"/>
                    </a:cubicBezTo>
                    <a:cubicBezTo>
                      <a:pt x="1317888" y="819122"/>
                      <a:pt x="1328982" y="804779"/>
                      <a:pt x="1339334" y="789905"/>
                    </a:cubicBezTo>
                    <a:cubicBezTo>
                      <a:pt x="1346082" y="780189"/>
                      <a:pt x="1353607" y="770474"/>
                      <a:pt x="1353677" y="757649"/>
                    </a:cubicBezTo>
                    <a:cubicBezTo>
                      <a:pt x="1353677" y="751855"/>
                      <a:pt x="1354242" y="746026"/>
                      <a:pt x="1347494" y="742882"/>
                    </a:cubicBezTo>
                    <a:cubicBezTo>
                      <a:pt x="1341418" y="740055"/>
                      <a:pt x="1335659" y="739101"/>
                      <a:pt x="1330077" y="743624"/>
                    </a:cubicBezTo>
                    <a:cubicBezTo>
                      <a:pt x="1325273" y="747510"/>
                      <a:pt x="1320397" y="751325"/>
                      <a:pt x="1315804" y="755424"/>
                    </a:cubicBezTo>
                    <a:cubicBezTo>
                      <a:pt x="1309339" y="761217"/>
                      <a:pt x="1301743" y="764150"/>
                      <a:pt x="1293794" y="760723"/>
                    </a:cubicBezTo>
                    <a:cubicBezTo>
                      <a:pt x="1286127" y="757402"/>
                      <a:pt x="1284432" y="749771"/>
                      <a:pt x="1284220" y="741716"/>
                    </a:cubicBezTo>
                    <a:cubicBezTo>
                      <a:pt x="1283902" y="728821"/>
                      <a:pt x="1289272" y="718434"/>
                      <a:pt x="1298175" y="709849"/>
                    </a:cubicBezTo>
                    <a:cubicBezTo>
                      <a:pt x="1305877" y="702429"/>
                      <a:pt x="1310293" y="693350"/>
                      <a:pt x="1312624" y="683387"/>
                    </a:cubicBezTo>
                    <a:cubicBezTo>
                      <a:pt x="1314921" y="673530"/>
                      <a:pt x="1316758" y="663567"/>
                      <a:pt x="1316440" y="653216"/>
                    </a:cubicBezTo>
                    <a:cubicBezTo>
                      <a:pt x="1315274" y="617745"/>
                      <a:pt x="1316299" y="582557"/>
                      <a:pt x="1326403" y="548005"/>
                    </a:cubicBezTo>
                    <a:cubicBezTo>
                      <a:pt x="1331137" y="531859"/>
                      <a:pt x="1331985" y="514654"/>
                      <a:pt x="1327958" y="498085"/>
                    </a:cubicBezTo>
                    <a:cubicBezTo>
                      <a:pt x="1324601" y="484341"/>
                      <a:pt x="1321881" y="471340"/>
                      <a:pt x="1330713" y="458622"/>
                    </a:cubicBezTo>
                    <a:cubicBezTo>
                      <a:pt x="1333116" y="455195"/>
                      <a:pt x="1332868" y="450779"/>
                      <a:pt x="1332056" y="446928"/>
                    </a:cubicBezTo>
                    <a:cubicBezTo>
                      <a:pt x="1327887" y="427390"/>
                      <a:pt x="1316581" y="412340"/>
                      <a:pt x="1301178" y="400293"/>
                    </a:cubicBezTo>
                    <a:cubicBezTo>
                      <a:pt x="1295030" y="395523"/>
                      <a:pt x="1291568" y="397537"/>
                      <a:pt x="1292240" y="405698"/>
                    </a:cubicBezTo>
                    <a:cubicBezTo>
                      <a:pt x="1293088" y="416085"/>
                      <a:pt x="1290932" y="425977"/>
                      <a:pt x="1286481" y="435340"/>
                    </a:cubicBezTo>
                    <a:cubicBezTo>
                      <a:pt x="1285315" y="437813"/>
                      <a:pt x="1284432" y="440038"/>
                      <a:pt x="1285916" y="442794"/>
                    </a:cubicBezTo>
                    <a:cubicBezTo>
                      <a:pt x="1296444" y="462367"/>
                      <a:pt x="1293299" y="482893"/>
                      <a:pt x="1289731" y="503349"/>
                    </a:cubicBezTo>
                    <a:cubicBezTo>
                      <a:pt x="1285527" y="527514"/>
                      <a:pt x="1285810" y="551573"/>
                      <a:pt x="1288495" y="575986"/>
                    </a:cubicBezTo>
                    <a:cubicBezTo>
                      <a:pt x="1291109" y="599833"/>
                      <a:pt x="1290897" y="624599"/>
                      <a:pt x="1280051" y="646291"/>
                    </a:cubicBezTo>
                    <a:cubicBezTo>
                      <a:pt x="1266378" y="673530"/>
                      <a:pt x="1257829" y="701546"/>
                      <a:pt x="1253342" y="731505"/>
                    </a:cubicBezTo>
                    <a:cubicBezTo>
                      <a:pt x="1250869" y="748004"/>
                      <a:pt x="1245605" y="764326"/>
                      <a:pt x="1234653" y="777822"/>
                    </a:cubicBezTo>
                    <a:cubicBezTo>
                      <a:pt x="1231049" y="782238"/>
                      <a:pt x="1226244" y="785347"/>
                      <a:pt x="1220803" y="781426"/>
                    </a:cubicBezTo>
                    <a:cubicBezTo>
                      <a:pt x="1216069" y="778034"/>
                      <a:pt x="1217165" y="772664"/>
                      <a:pt x="1219108" y="768036"/>
                    </a:cubicBezTo>
                    <a:cubicBezTo>
                      <a:pt x="1220450" y="764821"/>
                      <a:pt x="1222747" y="761995"/>
                      <a:pt x="1224760" y="759133"/>
                    </a:cubicBezTo>
                    <a:cubicBezTo>
                      <a:pt x="1229318" y="752632"/>
                      <a:pt x="1233734" y="746203"/>
                      <a:pt x="1236843" y="738677"/>
                    </a:cubicBezTo>
                    <a:cubicBezTo>
                      <a:pt x="1245534" y="717762"/>
                      <a:pt x="1247513" y="696070"/>
                      <a:pt x="1247336" y="673742"/>
                    </a:cubicBezTo>
                    <a:cubicBezTo>
                      <a:pt x="1247089" y="640214"/>
                      <a:pt x="1243591" y="606228"/>
                      <a:pt x="1259348" y="574502"/>
                    </a:cubicBezTo>
                    <a:cubicBezTo>
                      <a:pt x="1261715" y="569732"/>
                      <a:pt x="1261503" y="563832"/>
                      <a:pt x="1258782" y="557473"/>
                    </a:cubicBezTo>
                    <a:cubicBezTo>
                      <a:pt x="1248113" y="569414"/>
                      <a:pt x="1243732" y="583122"/>
                      <a:pt x="1236737" y="595311"/>
                    </a:cubicBezTo>
                    <a:cubicBezTo>
                      <a:pt x="1234935" y="598455"/>
                      <a:pt x="1233346" y="602165"/>
                      <a:pt x="1229071" y="601458"/>
                    </a:cubicBezTo>
                    <a:cubicBezTo>
                      <a:pt x="1224902" y="600752"/>
                      <a:pt x="1223842" y="596618"/>
                      <a:pt x="1223524" y="593262"/>
                    </a:cubicBezTo>
                    <a:cubicBezTo>
                      <a:pt x="1222923" y="586691"/>
                      <a:pt x="1222323" y="579978"/>
                      <a:pt x="1224301" y="573442"/>
                    </a:cubicBezTo>
                    <a:cubicBezTo>
                      <a:pt x="1231190" y="550619"/>
                      <a:pt x="1239599" y="528079"/>
                      <a:pt x="1236772" y="503455"/>
                    </a:cubicBezTo>
                    <a:cubicBezTo>
                      <a:pt x="1236455" y="500593"/>
                      <a:pt x="1238186" y="497484"/>
                      <a:pt x="1238998" y="494516"/>
                    </a:cubicBezTo>
                    <a:cubicBezTo>
                      <a:pt x="1240094" y="490665"/>
                      <a:pt x="1241224" y="487945"/>
                      <a:pt x="1246276" y="490913"/>
                    </a:cubicBezTo>
                    <a:cubicBezTo>
                      <a:pt x="1254967" y="496000"/>
                      <a:pt x="1257193" y="490418"/>
                      <a:pt x="1257758" y="483070"/>
                    </a:cubicBezTo>
                    <a:cubicBezTo>
                      <a:pt x="1259489" y="459752"/>
                      <a:pt x="1254578" y="438060"/>
                      <a:pt x="1241012" y="418841"/>
                    </a:cubicBezTo>
                    <a:cubicBezTo>
                      <a:pt x="1219143" y="387751"/>
                      <a:pt x="1188725" y="363515"/>
                      <a:pt x="1169788" y="329881"/>
                    </a:cubicBezTo>
                    <a:cubicBezTo>
                      <a:pt x="1165513" y="322250"/>
                      <a:pt x="1158447" y="323310"/>
                      <a:pt x="1152936" y="331401"/>
                    </a:cubicBezTo>
                    <a:cubicBezTo>
                      <a:pt x="1146259" y="341222"/>
                      <a:pt x="1148767" y="350514"/>
                      <a:pt x="1154561" y="358534"/>
                    </a:cubicBezTo>
                    <a:cubicBezTo>
                      <a:pt x="1166255" y="374785"/>
                      <a:pt x="1160320" y="391990"/>
                      <a:pt x="1161132" y="411351"/>
                    </a:cubicBezTo>
                    <a:cubicBezTo>
                      <a:pt x="1146789" y="401247"/>
                      <a:pt x="1140324" y="389447"/>
                      <a:pt x="1138133" y="375598"/>
                    </a:cubicBezTo>
                    <a:cubicBezTo>
                      <a:pt x="1133752" y="348041"/>
                      <a:pt x="1130678" y="320484"/>
                      <a:pt x="1109340" y="299004"/>
                    </a:cubicBezTo>
                    <a:cubicBezTo>
                      <a:pt x="1102803" y="292432"/>
                      <a:pt x="1104393" y="282258"/>
                      <a:pt x="1109163" y="273955"/>
                    </a:cubicBezTo>
                    <a:cubicBezTo>
                      <a:pt x="1113155" y="267031"/>
                      <a:pt x="1118348" y="261025"/>
                      <a:pt x="1123895" y="255195"/>
                    </a:cubicBezTo>
                    <a:cubicBezTo>
                      <a:pt x="1136296" y="242123"/>
                      <a:pt x="1147071" y="227638"/>
                      <a:pt x="1145340" y="208455"/>
                    </a:cubicBezTo>
                    <a:cubicBezTo>
                      <a:pt x="1140888" y="158993"/>
                      <a:pt x="1084538" y="99923"/>
                      <a:pt x="1036102" y="95365"/>
                    </a:cubicBezTo>
                    <a:cubicBezTo>
                      <a:pt x="1010311" y="92928"/>
                      <a:pt x="988831" y="79644"/>
                      <a:pt x="972756" y="58057"/>
                    </a:cubicBezTo>
                    <a:cubicBezTo>
                      <a:pt x="963147" y="45127"/>
                      <a:pt x="949898" y="36153"/>
                      <a:pt x="934071" y="31137"/>
                    </a:cubicBezTo>
                    <a:cubicBezTo>
                      <a:pt x="905348" y="22057"/>
                      <a:pt x="875954" y="25731"/>
                      <a:pt x="849068" y="33892"/>
                    </a:cubicBezTo>
                    <a:cubicBezTo>
                      <a:pt x="822394" y="41983"/>
                      <a:pt x="794308" y="47847"/>
                      <a:pt x="769577" y="62156"/>
                    </a:cubicBezTo>
                    <a:cubicBezTo>
                      <a:pt x="760957" y="67137"/>
                      <a:pt x="752407" y="66890"/>
                      <a:pt x="743045" y="62862"/>
                    </a:cubicBezTo>
                    <a:cubicBezTo>
                      <a:pt x="714322" y="50462"/>
                      <a:pt x="688708" y="55655"/>
                      <a:pt x="666769" y="78019"/>
                    </a:cubicBezTo>
                    <a:cubicBezTo>
                      <a:pt x="649670" y="95401"/>
                      <a:pt x="632641" y="112889"/>
                      <a:pt x="613704" y="128257"/>
                    </a:cubicBezTo>
                    <a:cubicBezTo>
                      <a:pt x="599926" y="139421"/>
                      <a:pt x="584875" y="147900"/>
                      <a:pt x="567635" y="153729"/>
                    </a:cubicBezTo>
                    <a:cubicBezTo>
                      <a:pt x="528914" y="166837"/>
                      <a:pt x="487826" y="168214"/>
                      <a:pt x="448858" y="179661"/>
                    </a:cubicBezTo>
                    <a:cubicBezTo>
                      <a:pt x="441438" y="181852"/>
                      <a:pt x="442922" y="177612"/>
                      <a:pt x="444053" y="173267"/>
                    </a:cubicBezTo>
                    <a:cubicBezTo>
                      <a:pt x="446243" y="164823"/>
                      <a:pt x="449988" y="156485"/>
                      <a:pt x="445430" y="147547"/>
                    </a:cubicBezTo>
                    <a:cubicBezTo>
                      <a:pt x="442957" y="142742"/>
                      <a:pt x="440661" y="139739"/>
                      <a:pt x="435856" y="145144"/>
                    </a:cubicBezTo>
                    <a:cubicBezTo>
                      <a:pt x="415683" y="167896"/>
                      <a:pt x="387667" y="178142"/>
                      <a:pt x="361665" y="191567"/>
                    </a:cubicBezTo>
                    <a:cubicBezTo>
                      <a:pt x="333401" y="206158"/>
                      <a:pt x="302594" y="215626"/>
                      <a:pt x="276380" y="234245"/>
                    </a:cubicBezTo>
                    <a:cubicBezTo>
                      <a:pt x="273235" y="236471"/>
                      <a:pt x="268572" y="237460"/>
                      <a:pt x="267512" y="241841"/>
                    </a:cubicBezTo>
                    <a:cubicBezTo>
                      <a:pt x="262707" y="262155"/>
                      <a:pt x="245431" y="270634"/>
                      <a:pt x="230345" y="281092"/>
                    </a:cubicBezTo>
                    <a:cubicBezTo>
                      <a:pt x="205791" y="298120"/>
                      <a:pt x="184735" y="317693"/>
                      <a:pt x="178729" y="348783"/>
                    </a:cubicBezTo>
                    <a:cubicBezTo>
                      <a:pt x="176715" y="359205"/>
                      <a:pt x="174843" y="369627"/>
                      <a:pt x="170604" y="379449"/>
                    </a:cubicBezTo>
                    <a:cubicBezTo>
                      <a:pt x="169049" y="383017"/>
                      <a:pt x="166435" y="387186"/>
                      <a:pt x="170074" y="390507"/>
                    </a:cubicBezTo>
                    <a:cubicBezTo>
                      <a:pt x="173536" y="393651"/>
                      <a:pt x="177563" y="391107"/>
                      <a:pt x="181238" y="389553"/>
                    </a:cubicBezTo>
                    <a:cubicBezTo>
                      <a:pt x="183534" y="388599"/>
                      <a:pt x="185936" y="386020"/>
                      <a:pt x="188445" y="388281"/>
                    </a:cubicBezTo>
                    <a:cubicBezTo>
                      <a:pt x="191236" y="390789"/>
                      <a:pt x="189999" y="394004"/>
                      <a:pt x="188657" y="396866"/>
                    </a:cubicBezTo>
                    <a:cubicBezTo>
                      <a:pt x="186572" y="401282"/>
                      <a:pt x="184205" y="405557"/>
                      <a:pt x="182086" y="409938"/>
                    </a:cubicBezTo>
                    <a:cubicBezTo>
                      <a:pt x="166293" y="442829"/>
                      <a:pt x="144990" y="473425"/>
                      <a:pt x="142481" y="511722"/>
                    </a:cubicBezTo>
                    <a:cubicBezTo>
                      <a:pt x="141704" y="523840"/>
                      <a:pt x="147357" y="538431"/>
                      <a:pt x="159863" y="546344"/>
                    </a:cubicBezTo>
                    <a:cubicBezTo>
                      <a:pt x="170921" y="553340"/>
                      <a:pt x="180531" y="553128"/>
                      <a:pt x="191307" y="544295"/>
                    </a:cubicBezTo>
                    <a:cubicBezTo>
                      <a:pt x="198761" y="538183"/>
                      <a:pt x="204696" y="529457"/>
                      <a:pt x="215048" y="525924"/>
                    </a:cubicBezTo>
                    <a:cubicBezTo>
                      <a:pt x="216320" y="531365"/>
                      <a:pt x="215401" y="535392"/>
                      <a:pt x="213953" y="539773"/>
                    </a:cubicBezTo>
                    <a:cubicBezTo>
                      <a:pt x="209395" y="553622"/>
                      <a:pt x="199326" y="562596"/>
                      <a:pt x="188092" y="570722"/>
                    </a:cubicBezTo>
                    <a:cubicBezTo>
                      <a:pt x="174878" y="580331"/>
                      <a:pt x="160499" y="588740"/>
                      <a:pt x="151561" y="603048"/>
                    </a:cubicBezTo>
                    <a:cubicBezTo>
                      <a:pt x="132165" y="634067"/>
                      <a:pt x="133154" y="667807"/>
                      <a:pt x="139655" y="701864"/>
                    </a:cubicBezTo>
                    <a:cubicBezTo>
                      <a:pt x="143259" y="720730"/>
                      <a:pt x="150642" y="738395"/>
                      <a:pt x="163326" y="753162"/>
                    </a:cubicBezTo>
                    <a:cubicBezTo>
                      <a:pt x="175691" y="767506"/>
                      <a:pt x="192896" y="764432"/>
                      <a:pt x="209183" y="764962"/>
                    </a:cubicBezTo>
                    <a:cubicBezTo>
                      <a:pt x="221690" y="765386"/>
                      <a:pt x="219959" y="773653"/>
                      <a:pt x="215578" y="780825"/>
                    </a:cubicBezTo>
                    <a:cubicBezTo>
                      <a:pt x="205827" y="796830"/>
                      <a:pt x="207417" y="813470"/>
                      <a:pt x="209784" y="830922"/>
                    </a:cubicBezTo>
                    <a:cubicBezTo>
                      <a:pt x="212539" y="851449"/>
                      <a:pt x="220665" y="871162"/>
                      <a:pt x="218828" y="892395"/>
                    </a:cubicBezTo>
                    <a:cubicBezTo>
                      <a:pt x="218263" y="898825"/>
                      <a:pt x="218439" y="905785"/>
                      <a:pt x="211020" y="907481"/>
                    </a:cubicBezTo>
                    <a:cubicBezTo>
                      <a:pt x="204272" y="909035"/>
                      <a:pt x="199220" y="904160"/>
                      <a:pt x="195864" y="898755"/>
                    </a:cubicBezTo>
                    <a:cubicBezTo>
                      <a:pt x="190741" y="890488"/>
                      <a:pt x="186926" y="881337"/>
                      <a:pt x="181344" y="873424"/>
                    </a:cubicBezTo>
                    <a:cubicBezTo>
                      <a:pt x="172229" y="860458"/>
                      <a:pt x="169544" y="843429"/>
                      <a:pt x="156472" y="833219"/>
                    </a:cubicBezTo>
                    <a:cubicBezTo>
                      <a:pt x="145060" y="824316"/>
                      <a:pt x="137818" y="813646"/>
                      <a:pt x="136228" y="798914"/>
                    </a:cubicBezTo>
                    <a:cubicBezTo>
                      <a:pt x="134497" y="783016"/>
                      <a:pt x="132448" y="765528"/>
                      <a:pt x="121178" y="754434"/>
                    </a:cubicBezTo>
                    <a:cubicBezTo>
                      <a:pt x="109978" y="743376"/>
                      <a:pt x="107258" y="729774"/>
                      <a:pt x="101287" y="717021"/>
                    </a:cubicBezTo>
                    <a:cubicBezTo>
                      <a:pt x="101111" y="716632"/>
                      <a:pt x="100722" y="716349"/>
                      <a:pt x="99203" y="714653"/>
                    </a:cubicBezTo>
                    <a:cubicBezTo>
                      <a:pt x="84965" y="754010"/>
                      <a:pt x="73907" y="792837"/>
                      <a:pt x="78959" y="834455"/>
                    </a:cubicBezTo>
                    <a:cubicBezTo>
                      <a:pt x="79878" y="841980"/>
                      <a:pt x="79772" y="849470"/>
                      <a:pt x="80372" y="856960"/>
                    </a:cubicBezTo>
                    <a:cubicBezTo>
                      <a:pt x="82563" y="884340"/>
                      <a:pt x="80726" y="911721"/>
                      <a:pt x="80902" y="939101"/>
                    </a:cubicBezTo>
                    <a:cubicBezTo>
                      <a:pt x="81044" y="964926"/>
                      <a:pt x="104396" y="992201"/>
                      <a:pt x="130187" y="998631"/>
                    </a:cubicBezTo>
                    <a:cubicBezTo>
                      <a:pt x="154776" y="1004743"/>
                      <a:pt x="174278" y="994497"/>
                      <a:pt x="189611" y="967894"/>
                    </a:cubicBezTo>
                    <a:cubicBezTo>
                      <a:pt x="192543" y="962807"/>
                      <a:pt x="194557" y="955847"/>
                      <a:pt x="202753" y="956765"/>
                    </a:cubicBezTo>
                    <a:cubicBezTo>
                      <a:pt x="211444" y="957755"/>
                      <a:pt x="212645" y="964750"/>
                      <a:pt x="213493" y="971356"/>
                    </a:cubicBezTo>
                    <a:cubicBezTo>
                      <a:pt x="216638" y="995698"/>
                      <a:pt x="232642" y="1007392"/>
                      <a:pt x="254617" y="1012197"/>
                    </a:cubicBezTo>
                    <a:cubicBezTo>
                      <a:pt x="267901" y="1015094"/>
                      <a:pt x="281679" y="1015801"/>
                      <a:pt x="295140" y="1018026"/>
                    </a:cubicBezTo>
                    <a:cubicBezTo>
                      <a:pt x="311568" y="1020712"/>
                      <a:pt x="328914" y="1020606"/>
                      <a:pt x="342869" y="1031734"/>
                    </a:cubicBezTo>
                    <a:cubicBezTo>
                      <a:pt x="345519" y="1033854"/>
                      <a:pt x="349193" y="1036221"/>
                      <a:pt x="347992" y="1040319"/>
                    </a:cubicBezTo>
                    <a:cubicBezTo>
                      <a:pt x="346968" y="1043852"/>
                      <a:pt x="343859" y="1045972"/>
                      <a:pt x="340043" y="1046643"/>
                    </a:cubicBezTo>
                    <a:cubicBezTo>
                      <a:pt x="326088" y="1049081"/>
                      <a:pt x="312098" y="1051377"/>
                      <a:pt x="297966" y="1047915"/>
                    </a:cubicBezTo>
                    <a:cubicBezTo>
                      <a:pt x="292313" y="1046537"/>
                      <a:pt x="286307" y="1045619"/>
                      <a:pt x="280972" y="1048056"/>
                    </a:cubicBezTo>
                    <a:cubicBezTo>
                      <a:pt x="248717" y="1062859"/>
                      <a:pt x="215472" y="1060068"/>
                      <a:pt x="182015" y="1054098"/>
                    </a:cubicBezTo>
                    <a:cubicBezTo>
                      <a:pt x="176645" y="1053144"/>
                      <a:pt x="171805" y="1051130"/>
                      <a:pt x="168060" y="1057313"/>
                    </a:cubicBezTo>
                    <a:cubicBezTo>
                      <a:pt x="164739" y="1062789"/>
                      <a:pt x="166117" y="1066816"/>
                      <a:pt x="169614" y="1071727"/>
                    </a:cubicBezTo>
                    <a:cubicBezTo>
                      <a:pt x="181838" y="1088897"/>
                      <a:pt x="190247" y="1107940"/>
                      <a:pt x="194168" y="1128643"/>
                    </a:cubicBezTo>
                    <a:cubicBezTo>
                      <a:pt x="195864" y="1137652"/>
                      <a:pt x="199927" y="1145354"/>
                      <a:pt x="204590" y="1152843"/>
                    </a:cubicBezTo>
                    <a:cubicBezTo>
                      <a:pt x="238153" y="1206756"/>
                      <a:pt x="304184" y="1215412"/>
                      <a:pt x="350995" y="1194921"/>
                    </a:cubicBezTo>
                    <a:cubicBezTo>
                      <a:pt x="379541" y="1182449"/>
                      <a:pt x="399962" y="1155776"/>
                      <a:pt x="389716" y="1119598"/>
                    </a:cubicBezTo>
                    <a:cubicBezTo>
                      <a:pt x="387102" y="1110342"/>
                      <a:pt x="383463" y="1101086"/>
                      <a:pt x="384134" y="1091088"/>
                    </a:cubicBezTo>
                    <a:cubicBezTo>
                      <a:pt x="384381" y="1087343"/>
                      <a:pt x="384982" y="1083845"/>
                      <a:pt x="388939" y="1082467"/>
                    </a:cubicBezTo>
                    <a:cubicBezTo>
                      <a:pt x="392613" y="1081160"/>
                      <a:pt x="395793" y="1082397"/>
                      <a:pt x="398760" y="1084834"/>
                    </a:cubicBezTo>
                    <a:cubicBezTo>
                      <a:pt x="405084" y="1090098"/>
                      <a:pt x="406992" y="1097306"/>
                      <a:pt x="407593" y="1104901"/>
                    </a:cubicBezTo>
                    <a:cubicBezTo>
                      <a:pt x="409465" y="1128784"/>
                      <a:pt x="428402" y="1150724"/>
                      <a:pt x="450518" y="1151819"/>
                    </a:cubicBezTo>
                    <a:cubicBezTo>
                      <a:pt x="460481" y="1152313"/>
                      <a:pt x="470408" y="1155458"/>
                      <a:pt x="480124" y="1158284"/>
                    </a:cubicBezTo>
                    <a:cubicBezTo>
                      <a:pt x="485141" y="1159733"/>
                      <a:pt x="490511" y="1162877"/>
                      <a:pt x="489521" y="1169448"/>
                    </a:cubicBezTo>
                    <a:cubicBezTo>
                      <a:pt x="488674" y="1174854"/>
                      <a:pt x="485459" y="1178634"/>
                      <a:pt x="479523" y="1180612"/>
                    </a:cubicBezTo>
                    <a:cubicBezTo>
                      <a:pt x="472034" y="1183121"/>
                      <a:pt x="464614" y="1182449"/>
                      <a:pt x="457124" y="1182414"/>
                    </a:cubicBezTo>
                    <a:cubicBezTo>
                      <a:pt x="451366" y="1182414"/>
                      <a:pt x="446808" y="1183898"/>
                      <a:pt x="443381" y="1188809"/>
                    </a:cubicBezTo>
                    <a:cubicBezTo>
                      <a:pt x="431687" y="1205590"/>
                      <a:pt x="440661" y="1230956"/>
                      <a:pt x="460410" y="1236221"/>
                    </a:cubicBezTo>
                    <a:cubicBezTo>
                      <a:pt x="476520" y="1240531"/>
                      <a:pt x="492842" y="1239612"/>
                      <a:pt x="509164" y="1237634"/>
                    </a:cubicBezTo>
                    <a:cubicBezTo>
                      <a:pt x="528278" y="1235337"/>
                      <a:pt x="548309" y="1228766"/>
                      <a:pt x="565762" y="1241131"/>
                    </a:cubicBezTo>
                    <a:cubicBezTo>
                      <a:pt x="583215" y="1253497"/>
                      <a:pt x="601904" y="1256570"/>
                      <a:pt x="622360" y="1255157"/>
                    </a:cubicBezTo>
                    <a:cubicBezTo>
                      <a:pt x="631192" y="1254557"/>
                      <a:pt x="640130" y="1254557"/>
                      <a:pt x="648963" y="1255157"/>
                    </a:cubicBezTo>
                    <a:cubicBezTo>
                      <a:pt x="658643" y="1255828"/>
                      <a:pt x="668500" y="1256782"/>
                      <a:pt x="676237" y="1263777"/>
                    </a:cubicBezTo>
                    <a:cubicBezTo>
                      <a:pt x="686235" y="1272822"/>
                      <a:pt x="683974" y="1285010"/>
                      <a:pt x="671538" y="1290274"/>
                    </a:cubicBezTo>
                    <a:cubicBezTo>
                      <a:pt x="667228" y="1292112"/>
                      <a:pt x="662741" y="1292394"/>
                      <a:pt x="658467" y="1291758"/>
                    </a:cubicBezTo>
                    <a:cubicBezTo>
                      <a:pt x="627023" y="1287095"/>
                      <a:pt x="599007" y="1268335"/>
                      <a:pt x="566045" y="1269324"/>
                    </a:cubicBezTo>
                    <a:cubicBezTo>
                      <a:pt x="562335" y="1269430"/>
                      <a:pt x="558590" y="1266710"/>
                      <a:pt x="554775" y="1265579"/>
                    </a:cubicBezTo>
                    <a:cubicBezTo>
                      <a:pt x="545024" y="1262718"/>
                      <a:pt x="535343" y="1259503"/>
                      <a:pt x="525381" y="1257453"/>
                    </a:cubicBezTo>
                    <a:cubicBezTo>
                      <a:pt x="518739" y="1256076"/>
                      <a:pt x="511850" y="1257100"/>
                      <a:pt x="508175" y="1264307"/>
                    </a:cubicBezTo>
                    <a:cubicBezTo>
                      <a:pt x="504360" y="1271797"/>
                      <a:pt x="511072" y="1275224"/>
                      <a:pt x="515100" y="1278192"/>
                    </a:cubicBezTo>
                    <a:cubicBezTo>
                      <a:pt x="536404" y="1293843"/>
                      <a:pt x="560251" y="1302004"/>
                      <a:pt x="587066" y="1300237"/>
                    </a:cubicBezTo>
                    <a:cubicBezTo>
                      <a:pt x="591199" y="1299955"/>
                      <a:pt x="596463" y="1297941"/>
                      <a:pt x="599325" y="1302710"/>
                    </a:cubicBezTo>
                    <a:cubicBezTo>
                      <a:pt x="602611" y="1308186"/>
                      <a:pt x="592754" y="1307586"/>
                      <a:pt x="593849" y="1312638"/>
                    </a:cubicBezTo>
                    <a:cubicBezTo>
                      <a:pt x="599785" y="1314899"/>
                      <a:pt x="605543" y="1317195"/>
                      <a:pt x="611337" y="1319315"/>
                    </a:cubicBezTo>
                    <a:cubicBezTo>
                      <a:pt x="632641" y="1327088"/>
                      <a:pt x="654404" y="1332528"/>
                      <a:pt x="677262" y="1332069"/>
                    </a:cubicBezTo>
                    <a:cubicBezTo>
                      <a:pt x="699696" y="1331645"/>
                      <a:pt x="708281" y="1323307"/>
                      <a:pt x="709800" y="1300838"/>
                    </a:cubicBezTo>
                    <a:cubicBezTo>
                      <a:pt x="710047" y="1296881"/>
                      <a:pt x="712662" y="1295821"/>
                      <a:pt x="715382" y="1294302"/>
                    </a:cubicBezTo>
                    <a:cubicBezTo>
                      <a:pt x="723013" y="1289957"/>
                      <a:pt x="730432" y="1292818"/>
                      <a:pt x="737074" y="1295963"/>
                    </a:cubicBezTo>
                    <a:cubicBezTo>
                      <a:pt x="753184" y="1303523"/>
                      <a:pt x="768729" y="1299955"/>
                      <a:pt x="783250" y="1293207"/>
                    </a:cubicBezTo>
                    <a:cubicBezTo>
                      <a:pt x="796498" y="1287059"/>
                      <a:pt x="806779" y="1276991"/>
                      <a:pt x="804765" y="1259997"/>
                    </a:cubicBezTo>
                    <a:lnTo>
                      <a:pt x="804695" y="1260068"/>
                    </a:lnTo>
                    <a:close/>
                    <a:moveTo>
                      <a:pt x="493196" y="138997"/>
                    </a:moveTo>
                    <a:cubicBezTo>
                      <a:pt x="500191" y="138467"/>
                      <a:pt x="507186" y="138997"/>
                      <a:pt x="514323" y="137831"/>
                    </a:cubicBezTo>
                    <a:cubicBezTo>
                      <a:pt x="546048" y="132461"/>
                      <a:pt x="573429" y="116952"/>
                      <a:pt x="600456" y="100912"/>
                    </a:cubicBezTo>
                    <a:cubicBezTo>
                      <a:pt x="623384" y="87310"/>
                      <a:pt x="644017" y="70564"/>
                      <a:pt x="659809" y="48589"/>
                    </a:cubicBezTo>
                    <a:cubicBezTo>
                      <a:pt x="665038" y="41311"/>
                      <a:pt x="666557" y="36507"/>
                      <a:pt x="654580" y="34669"/>
                    </a:cubicBezTo>
                    <a:cubicBezTo>
                      <a:pt x="629108" y="30819"/>
                      <a:pt x="603847" y="28628"/>
                      <a:pt x="578092" y="32408"/>
                    </a:cubicBezTo>
                    <a:cubicBezTo>
                      <a:pt x="523049" y="40499"/>
                      <a:pt x="477686" y="62827"/>
                      <a:pt x="450730" y="114478"/>
                    </a:cubicBezTo>
                    <a:cubicBezTo>
                      <a:pt x="447232" y="121156"/>
                      <a:pt x="448186" y="124512"/>
                      <a:pt x="454263" y="128363"/>
                    </a:cubicBezTo>
                    <a:cubicBezTo>
                      <a:pt x="466239" y="135888"/>
                      <a:pt x="478817" y="140552"/>
                      <a:pt x="493231" y="138962"/>
                    </a:cubicBezTo>
                    <a:close/>
                    <a:moveTo>
                      <a:pt x="852283" y="1361110"/>
                    </a:moveTo>
                    <a:cubicBezTo>
                      <a:pt x="870796" y="1363442"/>
                      <a:pt x="888284" y="1359096"/>
                      <a:pt x="904500" y="1352348"/>
                    </a:cubicBezTo>
                    <a:cubicBezTo>
                      <a:pt x="945623" y="1335213"/>
                      <a:pt x="986182" y="1316630"/>
                      <a:pt x="1026704" y="1298082"/>
                    </a:cubicBezTo>
                    <a:cubicBezTo>
                      <a:pt x="1033770" y="1294832"/>
                      <a:pt x="1039988" y="1289285"/>
                      <a:pt x="1045782" y="1283915"/>
                    </a:cubicBezTo>
                    <a:cubicBezTo>
                      <a:pt x="1052000" y="1278192"/>
                      <a:pt x="1055392" y="1270737"/>
                      <a:pt x="1050658" y="1262435"/>
                    </a:cubicBezTo>
                    <a:cubicBezTo>
                      <a:pt x="1045994" y="1254309"/>
                      <a:pt x="1038222" y="1252649"/>
                      <a:pt x="1029849" y="1255404"/>
                    </a:cubicBezTo>
                    <a:cubicBezTo>
                      <a:pt x="1024161" y="1257312"/>
                      <a:pt x="1018472" y="1256853"/>
                      <a:pt x="1012749" y="1257171"/>
                    </a:cubicBezTo>
                    <a:cubicBezTo>
                      <a:pt x="989714" y="1258407"/>
                      <a:pt x="967033" y="1261446"/>
                      <a:pt x="953467" y="1283209"/>
                    </a:cubicBezTo>
                    <a:cubicBezTo>
                      <a:pt x="943186" y="1299707"/>
                      <a:pt x="927535" y="1305961"/>
                      <a:pt x="910011" y="1310660"/>
                    </a:cubicBezTo>
                    <a:cubicBezTo>
                      <a:pt x="881147" y="1318432"/>
                      <a:pt x="851329" y="1317407"/>
                      <a:pt x="822041" y="1320870"/>
                    </a:cubicBezTo>
                    <a:cubicBezTo>
                      <a:pt x="812290" y="1322000"/>
                      <a:pt x="804589" y="1326416"/>
                      <a:pt x="802257" y="1335531"/>
                    </a:cubicBezTo>
                    <a:cubicBezTo>
                      <a:pt x="799536" y="1346236"/>
                      <a:pt x="807768" y="1351606"/>
                      <a:pt x="816389" y="1355068"/>
                    </a:cubicBezTo>
                    <a:cubicBezTo>
                      <a:pt x="827977" y="1359732"/>
                      <a:pt x="839847" y="1363300"/>
                      <a:pt x="852283" y="1361110"/>
                    </a:cubicBezTo>
                    <a:close/>
                    <a:moveTo>
                      <a:pt x="1432038" y="740197"/>
                    </a:moveTo>
                    <a:cubicBezTo>
                      <a:pt x="1426985" y="747898"/>
                      <a:pt x="1426774" y="755247"/>
                      <a:pt x="1427975" y="762030"/>
                    </a:cubicBezTo>
                    <a:cubicBezTo>
                      <a:pt x="1430059" y="773512"/>
                      <a:pt x="1428576" y="784641"/>
                      <a:pt x="1428222" y="796088"/>
                    </a:cubicBezTo>
                    <a:cubicBezTo>
                      <a:pt x="1426597" y="844807"/>
                      <a:pt x="1416140" y="891477"/>
                      <a:pt x="1398192" y="936486"/>
                    </a:cubicBezTo>
                    <a:cubicBezTo>
                      <a:pt x="1389360" y="958603"/>
                      <a:pt x="1383672" y="981814"/>
                      <a:pt x="1372190" y="1003118"/>
                    </a:cubicBezTo>
                    <a:cubicBezTo>
                      <a:pt x="1355833" y="1033430"/>
                      <a:pt x="1331278" y="1056182"/>
                      <a:pt x="1307926" y="1080383"/>
                    </a:cubicBezTo>
                    <a:cubicBezTo>
                      <a:pt x="1294076" y="1094727"/>
                      <a:pt x="1280899" y="1110166"/>
                      <a:pt x="1281429" y="1131999"/>
                    </a:cubicBezTo>
                    <a:cubicBezTo>
                      <a:pt x="1281676" y="1142174"/>
                      <a:pt x="1278426" y="1151077"/>
                      <a:pt x="1273974" y="1159839"/>
                    </a:cubicBezTo>
                    <a:cubicBezTo>
                      <a:pt x="1255002" y="1197146"/>
                      <a:pt x="1225290" y="1224562"/>
                      <a:pt x="1192293" y="1248974"/>
                    </a:cubicBezTo>
                    <a:cubicBezTo>
                      <a:pt x="1185509" y="1253991"/>
                      <a:pt x="1177666" y="1257136"/>
                      <a:pt x="1169788" y="1260174"/>
                    </a:cubicBezTo>
                    <a:cubicBezTo>
                      <a:pt x="1159896" y="1264025"/>
                      <a:pt x="1152335" y="1262223"/>
                      <a:pt x="1147566" y="1252543"/>
                    </a:cubicBezTo>
                    <a:cubicBezTo>
                      <a:pt x="1144634" y="1246572"/>
                      <a:pt x="1139652" y="1244452"/>
                      <a:pt x="1134529" y="1247279"/>
                    </a:cubicBezTo>
                    <a:cubicBezTo>
                      <a:pt x="1118348" y="1256182"/>
                      <a:pt x="1106902" y="1270137"/>
                      <a:pt x="1096162" y="1284728"/>
                    </a:cubicBezTo>
                    <a:cubicBezTo>
                      <a:pt x="1106690" y="1278157"/>
                      <a:pt x="1115946" y="1270172"/>
                      <a:pt x="1125909" y="1263106"/>
                    </a:cubicBezTo>
                    <a:cubicBezTo>
                      <a:pt x="1130007" y="1260209"/>
                      <a:pt x="1136013" y="1254945"/>
                      <a:pt x="1140429" y="1262965"/>
                    </a:cubicBezTo>
                    <a:cubicBezTo>
                      <a:pt x="1150675" y="1281583"/>
                      <a:pt x="1179256" y="1283032"/>
                      <a:pt x="1191904" y="1265579"/>
                    </a:cubicBezTo>
                    <a:cubicBezTo>
                      <a:pt x="1196568" y="1259149"/>
                      <a:pt x="1198617" y="1250529"/>
                      <a:pt x="1205683" y="1246219"/>
                    </a:cubicBezTo>
                    <a:cubicBezTo>
                      <a:pt x="1226280" y="1233677"/>
                      <a:pt x="1243203" y="1217107"/>
                      <a:pt x="1259984" y="1200079"/>
                    </a:cubicBezTo>
                    <a:cubicBezTo>
                      <a:pt x="1266237" y="1193719"/>
                      <a:pt x="1275529" y="1190787"/>
                      <a:pt x="1280051" y="1181778"/>
                    </a:cubicBezTo>
                    <a:cubicBezTo>
                      <a:pt x="1290544" y="1160757"/>
                      <a:pt x="1301531" y="1140125"/>
                      <a:pt x="1305665" y="1116489"/>
                    </a:cubicBezTo>
                    <a:cubicBezTo>
                      <a:pt x="1307855" y="1104054"/>
                      <a:pt x="1314214" y="1093490"/>
                      <a:pt x="1324778" y="1085576"/>
                    </a:cubicBezTo>
                    <a:cubicBezTo>
                      <a:pt x="1330395" y="1081337"/>
                      <a:pt x="1335588" y="1076285"/>
                      <a:pt x="1340040" y="1070809"/>
                    </a:cubicBezTo>
                    <a:cubicBezTo>
                      <a:pt x="1352017" y="1056147"/>
                      <a:pt x="1368551" y="1044135"/>
                      <a:pt x="1373603" y="1025198"/>
                    </a:cubicBezTo>
                    <a:cubicBezTo>
                      <a:pt x="1379291" y="1003859"/>
                      <a:pt x="1388724" y="984676"/>
                      <a:pt x="1399676" y="965880"/>
                    </a:cubicBezTo>
                    <a:cubicBezTo>
                      <a:pt x="1408791" y="950229"/>
                      <a:pt x="1418542" y="934967"/>
                      <a:pt x="1422605" y="916773"/>
                    </a:cubicBezTo>
                    <a:cubicBezTo>
                      <a:pt x="1435571" y="858797"/>
                      <a:pt x="1439139" y="800398"/>
                      <a:pt x="1432038" y="740126"/>
                    </a:cubicBezTo>
                    <a:close/>
                    <a:moveTo>
                      <a:pt x="34162" y="800716"/>
                    </a:moveTo>
                    <a:cubicBezTo>
                      <a:pt x="39991" y="784182"/>
                      <a:pt x="39850" y="767153"/>
                      <a:pt x="45008" y="751184"/>
                    </a:cubicBezTo>
                    <a:cubicBezTo>
                      <a:pt x="50908" y="732954"/>
                      <a:pt x="60588" y="716455"/>
                      <a:pt x="66771" y="698508"/>
                    </a:cubicBezTo>
                    <a:cubicBezTo>
                      <a:pt x="72494" y="681868"/>
                      <a:pt x="75532" y="664980"/>
                      <a:pt x="64580" y="649153"/>
                    </a:cubicBezTo>
                    <a:cubicBezTo>
                      <a:pt x="59528" y="641840"/>
                      <a:pt x="62284" y="637070"/>
                      <a:pt x="67901" y="632053"/>
                    </a:cubicBezTo>
                    <a:cubicBezTo>
                      <a:pt x="75744" y="625094"/>
                      <a:pt x="84506" y="619441"/>
                      <a:pt x="90229" y="609796"/>
                    </a:cubicBezTo>
                    <a:cubicBezTo>
                      <a:pt x="105809" y="583511"/>
                      <a:pt x="114077" y="554859"/>
                      <a:pt x="120507" y="525394"/>
                    </a:cubicBezTo>
                    <a:cubicBezTo>
                      <a:pt x="123792" y="510344"/>
                      <a:pt x="123828" y="495470"/>
                      <a:pt x="120400" y="480208"/>
                    </a:cubicBezTo>
                    <a:cubicBezTo>
                      <a:pt x="107293" y="499568"/>
                      <a:pt x="95811" y="519317"/>
                      <a:pt x="84153" y="538961"/>
                    </a:cubicBezTo>
                    <a:cubicBezTo>
                      <a:pt x="74932" y="554505"/>
                      <a:pt x="63061" y="569344"/>
                      <a:pt x="62990" y="588316"/>
                    </a:cubicBezTo>
                    <a:cubicBezTo>
                      <a:pt x="62884" y="619264"/>
                      <a:pt x="50236" y="645797"/>
                      <a:pt x="36175" y="672046"/>
                    </a:cubicBezTo>
                    <a:cubicBezTo>
                      <a:pt x="29781" y="684023"/>
                      <a:pt x="27025" y="696918"/>
                      <a:pt x="27378" y="710379"/>
                    </a:cubicBezTo>
                    <a:cubicBezTo>
                      <a:pt x="28120" y="737794"/>
                      <a:pt x="29110" y="765210"/>
                      <a:pt x="30063" y="792625"/>
                    </a:cubicBezTo>
                    <a:cubicBezTo>
                      <a:pt x="30134" y="795169"/>
                      <a:pt x="29710" y="798031"/>
                      <a:pt x="34162" y="800716"/>
                    </a:cubicBezTo>
                    <a:close/>
                    <a:moveTo>
                      <a:pt x="1246841" y="256644"/>
                    </a:moveTo>
                    <a:cubicBezTo>
                      <a:pt x="1241754" y="252546"/>
                      <a:pt x="1236348" y="248023"/>
                      <a:pt x="1230837" y="243713"/>
                    </a:cubicBezTo>
                    <a:cubicBezTo>
                      <a:pt x="1212784" y="229581"/>
                      <a:pt x="1194024" y="217358"/>
                      <a:pt x="1169364" y="222657"/>
                    </a:cubicBezTo>
                    <a:cubicBezTo>
                      <a:pt x="1160850" y="224494"/>
                      <a:pt x="1153183" y="227744"/>
                      <a:pt x="1151063" y="237601"/>
                    </a:cubicBezTo>
                    <a:cubicBezTo>
                      <a:pt x="1148838" y="247953"/>
                      <a:pt x="1156080" y="253111"/>
                      <a:pt x="1162863" y="257951"/>
                    </a:cubicBezTo>
                    <a:cubicBezTo>
                      <a:pt x="1180846" y="270776"/>
                      <a:pt x="1198122" y="284342"/>
                      <a:pt x="1214409" y="299322"/>
                    </a:cubicBezTo>
                    <a:cubicBezTo>
                      <a:pt x="1226386" y="310309"/>
                      <a:pt x="1239564" y="320095"/>
                      <a:pt x="1252883" y="329493"/>
                    </a:cubicBezTo>
                    <a:cubicBezTo>
                      <a:pt x="1263022" y="336629"/>
                      <a:pt x="1274221" y="330977"/>
                      <a:pt x="1276341" y="318717"/>
                    </a:cubicBezTo>
                    <a:cubicBezTo>
                      <a:pt x="1276836" y="315926"/>
                      <a:pt x="1275105" y="312393"/>
                      <a:pt x="1278602" y="310592"/>
                    </a:cubicBezTo>
                    <a:cubicBezTo>
                      <a:pt x="1283584" y="310486"/>
                      <a:pt x="1285032" y="317057"/>
                      <a:pt x="1290650" y="316174"/>
                    </a:cubicBezTo>
                    <a:cubicBezTo>
                      <a:pt x="1293335" y="309850"/>
                      <a:pt x="1292240" y="304303"/>
                      <a:pt x="1286657" y="300099"/>
                    </a:cubicBezTo>
                    <a:cubicBezTo>
                      <a:pt x="1272914" y="289747"/>
                      <a:pt x="1259701" y="278583"/>
                      <a:pt x="1244086" y="270917"/>
                    </a:cubicBezTo>
                    <a:cubicBezTo>
                      <a:pt x="1240447" y="269115"/>
                      <a:pt x="1233805" y="269892"/>
                      <a:pt x="1234370" y="263957"/>
                    </a:cubicBezTo>
                    <a:cubicBezTo>
                      <a:pt x="1234900" y="258092"/>
                      <a:pt x="1242390" y="263356"/>
                      <a:pt x="1246841" y="256714"/>
                    </a:cubicBezTo>
                    <a:close/>
                    <a:moveTo>
                      <a:pt x="1249738" y="886884"/>
                    </a:moveTo>
                    <a:cubicBezTo>
                      <a:pt x="1249738" y="885541"/>
                      <a:pt x="1249703" y="884234"/>
                      <a:pt x="1249738" y="882892"/>
                    </a:cubicBezTo>
                    <a:cubicBezTo>
                      <a:pt x="1250198" y="872470"/>
                      <a:pt x="1250798" y="861129"/>
                      <a:pt x="1237832" y="858161"/>
                    </a:cubicBezTo>
                    <a:cubicBezTo>
                      <a:pt x="1225926" y="855406"/>
                      <a:pt x="1221086" y="865580"/>
                      <a:pt x="1215928" y="873812"/>
                    </a:cubicBezTo>
                    <a:cubicBezTo>
                      <a:pt x="1210275" y="882786"/>
                      <a:pt x="1204022" y="891477"/>
                      <a:pt x="1199429" y="900980"/>
                    </a:cubicBezTo>
                    <a:cubicBezTo>
                      <a:pt x="1193953" y="912250"/>
                      <a:pt x="1176182" y="916843"/>
                      <a:pt x="1178868" y="930692"/>
                    </a:cubicBezTo>
                    <a:cubicBezTo>
                      <a:pt x="1181199" y="942704"/>
                      <a:pt x="1189820" y="953656"/>
                      <a:pt x="1196356" y="964679"/>
                    </a:cubicBezTo>
                    <a:cubicBezTo>
                      <a:pt x="1206990" y="982591"/>
                      <a:pt x="1218048" y="982344"/>
                      <a:pt x="1228470" y="963973"/>
                    </a:cubicBezTo>
                    <a:cubicBezTo>
                      <a:pt x="1242001" y="940125"/>
                      <a:pt x="1249138" y="914406"/>
                      <a:pt x="1249738" y="886919"/>
                    </a:cubicBezTo>
                    <a:close/>
                    <a:moveTo>
                      <a:pt x="1290367" y="1190363"/>
                    </a:moveTo>
                    <a:cubicBezTo>
                      <a:pt x="1309268" y="1190080"/>
                      <a:pt x="1326014" y="1184322"/>
                      <a:pt x="1342902" y="1179411"/>
                    </a:cubicBezTo>
                    <a:cubicBezTo>
                      <a:pt x="1359118" y="1174712"/>
                      <a:pt x="1368940" y="1163901"/>
                      <a:pt x="1374098" y="1147862"/>
                    </a:cubicBezTo>
                    <a:cubicBezTo>
                      <a:pt x="1384166" y="1116560"/>
                      <a:pt x="1376253" y="1085859"/>
                      <a:pt x="1371801" y="1054698"/>
                    </a:cubicBezTo>
                    <a:cubicBezTo>
                      <a:pt x="1368763" y="1075507"/>
                      <a:pt x="1358517" y="1094126"/>
                      <a:pt x="1354772" y="1114228"/>
                    </a:cubicBezTo>
                    <a:cubicBezTo>
                      <a:pt x="1348943" y="1145530"/>
                      <a:pt x="1328629" y="1163160"/>
                      <a:pt x="1302944" y="1177221"/>
                    </a:cubicBezTo>
                    <a:cubicBezTo>
                      <a:pt x="1297998" y="1179941"/>
                      <a:pt x="1292169" y="1181637"/>
                      <a:pt x="1290367" y="1190398"/>
                    </a:cubicBezTo>
                    <a:close/>
                    <a:moveTo>
                      <a:pt x="1291568" y="286815"/>
                    </a:moveTo>
                    <a:cubicBezTo>
                      <a:pt x="1289660" y="255195"/>
                      <a:pt x="1280228" y="229087"/>
                      <a:pt x="1258252" y="207925"/>
                    </a:cubicBezTo>
                    <a:cubicBezTo>
                      <a:pt x="1237161" y="187681"/>
                      <a:pt x="1211512" y="176517"/>
                      <a:pt x="1184096" y="168638"/>
                    </a:cubicBezTo>
                    <a:cubicBezTo>
                      <a:pt x="1180669" y="167649"/>
                      <a:pt x="1175476" y="162456"/>
                      <a:pt x="1173003" y="169204"/>
                    </a:cubicBezTo>
                    <a:cubicBezTo>
                      <a:pt x="1171060" y="174538"/>
                      <a:pt x="1171378" y="179979"/>
                      <a:pt x="1177454" y="184289"/>
                    </a:cubicBezTo>
                    <a:cubicBezTo>
                      <a:pt x="1187100" y="191108"/>
                      <a:pt x="1197875" y="194853"/>
                      <a:pt x="1209039" y="197326"/>
                    </a:cubicBezTo>
                    <a:cubicBezTo>
                      <a:pt x="1238892" y="203968"/>
                      <a:pt x="1254578" y="224741"/>
                      <a:pt x="1258889" y="252475"/>
                    </a:cubicBezTo>
                    <a:cubicBezTo>
                      <a:pt x="1260938" y="265653"/>
                      <a:pt x="1266096" y="271871"/>
                      <a:pt x="1276341" y="277099"/>
                    </a:cubicBezTo>
                    <a:cubicBezTo>
                      <a:pt x="1281005" y="279466"/>
                      <a:pt x="1285244" y="282717"/>
                      <a:pt x="1291604" y="286780"/>
                    </a:cubicBezTo>
                    <a:close/>
                    <a:moveTo>
                      <a:pt x="1372720" y="698261"/>
                    </a:moveTo>
                    <a:cubicBezTo>
                      <a:pt x="1389819" y="698119"/>
                      <a:pt x="1405187" y="682680"/>
                      <a:pt x="1408614" y="667241"/>
                    </a:cubicBezTo>
                    <a:cubicBezTo>
                      <a:pt x="1410063" y="660741"/>
                      <a:pt x="1397733" y="631983"/>
                      <a:pt x="1392257" y="629651"/>
                    </a:cubicBezTo>
                    <a:cubicBezTo>
                      <a:pt x="1390314" y="628838"/>
                      <a:pt x="1387664" y="628097"/>
                      <a:pt x="1385862" y="628732"/>
                    </a:cubicBezTo>
                    <a:cubicBezTo>
                      <a:pt x="1375264" y="632477"/>
                      <a:pt x="1363676" y="634632"/>
                      <a:pt x="1357069" y="645302"/>
                    </a:cubicBezTo>
                    <a:cubicBezTo>
                      <a:pt x="1349756" y="657102"/>
                      <a:pt x="1348166" y="669467"/>
                      <a:pt x="1355762" y="681514"/>
                    </a:cubicBezTo>
                    <a:cubicBezTo>
                      <a:pt x="1360849" y="689570"/>
                      <a:pt x="1366396" y="698049"/>
                      <a:pt x="1372720" y="698225"/>
                    </a:cubicBezTo>
                    <a:close/>
                    <a:moveTo>
                      <a:pt x="67548" y="445373"/>
                    </a:moveTo>
                    <a:cubicBezTo>
                      <a:pt x="67548" y="451450"/>
                      <a:pt x="67301" y="454559"/>
                      <a:pt x="67583" y="457632"/>
                    </a:cubicBezTo>
                    <a:cubicBezTo>
                      <a:pt x="68608" y="467984"/>
                      <a:pt x="72671" y="470351"/>
                      <a:pt x="81397" y="463391"/>
                    </a:cubicBezTo>
                    <a:cubicBezTo>
                      <a:pt x="89876" y="456643"/>
                      <a:pt x="95953" y="448235"/>
                      <a:pt x="101358" y="438979"/>
                    </a:cubicBezTo>
                    <a:cubicBezTo>
                      <a:pt x="111003" y="422621"/>
                      <a:pt x="121072" y="406511"/>
                      <a:pt x="127219" y="388387"/>
                    </a:cubicBezTo>
                    <a:cubicBezTo>
                      <a:pt x="128208" y="385419"/>
                      <a:pt x="129233" y="382169"/>
                      <a:pt x="126548" y="379731"/>
                    </a:cubicBezTo>
                    <a:cubicBezTo>
                      <a:pt x="124746" y="378106"/>
                      <a:pt x="122379" y="379131"/>
                      <a:pt x="120365" y="380085"/>
                    </a:cubicBezTo>
                    <a:cubicBezTo>
                      <a:pt x="85107" y="396795"/>
                      <a:pt x="69809" y="408560"/>
                      <a:pt x="67548" y="445373"/>
                    </a:cubicBezTo>
                    <a:close/>
                    <a:moveTo>
                      <a:pt x="1342054" y="364010"/>
                    </a:moveTo>
                    <a:cubicBezTo>
                      <a:pt x="1340782" y="371076"/>
                      <a:pt x="1343750" y="373831"/>
                      <a:pt x="1345693" y="376304"/>
                    </a:cubicBezTo>
                    <a:cubicBezTo>
                      <a:pt x="1362615" y="397608"/>
                      <a:pt x="1373391" y="422586"/>
                      <a:pt x="1387417" y="445550"/>
                    </a:cubicBezTo>
                    <a:cubicBezTo>
                      <a:pt x="1408226" y="479678"/>
                      <a:pt x="1413596" y="515184"/>
                      <a:pt x="1406777" y="553764"/>
                    </a:cubicBezTo>
                    <a:cubicBezTo>
                      <a:pt x="1405329" y="561960"/>
                      <a:pt x="1406565" y="570651"/>
                      <a:pt x="1406565" y="579095"/>
                    </a:cubicBezTo>
                    <a:cubicBezTo>
                      <a:pt x="1424336" y="548358"/>
                      <a:pt x="1426244" y="516809"/>
                      <a:pt x="1417234" y="483988"/>
                    </a:cubicBezTo>
                    <a:cubicBezTo>
                      <a:pt x="1404340" y="437106"/>
                      <a:pt x="1373214" y="402024"/>
                      <a:pt x="1342054" y="364010"/>
                    </a:cubicBezTo>
                    <a:close/>
                    <a:moveTo>
                      <a:pt x="366611" y="147441"/>
                    </a:moveTo>
                    <a:cubicBezTo>
                      <a:pt x="331917" y="155531"/>
                      <a:pt x="292031" y="183971"/>
                      <a:pt x="277899" y="211034"/>
                    </a:cubicBezTo>
                    <a:cubicBezTo>
                      <a:pt x="291041" y="208455"/>
                      <a:pt x="302806" y="206052"/>
                      <a:pt x="311709" y="196443"/>
                    </a:cubicBezTo>
                    <a:cubicBezTo>
                      <a:pt x="323438" y="183759"/>
                      <a:pt x="336016" y="172348"/>
                      <a:pt x="352126" y="165035"/>
                    </a:cubicBezTo>
                    <a:cubicBezTo>
                      <a:pt x="358803" y="161996"/>
                      <a:pt x="364456" y="156556"/>
                      <a:pt x="366611" y="147441"/>
                    </a:cubicBezTo>
                    <a:close/>
                    <a:moveTo>
                      <a:pt x="1430624" y="678512"/>
                    </a:moveTo>
                    <a:cubicBezTo>
                      <a:pt x="1448431" y="666817"/>
                      <a:pt x="1454931" y="617250"/>
                      <a:pt x="1442000" y="592061"/>
                    </a:cubicBezTo>
                    <a:cubicBezTo>
                      <a:pt x="1439386" y="586973"/>
                      <a:pt x="1435924" y="584818"/>
                      <a:pt x="1430872" y="590365"/>
                    </a:cubicBezTo>
                    <a:cubicBezTo>
                      <a:pt x="1424265" y="597607"/>
                      <a:pt x="1416987" y="604037"/>
                      <a:pt x="1407484" y="591389"/>
                    </a:cubicBezTo>
                    <a:cubicBezTo>
                      <a:pt x="1406247" y="600010"/>
                      <a:pt x="1410452" y="601458"/>
                      <a:pt x="1415433" y="602977"/>
                    </a:cubicBezTo>
                    <a:cubicBezTo>
                      <a:pt x="1420803" y="604638"/>
                      <a:pt x="1426844" y="605768"/>
                      <a:pt x="1429706" y="611668"/>
                    </a:cubicBezTo>
                    <a:cubicBezTo>
                      <a:pt x="1437832" y="628591"/>
                      <a:pt x="1442248" y="645797"/>
                      <a:pt x="1431437" y="663179"/>
                    </a:cubicBezTo>
                    <a:cubicBezTo>
                      <a:pt x="1428363" y="668125"/>
                      <a:pt x="1426844" y="672435"/>
                      <a:pt x="1430660" y="678476"/>
                    </a:cubicBezTo>
                    <a:close/>
                    <a:moveTo>
                      <a:pt x="766751" y="1349592"/>
                    </a:moveTo>
                    <a:cubicBezTo>
                      <a:pt x="782543" y="1372239"/>
                      <a:pt x="818367" y="1385275"/>
                      <a:pt x="855533" y="1380364"/>
                    </a:cubicBezTo>
                    <a:cubicBezTo>
                      <a:pt x="826811" y="1379728"/>
                      <a:pt x="805366" y="1370331"/>
                      <a:pt x="787878" y="1352984"/>
                    </a:cubicBezTo>
                    <a:cubicBezTo>
                      <a:pt x="781201" y="1346377"/>
                      <a:pt x="775407" y="1343763"/>
                      <a:pt x="766786" y="1349557"/>
                    </a:cubicBezTo>
                    <a:close/>
                    <a:moveTo>
                      <a:pt x="1325308" y="365882"/>
                    </a:moveTo>
                    <a:cubicBezTo>
                      <a:pt x="1321563" y="354082"/>
                      <a:pt x="1320220" y="340834"/>
                      <a:pt x="1306901" y="334863"/>
                    </a:cubicBezTo>
                    <a:cubicBezTo>
                      <a:pt x="1310893" y="346522"/>
                      <a:pt x="1317005" y="356838"/>
                      <a:pt x="1325308" y="365882"/>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13" name="Freeform: Shape 2612">
                <a:extLst>
                  <a:ext uri="{FF2B5EF4-FFF2-40B4-BE49-F238E27FC236}">
                    <a16:creationId xmlns:a16="http://schemas.microsoft.com/office/drawing/2014/main" id="{48550B40-0363-8DF4-8532-49FF5F93D6CE}"/>
                  </a:ext>
                </a:extLst>
              </p:cNvPr>
              <p:cNvSpPr/>
              <p:nvPr/>
            </p:nvSpPr>
            <p:spPr>
              <a:xfrm>
                <a:off x="7626508" y="2544049"/>
                <a:ext cx="1275985" cy="1306265"/>
              </a:xfrm>
              <a:custGeom>
                <a:avLst/>
                <a:gdLst>
                  <a:gd name="connsiteX0" fmla="*/ 727050 w 1275984"/>
                  <a:gd name="connsiteY0" fmla="*/ 1234167 h 1306265"/>
                  <a:gd name="connsiteX1" fmla="*/ 705534 w 1275984"/>
                  <a:gd name="connsiteY1" fmla="*/ 1267376 h 1306265"/>
                  <a:gd name="connsiteX2" fmla="*/ 659359 w 1275984"/>
                  <a:gd name="connsiteY2" fmla="*/ 1270132 h 1306265"/>
                  <a:gd name="connsiteX3" fmla="*/ 637666 w 1275984"/>
                  <a:gd name="connsiteY3" fmla="*/ 1268471 h 1306265"/>
                  <a:gd name="connsiteX4" fmla="*/ 632084 w 1275984"/>
                  <a:gd name="connsiteY4" fmla="*/ 1275007 h 1306265"/>
                  <a:gd name="connsiteX5" fmla="*/ 599546 w 1275984"/>
                  <a:gd name="connsiteY5" fmla="*/ 1306239 h 1306265"/>
                  <a:gd name="connsiteX6" fmla="*/ 533622 w 1275984"/>
                  <a:gd name="connsiteY6" fmla="*/ 1293485 h 1306265"/>
                  <a:gd name="connsiteX7" fmla="*/ 516133 w 1275984"/>
                  <a:gd name="connsiteY7" fmla="*/ 1286807 h 1306265"/>
                  <a:gd name="connsiteX8" fmla="*/ 521609 w 1275984"/>
                  <a:gd name="connsiteY8" fmla="*/ 1276880 h 1306265"/>
                  <a:gd name="connsiteX9" fmla="*/ 509350 w 1275984"/>
                  <a:gd name="connsiteY9" fmla="*/ 1274407 h 1306265"/>
                  <a:gd name="connsiteX10" fmla="*/ 437384 w 1275984"/>
                  <a:gd name="connsiteY10" fmla="*/ 1252361 h 1306265"/>
                  <a:gd name="connsiteX11" fmla="*/ 430460 w 1275984"/>
                  <a:gd name="connsiteY11" fmla="*/ 1238477 h 1306265"/>
                  <a:gd name="connsiteX12" fmla="*/ 447665 w 1275984"/>
                  <a:gd name="connsiteY12" fmla="*/ 1231623 h 1306265"/>
                  <a:gd name="connsiteX13" fmla="*/ 477059 w 1275984"/>
                  <a:gd name="connsiteY13" fmla="*/ 1239749 h 1306265"/>
                  <a:gd name="connsiteX14" fmla="*/ 488329 w 1275984"/>
                  <a:gd name="connsiteY14" fmla="*/ 1243494 h 1306265"/>
                  <a:gd name="connsiteX15" fmla="*/ 580751 w 1275984"/>
                  <a:gd name="connsiteY15" fmla="*/ 1265928 h 1306265"/>
                  <a:gd name="connsiteX16" fmla="*/ 593822 w 1275984"/>
                  <a:gd name="connsiteY16" fmla="*/ 1264444 h 1306265"/>
                  <a:gd name="connsiteX17" fmla="*/ 598522 w 1275984"/>
                  <a:gd name="connsiteY17" fmla="*/ 1237947 h 1306265"/>
                  <a:gd name="connsiteX18" fmla="*/ 571247 w 1275984"/>
                  <a:gd name="connsiteY18" fmla="*/ 1229327 h 1306265"/>
                  <a:gd name="connsiteX19" fmla="*/ 544644 w 1275984"/>
                  <a:gd name="connsiteY19" fmla="*/ 1229327 h 1306265"/>
                  <a:gd name="connsiteX20" fmla="*/ 488047 w 1275984"/>
                  <a:gd name="connsiteY20" fmla="*/ 1215301 h 1306265"/>
                  <a:gd name="connsiteX21" fmla="*/ 431449 w 1275984"/>
                  <a:gd name="connsiteY21" fmla="*/ 1211803 h 1306265"/>
                  <a:gd name="connsiteX22" fmla="*/ 382695 w 1275984"/>
                  <a:gd name="connsiteY22" fmla="*/ 1210390 h 1306265"/>
                  <a:gd name="connsiteX23" fmla="*/ 365666 w 1275984"/>
                  <a:gd name="connsiteY23" fmla="*/ 1162978 h 1306265"/>
                  <a:gd name="connsiteX24" fmla="*/ 379409 w 1275984"/>
                  <a:gd name="connsiteY24" fmla="*/ 1156583 h 1306265"/>
                  <a:gd name="connsiteX25" fmla="*/ 401808 w 1275984"/>
                  <a:gd name="connsiteY25" fmla="*/ 1154782 h 1306265"/>
                  <a:gd name="connsiteX26" fmla="*/ 411806 w 1275984"/>
                  <a:gd name="connsiteY26" fmla="*/ 1143618 h 1306265"/>
                  <a:gd name="connsiteX27" fmla="*/ 402408 w 1275984"/>
                  <a:gd name="connsiteY27" fmla="*/ 1132453 h 1306265"/>
                  <a:gd name="connsiteX28" fmla="*/ 372802 w 1275984"/>
                  <a:gd name="connsiteY28" fmla="*/ 1125988 h 1306265"/>
                  <a:gd name="connsiteX29" fmla="*/ 329877 w 1275984"/>
                  <a:gd name="connsiteY29" fmla="*/ 1079071 h 1306265"/>
                  <a:gd name="connsiteX30" fmla="*/ 321045 w 1275984"/>
                  <a:gd name="connsiteY30" fmla="*/ 1059004 h 1306265"/>
                  <a:gd name="connsiteX31" fmla="*/ 311223 w 1275984"/>
                  <a:gd name="connsiteY31" fmla="*/ 1056637 h 1306265"/>
                  <a:gd name="connsiteX32" fmla="*/ 306418 w 1275984"/>
                  <a:gd name="connsiteY32" fmla="*/ 1065257 h 1306265"/>
                  <a:gd name="connsiteX33" fmla="*/ 312000 w 1275984"/>
                  <a:gd name="connsiteY33" fmla="*/ 1093768 h 1306265"/>
                  <a:gd name="connsiteX34" fmla="*/ 273279 w 1275984"/>
                  <a:gd name="connsiteY34" fmla="*/ 1169090 h 1306265"/>
                  <a:gd name="connsiteX35" fmla="*/ 126875 w 1275984"/>
                  <a:gd name="connsiteY35" fmla="*/ 1127013 h 1306265"/>
                  <a:gd name="connsiteX36" fmla="*/ 116452 w 1275984"/>
                  <a:gd name="connsiteY36" fmla="*/ 1102812 h 1306265"/>
                  <a:gd name="connsiteX37" fmla="*/ 91899 w 1275984"/>
                  <a:gd name="connsiteY37" fmla="*/ 1045897 h 1306265"/>
                  <a:gd name="connsiteX38" fmla="*/ 90344 w 1275984"/>
                  <a:gd name="connsiteY38" fmla="*/ 1031482 h 1306265"/>
                  <a:gd name="connsiteX39" fmla="*/ 104299 w 1275984"/>
                  <a:gd name="connsiteY39" fmla="*/ 1028267 h 1306265"/>
                  <a:gd name="connsiteX40" fmla="*/ 203257 w 1275984"/>
                  <a:gd name="connsiteY40" fmla="*/ 1022226 h 1306265"/>
                  <a:gd name="connsiteX41" fmla="*/ 220250 w 1275984"/>
                  <a:gd name="connsiteY41" fmla="*/ 1022085 h 1306265"/>
                  <a:gd name="connsiteX42" fmla="*/ 262327 w 1275984"/>
                  <a:gd name="connsiteY42" fmla="*/ 1020813 h 1306265"/>
                  <a:gd name="connsiteX43" fmla="*/ 270277 w 1275984"/>
                  <a:gd name="connsiteY43" fmla="*/ 1014489 h 1306265"/>
                  <a:gd name="connsiteX44" fmla="*/ 265154 w 1275984"/>
                  <a:gd name="connsiteY44" fmla="*/ 1005904 h 1306265"/>
                  <a:gd name="connsiteX45" fmla="*/ 217424 w 1275984"/>
                  <a:gd name="connsiteY45" fmla="*/ 992196 h 1306265"/>
                  <a:gd name="connsiteX46" fmla="*/ 176901 w 1275984"/>
                  <a:gd name="connsiteY46" fmla="*/ 986367 h 1306265"/>
                  <a:gd name="connsiteX47" fmla="*/ 135778 w 1275984"/>
                  <a:gd name="connsiteY47" fmla="*/ 945526 h 1306265"/>
                  <a:gd name="connsiteX48" fmla="*/ 125037 w 1275984"/>
                  <a:gd name="connsiteY48" fmla="*/ 930935 h 1306265"/>
                  <a:gd name="connsiteX49" fmla="*/ 111895 w 1275984"/>
                  <a:gd name="connsiteY49" fmla="*/ 942064 h 1306265"/>
                  <a:gd name="connsiteX50" fmla="*/ 52471 w 1275984"/>
                  <a:gd name="connsiteY50" fmla="*/ 972800 h 1306265"/>
                  <a:gd name="connsiteX51" fmla="*/ 3187 w 1275984"/>
                  <a:gd name="connsiteY51" fmla="*/ 913270 h 1306265"/>
                  <a:gd name="connsiteX52" fmla="*/ 2657 w 1275984"/>
                  <a:gd name="connsiteY52" fmla="*/ 831129 h 1306265"/>
                  <a:gd name="connsiteX53" fmla="*/ 1243 w 1275984"/>
                  <a:gd name="connsiteY53" fmla="*/ 808625 h 1306265"/>
                  <a:gd name="connsiteX54" fmla="*/ 21487 w 1275984"/>
                  <a:gd name="connsiteY54" fmla="*/ 688823 h 1306265"/>
                  <a:gd name="connsiteX55" fmla="*/ 23572 w 1275984"/>
                  <a:gd name="connsiteY55" fmla="*/ 691190 h 1306265"/>
                  <a:gd name="connsiteX56" fmla="*/ 43462 w 1275984"/>
                  <a:gd name="connsiteY56" fmla="*/ 728604 h 1306265"/>
                  <a:gd name="connsiteX57" fmla="*/ 58512 w 1275984"/>
                  <a:gd name="connsiteY57" fmla="*/ 773083 h 1306265"/>
                  <a:gd name="connsiteX58" fmla="*/ 78756 w 1275984"/>
                  <a:gd name="connsiteY58" fmla="*/ 807388 h 1306265"/>
                  <a:gd name="connsiteX59" fmla="*/ 103628 w 1275984"/>
                  <a:gd name="connsiteY59" fmla="*/ 847593 h 1306265"/>
                  <a:gd name="connsiteX60" fmla="*/ 118148 w 1275984"/>
                  <a:gd name="connsiteY60" fmla="*/ 872924 h 1306265"/>
                  <a:gd name="connsiteX61" fmla="*/ 133305 w 1275984"/>
                  <a:gd name="connsiteY61" fmla="*/ 881650 h 1306265"/>
                  <a:gd name="connsiteX62" fmla="*/ 141112 w 1275984"/>
                  <a:gd name="connsiteY62" fmla="*/ 866565 h 1306265"/>
                  <a:gd name="connsiteX63" fmla="*/ 132068 w 1275984"/>
                  <a:gd name="connsiteY63" fmla="*/ 805092 h 1306265"/>
                  <a:gd name="connsiteX64" fmla="*/ 137862 w 1275984"/>
                  <a:gd name="connsiteY64" fmla="*/ 754995 h 1306265"/>
                  <a:gd name="connsiteX65" fmla="*/ 131467 w 1275984"/>
                  <a:gd name="connsiteY65" fmla="*/ 739132 h 1306265"/>
                  <a:gd name="connsiteX66" fmla="*/ 85610 w 1275984"/>
                  <a:gd name="connsiteY66" fmla="*/ 727332 h 1306265"/>
                  <a:gd name="connsiteX67" fmla="*/ 61939 w 1275984"/>
                  <a:gd name="connsiteY67" fmla="*/ 676034 h 1306265"/>
                  <a:gd name="connsiteX68" fmla="*/ 73845 w 1275984"/>
                  <a:gd name="connsiteY68" fmla="*/ 577217 h 1306265"/>
                  <a:gd name="connsiteX69" fmla="*/ 110376 w 1275984"/>
                  <a:gd name="connsiteY69" fmla="*/ 544891 h 1306265"/>
                  <a:gd name="connsiteX70" fmla="*/ 136237 w 1275984"/>
                  <a:gd name="connsiteY70" fmla="*/ 513943 h 1306265"/>
                  <a:gd name="connsiteX71" fmla="*/ 137332 w 1275984"/>
                  <a:gd name="connsiteY71" fmla="*/ 500093 h 1306265"/>
                  <a:gd name="connsiteX72" fmla="*/ 113591 w 1275984"/>
                  <a:gd name="connsiteY72" fmla="*/ 518465 h 1306265"/>
                  <a:gd name="connsiteX73" fmla="*/ 82148 w 1275984"/>
                  <a:gd name="connsiteY73" fmla="*/ 520514 h 1306265"/>
                  <a:gd name="connsiteX74" fmla="*/ 64766 w 1275984"/>
                  <a:gd name="connsiteY74" fmla="*/ 485891 h 1306265"/>
                  <a:gd name="connsiteX75" fmla="*/ 104370 w 1275984"/>
                  <a:gd name="connsiteY75" fmla="*/ 384107 h 1306265"/>
                  <a:gd name="connsiteX76" fmla="*/ 110941 w 1275984"/>
                  <a:gd name="connsiteY76" fmla="*/ 371035 h 1306265"/>
                  <a:gd name="connsiteX77" fmla="*/ 110729 w 1275984"/>
                  <a:gd name="connsiteY77" fmla="*/ 362450 h 1306265"/>
                  <a:gd name="connsiteX78" fmla="*/ 103522 w 1275984"/>
                  <a:gd name="connsiteY78" fmla="*/ 363722 h 1306265"/>
                  <a:gd name="connsiteX79" fmla="*/ 92358 w 1275984"/>
                  <a:gd name="connsiteY79" fmla="*/ 364676 h 1306265"/>
                  <a:gd name="connsiteX80" fmla="*/ 92888 w 1275984"/>
                  <a:gd name="connsiteY80" fmla="*/ 353618 h 1306265"/>
                  <a:gd name="connsiteX81" fmla="*/ 101014 w 1275984"/>
                  <a:gd name="connsiteY81" fmla="*/ 322952 h 1306265"/>
                  <a:gd name="connsiteX82" fmla="*/ 152630 w 1275984"/>
                  <a:gd name="connsiteY82" fmla="*/ 255261 h 1306265"/>
                  <a:gd name="connsiteX83" fmla="*/ 189796 w 1275984"/>
                  <a:gd name="connsiteY83" fmla="*/ 216010 h 1306265"/>
                  <a:gd name="connsiteX84" fmla="*/ 198664 w 1275984"/>
                  <a:gd name="connsiteY84" fmla="*/ 208414 h 1306265"/>
                  <a:gd name="connsiteX85" fmla="*/ 283949 w 1275984"/>
                  <a:gd name="connsiteY85" fmla="*/ 165737 h 1306265"/>
                  <a:gd name="connsiteX86" fmla="*/ 358141 w 1275984"/>
                  <a:gd name="connsiteY86" fmla="*/ 119314 h 1306265"/>
                  <a:gd name="connsiteX87" fmla="*/ 367715 w 1275984"/>
                  <a:gd name="connsiteY87" fmla="*/ 121716 h 1306265"/>
                  <a:gd name="connsiteX88" fmla="*/ 366337 w 1275984"/>
                  <a:gd name="connsiteY88" fmla="*/ 147436 h 1306265"/>
                  <a:gd name="connsiteX89" fmla="*/ 371142 w 1275984"/>
                  <a:gd name="connsiteY89" fmla="*/ 153831 h 1306265"/>
                  <a:gd name="connsiteX90" fmla="*/ 489919 w 1275984"/>
                  <a:gd name="connsiteY90" fmla="*/ 127899 h 1306265"/>
                  <a:gd name="connsiteX91" fmla="*/ 535988 w 1275984"/>
                  <a:gd name="connsiteY91" fmla="*/ 102426 h 1306265"/>
                  <a:gd name="connsiteX92" fmla="*/ 589053 w 1275984"/>
                  <a:gd name="connsiteY92" fmla="*/ 52188 h 1306265"/>
                  <a:gd name="connsiteX93" fmla="*/ 665329 w 1275984"/>
                  <a:gd name="connsiteY93" fmla="*/ 37032 h 1306265"/>
                  <a:gd name="connsiteX94" fmla="*/ 691861 w 1275984"/>
                  <a:gd name="connsiteY94" fmla="*/ 36325 h 1306265"/>
                  <a:gd name="connsiteX95" fmla="*/ 771352 w 1275984"/>
                  <a:gd name="connsiteY95" fmla="*/ 8062 h 1306265"/>
                  <a:gd name="connsiteX96" fmla="*/ 856355 w 1275984"/>
                  <a:gd name="connsiteY96" fmla="*/ 5306 h 1306265"/>
                  <a:gd name="connsiteX97" fmla="*/ 895040 w 1275984"/>
                  <a:gd name="connsiteY97" fmla="*/ 32227 h 1306265"/>
                  <a:gd name="connsiteX98" fmla="*/ 958386 w 1275984"/>
                  <a:gd name="connsiteY98" fmla="*/ 69535 h 1306265"/>
                  <a:gd name="connsiteX99" fmla="*/ 1067624 w 1275984"/>
                  <a:gd name="connsiteY99" fmla="*/ 182624 h 1306265"/>
                  <a:gd name="connsiteX100" fmla="*/ 1046179 w 1275984"/>
                  <a:gd name="connsiteY100" fmla="*/ 229365 h 1306265"/>
                  <a:gd name="connsiteX101" fmla="*/ 1031447 w 1275984"/>
                  <a:gd name="connsiteY101" fmla="*/ 248125 h 1306265"/>
                  <a:gd name="connsiteX102" fmla="*/ 1031624 w 1275984"/>
                  <a:gd name="connsiteY102" fmla="*/ 273173 h 1306265"/>
                  <a:gd name="connsiteX103" fmla="*/ 1060417 w 1275984"/>
                  <a:gd name="connsiteY103" fmla="*/ 349767 h 1306265"/>
                  <a:gd name="connsiteX104" fmla="*/ 1083417 w 1275984"/>
                  <a:gd name="connsiteY104" fmla="*/ 385520 h 1306265"/>
                  <a:gd name="connsiteX105" fmla="*/ 1076845 w 1275984"/>
                  <a:gd name="connsiteY105" fmla="*/ 332703 h 1306265"/>
                  <a:gd name="connsiteX106" fmla="*/ 1075220 w 1275984"/>
                  <a:gd name="connsiteY106" fmla="*/ 305570 h 1306265"/>
                  <a:gd name="connsiteX107" fmla="*/ 1092072 w 1275984"/>
                  <a:gd name="connsiteY107" fmla="*/ 304051 h 1306265"/>
                  <a:gd name="connsiteX108" fmla="*/ 1163296 w 1275984"/>
                  <a:gd name="connsiteY108" fmla="*/ 393010 h 1306265"/>
                  <a:gd name="connsiteX109" fmla="*/ 1180042 w 1275984"/>
                  <a:gd name="connsiteY109" fmla="*/ 457239 h 1306265"/>
                  <a:gd name="connsiteX110" fmla="*/ 1168560 w 1275984"/>
                  <a:gd name="connsiteY110" fmla="*/ 465082 h 1306265"/>
                  <a:gd name="connsiteX111" fmla="*/ 1161282 w 1275984"/>
                  <a:gd name="connsiteY111" fmla="*/ 468686 h 1306265"/>
                  <a:gd name="connsiteX112" fmla="*/ 1159057 w 1275984"/>
                  <a:gd name="connsiteY112" fmla="*/ 477624 h 1306265"/>
                  <a:gd name="connsiteX113" fmla="*/ 1146586 w 1275984"/>
                  <a:gd name="connsiteY113" fmla="*/ 547611 h 1306265"/>
                  <a:gd name="connsiteX114" fmla="*/ 1145808 w 1275984"/>
                  <a:gd name="connsiteY114" fmla="*/ 567431 h 1306265"/>
                  <a:gd name="connsiteX115" fmla="*/ 1151355 w 1275984"/>
                  <a:gd name="connsiteY115" fmla="*/ 575628 h 1306265"/>
                  <a:gd name="connsiteX116" fmla="*/ 1159021 w 1275984"/>
                  <a:gd name="connsiteY116" fmla="*/ 569480 h 1306265"/>
                  <a:gd name="connsiteX117" fmla="*/ 1181067 w 1275984"/>
                  <a:gd name="connsiteY117" fmla="*/ 531643 h 1306265"/>
                  <a:gd name="connsiteX118" fmla="*/ 1181632 w 1275984"/>
                  <a:gd name="connsiteY118" fmla="*/ 548671 h 1306265"/>
                  <a:gd name="connsiteX119" fmla="*/ 1169620 w 1275984"/>
                  <a:gd name="connsiteY119" fmla="*/ 647911 h 1306265"/>
                  <a:gd name="connsiteX120" fmla="*/ 1159127 w 1275984"/>
                  <a:gd name="connsiteY120" fmla="*/ 712847 h 1306265"/>
                  <a:gd name="connsiteX121" fmla="*/ 1147045 w 1275984"/>
                  <a:gd name="connsiteY121" fmla="*/ 733302 h 1306265"/>
                  <a:gd name="connsiteX122" fmla="*/ 1141392 w 1275984"/>
                  <a:gd name="connsiteY122" fmla="*/ 742206 h 1306265"/>
                  <a:gd name="connsiteX123" fmla="*/ 1143088 w 1275984"/>
                  <a:gd name="connsiteY123" fmla="*/ 755595 h 1306265"/>
                  <a:gd name="connsiteX124" fmla="*/ 1156937 w 1275984"/>
                  <a:gd name="connsiteY124" fmla="*/ 751992 h 1306265"/>
                  <a:gd name="connsiteX125" fmla="*/ 1175626 w 1275984"/>
                  <a:gd name="connsiteY125" fmla="*/ 705675 h 1306265"/>
                  <a:gd name="connsiteX126" fmla="*/ 1202335 w 1275984"/>
                  <a:gd name="connsiteY126" fmla="*/ 620461 h 1306265"/>
                  <a:gd name="connsiteX127" fmla="*/ 1210779 w 1275984"/>
                  <a:gd name="connsiteY127" fmla="*/ 550155 h 1306265"/>
                  <a:gd name="connsiteX128" fmla="*/ 1212015 w 1275984"/>
                  <a:gd name="connsiteY128" fmla="*/ 477518 h 1306265"/>
                  <a:gd name="connsiteX129" fmla="*/ 1208200 w 1275984"/>
                  <a:gd name="connsiteY129" fmla="*/ 416964 h 1306265"/>
                  <a:gd name="connsiteX130" fmla="*/ 1208765 w 1275984"/>
                  <a:gd name="connsiteY130" fmla="*/ 409509 h 1306265"/>
                  <a:gd name="connsiteX131" fmla="*/ 1214524 w 1275984"/>
                  <a:gd name="connsiteY131" fmla="*/ 379868 h 1306265"/>
                  <a:gd name="connsiteX132" fmla="*/ 1223462 w 1275984"/>
                  <a:gd name="connsiteY132" fmla="*/ 374462 h 1306265"/>
                  <a:gd name="connsiteX133" fmla="*/ 1254340 w 1275984"/>
                  <a:gd name="connsiteY133" fmla="*/ 421097 h 1306265"/>
                  <a:gd name="connsiteX134" fmla="*/ 1252998 w 1275984"/>
                  <a:gd name="connsiteY134" fmla="*/ 432791 h 1306265"/>
                  <a:gd name="connsiteX135" fmla="*/ 1250242 w 1275984"/>
                  <a:gd name="connsiteY135" fmla="*/ 472254 h 1306265"/>
                  <a:gd name="connsiteX136" fmla="*/ 1248687 w 1275984"/>
                  <a:gd name="connsiteY136" fmla="*/ 522174 h 1306265"/>
                  <a:gd name="connsiteX137" fmla="*/ 1238724 w 1275984"/>
                  <a:gd name="connsiteY137" fmla="*/ 627385 h 1306265"/>
                  <a:gd name="connsiteX138" fmla="*/ 1234909 w 1275984"/>
                  <a:gd name="connsiteY138" fmla="*/ 657556 h 1306265"/>
                  <a:gd name="connsiteX139" fmla="*/ 1220459 w 1275984"/>
                  <a:gd name="connsiteY139" fmla="*/ 684018 h 1306265"/>
                  <a:gd name="connsiteX140" fmla="*/ 1206504 w 1275984"/>
                  <a:gd name="connsiteY140" fmla="*/ 715885 h 1306265"/>
                  <a:gd name="connsiteX141" fmla="*/ 1216078 w 1275984"/>
                  <a:gd name="connsiteY141" fmla="*/ 734892 h 1306265"/>
                  <a:gd name="connsiteX142" fmla="*/ 1238088 w 1275984"/>
                  <a:gd name="connsiteY142" fmla="*/ 729593 h 1306265"/>
                  <a:gd name="connsiteX143" fmla="*/ 1252362 w 1275984"/>
                  <a:gd name="connsiteY143" fmla="*/ 717793 h 1306265"/>
                  <a:gd name="connsiteX144" fmla="*/ 1269779 w 1275984"/>
                  <a:gd name="connsiteY144" fmla="*/ 717051 h 1306265"/>
                  <a:gd name="connsiteX145" fmla="*/ 1275962 w 1275984"/>
                  <a:gd name="connsiteY145" fmla="*/ 731819 h 1306265"/>
                  <a:gd name="connsiteX146" fmla="*/ 1261618 w 1275984"/>
                  <a:gd name="connsiteY146" fmla="*/ 764074 h 1306265"/>
                  <a:gd name="connsiteX147" fmla="*/ 1229080 w 1275984"/>
                  <a:gd name="connsiteY147" fmla="*/ 807635 h 1306265"/>
                  <a:gd name="connsiteX148" fmla="*/ 1219223 w 1275984"/>
                  <a:gd name="connsiteY148" fmla="*/ 816326 h 1306265"/>
                  <a:gd name="connsiteX149" fmla="*/ 1202688 w 1275984"/>
                  <a:gd name="connsiteY149" fmla="*/ 818588 h 1306265"/>
                  <a:gd name="connsiteX150" fmla="*/ 1200357 w 1275984"/>
                  <a:gd name="connsiteY150" fmla="*/ 798838 h 1306265"/>
                  <a:gd name="connsiteX151" fmla="*/ 1212793 w 1275984"/>
                  <a:gd name="connsiteY151" fmla="*/ 778453 h 1306265"/>
                  <a:gd name="connsiteX152" fmla="*/ 1214665 w 1275984"/>
                  <a:gd name="connsiteY152" fmla="*/ 766724 h 1306265"/>
                  <a:gd name="connsiteX153" fmla="*/ 1203960 w 1275984"/>
                  <a:gd name="connsiteY153" fmla="*/ 769939 h 1306265"/>
                  <a:gd name="connsiteX154" fmla="*/ 1148529 w 1275984"/>
                  <a:gd name="connsiteY154" fmla="*/ 808766 h 1306265"/>
                  <a:gd name="connsiteX155" fmla="*/ 1130228 w 1275984"/>
                  <a:gd name="connsiteY155" fmla="*/ 819435 h 1306265"/>
                  <a:gd name="connsiteX156" fmla="*/ 1110090 w 1275984"/>
                  <a:gd name="connsiteY156" fmla="*/ 843813 h 1306265"/>
                  <a:gd name="connsiteX157" fmla="*/ 1081968 w 1275984"/>
                  <a:gd name="connsiteY157" fmla="*/ 910797 h 1306265"/>
                  <a:gd name="connsiteX158" fmla="*/ 1086985 w 1275984"/>
                  <a:gd name="connsiteY158" fmla="*/ 966441 h 1306265"/>
                  <a:gd name="connsiteX159" fmla="*/ 1096736 w 1275984"/>
                  <a:gd name="connsiteY159" fmla="*/ 982198 h 1306265"/>
                  <a:gd name="connsiteX160" fmla="*/ 1098537 w 1275984"/>
                  <a:gd name="connsiteY160" fmla="*/ 1005268 h 1306265"/>
                  <a:gd name="connsiteX161" fmla="*/ 1099421 w 1275984"/>
                  <a:gd name="connsiteY161" fmla="*/ 1038548 h 1306265"/>
                  <a:gd name="connsiteX162" fmla="*/ 1091048 w 1275984"/>
                  <a:gd name="connsiteY162" fmla="*/ 1102141 h 1306265"/>
                  <a:gd name="connsiteX163" fmla="*/ 1003290 w 1275984"/>
                  <a:gd name="connsiteY163" fmla="*/ 1175131 h 1306265"/>
                  <a:gd name="connsiteX164" fmla="*/ 986685 w 1275984"/>
                  <a:gd name="connsiteY164" fmla="*/ 1179265 h 1306265"/>
                  <a:gd name="connsiteX165" fmla="*/ 911186 w 1275984"/>
                  <a:gd name="connsiteY165" fmla="*/ 1198449 h 1306265"/>
                  <a:gd name="connsiteX166" fmla="*/ 885537 w 1275984"/>
                  <a:gd name="connsiteY166" fmla="*/ 1195340 h 1306265"/>
                  <a:gd name="connsiteX167" fmla="*/ 836288 w 1275984"/>
                  <a:gd name="connsiteY167" fmla="*/ 1214559 h 1306265"/>
                  <a:gd name="connsiteX168" fmla="*/ 788311 w 1275984"/>
                  <a:gd name="connsiteY168" fmla="*/ 1247698 h 1306265"/>
                  <a:gd name="connsiteX169" fmla="*/ 748777 w 1275984"/>
                  <a:gd name="connsiteY169" fmla="*/ 1244624 h 1306265"/>
                  <a:gd name="connsiteX170" fmla="*/ 726908 w 1275984"/>
                  <a:gd name="connsiteY170" fmla="*/ 1234202 h 1306265"/>
                  <a:gd name="connsiteX171" fmla="*/ 746339 w 1275984"/>
                  <a:gd name="connsiteY171" fmla="*/ 1223179 h 1306265"/>
                  <a:gd name="connsiteX172" fmla="*/ 762944 w 1275984"/>
                  <a:gd name="connsiteY172" fmla="*/ 1210072 h 1306265"/>
                  <a:gd name="connsiteX173" fmla="*/ 766088 w 1275984"/>
                  <a:gd name="connsiteY173" fmla="*/ 1195304 h 1306265"/>
                  <a:gd name="connsiteX174" fmla="*/ 754500 w 1275984"/>
                  <a:gd name="connsiteY174" fmla="*/ 1191701 h 1306265"/>
                  <a:gd name="connsiteX175" fmla="*/ 735175 w 1275984"/>
                  <a:gd name="connsiteY175" fmla="*/ 1195410 h 1306265"/>
                  <a:gd name="connsiteX176" fmla="*/ 677200 w 1275984"/>
                  <a:gd name="connsiteY176" fmla="*/ 1207670 h 1306265"/>
                  <a:gd name="connsiteX177" fmla="*/ 653741 w 1275984"/>
                  <a:gd name="connsiteY177" fmla="*/ 1219187 h 1306265"/>
                  <a:gd name="connsiteX178" fmla="*/ 674797 w 1275984"/>
                  <a:gd name="connsiteY178" fmla="*/ 1236357 h 1306265"/>
                  <a:gd name="connsiteX179" fmla="*/ 677412 w 1275984"/>
                  <a:gd name="connsiteY179" fmla="*/ 1236675 h 1306265"/>
                  <a:gd name="connsiteX180" fmla="*/ 727014 w 1275984"/>
                  <a:gd name="connsiteY180" fmla="*/ 1234167 h 130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275984" h="1306265">
                    <a:moveTo>
                      <a:pt x="727050" y="1234167"/>
                    </a:moveTo>
                    <a:cubicBezTo>
                      <a:pt x="729099" y="1251160"/>
                      <a:pt x="718818" y="1261229"/>
                      <a:pt x="705534" y="1267376"/>
                    </a:cubicBezTo>
                    <a:cubicBezTo>
                      <a:pt x="691014" y="1274124"/>
                      <a:pt x="675469" y="1277657"/>
                      <a:pt x="659359" y="1270132"/>
                    </a:cubicBezTo>
                    <a:cubicBezTo>
                      <a:pt x="652717" y="1267023"/>
                      <a:pt x="645298" y="1264126"/>
                      <a:pt x="637666" y="1268471"/>
                    </a:cubicBezTo>
                    <a:cubicBezTo>
                      <a:pt x="634946" y="1270026"/>
                      <a:pt x="632367" y="1271086"/>
                      <a:pt x="632084" y="1275007"/>
                    </a:cubicBezTo>
                    <a:cubicBezTo>
                      <a:pt x="630565" y="1297477"/>
                      <a:pt x="622015" y="1305779"/>
                      <a:pt x="599546" y="1306239"/>
                    </a:cubicBezTo>
                    <a:cubicBezTo>
                      <a:pt x="576688" y="1306698"/>
                      <a:pt x="554925" y="1301257"/>
                      <a:pt x="533622" y="1293485"/>
                    </a:cubicBezTo>
                    <a:cubicBezTo>
                      <a:pt x="527828" y="1291365"/>
                      <a:pt x="522104" y="1289104"/>
                      <a:pt x="516133" y="1286807"/>
                    </a:cubicBezTo>
                    <a:cubicBezTo>
                      <a:pt x="515003" y="1281791"/>
                      <a:pt x="524895" y="1282391"/>
                      <a:pt x="521609" y="1276880"/>
                    </a:cubicBezTo>
                    <a:cubicBezTo>
                      <a:pt x="518748" y="1272146"/>
                      <a:pt x="513484" y="1274160"/>
                      <a:pt x="509350" y="1274407"/>
                    </a:cubicBezTo>
                    <a:cubicBezTo>
                      <a:pt x="482535" y="1276138"/>
                      <a:pt x="458723" y="1267977"/>
                      <a:pt x="437384" y="1252361"/>
                    </a:cubicBezTo>
                    <a:cubicBezTo>
                      <a:pt x="433357" y="1249394"/>
                      <a:pt x="426644" y="1246002"/>
                      <a:pt x="430460" y="1238477"/>
                    </a:cubicBezTo>
                    <a:cubicBezTo>
                      <a:pt x="434134" y="1231270"/>
                      <a:pt x="440988" y="1230280"/>
                      <a:pt x="447665" y="1231623"/>
                    </a:cubicBezTo>
                    <a:cubicBezTo>
                      <a:pt x="457593" y="1233672"/>
                      <a:pt x="467273" y="1236887"/>
                      <a:pt x="477059" y="1239749"/>
                    </a:cubicBezTo>
                    <a:cubicBezTo>
                      <a:pt x="480875" y="1240879"/>
                      <a:pt x="484619" y="1243600"/>
                      <a:pt x="488329" y="1243494"/>
                    </a:cubicBezTo>
                    <a:cubicBezTo>
                      <a:pt x="521256" y="1242469"/>
                      <a:pt x="549308" y="1261264"/>
                      <a:pt x="580751" y="1265928"/>
                    </a:cubicBezTo>
                    <a:cubicBezTo>
                      <a:pt x="585026" y="1266564"/>
                      <a:pt x="589512" y="1266246"/>
                      <a:pt x="593822" y="1264444"/>
                    </a:cubicBezTo>
                    <a:cubicBezTo>
                      <a:pt x="606258" y="1259180"/>
                      <a:pt x="608520" y="1246991"/>
                      <a:pt x="598522" y="1237947"/>
                    </a:cubicBezTo>
                    <a:cubicBezTo>
                      <a:pt x="590784" y="1230952"/>
                      <a:pt x="580892" y="1229998"/>
                      <a:pt x="571247" y="1229327"/>
                    </a:cubicBezTo>
                    <a:cubicBezTo>
                      <a:pt x="562415" y="1228691"/>
                      <a:pt x="553477" y="1228691"/>
                      <a:pt x="544644" y="1229327"/>
                    </a:cubicBezTo>
                    <a:cubicBezTo>
                      <a:pt x="524188" y="1230740"/>
                      <a:pt x="505499" y="1227666"/>
                      <a:pt x="488047" y="1215301"/>
                    </a:cubicBezTo>
                    <a:cubicBezTo>
                      <a:pt x="470558" y="1202936"/>
                      <a:pt x="450562" y="1209507"/>
                      <a:pt x="431449" y="1211803"/>
                    </a:cubicBezTo>
                    <a:cubicBezTo>
                      <a:pt x="415127" y="1213746"/>
                      <a:pt x="398805" y="1214665"/>
                      <a:pt x="382695" y="1210390"/>
                    </a:cubicBezTo>
                    <a:cubicBezTo>
                      <a:pt x="362945" y="1205126"/>
                      <a:pt x="353972" y="1179760"/>
                      <a:pt x="365666" y="1162978"/>
                    </a:cubicBezTo>
                    <a:cubicBezTo>
                      <a:pt x="369093" y="1158067"/>
                      <a:pt x="373650" y="1156583"/>
                      <a:pt x="379409" y="1156583"/>
                    </a:cubicBezTo>
                    <a:cubicBezTo>
                      <a:pt x="386863" y="1156583"/>
                      <a:pt x="394318" y="1157290"/>
                      <a:pt x="401808" y="1154782"/>
                    </a:cubicBezTo>
                    <a:cubicBezTo>
                      <a:pt x="407743" y="1152803"/>
                      <a:pt x="410958" y="1149023"/>
                      <a:pt x="411806" y="1143618"/>
                    </a:cubicBezTo>
                    <a:cubicBezTo>
                      <a:pt x="412830" y="1137046"/>
                      <a:pt x="407460" y="1133902"/>
                      <a:pt x="402408" y="1132453"/>
                    </a:cubicBezTo>
                    <a:cubicBezTo>
                      <a:pt x="392693" y="1129662"/>
                      <a:pt x="382765" y="1126518"/>
                      <a:pt x="372802" y="1125988"/>
                    </a:cubicBezTo>
                    <a:cubicBezTo>
                      <a:pt x="350686" y="1124893"/>
                      <a:pt x="331749" y="1102953"/>
                      <a:pt x="329877" y="1079071"/>
                    </a:cubicBezTo>
                    <a:cubicBezTo>
                      <a:pt x="329276" y="1071475"/>
                      <a:pt x="327369" y="1064233"/>
                      <a:pt x="321045" y="1059004"/>
                    </a:cubicBezTo>
                    <a:cubicBezTo>
                      <a:pt x="318077" y="1056531"/>
                      <a:pt x="314897" y="1055330"/>
                      <a:pt x="311223" y="1056637"/>
                    </a:cubicBezTo>
                    <a:cubicBezTo>
                      <a:pt x="307231" y="1058050"/>
                      <a:pt x="306666" y="1061547"/>
                      <a:pt x="306418" y="1065257"/>
                    </a:cubicBezTo>
                    <a:cubicBezTo>
                      <a:pt x="305747" y="1075255"/>
                      <a:pt x="309351" y="1084512"/>
                      <a:pt x="312000" y="1093768"/>
                    </a:cubicBezTo>
                    <a:cubicBezTo>
                      <a:pt x="322246" y="1129945"/>
                      <a:pt x="301826" y="1156583"/>
                      <a:pt x="273279" y="1169090"/>
                    </a:cubicBezTo>
                    <a:cubicBezTo>
                      <a:pt x="226468" y="1189546"/>
                      <a:pt x="160437" y="1180925"/>
                      <a:pt x="126875" y="1127013"/>
                    </a:cubicBezTo>
                    <a:cubicBezTo>
                      <a:pt x="122211" y="1119488"/>
                      <a:pt x="118148" y="1111821"/>
                      <a:pt x="116452" y="1102812"/>
                    </a:cubicBezTo>
                    <a:cubicBezTo>
                      <a:pt x="112531" y="1082109"/>
                      <a:pt x="104123" y="1063067"/>
                      <a:pt x="91899" y="1045897"/>
                    </a:cubicBezTo>
                    <a:cubicBezTo>
                      <a:pt x="88401" y="1040986"/>
                      <a:pt x="87023" y="1036958"/>
                      <a:pt x="90344" y="1031482"/>
                    </a:cubicBezTo>
                    <a:cubicBezTo>
                      <a:pt x="94089" y="1025264"/>
                      <a:pt x="98965" y="1027313"/>
                      <a:pt x="104299" y="1028267"/>
                    </a:cubicBezTo>
                    <a:cubicBezTo>
                      <a:pt x="137721" y="1034238"/>
                      <a:pt x="171001" y="1037029"/>
                      <a:pt x="203257" y="1022226"/>
                    </a:cubicBezTo>
                    <a:cubicBezTo>
                      <a:pt x="208591" y="1019753"/>
                      <a:pt x="214597" y="1020671"/>
                      <a:pt x="220250" y="1022085"/>
                    </a:cubicBezTo>
                    <a:cubicBezTo>
                      <a:pt x="234417" y="1025582"/>
                      <a:pt x="248372" y="1023250"/>
                      <a:pt x="262327" y="1020813"/>
                    </a:cubicBezTo>
                    <a:cubicBezTo>
                      <a:pt x="266108" y="1020141"/>
                      <a:pt x="269216" y="1017986"/>
                      <a:pt x="270277" y="1014489"/>
                    </a:cubicBezTo>
                    <a:cubicBezTo>
                      <a:pt x="271478" y="1010391"/>
                      <a:pt x="267803" y="1008023"/>
                      <a:pt x="265154" y="1005904"/>
                    </a:cubicBezTo>
                    <a:cubicBezTo>
                      <a:pt x="251163" y="994775"/>
                      <a:pt x="233852" y="994881"/>
                      <a:pt x="217424" y="992196"/>
                    </a:cubicBezTo>
                    <a:cubicBezTo>
                      <a:pt x="203963" y="990006"/>
                      <a:pt x="190185" y="989299"/>
                      <a:pt x="176901" y="986367"/>
                    </a:cubicBezTo>
                    <a:cubicBezTo>
                      <a:pt x="154926" y="981562"/>
                      <a:pt x="138922" y="969903"/>
                      <a:pt x="135778" y="945526"/>
                    </a:cubicBezTo>
                    <a:cubicBezTo>
                      <a:pt x="134930" y="938919"/>
                      <a:pt x="133729" y="931924"/>
                      <a:pt x="125037" y="930935"/>
                    </a:cubicBezTo>
                    <a:cubicBezTo>
                      <a:pt x="116876" y="930016"/>
                      <a:pt x="114827" y="936976"/>
                      <a:pt x="111895" y="942064"/>
                    </a:cubicBezTo>
                    <a:cubicBezTo>
                      <a:pt x="96562" y="968702"/>
                      <a:pt x="77060" y="978912"/>
                      <a:pt x="52471" y="972800"/>
                    </a:cubicBezTo>
                    <a:cubicBezTo>
                      <a:pt x="26681" y="966370"/>
                      <a:pt x="3328" y="939131"/>
                      <a:pt x="3187" y="913270"/>
                    </a:cubicBezTo>
                    <a:cubicBezTo>
                      <a:pt x="3010" y="885890"/>
                      <a:pt x="4847" y="858510"/>
                      <a:pt x="2657" y="831129"/>
                    </a:cubicBezTo>
                    <a:cubicBezTo>
                      <a:pt x="2056" y="823640"/>
                      <a:pt x="2162" y="816185"/>
                      <a:pt x="1243" y="808625"/>
                    </a:cubicBezTo>
                    <a:cubicBezTo>
                      <a:pt x="-3809" y="767042"/>
                      <a:pt x="7250" y="728180"/>
                      <a:pt x="21487" y="688823"/>
                    </a:cubicBezTo>
                    <a:cubicBezTo>
                      <a:pt x="23006" y="690519"/>
                      <a:pt x="23395" y="690801"/>
                      <a:pt x="23572" y="691190"/>
                    </a:cubicBezTo>
                    <a:cubicBezTo>
                      <a:pt x="29542" y="703944"/>
                      <a:pt x="32227" y="717546"/>
                      <a:pt x="43462" y="728604"/>
                    </a:cubicBezTo>
                    <a:cubicBezTo>
                      <a:pt x="54732" y="739732"/>
                      <a:pt x="56816" y="757185"/>
                      <a:pt x="58512" y="773083"/>
                    </a:cubicBezTo>
                    <a:cubicBezTo>
                      <a:pt x="60102" y="787816"/>
                      <a:pt x="67380" y="798485"/>
                      <a:pt x="78756" y="807388"/>
                    </a:cubicBezTo>
                    <a:cubicBezTo>
                      <a:pt x="91828" y="817598"/>
                      <a:pt x="94513" y="834662"/>
                      <a:pt x="103628" y="847593"/>
                    </a:cubicBezTo>
                    <a:cubicBezTo>
                      <a:pt x="109210" y="855507"/>
                      <a:pt x="112990" y="864657"/>
                      <a:pt x="118148" y="872924"/>
                    </a:cubicBezTo>
                    <a:cubicBezTo>
                      <a:pt x="121504" y="878329"/>
                      <a:pt x="126557" y="883170"/>
                      <a:pt x="133305" y="881650"/>
                    </a:cubicBezTo>
                    <a:cubicBezTo>
                      <a:pt x="140724" y="879955"/>
                      <a:pt x="140582" y="872995"/>
                      <a:pt x="141112" y="866565"/>
                    </a:cubicBezTo>
                    <a:cubicBezTo>
                      <a:pt x="142949" y="845332"/>
                      <a:pt x="134824" y="825618"/>
                      <a:pt x="132068" y="805092"/>
                    </a:cubicBezTo>
                    <a:cubicBezTo>
                      <a:pt x="129701" y="787639"/>
                      <a:pt x="128111" y="770999"/>
                      <a:pt x="137862" y="754995"/>
                    </a:cubicBezTo>
                    <a:cubicBezTo>
                      <a:pt x="142208" y="747823"/>
                      <a:pt x="143974" y="739556"/>
                      <a:pt x="131467" y="739132"/>
                    </a:cubicBezTo>
                    <a:cubicBezTo>
                      <a:pt x="115181" y="738567"/>
                      <a:pt x="97975" y="741676"/>
                      <a:pt x="85610" y="727332"/>
                    </a:cubicBezTo>
                    <a:cubicBezTo>
                      <a:pt x="72927" y="712600"/>
                      <a:pt x="65543" y="694899"/>
                      <a:pt x="61939" y="676034"/>
                    </a:cubicBezTo>
                    <a:cubicBezTo>
                      <a:pt x="55439" y="641976"/>
                      <a:pt x="54449" y="608237"/>
                      <a:pt x="73845" y="577217"/>
                    </a:cubicBezTo>
                    <a:cubicBezTo>
                      <a:pt x="82819" y="562874"/>
                      <a:pt x="97163" y="554465"/>
                      <a:pt x="110376" y="544891"/>
                    </a:cubicBezTo>
                    <a:cubicBezTo>
                      <a:pt x="121611" y="536730"/>
                      <a:pt x="131679" y="527756"/>
                      <a:pt x="136237" y="513943"/>
                    </a:cubicBezTo>
                    <a:cubicBezTo>
                      <a:pt x="137685" y="509562"/>
                      <a:pt x="138639" y="505570"/>
                      <a:pt x="137332" y="500093"/>
                    </a:cubicBezTo>
                    <a:cubicBezTo>
                      <a:pt x="126981" y="503626"/>
                      <a:pt x="121045" y="512353"/>
                      <a:pt x="113591" y="518465"/>
                    </a:cubicBezTo>
                    <a:cubicBezTo>
                      <a:pt x="102815" y="527297"/>
                      <a:pt x="93206" y="527509"/>
                      <a:pt x="82148" y="520514"/>
                    </a:cubicBezTo>
                    <a:cubicBezTo>
                      <a:pt x="69641" y="512600"/>
                      <a:pt x="63988" y="498009"/>
                      <a:pt x="64766" y="485891"/>
                    </a:cubicBezTo>
                    <a:cubicBezTo>
                      <a:pt x="67274" y="447594"/>
                      <a:pt x="88578" y="416999"/>
                      <a:pt x="104370" y="384107"/>
                    </a:cubicBezTo>
                    <a:cubicBezTo>
                      <a:pt x="106490" y="379726"/>
                      <a:pt x="108857" y="375452"/>
                      <a:pt x="110941" y="371035"/>
                    </a:cubicBezTo>
                    <a:cubicBezTo>
                      <a:pt x="112284" y="368209"/>
                      <a:pt x="113520" y="364959"/>
                      <a:pt x="110729" y="362450"/>
                    </a:cubicBezTo>
                    <a:cubicBezTo>
                      <a:pt x="108185" y="360189"/>
                      <a:pt x="105818" y="362768"/>
                      <a:pt x="103522" y="363722"/>
                    </a:cubicBezTo>
                    <a:cubicBezTo>
                      <a:pt x="99848" y="365277"/>
                      <a:pt x="95820" y="367820"/>
                      <a:pt x="92358" y="364676"/>
                    </a:cubicBezTo>
                    <a:cubicBezTo>
                      <a:pt x="88754" y="361390"/>
                      <a:pt x="91369" y="357222"/>
                      <a:pt x="92888" y="353618"/>
                    </a:cubicBezTo>
                    <a:cubicBezTo>
                      <a:pt x="97127" y="343796"/>
                      <a:pt x="99000" y="333374"/>
                      <a:pt x="101014" y="322952"/>
                    </a:cubicBezTo>
                    <a:cubicBezTo>
                      <a:pt x="107020" y="291862"/>
                      <a:pt x="128076" y="272290"/>
                      <a:pt x="152630" y="255261"/>
                    </a:cubicBezTo>
                    <a:cubicBezTo>
                      <a:pt x="167680" y="244804"/>
                      <a:pt x="184956" y="236289"/>
                      <a:pt x="189796" y="216010"/>
                    </a:cubicBezTo>
                    <a:cubicBezTo>
                      <a:pt x="190856" y="211629"/>
                      <a:pt x="195484" y="210640"/>
                      <a:pt x="198664" y="208414"/>
                    </a:cubicBezTo>
                    <a:cubicBezTo>
                      <a:pt x="224878" y="189760"/>
                      <a:pt x="255685" y="180328"/>
                      <a:pt x="283949" y="165737"/>
                    </a:cubicBezTo>
                    <a:cubicBezTo>
                      <a:pt x="309951" y="152311"/>
                      <a:pt x="337967" y="142031"/>
                      <a:pt x="358141" y="119314"/>
                    </a:cubicBezTo>
                    <a:cubicBezTo>
                      <a:pt x="362945" y="113908"/>
                      <a:pt x="365242" y="116876"/>
                      <a:pt x="367715" y="121716"/>
                    </a:cubicBezTo>
                    <a:cubicBezTo>
                      <a:pt x="372272" y="130654"/>
                      <a:pt x="368527" y="138957"/>
                      <a:pt x="366337" y="147436"/>
                    </a:cubicBezTo>
                    <a:cubicBezTo>
                      <a:pt x="365206" y="151781"/>
                      <a:pt x="363758" y="156021"/>
                      <a:pt x="371142" y="153831"/>
                    </a:cubicBezTo>
                    <a:cubicBezTo>
                      <a:pt x="410075" y="142384"/>
                      <a:pt x="451163" y="140971"/>
                      <a:pt x="489919" y="127899"/>
                    </a:cubicBezTo>
                    <a:cubicBezTo>
                      <a:pt x="507159" y="122069"/>
                      <a:pt x="522210" y="113626"/>
                      <a:pt x="535988" y="102426"/>
                    </a:cubicBezTo>
                    <a:cubicBezTo>
                      <a:pt x="554960" y="87058"/>
                      <a:pt x="571989" y="69605"/>
                      <a:pt x="589053" y="52188"/>
                    </a:cubicBezTo>
                    <a:cubicBezTo>
                      <a:pt x="611028" y="29825"/>
                      <a:pt x="636642" y="24631"/>
                      <a:pt x="665329" y="37032"/>
                    </a:cubicBezTo>
                    <a:cubicBezTo>
                      <a:pt x="674691" y="41059"/>
                      <a:pt x="683241" y="41307"/>
                      <a:pt x="691861" y="36325"/>
                    </a:cubicBezTo>
                    <a:cubicBezTo>
                      <a:pt x="716592" y="22017"/>
                      <a:pt x="744679" y="16152"/>
                      <a:pt x="771352" y="8062"/>
                    </a:cubicBezTo>
                    <a:cubicBezTo>
                      <a:pt x="798238" y="-99"/>
                      <a:pt x="827632" y="-3774"/>
                      <a:pt x="856355" y="5306"/>
                    </a:cubicBezTo>
                    <a:cubicBezTo>
                      <a:pt x="872182" y="10323"/>
                      <a:pt x="885396" y="19296"/>
                      <a:pt x="895040" y="32227"/>
                    </a:cubicBezTo>
                    <a:cubicBezTo>
                      <a:pt x="911115" y="53848"/>
                      <a:pt x="932596" y="67097"/>
                      <a:pt x="958386" y="69535"/>
                    </a:cubicBezTo>
                    <a:cubicBezTo>
                      <a:pt x="1006787" y="74092"/>
                      <a:pt x="1063173" y="133163"/>
                      <a:pt x="1067624" y="182624"/>
                    </a:cubicBezTo>
                    <a:cubicBezTo>
                      <a:pt x="1069355" y="201808"/>
                      <a:pt x="1058580" y="216293"/>
                      <a:pt x="1046179" y="229365"/>
                    </a:cubicBezTo>
                    <a:cubicBezTo>
                      <a:pt x="1040633" y="235194"/>
                      <a:pt x="1035439" y="241200"/>
                      <a:pt x="1031447" y="248125"/>
                    </a:cubicBezTo>
                    <a:cubicBezTo>
                      <a:pt x="1026642" y="256427"/>
                      <a:pt x="1025088" y="266602"/>
                      <a:pt x="1031624" y="273173"/>
                    </a:cubicBezTo>
                    <a:cubicBezTo>
                      <a:pt x="1052963" y="294689"/>
                      <a:pt x="1056037" y="322246"/>
                      <a:pt x="1060417" y="349767"/>
                    </a:cubicBezTo>
                    <a:cubicBezTo>
                      <a:pt x="1062608" y="363616"/>
                      <a:pt x="1069073" y="375416"/>
                      <a:pt x="1083417" y="385520"/>
                    </a:cubicBezTo>
                    <a:cubicBezTo>
                      <a:pt x="1082604" y="366160"/>
                      <a:pt x="1088539" y="348955"/>
                      <a:pt x="1076845" y="332703"/>
                    </a:cubicBezTo>
                    <a:cubicBezTo>
                      <a:pt x="1071052" y="324683"/>
                      <a:pt x="1068578" y="315392"/>
                      <a:pt x="1075220" y="305570"/>
                    </a:cubicBezTo>
                    <a:cubicBezTo>
                      <a:pt x="1080732" y="297444"/>
                      <a:pt x="1087798" y="296420"/>
                      <a:pt x="1092072" y="304051"/>
                    </a:cubicBezTo>
                    <a:cubicBezTo>
                      <a:pt x="1111009" y="337684"/>
                      <a:pt x="1141427" y="361920"/>
                      <a:pt x="1163296" y="393010"/>
                    </a:cubicBezTo>
                    <a:cubicBezTo>
                      <a:pt x="1176827" y="412265"/>
                      <a:pt x="1181774" y="433957"/>
                      <a:pt x="1180042" y="457239"/>
                    </a:cubicBezTo>
                    <a:cubicBezTo>
                      <a:pt x="1179512" y="464587"/>
                      <a:pt x="1177251" y="470205"/>
                      <a:pt x="1168560" y="465082"/>
                    </a:cubicBezTo>
                    <a:cubicBezTo>
                      <a:pt x="1163508" y="462114"/>
                      <a:pt x="1162378" y="464870"/>
                      <a:pt x="1161282" y="468686"/>
                    </a:cubicBezTo>
                    <a:cubicBezTo>
                      <a:pt x="1160434" y="471653"/>
                      <a:pt x="1158703" y="474762"/>
                      <a:pt x="1159057" y="477624"/>
                    </a:cubicBezTo>
                    <a:cubicBezTo>
                      <a:pt x="1161883" y="502249"/>
                      <a:pt x="1153475" y="524789"/>
                      <a:pt x="1146586" y="547611"/>
                    </a:cubicBezTo>
                    <a:cubicBezTo>
                      <a:pt x="1144607" y="554147"/>
                      <a:pt x="1145208" y="560825"/>
                      <a:pt x="1145808" y="567431"/>
                    </a:cubicBezTo>
                    <a:cubicBezTo>
                      <a:pt x="1146126" y="570823"/>
                      <a:pt x="1147221" y="574956"/>
                      <a:pt x="1151355" y="575628"/>
                    </a:cubicBezTo>
                    <a:cubicBezTo>
                      <a:pt x="1155630" y="576334"/>
                      <a:pt x="1157219" y="572625"/>
                      <a:pt x="1159021" y="569480"/>
                    </a:cubicBezTo>
                    <a:cubicBezTo>
                      <a:pt x="1166017" y="557292"/>
                      <a:pt x="1170362" y="543549"/>
                      <a:pt x="1181067" y="531643"/>
                    </a:cubicBezTo>
                    <a:cubicBezTo>
                      <a:pt x="1183787" y="538002"/>
                      <a:pt x="1183999" y="543937"/>
                      <a:pt x="1181632" y="548671"/>
                    </a:cubicBezTo>
                    <a:cubicBezTo>
                      <a:pt x="1165911" y="580397"/>
                      <a:pt x="1169373" y="614384"/>
                      <a:pt x="1169620" y="647911"/>
                    </a:cubicBezTo>
                    <a:cubicBezTo>
                      <a:pt x="1169797" y="670240"/>
                      <a:pt x="1167818" y="691967"/>
                      <a:pt x="1159127" y="712847"/>
                    </a:cubicBezTo>
                    <a:cubicBezTo>
                      <a:pt x="1156018" y="720372"/>
                      <a:pt x="1151602" y="726802"/>
                      <a:pt x="1147045" y="733302"/>
                    </a:cubicBezTo>
                    <a:cubicBezTo>
                      <a:pt x="1145031" y="736199"/>
                      <a:pt x="1142770" y="739026"/>
                      <a:pt x="1141392" y="742206"/>
                    </a:cubicBezTo>
                    <a:cubicBezTo>
                      <a:pt x="1139449" y="746798"/>
                      <a:pt x="1138354" y="752204"/>
                      <a:pt x="1143088" y="755595"/>
                    </a:cubicBezTo>
                    <a:cubicBezTo>
                      <a:pt x="1148529" y="759517"/>
                      <a:pt x="1153369" y="756373"/>
                      <a:pt x="1156937" y="751992"/>
                    </a:cubicBezTo>
                    <a:cubicBezTo>
                      <a:pt x="1167924" y="738531"/>
                      <a:pt x="1173153" y="722209"/>
                      <a:pt x="1175626" y="705675"/>
                    </a:cubicBezTo>
                    <a:cubicBezTo>
                      <a:pt x="1180113" y="675716"/>
                      <a:pt x="1188663" y="647664"/>
                      <a:pt x="1202335" y="620461"/>
                    </a:cubicBezTo>
                    <a:cubicBezTo>
                      <a:pt x="1213217" y="598804"/>
                      <a:pt x="1213429" y="574003"/>
                      <a:pt x="1210779" y="550155"/>
                    </a:cubicBezTo>
                    <a:cubicBezTo>
                      <a:pt x="1208094" y="525743"/>
                      <a:pt x="1207811" y="501683"/>
                      <a:pt x="1212015" y="477518"/>
                    </a:cubicBezTo>
                    <a:cubicBezTo>
                      <a:pt x="1215584" y="457062"/>
                      <a:pt x="1218728" y="436536"/>
                      <a:pt x="1208200" y="416964"/>
                    </a:cubicBezTo>
                    <a:cubicBezTo>
                      <a:pt x="1206716" y="414173"/>
                      <a:pt x="1207599" y="411982"/>
                      <a:pt x="1208765" y="409509"/>
                    </a:cubicBezTo>
                    <a:cubicBezTo>
                      <a:pt x="1213217" y="400147"/>
                      <a:pt x="1215407" y="390255"/>
                      <a:pt x="1214524" y="379868"/>
                    </a:cubicBezTo>
                    <a:cubicBezTo>
                      <a:pt x="1213852" y="371707"/>
                      <a:pt x="1217350" y="369693"/>
                      <a:pt x="1223462" y="374462"/>
                    </a:cubicBezTo>
                    <a:cubicBezTo>
                      <a:pt x="1238866" y="386474"/>
                      <a:pt x="1250206" y="401560"/>
                      <a:pt x="1254340" y="421097"/>
                    </a:cubicBezTo>
                    <a:cubicBezTo>
                      <a:pt x="1255153" y="424913"/>
                      <a:pt x="1255400" y="429364"/>
                      <a:pt x="1252998" y="432791"/>
                    </a:cubicBezTo>
                    <a:cubicBezTo>
                      <a:pt x="1244165" y="445474"/>
                      <a:pt x="1246885" y="458511"/>
                      <a:pt x="1250242" y="472254"/>
                    </a:cubicBezTo>
                    <a:cubicBezTo>
                      <a:pt x="1254269" y="488823"/>
                      <a:pt x="1253422" y="506029"/>
                      <a:pt x="1248687" y="522174"/>
                    </a:cubicBezTo>
                    <a:cubicBezTo>
                      <a:pt x="1238583" y="556726"/>
                      <a:pt x="1237559" y="591914"/>
                      <a:pt x="1238724" y="627385"/>
                    </a:cubicBezTo>
                    <a:cubicBezTo>
                      <a:pt x="1239042" y="637737"/>
                      <a:pt x="1237205" y="647700"/>
                      <a:pt x="1234909" y="657556"/>
                    </a:cubicBezTo>
                    <a:cubicBezTo>
                      <a:pt x="1232577" y="667519"/>
                      <a:pt x="1228161" y="676599"/>
                      <a:pt x="1220459" y="684018"/>
                    </a:cubicBezTo>
                    <a:cubicBezTo>
                      <a:pt x="1211591" y="692568"/>
                      <a:pt x="1206221" y="702955"/>
                      <a:pt x="1206504" y="715885"/>
                    </a:cubicBezTo>
                    <a:cubicBezTo>
                      <a:pt x="1206680" y="723940"/>
                      <a:pt x="1208412" y="731571"/>
                      <a:pt x="1216078" y="734892"/>
                    </a:cubicBezTo>
                    <a:cubicBezTo>
                      <a:pt x="1224027" y="738319"/>
                      <a:pt x="1231623" y="735387"/>
                      <a:pt x="1238088" y="729593"/>
                    </a:cubicBezTo>
                    <a:cubicBezTo>
                      <a:pt x="1242681" y="725459"/>
                      <a:pt x="1247592" y="721679"/>
                      <a:pt x="1252362" y="717793"/>
                    </a:cubicBezTo>
                    <a:cubicBezTo>
                      <a:pt x="1257979" y="713235"/>
                      <a:pt x="1263737" y="714225"/>
                      <a:pt x="1269779" y="717051"/>
                    </a:cubicBezTo>
                    <a:cubicBezTo>
                      <a:pt x="1276527" y="720195"/>
                      <a:pt x="1275997" y="726025"/>
                      <a:pt x="1275962" y="731819"/>
                    </a:cubicBezTo>
                    <a:cubicBezTo>
                      <a:pt x="1275891" y="744643"/>
                      <a:pt x="1268366" y="754359"/>
                      <a:pt x="1261618" y="764074"/>
                    </a:cubicBezTo>
                    <a:cubicBezTo>
                      <a:pt x="1251266" y="778948"/>
                      <a:pt x="1240173" y="793292"/>
                      <a:pt x="1229080" y="807635"/>
                    </a:cubicBezTo>
                    <a:cubicBezTo>
                      <a:pt x="1226430" y="811062"/>
                      <a:pt x="1223003" y="814313"/>
                      <a:pt x="1219223" y="816326"/>
                    </a:cubicBezTo>
                    <a:cubicBezTo>
                      <a:pt x="1214206" y="819011"/>
                      <a:pt x="1208659" y="825194"/>
                      <a:pt x="1202688" y="818588"/>
                    </a:cubicBezTo>
                    <a:cubicBezTo>
                      <a:pt x="1197601" y="812935"/>
                      <a:pt x="1196259" y="805869"/>
                      <a:pt x="1200357" y="798838"/>
                    </a:cubicBezTo>
                    <a:cubicBezTo>
                      <a:pt x="1204349" y="791949"/>
                      <a:pt x="1209048" y="785484"/>
                      <a:pt x="1212793" y="778453"/>
                    </a:cubicBezTo>
                    <a:cubicBezTo>
                      <a:pt x="1214665" y="774920"/>
                      <a:pt x="1219435" y="770504"/>
                      <a:pt x="1214665" y="766724"/>
                    </a:cubicBezTo>
                    <a:cubicBezTo>
                      <a:pt x="1211167" y="763968"/>
                      <a:pt x="1207104" y="767749"/>
                      <a:pt x="1203960" y="769939"/>
                    </a:cubicBezTo>
                    <a:cubicBezTo>
                      <a:pt x="1185413" y="782799"/>
                      <a:pt x="1167112" y="795941"/>
                      <a:pt x="1148529" y="808766"/>
                    </a:cubicBezTo>
                    <a:cubicBezTo>
                      <a:pt x="1142699" y="812793"/>
                      <a:pt x="1136729" y="816962"/>
                      <a:pt x="1130228" y="819435"/>
                    </a:cubicBezTo>
                    <a:cubicBezTo>
                      <a:pt x="1118605" y="823887"/>
                      <a:pt x="1112987" y="832401"/>
                      <a:pt x="1110090" y="843813"/>
                    </a:cubicBezTo>
                    <a:cubicBezTo>
                      <a:pt x="1104014" y="867483"/>
                      <a:pt x="1095923" y="890412"/>
                      <a:pt x="1081968" y="910797"/>
                    </a:cubicBezTo>
                    <a:cubicBezTo>
                      <a:pt x="1068296" y="930723"/>
                      <a:pt x="1071758" y="949236"/>
                      <a:pt x="1086985" y="966441"/>
                    </a:cubicBezTo>
                    <a:cubicBezTo>
                      <a:pt x="1091189" y="971210"/>
                      <a:pt x="1093768" y="976792"/>
                      <a:pt x="1096736" y="982198"/>
                    </a:cubicBezTo>
                    <a:cubicBezTo>
                      <a:pt x="1100834" y="989652"/>
                      <a:pt x="1101823" y="997637"/>
                      <a:pt x="1098537" y="1005268"/>
                    </a:cubicBezTo>
                    <a:cubicBezTo>
                      <a:pt x="1093627" y="1016714"/>
                      <a:pt x="1093733" y="1027773"/>
                      <a:pt x="1099421" y="1038548"/>
                    </a:cubicBezTo>
                    <a:cubicBezTo>
                      <a:pt x="1111715" y="1061830"/>
                      <a:pt x="1104508" y="1083204"/>
                      <a:pt x="1091048" y="1102141"/>
                    </a:cubicBezTo>
                    <a:cubicBezTo>
                      <a:pt x="1068402" y="1133973"/>
                      <a:pt x="1039255" y="1158809"/>
                      <a:pt x="1003290" y="1175131"/>
                    </a:cubicBezTo>
                    <a:cubicBezTo>
                      <a:pt x="997884" y="1177604"/>
                      <a:pt x="992338" y="1178982"/>
                      <a:pt x="986685" y="1179265"/>
                    </a:cubicBezTo>
                    <a:cubicBezTo>
                      <a:pt x="960258" y="1180713"/>
                      <a:pt x="936729" y="1193538"/>
                      <a:pt x="911186" y="1198449"/>
                    </a:cubicBezTo>
                    <a:cubicBezTo>
                      <a:pt x="902000" y="1200215"/>
                      <a:pt x="894016" y="1199367"/>
                      <a:pt x="885537" y="1195340"/>
                    </a:cubicBezTo>
                    <a:cubicBezTo>
                      <a:pt x="858510" y="1182480"/>
                      <a:pt x="847063" y="1187143"/>
                      <a:pt x="836288" y="1214559"/>
                    </a:cubicBezTo>
                    <a:cubicBezTo>
                      <a:pt x="828092" y="1235474"/>
                      <a:pt x="810851" y="1247450"/>
                      <a:pt x="788311" y="1247698"/>
                    </a:cubicBezTo>
                    <a:cubicBezTo>
                      <a:pt x="775062" y="1247839"/>
                      <a:pt x="761637" y="1248970"/>
                      <a:pt x="748777" y="1244624"/>
                    </a:cubicBezTo>
                    <a:cubicBezTo>
                      <a:pt x="741111" y="1242010"/>
                      <a:pt x="737012" y="1231800"/>
                      <a:pt x="726908" y="1234202"/>
                    </a:cubicBezTo>
                    <a:cubicBezTo>
                      <a:pt x="732137" y="1228337"/>
                      <a:pt x="739697" y="1226571"/>
                      <a:pt x="746339" y="1223179"/>
                    </a:cubicBezTo>
                    <a:cubicBezTo>
                      <a:pt x="752840" y="1219858"/>
                      <a:pt x="757892" y="1215089"/>
                      <a:pt x="762944" y="1210072"/>
                    </a:cubicBezTo>
                    <a:cubicBezTo>
                      <a:pt x="767289" y="1205727"/>
                      <a:pt x="767819" y="1200462"/>
                      <a:pt x="766088" y="1195304"/>
                    </a:cubicBezTo>
                    <a:cubicBezTo>
                      <a:pt x="764180" y="1189616"/>
                      <a:pt x="758599" y="1192054"/>
                      <a:pt x="754500" y="1191701"/>
                    </a:cubicBezTo>
                    <a:cubicBezTo>
                      <a:pt x="747753" y="1191136"/>
                      <a:pt x="741499" y="1192725"/>
                      <a:pt x="735175" y="1195410"/>
                    </a:cubicBezTo>
                    <a:cubicBezTo>
                      <a:pt x="716698" y="1203254"/>
                      <a:pt x="697338" y="1207528"/>
                      <a:pt x="677200" y="1207670"/>
                    </a:cubicBezTo>
                    <a:cubicBezTo>
                      <a:pt x="667272" y="1207740"/>
                      <a:pt x="654554" y="1207246"/>
                      <a:pt x="653741" y="1219187"/>
                    </a:cubicBezTo>
                    <a:cubicBezTo>
                      <a:pt x="652999" y="1229892"/>
                      <a:pt x="665824" y="1232754"/>
                      <a:pt x="674797" y="1236357"/>
                    </a:cubicBezTo>
                    <a:cubicBezTo>
                      <a:pt x="675575" y="1236675"/>
                      <a:pt x="676599" y="1236392"/>
                      <a:pt x="677412" y="1236675"/>
                    </a:cubicBezTo>
                    <a:cubicBezTo>
                      <a:pt x="694264" y="1242186"/>
                      <a:pt x="710445" y="1234237"/>
                      <a:pt x="727014" y="123416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14" name="Freeform: Shape 2613">
                <a:extLst>
                  <a:ext uri="{FF2B5EF4-FFF2-40B4-BE49-F238E27FC236}">
                    <a16:creationId xmlns:a16="http://schemas.microsoft.com/office/drawing/2014/main" id="{42E6A088-78CF-4F13-00C1-18116A0E5E7B}"/>
                  </a:ext>
                </a:extLst>
              </p:cNvPr>
              <p:cNvSpPr/>
              <p:nvPr/>
            </p:nvSpPr>
            <p:spPr>
              <a:xfrm>
                <a:off x="7850262" y="2904383"/>
                <a:ext cx="60045" cy="114436"/>
              </a:xfrm>
              <a:custGeom>
                <a:avLst/>
                <a:gdLst>
                  <a:gd name="connsiteX0" fmla="*/ 44922 w 60045"/>
                  <a:gd name="connsiteY0" fmla="*/ 15893 h 114436"/>
                  <a:gd name="connsiteX1" fmla="*/ 29129 w 60045"/>
                  <a:gd name="connsiteY1" fmla="*/ 22924 h 114436"/>
                  <a:gd name="connsiteX2" fmla="*/ 3586 w 60045"/>
                  <a:gd name="connsiteY2" fmla="*/ 70654 h 114436"/>
                  <a:gd name="connsiteX3" fmla="*/ 11147 w 60045"/>
                  <a:gd name="connsiteY3" fmla="*/ 108951 h 114436"/>
                  <a:gd name="connsiteX4" fmla="*/ 29235 w 60045"/>
                  <a:gd name="connsiteY4" fmla="*/ 113579 h 114436"/>
                  <a:gd name="connsiteX5" fmla="*/ 36761 w 60045"/>
                  <a:gd name="connsiteY5" fmla="*/ 98317 h 114436"/>
                  <a:gd name="connsiteX6" fmla="*/ 42625 w 60045"/>
                  <a:gd name="connsiteY6" fmla="*/ 70371 h 114436"/>
                  <a:gd name="connsiteX7" fmla="*/ 44745 w 60045"/>
                  <a:gd name="connsiteY7" fmla="*/ 15823 h 114436"/>
                  <a:gd name="connsiteX8" fmla="*/ 60042 w 60045"/>
                  <a:gd name="connsiteY8" fmla="*/ 5718 h 114436"/>
                  <a:gd name="connsiteX9" fmla="*/ 51175 w 60045"/>
                  <a:gd name="connsiteY9" fmla="*/ 101 h 114436"/>
                  <a:gd name="connsiteX10" fmla="*/ 44922 w 60045"/>
                  <a:gd name="connsiteY10" fmla="*/ 14621 h 114436"/>
                  <a:gd name="connsiteX11" fmla="*/ 44886 w 60045"/>
                  <a:gd name="connsiteY11" fmla="*/ 15929 h 11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045" h="114436">
                    <a:moveTo>
                      <a:pt x="44922" y="15893"/>
                    </a:moveTo>
                    <a:cubicBezTo>
                      <a:pt x="36301" y="10523"/>
                      <a:pt x="32026" y="18119"/>
                      <a:pt x="29129" y="22924"/>
                    </a:cubicBezTo>
                    <a:cubicBezTo>
                      <a:pt x="19802" y="38363"/>
                      <a:pt x="10546" y="54084"/>
                      <a:pt x="3586" y="70654"/>
                    </a:cubicBezTo>
                    <a:cubicBezTo>
                      <a:pt x="-1996" y="83973"/>
                      <a:pt x="-2172" y="97893"/>
                      <a:pt x="11147" y="108951"/>
                    </a:cubicBezTo>
                    <a:cubicBezTo>
                      <a:pt x="16976" y="113791"/>
                      <a:pt x="22664" y="115699"/>
                      <a:pt x="29235" y="113579"/>
                    </a:cubicBezTo>
                    <a:cubicBezTo>
                      <a:pt x="36337" y="111282"/>
                      <a:pt x="37290" y="104923"/>
                      <a:pt x="36761" y="98317"/>
                    </a:cubicBezTo>
                    <a:cubicBezTo>
                      <a:pt x="35983" y="88424"/>
                      <a:pt x="37573" y="79239"/>
                      <a:pt x="42625" y="70371"/>
                    </a:cubicBezTo>
                    <a:cubicBezTo>
                      <a:pt x="52694" y="52706"/>
                      <a:pt x="53012" y="34335"/>
                      <a:pt x="44745" y="15823"/>
                    </a:cubicBezTo>
                    <a:cubicBezTo>
                      <a:pt x="52164" y="15893"/>
                      <a:pt x="59760" y="15434"/>
                      <a:pt x="60042" y="5718"/>
                    </a:cubicBezTo>
                    <a:cubicBezTo>
                      <a:pt x="60184" y="843"/>
                      <a:pt x="55379" y="-394"/>
                      <a:pt x="51175" y="101"/>
                    </a:cubicBezTo>
                    <a:cubicBezTo>
                      <a:pt x="40859" y="1232"/>
                      <a:pt x="46299" y="9463"/>
                      <a:pt x="44922" y="14621"/>
                    </a:cubicBezTo>
                    <a:cubicBezTo>
                      <a:pt x="44815" y="15045"/>
                      <a:pt x="44922" y="15505"/>
                      <a:pt x="44886" y="1592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15" name="Freeform: Shape 2614">
                <a:extLst>
                  <a:ext uri="{FF2B5EF4-FFF2-40B4-BE49-F238E27FC236}">
                    <a16:creationId xmlns:a16="http://schemas.microsoft.com/office/drawing/2014/main" id="{E94891BD-0FBE-3CF1-AEE8-0B64AA0DD5DB}"/>
                  </a:ext>
                </a:extLst>
              </p:cNvPr>
              <p:cNvSpPr/>
              <p:nvPr/>
            </p:nvSpPr>
            <p:spPr>
              <a:xfrm>
                <a:off x="7900725" y="2838415"/>
                <a:ext cx="830957" cy="796634"/>
              </a:xfrm>
              <a:custGeom>
                <a:avLst/>
                <a:gdLst>
                  <a:gd name="connsiteX0" fmla="*/ 157469 w 830957"/>
                  <a:gd name="connsiteY0" fmla="*/ 124752 h 796634"/>
                  <a:gd name="connsiteX1" fmla="*/ 152028 w 830957"/>
                  <a:gd name="connsiteY1" fmla="*/ 115672 h 796634"/>
                  <a:gd name="connsiteX2" fmla="*/ 134116 w 830957"/>
                  <a:gd name="connsiteY2" fmla="*/ 83840 h 796634"/>
                  <a:gd name="connsiteX3" fmla="*/ 117829 w 830957"/>
                  <a:gd name="connsiteY3" fmla="*/ 77870 h 796634"/>
                  <a:gd name="connsiteX4" fmla="*/ 102955 w 830957"/>
                  <a:gd name="connsiteY4" fmla="*/ 114824 h 796634"/>
                  <a:gd name="connsiteX5" fmla="*/ 127933 w 830957"/>
                  <a:gd name="connsiteY5" fmla="*/ 148952 h 796634"/>
                  <a:gd name="connsiteX6" fmla="*/ 97091 w 830957"/>
                  <a:gd name="connsiteY6" fmla="*/ 171740 h 796634"/>
                  <a:gd name="connsiteX7" fmla="*/ 7036 w 830957"/>
                  <a:gd name="connsiteY7" fmla="*/ 300480 h 796634"/>
                  <a:gd name="connsiteX8" fmla="*/ 3362 w 830957"/>
                  <a:gd name="connsiteY8" fmla="*/ 424945 h 796634"/>
                  <a:gd name="connsiteX9" fmla="*/ 960 w 830957"/>
                  <a:gd name="connsiteY9" fmla="*/ 533547 h 796634"/>
                  <a:gd name="connsiteX10" fmla="*/ 6082 w 830957"/>
                  <a:gd name="connsiteY10" fmla="*/ 600532 h 796634"/>
                  <a:gd name="connsiteX11" fmla="*/ 71265 w 830957"/>
                  <a:gd name="connsiteY11" fmla="*/ 686064 h 796634"/>
                  <a:gd name="connsiteX12" fmla="*/ 126273 w 830957"/>
                  <a:gd name="connsiteY12" fmla="*/ 716624 h 796634"/>
                  <a:gd name="connsiteX13" fmla="*/ 226714 w 830957"/>
                  <a:gd name="connsiteY13" fmla="*/ 761704 h 796634"/>
                  <a:gd name="connsiteX14" fmla="*/ 390536 w 830957"/>
                  <a:gd name="connsiteY14" fmla="*/ 786470 h 796634"/>
                  <a:gd name="connsiteX15" fmla="*/ 485431 w 830957"/>
                  <a:gd name="connsiteY15" fmla="*/ 781842 h 796634"/>
                  <a:gd name="connsiteX16" fmla="*/ 568526 w 830957"/>
                  <a:gd name="connsiteY16" fmla="*/ 786718 h 796634"/>
                  <a:gd name="connsiteX17" fmla="*/ 682392 w 830957"/>
                  <a:gd name="connsiteY17" fmla="*/ 684404 h 796634"/>
                  <a:gd name="connsiteX18" fmla="*/ 720972 w 830957"/>
                  <a:gd name="connsiteY18" fmla="*/ 634448 h 796634"/>
                  <a:gd name="connsiteX19" fmla="*/ 756584 w 830957"/>
                  <a:gd name="connsiteY19" fmla="*/ 606856 h 796634"/>
                  <a:gd name="connsiteX20" fmla="*/ 797142 w 830957"/>
                  <a:gd name="connsiteY20" fmla="*/ 450382 h 796634"/>
                  <a:gd name="connsiteX21" fmla="*/ 802052 w 830957"/>
                  <a:gd name="connsiteY21" fmla="*/ 386966 h 796634"/>
                  <a:gd name="connsiteX22" fmla="*/ 815372 w 830957"/>
                  <a:gd name="connsiteY22" fmla="*/ 355099 h 796634"/>
                  <a:gd name="connsiteX23" fmla="*/ 827914 w 830957"/>
                  <a:gd name="connsiteY23" fmla="*/ 271333 h 796634"/>
                  <a:gd name="connsiteX24" fmla="*/ 730864 w 830957"/>
                  <a:gd name="connsiteY24" fmla="*/ 131429 h 796634"/>
                  <a:gd name="connsiteX25" fmla="*/ 662890 w 830957"/>
                  <a:gd name="connsiteY25" fmla="*/ 70344 h 796634"/>
                  <a:gd name="connsiteX26" fmla="*/ 595870 w 830957"/>
                  <a:gd name="connsiteY26" fmla="*/ 30140 h 796634"/>
                  <a:gd name="connsiteX27" fmla="*/ 529734 w 830957"/>
                  <a:gd name="connsiteY27" fmla="*/ 25617 h 796634"/>
                  <a:gd name="connsiteX28" fmla="*/ 433638 w 830957"/>
                  <a:gd name="connsiteY28" fmla="*/ 8836 h 796634"/>
                  <a:gd name="connsiteX29" fmla="*/ 342171 w 830957"/>
                  <a:gd name="connsiteY29" fmla="*/ 3819 h 796634"/>
                  <a:gd name="connsiteX30" fmla="*/ 245015 w 830957"/>
                  <a:gd name="connsiteY30" fmla="*/ 42152 h 796634"/>
                  <a:gd name="connsiteX31" fmla="*/ 176476 w 830957"/>
                  <a:gd name="connsiteY31" fmla="*/ 102953 h 796634"/>
                  <a:gd name="connsiteX32" fmla="*/ 157469 w 830957"/>
                  <a:gd name="connsiteY32" fmla="*/ 124858 h 79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0957" h="796634">
                    <a:moveTo>
                      <a:pt x="157469" y="124752"/>
                    </a:moveTo>
                    <a:cubicBezTo>
                      <a:pt x="155667" y="121713"/>
                      <a:pt x="153794" y="118710"/>
                      <a:pt x="152028" y="115672"/>
                    </a:cubicBezTo>
                    <a:cubicBezTo>
                      <a:pt x="146022" y="105214"/>
                      <a:pt x="133162" y="99314"/>
                      <a:pt x="134116" y="83840"/>
                    </a:cubicBezTo>
                    <a:cubicBezTo>
                      <a:pt x="134469" y="78117"/>
                      <a:pt x="125001" y="74796"/>
                      <a:pt x="117829" y="77870"/>
                    </a:cubicBezTo>
                    <a:cubicBezTo>
                      <a:pt x="109562" y="81367"/>
                      <a:pt x="99952" y="106027"/>
                      <a:pt x="102955" y="114824"/>
                    </a:cubicBezTo>
                    <a:cubicBezTo>
                      <a:pt x="107725" y="128814"/>
                      <a:pt x="113448" y="142063"/>
                      <a:pt x="127933" y="148952"/>
                    </a:cubicBezTo>
                    <a:cubicBezTo>
                      <a:pt x="117652" y="156583"/>
                      <a:pt x="107548" y="164426"/>
                      <a:pt x="97091" y="171740"/>
                    </a:cubicBezTo>
                    <a:cubicBezTo>
                      <a:pt x="51304" y="203677"/>
                      <a:pt x="20002" y="246320"/>
                      <a:pt x="7036" y="300480"/>
                    </a:cubicBezTo>
                    <a:cubicBezTo>
                      <a:pt x="-2715" y="341285"/>
                      <a:pt x="748" y="383610"/>
                      <a:pt x="3362" y="424945"/>
                    </a:cubicBezTo>
                    <a:cubicBezTo>
                      <a:pt x="5658" y="461440"/>
                      <a:pt x="3963" y="497441"/>
                      <a:pt x="960" y="533547"/>
                    </a:cubicBezTo>
                    <a:cubicBezTo>
                      <a:pt x="-948" y="556335"/>
                      <a:pt x="-383" y="578804"/>
                      <a:pt x="6082" y="600532"/>
                    </a:cubicBezTo>
                    <a:cubicBezTo>
                      <a:pt x="16928" y="636992"/>
                      <a:pt x="43461" y="662358"/>
                      <a:pt x="71265" y="686064"/>
                    </a:cubicBezTo>
                    <a:cubicBezTo>
                      <a:pt x="87375" y="699807"/>
                      <a:pt x="104157" y="714257"/>
                      <a:pt x="126273" y="716624"/>
                    </a:cubicBezTo>
                    <a:cubicBezTo>
                      <a:pt x="164888" y="720722"/>
                      <a:pt x="196720" y="739094"/>
                      <a:pt x="226714" y="761704"/>
                    </a:cubicBezTo>
                    <a:cubicBezTo>
                      <a:pt x="276952" y="799613"/>
                      <a:pt x="332455" y="804665"/>
                      <a:pt x="390536" y="786470"/>
                    </a:cubicBezTo>
                    <a:cubicBezTo>
                      <a:pt x="422262" y="776543"/>
                      <a:pt x="452963" y="773681"/>
                      <a:pt x="485431" y="781842"/>
                    </a:cubicBezTo>
                    <a:cubicBezTo>
                      <a:pt x="512564" y="788661"/>
                      <a:pt x="540686" y="791063"/>
                      <a:pt x="568526" y="786718"/>
                    </a:cubicBezTo>
                    <a:cubicBezTo>
                      <a:pt x="628338" y="777355"/>
                      <a:pt x="664480" y="739871"/>
                      <a:pt x="682392" y="684404"/>
                    </a:cubicBezTo>
                    <a:cubicBezTo>
                      <a:pt x="689564" y="662182"/>
                      <a:pt x="701788" y="646601"/>
                      <a:pt x="720972" y="634448"/>
                    </a:cubicBezTo>
                    <a:cubicBezTo>
                      <a:pt x="733619" y="626428"/>
                      <a:pt x="746550" y="617773"/>
                      <a:pt x="756584" y="606856"/>
                    </a:cubicBezTo>
                    <a:cubicBezTo>
                      <a:pt x="797566" y="562129"/>
                      <a:pt x="815266" y="510831"/>
                      <a:pt x="797142" y="450382"/>
                    </a:cubicBezTo>
                    <a:cubicBezTo>
                      <a:pt x="790676" y="428796"/>
                      <a:pt x="792443" y="407563"/>
                      <a:pt x="802052" y="386966"/>
                    </a:cubicBezTo>
                    <a:cubicBezTo>
                      <a:pt x="806928" y="376544"/>
                      <a:pt x="811592" y="365945"/>
                      <a:pt x="815372" y="355099"/>
                    </a:cubicBezTo>
                    <a:cubicBezTo>
                      <a:pt x="824875" y="328037"/>
                      <a:pt x="836605" y="301080"/>
                      <a:pt x="827914" y="271333"/>
                    </a:cubicBezTo>
                    <a:cubicBezTo>
                      <a:pt x="811097" y="213958"/>
                      <a:pt x="781950" y="165133"/>
                      <a:pt x="730864" y="131429"/>
                    </a:cubicBezTo>
                    <a:cubicBezTo>
                      <a:pt x="705180" y="114506"/>
                      <a:pt x="682851" y="93944"/>
                      <a:pt x="662890" y="70344"/>
                    </a:cubicBezTo>
                    <a:cubicBezTo>
                      <a:pt x="645438" y="49677"/>
                      <a:pt x="623498" y="35510"/>
                      <a:pt x="595870" y="30140"/>
                    </a:cubicBezTo>
                    <a:cubicBezTo>
                      <a:pt x="573860" y="25865"/>
                      <a:pt x="551850" y="25723"/>
                      <a:pt x="529734" y="25617"/>
                    </a:cubicBezTo>
                    <a:cubicBezTo>
                      <a:pt x="496737" y="25476"/>
                      <a:pt x="464799" y="19717"/>
                      <a:pt x="433638" y="8836"/>
                    </a:cubicBezTo>
                    <a:cubicBezTo>
                      <a:pt x="403714" y="-1586"/>
                      <a:pt x="373331" y="-2151"/>
                      <a:pt x="342171" y="3819"/>
                    </a:cubicBezTo>
                    <a:cubicBezTo>
                      <a:pt x="307230" y="10532"/>
                      <a:pt x="275928" y="25511"/>
                      <a:pt x="245015" y="42152"/>
                    </a:cubicBezTo>
                    <a:cubicBezTo>
                      <a:pt x="217316" y="57061"/>
                      <a:pt x="192162" y="74301"/>
                      <a:pt x="176476" y="102953"/>
                    </a:cubicBezTo>
                    <a:cubicBezTo>
                      <a:pt x="171954" y="111256"/>
                      <a:pt x="165983" y="119452"/>
                      <a:pt x="157469" y="12485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16" name="Freeform: Shape 2615">
                <a:extLst>
                  <a:ext uri="{FF2B5EF4-FFF2-40B4-BE49-F238E27FC236}">
                    <a16:creationId xmlns:a16="http://schemas.microsoft.com/office/drawing/2014/main" id="{A4CDCCAD-9E44-92EA-63BC-9F5BB64DCDDB}"/>
                  </a:ext>
                </a:extLst>
              </p:cNvPr>
              <p:cNvSpPr/>
              <p:nvPr/>
            </p:nvSpPr>
            <p:spPr>
              <a:xfrm>
                <a:off x="8495911" y="3534524"/>
                <a:ext cx="163666" cy="150082"/>
              </a:xfrm>
              <a:custGeom>
                <a:avLst/>
                <a:gdLst>
                  <a:gd name="connsiteX0" fmla="*/ 163517 w 163666"/>
                  <a:gd name="connsiteY0" fmla="*/ 30513 h 150082"/>
                  <a:gd name="connsiteX1" fmla="*/ 163517 w 163666"/>
                  <a:gd name="connsiteY1" fmla="*/ 18148 h 150082"/>
                  <a:gd name="connsiteX2" fmla="*/ 155357 w 163666"/>
                  <a:gd name="connsiteY2" fmla="*/ 200 h 150082"/>
                  <a:gd name="connsiteX3" fmla="*/ 144228 w 163666"/>
                  <a:gd name="connsiteY3" fmla="*/ 11788 h 150082"/>
                  <a:gd name="connsiteX4" fmla="*/ 139670 w 163666"/>
                  <a:gd name="connsiteY4" fmla="*/ 19879 h 150082"/>
                  <a:gd name="connsiteX5" fmla="*/ 104553 w 163666"/>
                  <a:gd name="connsiteY5" fmla="*/ 62062 h 150082"/>
                  <a:gd name="connsiteX6" fmla="*/ 74452 w 163666"/>
                  <a:gd name="connsiteY6" fmla="*/ 94035 h 150082"/>
                  <a:gd name="connsiteX7" fmla="*/ 46260 w 163666"/>
                  <a:gd name="connsiteY7" fmla="*/ 120002 h 150082"/>
                  <a:gd name="connsiteX8" fmla="*/ 12379 w 163666"/>
                  <a:gd name="connsiteY8" fmla="*/ 131520 h 150082"/>
                  <a:gd name="connsiteX9" fmla="*/ 190 w 163666"/>
                  <a:gd name="connsiteY9" fmla="*/ 143249 h 150082"/>
                  <a:gd name="connsiteX10" fmla="*/ 15806 w 163666"/>
                  <a:gd name="connsiteY10" fmla="*/ 149820 h 150082"/>
                  <a:gd name="connsiteX11" fmla="*/ 64383 w 163666"/>
                  <a:gd name="connsiteY11" fmla="*/ 144733 h 150082"/>
                  <a:gd name="connsiteX12" fmla="*/ 120345 w 163666"/>
                  <a:gd name="connsiteY12" fmla="*/ 104811 h 150082"/>
                  <a:gd name="connsiteX13" fmla="*/ 137974 w 163666"/>
                  <a:gd name="connsiteY13" fmla="*/ 79020 h 150082"/>
                  <a:gd name="connsiteX14" fmla="*/ 163447 w 163666"/>
                  <a:gd name="connsiteY14" fmla="*/ 30513 h 15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666" h="150082">
                    <a:moveTo>
                      <a:pt x="163517" y="30513"/>
                    </a:moveTo>
                    <a:cubicBezTo>
                      <a:pt x="163517" y="25249"/>
                      <a:pt x="163517" y="21681"/>
                      <a:pt x="163517" y="18148"/>
                    </a:cubicBezTo>
                    <a:cubicBezTo>
                      <a:pt x="163482" y="10835"/>
                      <a:pt x="162352" y="2250"/>
                      <a:pt x="155357" y="200"/>
                    </a:cubicBezTo>
                    <a:cubicBezTo>
                      <a:pt x="149598" y="-1460"/>
                      <a:pt x="147867" y="7620"/>
                      <a:pt x="144228" y="11788"/>
                    </a:cubicBezTo>
                    <a:cubicBezTo>
                      <a:pt x="142249" y="14085"/>
                      <a:pt x="141154" y="17159"/>
                      <a:pt x="139670" y="19879"/>
                    </a:cubicBezTo>
                    <a:cubicBezTo>
                      <a:pt x="130697" y="36272"/>
                      <a:pt x="121617" y="53265"/>
                      <a:pt x="104553" y="62062"/>
                    </a:cubicBezTo>
                    <a:cubicBezTo>
                      <a:pt x="90209" y="69481"/>
                      <a:pt x="80917" y="79762"/>
                      <a:pt x="74452" y="94035"/>
                    </a:cubicBezTo>
                    <a:cubicBezTo>
                      <a:pt x="68835" y="106400"/>
                      <a:pt x="60674" y="116363"/>
                      <a:pt x="46260" y="120002"/>
                    </a:cubicBezTo>
                    <a:cubicBezTo>
                      <a:pt x="34742" y="122935"/>
                      <a:pt x="23472" y="127139"/>
                      <a:pt x="12379" y="131520"/>
                    </a:cubicBezTo>
                    <a:cubicBezTo>
                      <a:pt x="6973" y="133675"/>
                      <a:pt x="-1364" y="135582"/>
                      <a:pt x="190" y="143249"/>
                    </a:cubicBezTo>
                    <a:cubicBezTo>
                      <a:pt x="1674" y="150491"/>
                      <a:pt x="9482" y="150456"/>
                      <a:pt x="15806" y="149820"/>
                    </a:cubicBezTo>
                    <a:cubicBezTo>
                      <a:pt x="32022" y="148195"/>
                      <a:pt x="48167" y="145369"/>
                      <a:pt x="64383" y="144733"/>
                    </a:cubicBezTo>
                    <a:cubicBezTo>
                      <a:pt x="93424" y="143602"/>
                      <a:pt x="111089" y="131802"/>
                      <a:pt x="120345" y="104811"/>
                    </a:cubicBezTo>
                    <a:cubicBezTo>
                      <a:pt x="123878" y="94459"/>
                      <a:pt x="128577" y="84920"/>
                      <a:pt x="137974" y="79020"/>
                    </a:cubicBezTo>
                    <a:cubicBezTo>
                      <a:pt x="156664" y="67255"/>
                      <a:pt x="165178" y="50686"/>
                      <a:pt x="163447" y="3051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17" name="Freeform: Shape 2616">
                <a:extLst>
                  <a:ext uri="{FF2B5EF4-FFF2-40B4-BE49-F238E27FC236}">
                    <a16:creationId xmlns:a16="http://schemas.microsoft.com/office/drawing/2014/main" id="{3B57AB89-20F7-D2CD-503A-250D73E3572E}"/>
                  </a:ext>
                </a:extLst>
              </p:cNvPr>
              <p:cNvSpPr/>
              <p:nvPr/>
            </p:nvSpPr>
            <p:spPr>
              <a:xfrm>
                <a:off x="8197126" y="2618916"/>
                <a:ext cx="259017" cy="180003"/>
              </a:xfrm>
              <a:custGeom>
                <a:avLst/>
                <a:gdLst>
                  <a:gd name="connsiteX0" fmla="*/ 259018 w 259017"/>
                  <a:gd name="connsiteY0" fmla="*/ 60131 h 180003"/>
                  <a:gd name="connsiteX1" fmla="*/ 233439 w 259017"/>
                  <a:gd name="connsiteY1" fmla="*/ 48296 h 180003"/>
                  <a:gd name="connsiteX2" fmla="*/ 184649 w 259017"/>
                  <a:gd name="connsiteY2" fmla="*/ 22682 h 180003"/>
                  <a:gd name="connsiteX3" fmla="*/ 79791 w 259017"/>
                  <a:gd name="connsiteY3" fmla="*/ 8480 h 180003"/>
                  <a:gd name="connsiteX4" fmla="*/ 28423 w 259017"/>
                  <a:gd name="connsiteY4" fmla="*/ 100866 h 180003"/>
                  <a:gd name="connsiteX5" fmla="*/ 11182 w 259017"/>
                  <a:gd name="connsiteY5" fmla="*/ 158206 h 180003"/>
                  <a:gd name="connsiteX6" fmla="*/ 124 w 259017"/>
                  <a:gd name="connsiteY6" fmla="*/ 180004 h 180003"/>
                  <a:gd name="connsiteX7" fmla="*/ 41354 w 259017"/>
                  <a:gd name="connsiteY7" fmla="*/ 112065 h 180003"/>
                  <a:gd name="connsiteX8" fmla="*/ 41777 w 259017"/>
                  <a:gd name="connsiteY8" fmla="*/ 77478 h 180003"/>
                  <a:gd name="connsiteX9" fmla="*/ 50327 w 259017"/>
                  <a:gd name="connsiteY9" fmla="*/ 48614 h 180003"/>
                  <a:gd name="connsiteX10" fmla="*/ 129818 w 259017"/>
                  <a:gd name="connsiteY10" fmla="*/ 17877 h 180003"/>
                  <a:gd name="connsiteX11" fmla="*/ 173768 w 259017"/>
                  <a:gd name="connsiteY11" fmla="*/ 59637 h 180003"/>
                  <a:gd name="connsiteX12" fmla="*/ 194577 w 259017"/>
                  <a:gd name="connsiteY12" fmla="*/ 83555 h 180003"/>
                  <a:gd name="connsiteX13" fmla="*/ 242766 w 259017"/>
                  <a:gd name="connsiteY13" fmla="*/ 90621 h 180003"/>
                  <a:gd name="connsiteX14" fmla="*/ 258488 w 259017"/>
                  <a:gd name="connsiteY14" fmla="*/ 85992 h 180003"/>
                  <a:gd name="connsiteX15" fmla="*/ 242342 w 259017"/>
                  <a:gd name="connsiteY15" fmla="*/ 80481 h 180003"/>
                  <a:gd name="connsiteX16" fmla="*/ 198215 w 259017"/>
                  <a:gd name="connsiteY16" fmla="*/ 70624 h 180003"/>
                  <a:gd name="connsiteX17" fmla="*/ 259018 w 259017"/>
                  <a:gd name="connsiteY17" fmla="*/ 60061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017" h="180003">
                    <a:moveTo>
                      <a:pt x="259018" y="60131"/>
                    </a:moveTo>
                    <a:cubicBezTo>
                      <a:pt x="251245" y="53030"/>
                      <a:pt x="242236" y="50663"/>
                      <a:pt x="233439" y="48296"/>
                    </a:cubicBezTo>
                    <a:cubicBezTo>
                      <a:pt x="215209" y="43385"/>
                      <a:pt x="199099" y="35012"/>
                      <a:pt x="184649" y="22682"/>
                    </a:cubicBezTo>
                    <a:cubicBezTo>
                      <a:pt x="152923" y="-4345"/>
                      <a:pt x="115686" y="-4698"/>
                      <a:pt x="79791" y="8480"/>
                    </a:cubicBezTo>
                    <a:cubicBezTo>
                      <a:pt x="38598" y="23636"/>
                      <a:pt x="21816" y="56174"/>
                      <a:pt x="28423" y="100866"/>
                    </a:cubicBezTo>
                    <a:cubicBezTo>
                      <a:pt x="31779" y="123654"/>
                      <a:pt x="24784" y="141248"/>
                      <a:pt x="11182" y="158206"/>
                    </a:cubicBezTo>
                    <a:cubicBezTo>
                      <a:pt x="6731" y="163788"/>
                      <a:pt x="-1077" y="168274"/>
                      <a:pt x="124" y="180004"/>
                    </a:cubicBezTo>
                    <a:cubicBezTo>
                      <a:pt x="23689" y="161527"/>
                      <a:pt x="39163" y="140753"/>
                      <a:pt x="41354" y="112065"/>
                    </a:cubicBezTo>
                    <a:cubicBezTo>
                      <a:pt x="42237" y="100583"/>
                      <a:pt x="41424" y="89031"/>
                      <a:pt x="41777" y="77478"/>
                    </a:cubicBezTo>
                    <a:cubicBezTo>
                      <a:pt x="42095" y="67197"/>
                      <a:pt x="44497" y="57482"/>
                      <a:pt x="50327" y="48614"/>
                    </a:cubicBezTo>
                    <a:cubicBezTo>
                      <a:pt x="65978" y="24837"/>
                      <a:pt x="100777" y="10918"/>
                      <a:pt x="129818" y="17877"/>
                    </a:cubicBezTo>
                    <a:cubicBezTo>
                      <a:pt x="152287" y="23248"/>
                      <a:pt x="169599" y="34447"/>
                      <a:pt x="173768" y="59637"/>
                    </a:cubicBezTo>
                    <a:cubicBezTo>
                      <a:pt x="175746" y="71543"/>
                      <a:pt x="183519" y="79103"/>
                      <a:pt x="194577" y="83555"/>
                    </a:cubicBezTo>
                    <a:cubicBezTo>
                      <a:pt x="210086" y="89773"/>
                      <a:pt x="226444" y="90444"/>
                      <a:pt x="242766" y="90621"/>
                    </a:cubicBezTo>
                    <a:cubicBezTo>
                      <a:pt x="248383" y="90691"/>
                      <a:pt x="258452" y="93588"/>
                      <a:pt x="258488" y="85992"/>
                    </a:cubicBezTo>
                    <a:cubicBezTo>
                      <a:pt x="258523" y="76701"/>
                      <a:pt x="248136" y="80658"/>
                      <a:pt x="242342" y="80481"/>
                    </a:cubicBezTo>
                    <a:cubicBezTo>
                      <a:pt x="227044" y="80022"/>
                      <a:pt x="211888" y="79845"/>
                      <a:pt x="198215" y="70624"/>
                    </a:cubicBezTo>
                    <a:cubicBezTo>
                      <a:pt x="218636" y="69246"/>
                      <a:pt x="239374" y="70589"/>
                      <a:pt x="259018" y="6006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18" name="Freeform: Shape 2617">
                <a:extLst>
                  <a:ext uri="{FF2B5EF4-FFF2-40B4-BE49-F238E27FC236}">
                    <a16:creationId xmlns:a16="http://schemas.microsoft.com/office/drawing/2014/main" id="{915D050C-26F9-18EA-FB08-234CA3111ED7}"/>
                  </a:ext>
                </a:extLst>
              </p:cNvPr>
              <p:cNvSpPr/>
              <p:nvPr/>
            </p:nvSpPr>
            <p:spPr>
              <a:xfrm>
                <a:off x="8004775" y="2808059"/>
                <a:ext cx="90687" cy="64306"/>
              </a:xfrm>
              <a:custGeom>
                <a:avLst/>
                <a:gdLst>
                  <a:gd name="connsiteX0" fmla="*/ 22647 w 90687"/>
                  <a:gd name="connsiteY0" fmla="*/ 64276 h 64306"/>
                  <a:gd name="connsiteX1" fmla="*/ 71931 w 90687"/>
                  <a:gd name="connsiteY1" fmla="*/ 57245 h 64306"/>
                  <a:gd name="connsiteX2" fmla="*/ 84332 w 90687"/>
                  <a:gd name="connsiteY2" fmla="*/ 39192 h 64306"/>
                  <a:gd name="connsiteX3" fmla="*/ 87794 w 90687"/>
                  <a:gd name="connsiteY3" fmla="*/ 19478 h 64306"/>
                  <a:gd name="connsiteX4" fmla="*/ 88112 w 90687"/>
                  <a:gd name="connsiteY4" fmla="*/ 3297 h 64306"/>
                  <a:gd name="connsiteX5" fmla="*/ 73627 w 90687"/>
                  <a:gd name="connsiteY5" fmla="*/ 3015 h 64306"/>
                  <a:gd name="connsiteX6" fmla="*/ 15475 w 90687"/>
                  <a:gd name="connsiteY6" fmla="*/ 27851 h 64306"/>
                  <a:gd name="connsiteX7" fmla="*/ 495 w 90687"/>
                  <a:gd name="connsiteY7" fmla="*/ 50391 h 64306"/>
                  <a:gd name="connsiteX8" fmla="*/ 22682 w 90687"/>
                  <a:gd name="connsiteY8" fmla="*/ 64276 h 6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687" h="64306">
                    <a:moveTo>
                      <a:pt x="22647" y="64276"/>
                    </a:moveTo>
                    <a:cubicBezTo>
                      <a:pt x="39711" y="61873"/>
                      <a:pt x="55856" y="59789"/>
                      <a:pt x="71931" y="57245"/>
                    </a:cubicBezTo>
                    <a:cubicBezTo>
                      <a:pt x="82106" y="55655"/>
                      <a:pt x="87088" y="48978"/>
                      <a:pt x="84332" y="39192"/>
                    </a:cubicBezTo>
                    <a:cubicBezTo>
                      <a:pt x="82177" y="31490"/>
                      <a:pt x="83307" y="25696"/>
                      <a:pt x="87794" y="19478"/>
                    </a:cubicBezTo>
                    <a:cubicBezTo>
                      <a:pt x="91433" y="14461"/>
                      <a:pt x="91751" y="8243"/>
                      <a:pt x="88112" y="3297"/>
                    </a:cubicBezTo>
                    <a:cubicBezTo>
                      <a:pt x="84014" y="-2250"/>
                      <a:pt x="77761" y="294"/>
                      <a:pt x="73627" y="3015"/>
                    </a:cubicBezTo>
                    <a:cubicBezTo>
                      <a:pt x="55680" y="14920"/>
                      <a:pt x="35613" y="21138"/>
                      <a:pt x="15475" y="27851"/>
                    </a:cubicBezTo>
                    <a:cubicBezTo>
                      <a:pt x="6501" y="30819"/>
                      <a:pt x="-2190" y="39474"/>
                      <a:pt x="495" y="50391"/>
                    </a:cubicBezTo>
                    <a:cubicBezTo>
                      <a:pt x="3039" y="60813"/>
                      <a:pt x="12825" y="64700"/>
                      <a:pt x="22682" y="6427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19" name="Freeform: Shape 2618">
                <a:extLst>
                  <a:ext uri="{FF2B5EF4-FFF2-40B4-BE49-F238E27FC236}">
                    <a16:creationId xmlns:a16="http://schemas.microsoft.com/office/drawing/2014/main" id="{A5C6EC7C-6780-29CD-3E31-88B54E88D6BE}"/>
                  </a:ext>
                </a:extLst>
              </p:cNvPr>
              <p:cNvSpPr/>
              <p:nvPr/>
            </p:nvSpPr>
            <p:spPr>
              <a:xfrm>
                <a:off x="7860694" y="2711784"/>
                <a:ext cx="83657" cy="93306"/>
              </a:xfrm>
              <a:custGeom>
                <a:avLst/>
                <a:gdLst>
                  <a:gd name="connsiteX0" fmla="*/ 8 w 83657"/>
                  <a:gd name="connsiteY0" fmla="*/ 65373 h 93306"/>
                  <a:gd name="connsiteX1" fmla="*/ 8134 w 83657"/>
                  <a:gd name="connsiteY1" fmla="*/ 84698 h 93306"/>
                  <a:gd name="connsiteX2" fmla="*/ 23325 w 83657"/>
                  <a:gd name="connsiteY2" fmla="*/ 84451 h 93306"/>
                  <a:gd name="connsiteX3" fmla="*/ 73917 w 83657"/>
                  <a:gd name="connsiteY3" fmla="*/ 15630 h 93306"/>
                  <a:gd name="connsiteX4" fmla="*/ 82820 w 83657"/>
                  <a:gd name="connsiteY4" fmla="*/ 3017 h 93306"/>
                  <a:gd name="connsiteX5" fmla="*/ 63142 w 83657"/>
                  <a:gd name="connsiteY5" fmla="*/ 2734 h 93306"/>
                  <a:gd name="connsiteX6" fmla="*/ 58513 w 83657"/>
                  <a:gd name="connsiteY6" fmla="*/ 5313 h 93306"/>
                  <a:gd name="connsiteX7" fmla="*/ 20040 w 83657"/>
                  <a:gd name="connsiteY7" fmla="*/ 33259 h 93306"/>
                  <a:gd name="connsiteX8" fmla="*/ 8 w 83657"/>
                  <a:gd name="connsiteY8" fmla="*/ 65373 h 93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657" h="93306">
                    <a:moveTo>
                      <a:pt x="8" y="65373"/>
                    </a:moveTo>
                    <a:cubicBezTo>
                      <a:pt x="-63" y="70531"/>
                      <a:pt x="1280" y="74135"/>
                      <a:pt x="8134" y="84698"/>
                    </a:cubicBezTo>
                    <a:cubicBezTo>
                      <a:pt x="15624" y="96286"/>
                      <a:pt x="16790" y="96145"/>
                      <a:pt x="23325" y="84451"/>
                    </a:cubicBezTo>
                    <a:cubicBezTo>
                      <a:pt x="37281" y="59403"/>
                      <a:pt x="52472" y="35237"/>
                      <a:pt x="73917" y="15630"/>
                    </a:cubicBezTo>
                    <a:cubicBezTo>
                      <a:pt x="77803" y="12061"/>
                      <a:pt x="86353" y="7504"/>
                      <a:pt x="82820" y="3017"/>
                    </a:cubicBezTo>
                    <a:cubicBezTo>
                      <a:pt x="78899" y="-1964"/>
                      <a:pt x="69854" y="155"/>
                      <a:pt x="63142" y="2734"/>
                    </a:cubicBezTo>
                    <a:cubicBezTo>
                      <a:pt x="61516" y="3370"/>
                      <a:pt x="59962" y="4289"/>
                      <a:pt x="58513" y="5313"/>
                    </a:cubicBezTo>
                    <a:cubicBezTo>
                      <a:pt x="45618" y="14534"/>
                      <a:pt x="32087" y="23049"/>
                      <a:pt x="20040" y="33259"/>
                    </a:cubicBezTo>
                    <a:cubicBezTo>
                      <a:pt x="10925" y="40996"/>
                      <a:pt x="-345" y="48239"/>
                      <a:pt x="8" y="6537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22" name="Freeform: Shape 2621">
                <a:extLst>
                  <a:ext uri="{FF2B5EF4-FFF2-40B4-BE49-F238E27FC236}">
                    <a16:creationId xmlns:a16="http://schemas.microsoft.com/office/drawing/2014/main" id="{836E88E5-FBCA-A907-F1E2-3635661237F3}"/>
                  </a:ext>
                </a:extLst>
              </p:cNvPr>
              <p:cNvSpPr/>
              <p:nvPr/>
            </p:nvSpPr>
            <p:spPr>
              <a:xfrm>
                <a:off x="7857754" y="3069243"/>
                <a:ext cx="37568" cy="74595"/>
              </a:xfrm>
              <a:custGeom>
                <a:avLst/>
                <a:gdLst>
                  <a:gd name="connsiteX0" fmla="*/ 263 w 37568"/>
                  <a:gd name="connsiteY0" fmla="*/ 33333 h 74595"/>
                  <a:gd name="connsiteX1" fmla="*/ 20154 w 37568"/>
                  <a:gd name="connsiteY1" fmla="*/ 71630 h 74595"/>
                  <a:gd name="connsiteX2" fmla="*/ 37041 w 37568"/>
                  <a:gd name="connsiteY2" fmla="*/ 65200 h 74595"/>
                  <a:gd name="connsiteX3" fmla="*/ 36794 w 37568"/>
                  <a:gd name="connsiteY3" fmla="*/ 53329 h 74595"/>
                  <a:gd name="connsiteX4" fmla="*/ 34109 w 37568"/>
                  <a:gd name="connsiteY4" fmla="*/ 16975 h 74595"/>
                  <a:gd name="connsiteX5" fmla="*/ 24676 w 37568"/>
                  <a:gd name="connsiteY5" fmla="*/ 1042 h 74595"/>
                  <a:gd name="connsiteX6" fmla="*/ 7258 w 37568"/>
                  <a:gd name="connsiteY6" fmla="*/ 6977 h 74595"/>
                  <a:gd name="connsiteX7" fmla="*/ 263 w 37568"/>
                  <a:gd name="connsiteY7" fmla="*/ 33297 h 74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68" h="74595">
                    <a:moveTo>
                      <a:pt x="263" y="33333"/>
                    </a:moveTo>
                    <a:cubicBezTo>
                      <a:pt x="-1821" y="50573"/>
                      <a:pt x="8813" y="61490"/>
                      <a:pt x="20154" y="71630"/>
                    </a:cubicBezTo>
                    <a:cubicBezTo>
                      <a:pt x="26831" y="77600"/>
                      <a:pt x="35381" y="74103"/>
                      <a:pt x="37041" y="65200"/>
                    </a:cubicBezTo>
                    <a:cubicBezTo>
                      <a:pt x="37748" y="61384"/>
                      <a:pt x="37818" y="57039"/>
                      <a:pt x="36794" y="53329"/>
                    </a:cubicBezTo>
                    <a:cubicBezTo>
                      <a:pt x="33438" y="41352"/>
                      <a:pt x="30399" y="29800"/>
                      <a:pt x="34109" y="16975"/>
                    </a:cubicBezTo>
                    <a:cubicBezTo>
                      <a:pt x="36016" y="10404"/>
                      <a:pt x="31388" y="3621"/>
                      <a:pt x="24676" y="1042"/>
                    </a:cubicBezTo>
                    <a:cubicBezTo>
                      <a:pt x="17963" y="-1537"/>
                      <a:pt x="11886" y="759"/>
                      <a:pt x="7258" y="6977"/>
                    </a:cubicBezTo>
                    <a:cubicBezTo>
                      <a:pt x="1358" y="14926"/>
                      <a:pt x="-337" y="23723"/>
                      <a:pt x="263" y="3329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24" name="Freeform: Shape 2623">
                <a:extLst>
                  <a:ext uri="{FF2B5EF4-FFF2-40B4-BE49-F238E27FC236}">
                    <a16:creationId xmlns:a16="http://schemas.microsoft.com/office/drawing/2014/main" id="{47BAE1DE-6D51-F392-A9EE-3BEE053B7E5E}"/>
                  </a:ext>
                </a:extLst>
              </p:cNvPr>
              <p:cNvSpPr/>
              <p:nvPr/>
            </p:nvSpPr>
            <p:spPr>
              <a:xfrm>
                <a:off x="7972148" y="2750766"/>
                <a:ext cx="72183" cy="116198"/>
              </a:xfrm>
              <a:custGeom>
                <a:avLst/>
                <a:gdLst>
                  <a:gd name="connsiteX0" fmla="*/ 1149 w 72183"/>
                  <a:gd name="connsiteY0" fmla="*/ 116198 h 116198"/>
                  <a:gd name="connsiteX1" fmla="*/ 8108 w 72183"/>
                  <a:gd name="connsiteY1" fmla="*/ 104645 h 116198"/>
                  <a:gd name="connsiteX2" fmla="*/ 30048 w 72183"/>
                  <a:gd name="connsiteY2" fmla="*/ 51051 h 116198"/>
                  <a:gd name="connsiteX3" fmla="*/ 67744 w 72183"/>
                  <a:gd name="connsiteY3" fmla="*/ 9998 h 116198"/>
                  <a:gd name="connsiteX4" fmla="*/ 70959 w 72183"/>
                  <a:gd name="connsiteY4" fmla="*/ 1272 h 116198"/>
                  <a:gd name="connsiteX5" fmla="*/ 63081 w 72183"/>
                  <a:gd name="connsiteY5" fmla="*/ 3498 h 116198"/>
                  <a:gd name="connsiteX6" fmla="*/ 41318 w 72183"/>
                  <a:gd name="connsiteY6" fmla="*/ 18619 h 116198"/>
                  <a:gd name="connsiteX7" fmla="*/ 1149 w 72183"/>
                  <a:gd name="connsiteY7" fmla="*/ 116198 h 1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83" h="116198">
                    <a:moveTo>
                      <a:pt x="1149" y="116198"/>
                    </a:moveTo>
                    <a:cubicBezTo>
                      <a:pt x="6872" y="112347"/>
                      <a:pt x="7543" y="108602"/>
                      <a:pt x="8108" y="104645"/>
                    </a:cubicBezTo>
                    <a:cubicBezTo>
                      <a:pt x="10864" y="84932"/>
                      <a:pt x="19273" y="67550"/>
                      <a:pt x="30048" y="51051"/>
                    </a:cubicBezTo>
                    <a:cubicBezTo>
                      <a:pt x="40399" y="35259"/>
                      <a:pt x="54814" y="23353"/>
                      <a:pt x="67744" y="9998"/>
                    </a:cubicBezTo>
                    <a:cubicBezTo>
                      <a:pt x="70041" y="7631"/>
                      <a:pt x="74280" y="5052"/>
                      <a:pt x="70959" y="1272"/>
                    </a:cubicBezTo>
                    <a:cubicBezTo>
                      <a:pt x="68027" y="-2049"/>
                      <a:pt x="65377" y="2014"/>
                      <a:pt x="63081" y="3498"/>
                    </a:cubicBezTo>
                    <a:cubicBezTo>
                      <a:pt x="55662" y="8338"/>
                      <a:pt x="47925" y="12825"/>
                      <a:pt x="41318" y="18619"/>
                    </a:cubicBezTo>
                    <a:cubicBezTo>
                      <a:pt x="12595" y="43844"/>
                      <a:pt x="-4751" y="74050"/>
                      <a:pt x="1149" y="11619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2" name="Freeform: Shape 831">
                <a:extLst>
                  <a:ext uri="{FF2B5EF4-FFF2-40B4-BE49-F238E27FC236}">
                    <a16:creationId xmlns:a16="http://schemas.microsoft.com/office/drawing/2014/main" id="{3CEC3C1D-1BAA-6624-A10A-4EBEF07EFD32}"/>
                  </a:ext>
                </a:extLst>
              </p:cNvPr>
              <p:cNvSpPr/>
              <p:nvPr/>
            </p:nvSpPr>
            <p:spPr>
              <a:xfrm>
                <a:off x="7924574" y="2758020"/>
                <a:ext cx="47041" cy="57695"/>
              </a:xfrm>
              <a:custGeom>
                <a:avLst/>
                <a:gdLst>
                  <a:gd name="connsiteX0" fmla="*/ 74 w 47041"/>
                  <a:gd name="connsiteY0" fmla="*/ 42631 h 57695"/>
                  <a:gd name="connsiteX1" fmla="*/ 11309 w 47041"/>
                  <a:gd name="connsiteY1" fmla="*/ 57010 h 57695"/>
                  <a:gd name="connsiteX2" fmla="*/ 28373 w 47041"/>
                  <a:gd name="connsiteY2" fmla="*/ 48036 h 57695"/>
                  <a:gd name="connsiteX3" fmla="*/ 45225 w 47041"/>
                  <a:gd name="connsiteY3" fmla="*/ 14898 h 57695"/>
                  <a:gd name="connsiteX4" fmla="*/ 44342 w 47041"/>
                  <a:gd name="connsiteY4" fmla="*/ 2497 h 57695"/>
                  <a:gd name="connsiteX5" fmla="*/ 37417 w 47041"/>
                  <a:gd name="connsiteY5" fmla="*/ 271 h 57695"/>
                  <a:gd name="connsiteX6" fmla="*/ 74 w 47041"/>
                  <a:gd name="connsiteY6" fmla="*/ 42666 h 5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41" h="57695">
                    <a:moveTo>
                      <a:pt x="74" y="42631"/>
                    </a:moveTo>
                    <a:cubicBezTo>
                      <a:pt x="-703" y="50934"/>
                      <a:pt x="4738" y="54961"/>
                      <a:pt x="11309" y="57010"/>
                    </a:cubicBezTo>
                    <a:cubicBezTo>
                      <a:pt x="19435" y="59554"/>
                      <a:pt x="26430" y="54678"/>
                      <a:pt x="28373" y="48036"/>
                    </a:cubicBezTo>
                    <a:cubicBezTo>
                      <a:pt x="31977" y="35707"/>
                      <a:pt x="35934" y="24225"/>
                      <a:pt x="45225" y="14898"/>
                    </a:cubicBezTo>
                    <a:cubicBezTo>
                      <a:pt x="49005" y="11082"/>
                      <a:pt x="45967" y="6454"/>
                      <a:pt x="44342" y="2497"/>
                    </a:cubicBezTo>
                    <a:cubicBezTo>
                      <a:pt x="43070" y="-541"/>
                      <a:pt x="40067" y="-117"/>
                      <a:pt x="37417" y="271"/>
                    </a:cubicBezTo>
                    <a:cubicBezTo>
                      <a:pt x="28196" y="1614"/>
                      <a:pt x="604" y="32986"/>
                      <a:pt x="74" y="4266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3" name="Freeform: Shape 832">
                <a:extLst>
                  <a:ext uri="{FF2B5EF4-FFF2-40B4-BE49-F238E27FC236}">
                    <a16:creationId xmlns:a16="http://schemas.microsoft.com/office/drawing/2014/main" id="{479CB575-A82B-986F-383B-31686838B9FE}"/>
                  </a:ext>
                </a:extLst>
              </p:cNvPr>
              <p:cNvSpPr/>
              <p:nvPr/>
            </p:nvSpPr>
            <p:spPr>
              <a:xfrm>
                <a:off x="8312479" y="2699717"/>
                <a:ext cx="54458" cy="29098"/>
              </a:xfrm>
              <a:custGeom>
                <a:avLst/>
                <a:gdLst>
                  <a:gd name="connsiteX0" fmla="*/ 15736 w 54458"/>
                  <a:gd name="connsiteY0" fmla="*/ 29075 h 29098"/>
                  <a:gd name="connsiteX1" fmla="*/ 53009 w 54458"/>
                  <a:gd name="connsiteY1" fmla="*/ 9714 h 29098"/>
                  <a:gd name="connsiteX2" fmla="*/ 52903 w 54458"/>
                  <a:gd name="connsiteY2" fmla="*/ 1094 h 29098"/>
                  <a:gd name="connsiteX3" fmla="*/ 45237 w 54458"/>
                  <a:gd name="connsiteY3" fmla="*/ 3744 h 29098"/>
                  <a:gd name="connsiteX4" fmla="*/ 15454 w 54458"/>
                  <a:gd name="connsiteY4" fmla="*/ 17557 h 29098"/>
                  <a:gd name="connsiteX5" fmla="*/ 15 w 54458"/>
                  <a:gd name="connsiteY5" fmla="*/ 23811 h 29098"/>
                  <a:gd name="connsiteX6" fmla="*/ 15701 w 54458"/>
                  <a:gd name="connsiteY6" fmla="*/ 29075 h 2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58" h="29098">
                    <a:moveTo>
                      <a:pt x="15736" y="29075"/>
                    </a:moveTo>
                    <a:cubicBezTo>
                      <a:pt x="33719" y="29110"/>
                      <a:pt x="48593" y="21161"/>
                      <a:pt x="53009" y="9714"/>
                    </a:cubicBezTo>
                    <a:cubicBezTo>
                      <a:pt x="54139" y="6782"/>
                      <a:pt x="55659" y="3496"/>
                      <a:pt x="52903" y="1094"/>
                    </a:cubicBezTo>
                    <a:cubicBezTo>
                      <a:pt x="49512" y="-1874"/>
                      <a:pt x="47462" y="1942"/>
                      <a:pt x="45237" y="3744"/>
                    </a:cubicBezTo>
                    <a:cubicBezTo>
                      <a:pt x="36475" y="10880"/>
                      <a:pt x="26300" y="14943"/>
                      <a:pt x="15454" y="17557"/>
                    </a:cubicBezTo>
                    <a:cubicBezTo>
                      <a:pt x="9695" y="18935"/>
                      <a:pt x="-444" y="17981"/>
                      <a:pt x="15" y="23811"/>
                    </a:cubicBezTo>
                    <a:cubicBezTo>
                      <a:pt x="686" y="32290"/>
                      <a:pt x="10755" y="27662"/>
                      <a:pt x="15701" y="2907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4" name="Freeform: Shape 833">
                <a:extLst>
                  <a:ext uri="{FF2B5EF4-FFF2-40B4-BE49-F238E27FC236}">
                    <a16:creationId xmlns:a16="http://schemas.microsoft.com/office/drawing/2014/main" id="{71FFA2B8-992D-9AF0-0853-59608A0C93D7}"/>
                  </a:ext>
                </a:extLst>
              </p:cNvPr>
              <p:cNvSpPr/>
              <p:nvPr/>
            </p:nvSpPr>
            <p:spPr>
              <a:xfrm>
                <a:off x="8108457" y="2800595"/>
                <a:ext cx="15554" cy="15497"/>
              </a:xfrm>
              <a:custGeom>
                <a:avLst/>
                <a:gdLst>
                  <a:gd name="connsiteX0" fmla="*/ 15555 w 15554"/>
                  <a:gd name="connsiteY0" fmla="*/ 7475 h 15497"/>
                  <a:gd name="connsiteX1" fmla="*/ 6723 w 15554"/>
                  <a:gd name="connsiteY1" fmla="*/ 56 h 15497"/>
                  <a:gd name="connsiteX2" fmla="*/ 10 w 15554"/>
                  <a:gd name="connsiteY2" fmla="*/ 8111 h 15497"/>
                  <a:gd name="connsiteX3" fmla="*/ 7429 w 15554"/>
                  <a:gd name="connsiteY3" fmla="*/ 15495 h 15497"/>
                  <a:gd name="connsiteX4" fmla="*/ 15555 w 15554"/>
                  <a:gd name="connsiteY4" fmla="*/ 7475 h 15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4" h="15497">
                    <a:moveTo>
                      <a:pt x="15555" y="7475"/>
                    </a:moveTo>
                    <a:cubicBezTo>
                      <a:pt x="15060" y="1964"/>
                      <a:pt x="11881" y="-403"/>
                      <a:pt x="6723" y="56"/>
                    </a:cubicBezTo>
                    <a:cubicBezTo>
                      <a:pt x="2023" y="480"/>
                      <a:pt x="-167" y="3518"/>
                      <a:pt x="10" y="8111"/>
                    </a:cubicBezTo>
                    <a:cubicBezTo>
                      <a:pt x="187" y="12810"/>
                      <a:pt x="2766" y="15389"/>
                      <a:pt x="7429" y="15495"/>
                    </a:cubicBezTo>
                    <a:cubicBezTo>
                      <a:pt x="12799" y="15601"/>
                      <a:pt x="15413" y="12704"/>
                      <a:pt x="15555" y="747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5" name="Freeform: Shape 834">
                <a:extLst>
                  <a:ext uri="{FF2B5EF4-FFF2-40B4-BE49-F238E27FC236}">
                    <a16:creationId xmlns:a16="http://schemas.microsoft.com/office/drawing/2014/main" id="{93C6E740-2DB3-23C1-4EAC-A402C35233DD}"/>
                  </a:ext>
                </a:extLst>
              </p:cNvPr>
              <p:cNvSpPr/>
              <p:nvPr/>
            </p:nvSpPr>
            <p:spPr>
              <a:xfrm>
                <a:off x="7895344" y="3091163"/>
                <a:ext cx="14960" cy="15016"/>
              </a:xfrm>
              <a:custGeom>
                <a:avLst/>
                <a:gdLst>
                  <a:gd name="connsiteX0" fmla="*/ 14961 w 14960"/>
                  <a:gd name="connsiteY0" fmla="*/ 7915 h 15016"/>
                  <a:gd name="connsiteX1" fmla="*/ 7400 w 14960"/>
                  <a:gd name="connsiteY1" fmla="*/ 108 h 15016"/>
                  <a:gd name="connsiteX2" fmla="*/ 16 w 14960"/>
                  <a:gd name="connsiteY2" fmla="*/ 7067 h 15016"/>
                  <a:gd name="connsiteX3" fmla="*/ 6482 w 14960"/>
                  <a:gd name="connsiteY3" fmla="*/ 15017 h 15016"/>
                  <a:gd name="connsiteX4" fmla="*/ 14925 w 14960"/>
                  <a:gd name="connsiteY4" fmla="*/ 7915 h 15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60" h="15016">
                    <a:moveTo>
                      <a:pt x="14961" y="7915"/>
                    </a:moveTo>
                    <a:cubicBezTo>
                      <a:pt x="14183" y="3641"/>
                      <a:pt x="11498" y="743"/>
                      <a:pt x="7400" y="108"/>
                    </a:cubicBezTo>
                    <a:cubicBezTo>
                      <a:pt x="2560" y="-634"/>
                      <a:pt x="264" y="2545"/>
                      <a:pt x="16" y="7067"/>
                    </a:cubicBezTo>
                    <a:cubicBezTo>
                      <a:pt x="-196" y="11519"/>
                      <a:pt x="1642" y="14981"/>
                      <a:pt x="6482" y="15017"/>
                    </a:cubicBezTo>
                    <a:cubicBezTo>
                      <a:pt x="10827" y="15017"/>
                      <a:pt x="13300" y="11837"/>
                      <a:pt x="14925" y="791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6" name="Freeform: Shape 835">
                <a:extLst>
                  <a:ext uri="{FF2B5EF4-FFF2-40B4-BE49-F238E27FC236}">
                    <a16:creationId xmlns:a16="http://schemas.microsoft.com/office/drawing/2014/main" id="{8D37E05E-B5DC-C0CD-C78B-D91D0152B4CC}"/>
                  </a:ext>
                </a:extLst>
              </p:cNvPr>
              <p:cNvSpPr/>
              <p:nvPr/>
            </p:nvSpPr>
            <p:spPr>
              <a:xfrm>
                <a:off x="7994628" y="2534990"/>
                <a:ext cx="215027" cy="108815"/>
              </a:xfrm>
              <a:custGeom>
                <a:avLst/>
                <a:gdLst>
                  <a:gd name="connsiteX0" fmla="*/ 44523 w 215027"/>
                  <a:gd name="connsiteY0" fmla="*/ 108516 h 108815"/>
                  <a:gd name="connsiteX1" fmla="*/ 5555 w 215027"/>
                  <a:gd name="connsiteY1" fmla="*/ 97917 h 108815"/>
                  <a:gd name="connsiteX2" fmla="*/ 2022 w 215027"/>
                  <a:gd name="connsiteY2" fmla="*/ 84033 h 108815"/>
                  <a:gd name="connsiteX3" fmla="*/ 129385 w 215027"/>
                  <a:gd name="connsiteY3" fmla="*/ 1963 h 108815"/>
                  <a:gd name="connsiteX4" fmla="*/ 205873 w 215027"/>
                  <a:gd name="connsiteY4" fmla="*/ 4224 h 108815"/>
                  <a:gd name="connsiteX5" fmla="*/ 211101 w 215027"/>
                  <a:gd name="connsiteY5" fmla="*/ 18143 h 108815"/>
                  <a:gd name="connsiteX6" fmla="*/ 151748 w 215027"/>
                  <a:gd name="connsiteY6" fmla="*/ 70466 h 108815"/>
                  <a:gd name="connsiteX7" fmla="*/ 65615 w 215027"/>
                  <a:gd name="connsiteY7" fmla="*/ 107385 h 108815"/>
                  <a:gd name="connsiteX8" fmla="*/ 44488 w 215027"/>
                  <a:gd name="connsiteY8" fmla="*/ 108551 h 10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027" h="108815">
                    <a:moveTo>
                      <a:pt x="44523" y="108516"/>
                    </a:moveTo>
                    <a:cubicBezTo>
                      <a:pt x="30109" y="110070"/>
                      <a:pt x="17532" y="105442"/>
                      <a:pt x="5555" y="97917"/>
                    </a:cubicBezTo>
                    <a:cubicBezTo>
                      <a:pt x="-522" y="94102"/>
                      <a:pt x="-1476" y="90745"/>
                      <a:pt x="2022" y="84033"/>
                    </a:cubicBezTo>
                    <a:cubicBezTo>
                      <a:pt x="28943" y="32381"/>
                      <a:pt x="74306" y="10053"/>
                      <a:pt x="129385" y="1963"/>
                    </a:cubicBezTo>
                    <a:cubicBezTo>
                      <a:pt x="155175" y="-1818"/>
                      <a:pt x="180400" y="373"/>
                      <a:pt x="205873" y="4224"/>
                    </a:cubicBezTo>
                    <a:cubicBezTo>
                      <a:pt x="217884" y="6061"/>
                      <a:pt x="216330" y="10866"/>
                      <a:pt x="211101" y="18143"/>
                    </a:cubicBezTo>
                    <a:cubicBezTo>
                      <a:pt x="195309" y="40118"/>
                      <a:pt x="174677" y="56829"/>
                      <a:pt x="151748" y="70466"/>
                    </a:cubicBezTo>
                    <a:cubicBezTo>
                      <a:pt x="124756" y="86470"/>
                      <a:pt x="97376" y="101980"/>
                      <a:pt x="65615" y="107385"/>
                    </a:cubicBezTo>
                    <a:cubicBezTo>
                      <a:pt x="58514" y="108587"/>
                      <a:pt x="51483" y="108057"/>
                      <a:pt x="44488" y="10855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8" name="Freeform: Shape 837">
                <a:extLst>
                  <a:ext uri="{FF2B5EF4-FFF2-40B4-BE49-F238E27FC236}">
                    <a16:creationId xmlns:a16="http://schemas.microsoft.com/office/drawing/2014/main" id="{2541E676-7C6F-AFD0-CCF1-808F5DDFCC46}"/>
                  </a:ext>
                </a:extLst>
              </p:cNvPr>
              <p:cNvSpPr/>
              <p:nvPr/>
            </p:nvSpPr>
            <p:spPr>
              <a:xfrm>
                <a:off x="8347683" y="3758665"/>
                <a:ext cx="251152" cy="107615"/>
              </a:xfrm>
              <a:custGeom>
                <a:avLst/>
                <a:gdLst>
                  <a:gd name="connsiteX0" fmla="*/ 50556 w 251152"/>
                  <a:gd name="connsiteY0" fmla="*/ 106954 h 107615"/>
                  <a:gd name="connsiteX1" fmla="*/ 14661 w 251152"/>
                  <a:gd name="connsiteY1" fmla="*/ 100913 h 107615"/>
                  <a:gd name="connsiteX2" fmla="*/ 529 w 251152"/>
                  <a:gd name="connsiteY2" fmla="*/ 81376 h 107615"/>
                  <a:gd name="connsiteX3" fmla="*/ 20313 w 251152"/>
                  <a:gd name="connsiteY3" fmla="*/ 66714 h 107615"/>
                  <a:gd name="connsiteX4" fmla="*/ 108284 w 251152"/>
                  <a:gd name="connsiteY4" fmla="*/ 56504 h 107615"/>
                  <a:gd name="connsiteX5" fmla="*/ 151739 w 251152"/>
                  <a:gd name="connsiteY5" fmla="*/ 29053 h 107615"/>
                  <a:gd name="connsiteX6" fmla="*/ 211021 w 251152"/>
                  <a:gd name="connsiteY6" fmla="*/ 3015 h 107615"/>
                  <a:gd name="connsiteX7" fmla="*/ 228121 w 251152"/>
                  <a:gd name="connsiteY7" fmla="*/ 1249 h 107615"/>
                  <a:gd name="connsiteX8" fmla="*/ 248930 w 251152"/>
                  <a:gd name="connsiteY8" fmla="*/ 8279 h 107615"/>
                  <a:gd name="connsiteX9" fmla="*/ 244054 w 251152"/>
                  <a:gd name="connsiteY9" fmla="*/ 29760 h 107615"/>
                  <a:gd name="connsiteX10" fmla="*/ 224977 w 251152"/>
                  <a:gd name="connsiteY10" fmla="*/ 43927 h 107615"/>
                  <a:gd name="connsiteX11" fmla="*/ 102772 w 251152"/>
                  <a:gd name="connsiteY11" fmla="*/ 98193 h 107615"/>
                  <a:gd name="connsiteX12" fmla="*/ 50556 w 251152"/>
                  <a:gd name="connsiteY12" fmla="*/ 106954 h 107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152" h="107615">
                    <a:moveTo>
                      <a:pt x="50556" y="106954"/>
                    </a:moveTo>
                    <a:cubicBezTo>
                      <a:pt x="38120" y="109145"/>
                      <a:pt x="26214" y="105576"/>
                      <a:pt x="14661" y="100913"/>
                    </a:cubicBezTo>
                    <a:cubicBezTo>
                      <a:pt x="6041" y="97451"/>
                      <a:pt x="-2191" y="92045"/>
                      <a:pt x="529" y="81376"/>
                    </a:cubicBezTo>
                    <a:cubicBezTo>
                      <a:pt x="2861" y="72296"/>
                      <a:pt x="10563" y="67845"/>
                      <a:pt x="20313" y="66714"/>
                    </a:cubicBezTo>
                    <a:cubicBezTo>
                      <a:pt x="49637" y="63287"/>
                      <a:pt x="79419" y="64276"/>
                      <a:pt x="108284" y="56504"/>
                    </a:cubicBezTo>
                    <a:cubicBezTo>
                      <a:pt x="125807" y="51805"/>
                      <a:pt x="141458" y="45552"/>
                      <a:pt x="151739" y="29053"/>
                    </a:cubicBezTo>
                    <a:cubicBezTo>
                      <a:pt x="165341" y="7255"/>
                      <a:pt x="187987" y="4252"/>
                      <a:pt x="211021" y="3015"/>
                    </a:cubicBezTo>
                    <a:cubicBezTo>
                      <a:pt x="216744" y="2697"/>
                      <a:pt x="222398" y="3157"/>
                      <a:pt x="228121" y="1249"/>
                    </a:cubicBezTo>
                    <a:cubicBezTo>
                      <a:pt x="236494" y="-1542"/>
                      <a:pt x="244266" y="154"/>
                      <a:pt x="248930" y="8279"/>
                    </a:cubicBezTo>
                    <a:cubicBezTo>
                      <a:pt x="253664" y="16582"/>
                      <a:pt x="250272" y="24036"/>
                      <a:pt x="244054" y="29760"/>
                    </a:cubicBezTo>
                    <a:cubicBezTo>
                      <a:pt x="238260" y="35130"/>
                      <a:pt x="232042" y="40676"/>
                      <a:pt x="224977" y="43927"/>
                    </a:cubicBezTo>
                    <a:cubicBezTo>
                      <a:pt x="184454" y="62510"/>
                      <a:pt x="143895" y="81058"/>
                      <a:pt x="102772" y="98193"/>
                    </a:cubicBezTo>
                    <a:cubicBezTo>
                      <a:pt x="86591" y="104941"/>
                      <a:pt x="69068" y="109286"/>
                      <a:pt x="50556" y="10695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9" name="Freeform: Shape 838">
                <a:extLst>
                  <a:ext uri="{FF2B5EF4-FFF2-40B4-BE49-F238E27FC236}">
                    <a16:creationId xmlns:a16="http://schemas.microsoft.com/office/drawing/2014/main" id="{AE263D96-8B3C-D30F-07B9-4C237A6DC435}"/>
                  </a:ext>
                </a:extLst>
              </p:cNvPr>
              <p:cNvSpPr/>
              <p:nvPr/>
            </p:nvSpPr>
            <p:spPr>
              <a:xfrm>
                <a:off x="8642117" y="3244706"/>
                <a:ext cx="339477" cy="544601"/>
              </a:xfrm>
              <a:custGeom>
                <a:avLst/>
                <a:gdLst>
                  <a:gd name="connsiteX0" fmla="*/ 335876 w 339477"/>
                  <a:gd name="connsiteY0" fmla="*/ 0 h 544601"/>
                  <a:gd name="connsiteX1" fmla="*/ 326443 w 339477"/>
                  <a:gd name="connsiteY1" fmla="*/ 176647 h 544601"/>
                  <a:gd name="connsiteX2" fmla="*/ 303514 w 339477"/>
                  <a:gd name="connsiteY2" fmla="*/ 225755 h 544601"/>
                  <a:gd name="connsiteX3" fmla="*/ 277441 w 339477"/>
                  <a:gd name="connsiteY3" fmla="*/ 285073 h 544601"/>
                  <a:gd name="connsiteX4" fmla="*/ 243878 w 339477"/>
                  <a:gd name="connsiteY4" fmla="*/ 330683 h 544601"/>
                  <a:gd name="connsiteX5" fmla="*/ 228616 w 339477"/>
                  <a:gd name="connsiteY5" fmla="*/ 345450 h 544601"/>
                  <a:gd name="connsiteX6" fmla="*/ 209503 w 339477"/>
                  <a:gd name="connsiteY6" fmla="*/ 376364 h 544601"/>
                  <a:gd name="connsiteX7" fmla="*/ 183889 w 339477"/>
                  <a:gd name="connsiteY7" fmla="*/ 441652 h 544601"/>
                  <a:gd name="connsiteX8" fmla="*/ 163822 w 339477"/>
                  <a:gd name="connsiteY8" fmla="*/ 459953 h 544601"/>
                  <a:gd name="connsiteX9" fmla="*/ 109521 w 339477"/>
                  <a:gd name="connsiteY9" fmla="*/ 506093 h 544601"/>
                  <a:gd name="connsiteX10" fmla="*/ 95742 w 339477"/>
                  <a:gd name="connsiteY10" fmla="*/ 525453 h 544601"/>
                  <a:gd name="connsiteX11" fmla="*/ 44267 w 339477"/>
                  <a:gd name="connsiteY11" fmla="*/ 522839 h 544601"/>
                  <a:gd name="connsiteX12" fmla="*/ 29747 w 339477"/>
                  <a:gd name="connsiteY12" fmla="*/ 522980 h 544601"/>
                  <a:gd name="connsiteX13" fmla="*/ 0 w 339477"/>
                  <a:gd name="connsiteY13" fmla="*/ 544602 h 544601"/>
                  <a:gd name="connsiteX14" fmla="*/ 38368 w 339477"/>
                  <a:gd name="connsiteY14" fmla="*/ 507153 h 544601"/>
                  <a:gd name="connsiteX15" fmla="*/ 51404 w 339477"/>
                  <a:gd name="connsiteY15" fmla="*/ 512417 h 544601"/>
                  <a:gd name="connsiteX16" fmla="*/ 73626 w 339477"/>
                  <a:gd name="connsiteY16" fmla="*/ 520048 h 544601"/>
                  <a:gd name="connsiteX17" fmla="*/ 96131 w 339477"/>
                  <a:gd name="connsiteY17" fmla="*/ 508849 h 544601"/>
                  <a:gd name="connsiteX18" fmla="*/ 177812 w 339477"/>
                  <a:gd name="connsiteY18" fmla="*/ 419713 h 544601"/>
                  <a:gd name="connsiteX19" fmla="*/ 185267 w 339477"/>
                  <a:gd name="connsiteY19" fmla="*/ 391873 h 544601"/>
                  <a:gd name="connsiteX20" fmla="*/ 211764 w 339477"/>
                  <a:gd name="connsiteY20" fmla="*/ 340257 h 544601"/>
                  <a:gd name="connsiteX21" fmla="*/ 276028 w 339477"/>
                  <a:gd name="connsiteY21" fmla="*/ 262992 h 544601"/>
                  <a:gd name="connsiteX22" fmla="*/ 302031 w 339477"/>
                  <a:gd name="connsiteY22" fmla="*/ 196360 h 544601"/>
                  <a:gd name="connsiteX23" fmla="*/ 332060 w 339477"/>
                  <a:gd name="connsiteY23" fmla="*/ 55962 h 544601"/>
                  <a:gd name="connsiteX24" fmla="*/ 331813 w 339477"/>
                  <a:gd name="connsiteY24" fmla="*/ 21904 h 544601"/>
                  <a:gd name="connsiteX25" fmla="*/ 335876 w 339477"/>
                  <a:gd name="connsiteY25" fmla="*/ 71 h 54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9477" h="544601">
                    <a:moveTo>
                      <a:pt x="335876" y="0"/>
                    </a:moveTo>
                    <a:cubicBezTo>
                      <a:pt x="342977" y="60272"/>
                      <a:pt x="339444" y="118671"/>
                      <a:pt x="326443" y="176647"/>
                    </a:cubicBezTo>
                    <a:cubicBezTo>
                      <a:pt x="322380" y="194841"/>
                      <a:pt x="312629" y="210104"/>
                      <a:pt x="303514" y="225755"/>
                    </a:cubicBezTo>
                    <a:cubicBezTo>
                      <a:pt x="292562" y="244550"/>
                      <a:pt x="283129" y="263734"/>
                      <a:pt x="277441" y="285073"/>
                    </a:cubicBezTo>
                    <a:cubicBezTo>
                      <a:pt x="272389" y="304009"/>
                      <a:pt x="255855" y="316021"/>
                      <a:pt x="243878" y="330683"/>
                    </a:cubicBezTo>
                    <a:cubicBezTo>
                      <a:pt x="239427" y="336123"/>
                      <a:pt x="234233" y="341211"/>
                      <a:pt x="228616" y="345450"/>
                    </a:cubicBezTo>
                    <a:cubicBezTo>
                      <a:pt x="218088" y="353364"/>
                      <a:pt x="211693" y="363928"/>
                      <a:pt x="209503" y="376364"/>
                    </a:cubicBezTo>
                    <a:cubicBezTo>
                      <a:pt x="205369" y="399964"/>
                      <a:pt x="194382" y="420631"/>
                      <a:pt x="183889" y="441652"/>
                    </a:cubicBezTo>
                    <a:cubicBezTo>
                      <a:pt x="179402" y="450661"/>
                      <a:pt x="170075" y="453629"/>
                      <a:pt x="163822" y="459953"/>
                    </a:cubicBezTo>
                    <a:cubicBezTo>
                      <a:pt x="147041" y="476981"/>
                      <a:pt x="130118" y="493586"/>
                      <a:pt x="109521" y="506093"/>
                    </a:cubicBezTo>
                    <a:cubicBezTo>
                      <a:pt x="102490" y="510368"/>
                      <a:pt x="100406" y="519023"/>
                      <a:pt x="95742" y="525453"/>
                    </a:cubicBezTo>
                    <a:cubicBezTo>
                      <a:pt x="83094" y="542906"/>
                      <a:pt x="54513" y="541422"/>
                      <a:pt x="44267" y="522839"/>
                    </a:cubicBezTo>
                    <a:cubicBezTo>
                      <a:pt x="39851" y="514819"/>
                      <a:pt x="33845" y="520083"/>
                      <a:pt x="29747" y="522980"/>
                    </a:cubicBezTo>
                    <a:cubicBezTo>
                      <a:pt x="19784" y="530011"/>
                      <a:pt x="10528" y="538031"/>
                      <a:pt x="0" y="544602"/>
                    </a:cubicBezTo>
                    <a:cubicBezTo>
                      <a:pt x="10704" y="529975"/>
                      <a:pt x="22186" y="516056"/>
                      <a:pt x="38368" y="507153"/>
                    </a:cubicBezTo>
                    <a:cubicBezTo>
                      <a:pt x="43490" y="504326"/>
                      <a:pt x="48472" y="506446"/>
                      <a:pt x="51404" y="512417"/>
                    </a:cubicBezTo>
                    <a:cubicBezTo>
                      <a:pt x="56173" y="522097"/>
                      <a:pt x="63734" y="523899"/>
                      <a:pt x="73626" y="520048"/>
                    </a:cubicBezTo>
                    <a:cubicBezTo>
                      <a:pt x="81505" y="516974"/>
                      <a:pt x="89348" y="513865"/>
                      <a:pt x="96131" y="508849"/>
                    </a:cubicBezTo>
                    <a:cubicBezTo>
                      <a:pt x="129128" y="484436"/>
                      <a:pt x="158841" y="456985"/>
                      <a:pt x="177812" y="419713"/>
                    </a:cubicBezTo>
                    <a:cubicBezTo>
                      <a:pt x="182264" y="410916"/>
                      <a:pt x="185514" y="402048"/>
                      <a:pt x="185267" y="391873"/>
                    </a:cubicBezTo>
                    <a:cubicBezTo>
                      <a:pt x="184737" y="370040"/>
                      <a:pt x="197915" y="354565"/>
                      <a:pt x="211764" y="340257"/>
                    </a:cubicBezTo>
                    <a:cubicBezTo>
                      <a:pt x="235117" y="316092"/>
                      <a:pt x="259671" y="293340"/>
                      <a:pt x="276028" y="262992"/>
                    </a:cubicBezTo>
                    <a:cubicBezTo>
                      <a:pt x="287545" y="241653"/>
                      <a:pt x="293198" y="218477"/>
                      <a:pt x="302031" y="196360"/>
                    </a:cubicBezTo>
                    <a:cubicBezTo>
                      <a:pt x="320013" y="151351"/>
                      <a:pt x="330435" y="104681"/>
                      <a:pt x="332060" y="55962"/>
                    </a:cubicBezTo>
                    <a:cubicBezTo>
                      <a:pt x="332449" y="44550"/>
                      <a:pt x="333897" y="33386"/>
                      <a:pt x="331813" y="21904"/>
                    </a:cubicBezTo>
                    <a:cubicBezTo>
                      <a:pt x="330576" y="15121"/>
                      <a:pt x="330824" y="7772"/>
                      <a:pt x="335876" y="7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0" name="Freeform: Shape 839">
                <a:extLst>
                  <a:ext uri="{FF2B5EF4-FFF2-40B4-BE49-F238E27FC236}">
                    <a16:creationId xmlns:a16="http://schemas.microsoft.com/office/drawing/2014/main" id="{9B017AC9-3E2F-31FC-D6E8-EA9CF1C8EE72}"/>
                  </a:ext>
                </a:extLst>
              </p:cNvPr>
              <p:cNvSpPr/>
              <p:nvPr/>
            </p:nvSpPr>
            <p:spPr>
              <a:xfrm>
                <a:off x="7573303" y="2984717"/>
                <a:ext cx="95609" cy="320507"/>
              </a:xfrm>
              <a:custGeom>
                <a:avLst/>
                <a:gdLst>
                  <a:gd name="connsiteX0" fmla="*/ 6814 w 95609"/>
                  <a:gd name="connsiteY0" fmla="*/ 320508 h 320507"/>
                  <a:gd name="connsiteX1" fmla="*/ 2715 w 95609"/>
                  <a:gd name="connsiteY1" fmla="*/ 312417 h 320507"/>
                  <a:gd name="connsiteX2" fmla="*/ 30 w 95609"/>
                  <a:gd name="connsiteY2" fmla="*/ 230171 h 320507"/>
                  <a:gd name="connsiteX3" fmla="*/ 8828 w 95609"/>
                  <a:gd name="connsiteY3" fmla="*/ 191838 h 320507"/>
                  <a:gd name="connsiteX4" fmla="*/ 35642 w 95609"/>
                  <a:gd name="connsiteY4" fmla="*/ 108108 h 320507"/>
                  <a:gd name="connsiteX5" fmla="*/ 56805 w 95609"/>
                  <a:gd name="connsiteY5" fmla="*/ 58753 h 320507"/>
                  <a:gd name="connsiteX6" fmla="*/ 93053 w 95609"/>
                  <a:gd name="connsiteY6" fmla="*/ 0 h 320507"/>
                  <a:gd name="connsiteX7" fmla="*/ 93159 w 95609"/>
                  <a:gd name="connsiteY7" fmla="*/ 45186 h 320507"/>
                  <a:gd name="connsiteX8" fmla="*/ 62881 w 95609"/>
                  <a:gd name="connsiteY8" fmla="*/ 129588 h 320507"/>
                  <a:gd name="connsiteX9" fmla="*/ 40553 w 95609"/>
                  <a:gd name="connsiteY9" fmla="*/ 151846 h 320507"/>
                  <a:gd name="connsiteX10" fmla="*/ 37232 w 95609"/>
                  <a:gd name="connsiteY10" fmla="*/ 168945 h 320507"/>
                  <a:gd name="connsiteX11" fmla="*/ 39423 w 95609"/>
                  <a:gd name="connsiteY11" fmla="*/ 218300 h 320507"/>
                  <a:gd name="connsiteX12" fmla="*/ 17660 w 95609"/>
                  <a:gd name="connsiteY12" fmla="*/ 270976 h 320507"/>
                  <a:gd name="connsiteX13" fmla="*/ 6814 w 95609"/>
                  <a:gd name="connsiteY13" fmla="*/ 320508 h 320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609" h="320507">
                    <a:moveTo>
                      <a:pt x="6814" y="320508"/>
                    </a:moveTo>
                    <a:cubicBezTo>
                      <a:pt x="2362" y="317858"/>
                      <a:pt x="2821" y="314961"/>
                      <a:pt x="2715" y="312417"/>
                    </a:cubicBezTo>
                    <a:cubicBezTo>
                      <a:pt x="1762" y="285002"/>
                      <a:pt x="808" y="257586"/>
                      <a:pt x="30" y="230171"/>
                    </a:cubicBezTo>
                    <a:cubicBezTo>
                      <a:pt x="-323" y="216710"/>
                      <a:pt x="2398" y="203815"/>
                      <a:pt x="8828" y="191838"/>
                    </a:cubicBezTo>
                    <a:cubicBezTo>
                      <a:pt x="22889" y="165589"/>
                      <a:pt x="35501" y="139056"/>
                      <a:pt x="35642" y="108108"/>
                    </a:cubicBezTo>
                    <a:cubicBezTo>
                      <a:pt x="35713" y="89136"/>
                      <a:pt x="47548" y="74298"/>
                      <a:pt x="56805" y="58753"/>
                    </a:cubicBezTo>
                    <a:cubicBezTo>
                      <a:pt x="68463" y="39110"/>
                      <a:pt x="79945" y="19360"/>
                      <a:pt x="93053" y="0"/>
                    </a:cubicBezTo>
                    <a:cubicBezTo>
                      <a:pt x="96444" y="15262"/>
                      <a:pt x="96444" y="30171"/>
                      <a:pt x="93159" y="45186"/>
                    </a:cubicBezTo>
                    <a:cubicBezTo>
                      <a:pt x="86729" y="74651"/>
                      <a:pt x="78462" y="103303"/>
                      <a:pt x="62881" y="129588"/>
                    </a:cubicBezTo>
                    <a:cubicBezTo>
                      <a:pt x="57158" y="139233"/>
                      <a:pt x="48396" y="144886"/>
                      <a:pt x="40553" y="151846"/>
                    </a:cubicBezTo>
                    <a:cubicBezTo>
                      <a:pt x="34936" y="156827"/>
                      <a:pt x="32180" y="161632"/>
                      <a:pt x="37232" y="168945"/>
                    </a:cubicBezTo>
                    <a:cubicBezTo>
                      <a:pt x="48184" y="184808"/>
                      <a:pt x="45146" y="201695"/>
                      <a:pt x="39423" y="218300"/>
                    </a:cubicBezTo>
                    <a:cubicBezTo>
                      <a:pt x="33240" y="236283"/>
                      <a:pt x="23560" y="252746"/>
                      <a:pt x="17660" y="270976"/>
                    </a:cubicBezTo>
                    <a:cubicBezTo>
                      <a:pt x="12502" y="286945"/>
                      <a:pt x="12643" y="303974"/>
                      <a:pt x="6814" y="32050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1" name="Freeform: Shape 840">
                <a:extLst>
                  <a:ext uri="{FF2B5EF4-FFF2-40B4-BE49-F238E27FC236}">
                    <a16:creationId xmlns:a16="http://schemas.microsoft.com/office/drawing/2014/main" id="{5A5B3699-33BB-A1D9-E906-6B07D61439FD}"/>
                  </a:ext>
                </a:extLst>
              </p:cNvPr>
              <p:cNvSpPr/>
              <p:nvPr/>
            </p:nvSpPr>
            <p:spPr>
              <a:xfrm>
                <a:off x="8696608" y="2725833"/>
                <a:ext cx="141381" cy="111234"/>
              </a:xfrm>
              <a:custGeom>
                <a:avLst/>
                <a:gdLst>
                  <a:gd name="connsiteX0" fmla="*/ 96188 w 141381"/>
                  <a:gd name="connsiteY0" fmla="*/ 35320 h 111234"/>
                  <a:gd name="connsiteX1" fmla="*/ 83717 w 141381"/>
                  <a:gd name="connsiteY1" fmla="*/ 42562 h 111234"/>
                  <a:gd name="connsiteX2" fmla="*/ 93433 w 141381"/>
                  <a:gd name="connsiteY2" fmla="*/ 49522 h 111234"/>
                  <a:gd name="connsiteX3" fmla="*/ 136004 w 141381"/>
                  <a:gd name="connsiteY3" fmla="*/ 78704 h 111234"/>
                  <a:gd name="connsiteX4" fmla="*/ 139997 w 141381"/>
                  <a:gd name="connsiteY4" fmla="*/ 94779 h 111234"/>
                  <a:gd name="connsiteX5" fmla="*/ 127949 w 141381"/>
                  <a:gd name="connsiteY5" fmla="*/ 89197 h 111234"/>
                  <a:gd name="connsiteX6" fmla="*/ 125688 w 141381"/>
                  <a:gd name="connsiteY6" fmla="*/ 97323 h 111234"/>
                  <a:gd name="connsiteX7" fmla="*/ 102230 w 141381"/>
                  <a:gd name="connsiteY7" fmla="*/ 108098 h 111234"/>
                  <a:gd name="connsiteX8" fmla="*/ 63756 w 141381"/>
                  <a:gd name="connsiteY8" fmla="*/ 77927 h 111234"/>
                  <a:gd name="connsiteX9" fmla="*/ 12210 w 141381"/>
                  <a:gd name="connsiteY9" fmla="*/ 36556 h 111234"/>
                  <a:gd name="connsiteX10" fmla="*/ 410 w 141381"/>
                  <a:gd name="connsiteY10" fmla="*/ 16207 h 111234"/>
                  <a:gd name="connsiteX11" fmla="*/ 18711 w 141381"/>
                  <a:gd name="connsiteY11" fmla="*/ 1262 h 111234"/>
                  <a:gd name="connsiteX12" fmla="*/ 80184 w 141381"/>
                  <a:gd name="connsiteY12" fmla="*/ 22319 h 111234"/>
                  <a:gd name="connsiteX13" fmla="*/ 96188 w 141381"/>
                  <a:gd name="connsiteY13" fmla="*/ 35249 h 11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381" h="111234">
                    <a:moveTo>
                      <a:pt x="96188" y="35320"/>
                    </a:moveTo>
                    <a:cubicBezTo>
                      <a:pt x="91737" y="41962"/>
                      <a:pt x="84247" y="36698"/>
                      <a:pt x="83717" y="42562"/>
                    </a:cubicBezTo>
                    <a:cubicBezTo>
                      <a:pt x="83152" y="48533"/>
                      <a:pt x="89794" y="47756"/>
                      <a:pt x="93433" y="49522"/>
                    </a:cubicBezTo>
                    <a:cubicBezTo>
                      <a:pt x="109048" y="57189"/>
                      <a:pt x="122261" y="68353"/>
                      <a:pt x="136004" y="78704"/>
                    </a:cubicBezTo>
                    <a:cubicBezTo>
                      <a:pt x="141587" y="82908"/>
                      <a:pt x="142646" y="88490"/>
                      <a:pt x="139997" y="94779"/>
                    </a:cubicBezTo>
                    <a:cubicBezTo>
                      <a:pt x="134379" y="95662"/>
                      <a:pt x="132931" y="89091"/>
                      <a:pt x="127949" y="89197"/>
                    </a:cubicBezTo>
                    <a:cubicBezTo>
                      <a:pt x="124452" y="90999"/>
                      <a:pt x="126183" y="94532"/>
                      <a:pt x="125688" y="97323"/>
                    </a:cubicBezTo>
                    <a:cubicBezTo>
                      <a:pt x="123568" y="109582"/>
                      <a:pt x="112369" y="115235"/>
                      <a:pt x="102230" y="108098"/>
                    </a:cubicBezTo>
                    <a:cubicBezTo>
                      <a:pt x="88910" y="98701"/>
                      <a:pt x="75733" y="88914"/>
                      <a:pt x="63756" y="77927"/>
                    </a:cubicBezTo>
                    <a:cubicBezTo>
                      <a:pt x="47434" y="62947"/>
                      <a:pt x="30193" y="49381"/>
                      <a:pt x="12210" y="36556"/>
                    </a:cubicBezTo>
                    <a:cubicBezTo>
                      <a:pt x="5427" y="31716"/>
                      <a:pt x="-1816" y="26523"/>
                      <a:pt x="410" y="16207"/>
                    </a:cubicBezTo>
                    <a:cubicBezTo>
                      <a:pt x="2530" y="6385"/>
                      <a:pt x="10197" y="3099"/>
                      <a:pt x="18711" y="1262"/>
                    </a:cubicBezTo>
                    <a:cubicBezTo>
                      <a:pt x="43371" y="-4037"/>
                      <a:pt x="62130" y="8187"/>
                      <a:pt x="80184" y="22319"/>
                    </a:cubicBezTo>
                    <a:cubicBezTo>
                      <a:pt x="85695" y="26664"/>
                      <a:pt x="91101" y="31151"/>
                      <a:pt x="96188" y="3524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2" name="Freeform: Shape 841">
                <a:extLst>
                  <a:ext uri="{FF2B5EF4-FFF2-40B4-BE49-F238E27FC236}">
                    <a16:creationId xmlns:a16="http://schemas.microsoft.com/office/drawing/2014/main" id="{F55B480F-73D8-E18F-20FB-9A76363AA039}"/>
                  </a:ext>
                </a:extLst>
              </p:cNvPr>
              <p:cNvSpPr/>
              <p:nvPr/>
            </p:nvSpPr>
            <p:spPr>
              <a:xfrm>
                <a:off x="8724548" y="3362175"/>
                <a:ext cx="71328" cy="120233"/>
              </a:xfrm>
              <a:custGeom>
                <a:avLst/>
                <a:gdLst>
                  <a:gd name="connsiteX0" fmla="*/ 71145 w 71328"/>
                  <a:gd name="connsiteY0" fmla="*/ 29218 h 120233"/>
                  <a:gd name="connsiteX1" fmla="*/ 49877 w 71328"/>
                  <a:gd name="connsiteY1" fmla="*/ 106272 h 120233"/>
                  <a:gd name="connsiteX2" fmla="*/ 17763 w 71328"/>
                  <a:gd name="connsiteY2" fmla="*/ 106978 h 120233"/>
                  <a:gd name="connsiteX3" fmla="*/ 274 w 71328"/>
                  <a:gd name="connsiteY3" fmla="*/ 72991 h 120233"/>
                  <a:gd name="connsiteX4" fmla="*/ 20836 w 71328"/>
                  <a:gd name="connsiteY4" fmla="*/ 43280 h 120233"/>
                  <a:gd name="connsiteX5" fmla="*/ 37335 w 71328"/>
                  <a:gd name="connsiteY5" fmla="*/ 16111 h 120233"/>
                  <a:gd name="connsiteX6" fmla="*/ 59239 w 71328"/>
                  <a:gd name="connsiteY6" fmla="*/ 460 h 120233"/>
                  <a:gd name="connsiteX7" fmla="*/ 71145 w 71328"/>
                  <a:gd name="connsiteY7" fmla="*/ 25191 h 120233"/>
                  <a:gd name="connsiteX8" fmla="*/ 71145 w 71328"/>
                  <a:gd name="connsiteY8" fmla="*/ 29183 h 12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28" h="120233">
                    <a:moveTo>
                      <a:pt x="71145" y="29218"/>
                    </a:moveTo>
                    <a:cubicBezTo>
                      <a:pt x="70509" y="56705"/>
                      <a:pt x="63408" y="82424"/>
                      <a:pt x="49877" y="106272"/>
                    </a:cubicBezTo>
                    <a:cubicBezTo>
                      <a:pt x="39455" y="124643"/>
                      <a:pt x="28397" y="124890"/>
                      <a:pt x="17763" y="106978"/>
                    </a:cubicBezTo>
                    <a:cubicBezTo>
                      <a:pt x="11226" y="95956"/>
                      <a:pt x="2606" y="85004"/>
                      <a:pt x="274" y="72991"/>
                    </a:cubicBezTo>
                    <a:cubicBezTo>
                      <a:pt x="-2411" y="59142"/>
                      <a:pt x="15360" y="54585"/>
                      <a:pt x="20836" y="43280"/>
                    </a:cubicBezTo>
                    <a:cubicBezTo>
                      <a:pt x="25429" y="33776"/>
                      <a:pt x="31718" y="25085"/>
                      <a:pt x="37335" y="16111"/>
                    </a:cubicBezTo>
                    <a:cubicBezTo>
                      <a:pt x="42493" y="7880"/>
                      <a:pt x="47333" y="-2295"/>
                      <a:pt x="59239" y="460"/>
                    </a:cubicBezTo>
                    <a:cubicBezTo>
                      <a:pt x="72205" y="3463"/>
                      <a:pt x="71605" y="14769"/>
                      <a:pt x="71145" y="25191"/>
                    </a:cubicBezTo>
                    <a:cubicBezTo>
                      <a:pt x="71075" y="26533"/>
                      <a:pt x="71145" y="27841"/>
                      <a:pt x="71145" y="2918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3" name="Freeform: Shape 842">
                <a:extLst>
                  <a:ext uri="{FF2B5EF4-FFF2-40B4-BE49-F238E27FC236}">
                    <a16:creationId xmlns:a16="http://schemas.microsoft.com/office/drawing/2014/main" id="{1C5A9FAE-424D-7655-5624-69DE354B4ECA}"/>
                  </a:ext>
                </a:extLst>
              </p:cNvPr>
              <p:cNvSpPr/>
              <p:nvPr/>
            </p:nvSpPr>
            <p:spPr>
              <a:xfrm>
                <a:off x="8836322" y="3559172"/>
                <a:ext cx="88614" cy="135700"/>
              </a:xfrm>
              <a:custGeom>
                <a:avLst/>
                <a:gdLst>
                  <a:gd name="connsiteX0" fmla="*/ 0 w 88614"/>
                  <a:gd name="connsiteY0" fmla="*/ 135700 h 135700"/>
                  <a:gd name="connsiteX1" fmla="*/ 12577 w 88614"/>
                  <a:gd name="connsiteY1" fmla="*/ 122522 h 135700"/>
                  <a:gd name="connsiteX2" fmla="*/ 64405 w 88614"/>
                  <a:gd name="connsiteY2" fmla="*/ 59530 h 135700"/>
                  <a:gd name="connsiteX3" fmla="*/ 81434 w 88614"/>
                  <a:gd name="connsiteY3" fmla="*/ 0 h 135700"/>
                  <a:gd name="connsiteX4" fmla="*/ 83730 w 88614"/>
                  <a:gd name="connsiteY4" fmla="*/ 93163 h 135700"/>
                  <a:gd name="connsiteX5" fmla="*/ 52535 w 88614"/>
                  <a:gd name="connsiteY5" fmla="*/ 124713 h 135700"/>
                  <a:gd name="connsiteX6" fmla="*/ 0 w 88614"/>
                  <a:gd name="connsiteY6" fmla="*/ 135665 h 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14" h="135700">
                    <a:moveTo>
                      <a:pt x="0" y="135700"/>
                    </a:moveTo>
                    <a:cubicBezTo>
                      <a:pt x="1802" y="126974"/>
                      <a:pt x="7631" y="125243"/>
                      <a:pt x="12577" y="122522"/>
                    </a:cubicBezTo>
                    <a:cubicBezTo>
                      <a:pt x="38226" y="108461"/>
                      <a:pt x="58541" y="90832"/>
                      <a:pt x="64405" y="59530"/>
                    </a:cubicBezTo>
                    <a:cubicBezTo>
                      <a:pt x="68150" y="39428"/>
                      <a:pt x="78431" y="20809"/>
                      <a:pt x="81434" y="0"/>
                    </a:cubicBezTo>
                    <a:cubicBezTo>
                      <a:pt x="85885" y="31161"/>
                      <a:pt x="93799" y="61862"/>
                      <a:pt x="83730" y="93163"/>
                    </a:cubicBezTo>
                    <a:cubicBezTo>
                      <a:pt x="78572" y="109168"/>
                      <a:pt x="68786" y="120014"/>
                      <a:pt x="52535" y="124713"/>
                    </a:cubicBezTo>
                    <a:cubicBezTo>
                      <a:pt x="35647" y="129623"/>
                      <a:pt x="18901" y="135382"/>
                      <a:pt x="0" y="13566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4" name="Freeform: Shape 843">
                <a:extLst>
                  <a:ext uri="{FF2B5EF4-FFF2-40B4-BE49-F238E27FC236}">
                    <a16:creationId xmlns:a16="http://schemas.microsoft.com/office/drawing/2014/main" id="{536191C6-A165-1BB8-A2AB-82DCEC6A601A}"/>
                  </a:ext>
                </a:extLst>
              </p:cNvPr>
              <p:cNvSpPr/>
              <p:nvPr/>
            </p:nvSpPr>
            <p:spPr>
              <a:xfrm>
                <a:off x="8717862" y="2670343"/>
                <a:ext cx="119660" cy="121016"/>
              </a:xfrm>
              <a:custGeom>
                <a:avLst/>
                <a:gdLst>
                  <a:gd name="connsiteX0" fmla="*/ 119661 w 119660"/>
                  <a:gd name="connsiteY0" fmla="*/ 120982 h 121016"/>
                  <a:gd name="connsiteX1" fmla="*/ 104399 w 119660"/>
                  <a:gd name="connsiteY1" fmla="*/ 111301 h 121016"/>
                  <a:gd name="connsiteX2" fmla="*/ 86946 w 119660"/>
                  <a:gd name="connsiteY2" fmla="*/ 86677 h 121016"/>
                  <a:gd name="connsiteX3" fmla="*/ 37096 w 119660"/>
                  <a:gd name="connsiteY3" fmla="*/ 31528 h 121016"/>
                  <a:gd name="connsiteX4" fmla="*/ 5512 w 119660"/>
                  <a:gd name="connsiteY4" fmla="*/ 18491 h 121016"/>
                  <a:gd name="connsiteX5" fmla="*/ 1061 w 119660"/>
                  <a:gd name="connsiteY5" fmla="*/ 3406 h 121016"/>
                  <a:gd name="connsiteX6" fmla="*/ 12154 w 119660"/>
                  <a:gd name="connsiteY6" fmla="*/ 2840 h 121016"/>
                  <a:gd name="connsiteX7" fmla="*/ 86310 w 119660"/>
                  <a:gd name="connsiteY7" fmla="*/ 42127 h 121016"/>
                  <a:gd name="connsiteX8" fmla="*/ 119626 w 119660"/>
                  <a:gd name="connsiteY8" fmla="*/ 121017 h 12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60" h="121016">
                    <a:moveTo>
                      <a:pt x="119661" y="120982"/>
                    </a:moveTo>
                    <a:cubicBezTo>
                      <a:pt x="113301" y="116919"/>
                      <a:pt x="109062" y="113668"/>
                      <a:pt x="104399" y="111301"/>
                    </a:cubicBezTo>
                    <a:cubicBezTo>
                      <a:pt x="94153" y="106073"/>
                      <a:pt x="88995" y="99855"/>
                      <a:pt x="86946" y="86677"/>
                    </a:cubicBezTo>
                    <a:cubicBezTo>
                      <a:pt x="82636" y="58943"/>
                      <a:pt x="66949" y="38134"/>
                      <a:pt x="37096" y="31528"/>
                    </a:cubicBezTo>
                    <a:cubicBezTo>
                      <a:pt x="25932" y="29055"/>
                      <a:pt x="15157" y="25310"/>
                      <a:pt x="5512" y="18491"/>
                    </a:cubicBezTo>
                    <a:cubicBezTo>
                      <a:pt x="-565" y="14181"/>
                      <a:pt x="-883" y="8740"/>
                      <a:pt x="1061" y="3406"/>
                    </a:cubicBezTo>
                    <a:cubicBezTo>
                      <a:pt x="3533" y="-3342"/>
                      <a:pt x="8727" y="1851"/>
                      <a:pt x="12154" y="2840"/>
                    </a:cubicBezTo>
                    <a:cubicBezTo>
                      <a:pt x="39605" y="10719"/>
                      <a:pt x="65254" y="21883"/>
                      <a:pt x="86310" y="42127"/>
                    </a:cubicBezTo>
                    <a:cubicBezTo>
                      <a:pt x="108320" y="63289"/>
                      <a:pt x="117718" y="89362"/>
                      <a:pt x="119626" y="12101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5" name="Freeform: Shape 844">
                <a:extLst>
                  <a:ext uri="{FF2B5EF4-FFF2-40B4-BE49-F238E27FC236}">
                    <a16:creationId xmlns:a16="http://schemas.microsoft.com/office/drawing/2014/main" id="{667899CB-AEE3-D0CF-7BE1-D991ECFC65B8}"/>
                  </a:ext>
                </a:extLst>
              </p:cNvPr>
              <p:cNvSpPr/>
              <p:nvPr/>
            </p:nvSpPr>
            <p:spPr>
              <a:xfrm>
                <a:off x="8896727" y="3133032"/>
                <a:ext cx="57954" cy="69773"/>
              </a:xfrm>
              <a:custGeom>
                <a:avLst/>
                <a:gdLst>
                  <a:gd name="connsiteX0" fmla="*/ 21948 w 57954"/>
                  <a:gd name="connsiteY0" fmla="*/ 69738 h 69773"/>
                  <a:gd name="connsiteX1" fmla="*/ 4990 w 57954"/>
                  <a:gd name="connsiteY1" fmla="*/ 53027 h 69773"/>
                  <a:gd name="connsiteX2" fmla="*/ 6297 w 57954"/>
                  <a:gd name="connsiteY2" fmla="*/ 16815 h 69773"/>
                  <a:gd name="connsiteX3" fmla="*/ 35090 w 57954"/>
                  <a:gd name="connsiteY3" fmla="*/ 245 h 69773"/>
                  <a:gd name="connsiteX4" fmla="*/ 41485 w 57954"/>
                  <a:gd name="connsiteY4" fmla="*/ 1164 h 69773"/>
                  <a:gd name="connsiteX5" fmla="*/ 57842 w 57954"/>
                  <a:gd name="connsiteY5" fmla="*/ 38754 h 69773"/>
                  <a:gd name="connsiteX6" fmla="*/ 21948 w 57954"/>
                  <a:gd name="connsiteY6" fmla="*/ 69773 h 6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954" h="69773">
                    <a:moveTo>
                      <a:pt x="21948" y="69738"/>
                    </a:moveTo>
                    <a:cubicBezTo>
                      <a:pt x="15589" y="69561"/>
                      <a:pt x="10042" y="61082"/>
                      <a:pt x="4990" y="53027"/>
                    </a:cubicBezTo>
                    <a:cubicBezTo>
                      <a:pt x="-2606" y="40980"/>
                      <a:pt x="-1016" y="28615"/>
                      <a:pt x="6297" y="16815"/>
                    </a:cubicBezTo>
                    <a:cubicBezTo>
                      <a:pt x="12904" y="6180"/>
                      <a:pt x="24492" y="3990"/>
                      <a:pt x="35090" y="245"/>
                    </a:cubicBezTo>
                    <a:cubicBezTo>
                      <a:pt x="36927" y="-391"/>
                      <a:pt x="39542" y="316"/>
                      <a:pt x="41485" y="1164"/>
                    </a:cubicBezTo>
                    <a:cubicBezTo>
                      <a:pt x="46926" y="3460"/>
                      <a:pt x="59256" y="32254"/>
                      <a:pt x="57842" y="38754"/>
                    </a:cubicBezTo>
                    <a:cubicBezTo>
                      <a:pt x="54415" y="54193"/>
                      <a:pt x="39082" y="69632"/>
                      <a:pt x="21948" y="6977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6" name="Freeform: Shape 845">
                <a:extLst>
                  <a:ext uri="{FF2B5EF4-FFF2-40B4-BE49-F238E27FC236}">
                    <a16:creationId xmlns:a16="http://schemas.microsoft.com/office/drawing/2014/main" id="{CD9D020A-CCA9-0E1B-B8D8-16E98BF7F6C6}"/>
                  </a:ext>
                </a:extLst>
              </p:cNvPr>
              <p:cNvSpPr/>
              <p:nvPr/>
            </p:nvSpPr>
            <p:spPr>
              <a:xfrm>
                <a:off x="7613403" y="2883386"/>
                <a:ext cx="60816" cy="88481"/>
              </a:xfrm>
              <a:custGeom>
                <a:avLst/>
                <a:gdLst>
                  <a:gd name="connsiteX0" fmla="*/ 100 w 60816"/>
                  <a:gd name="connsiteY0" fmla="*/ 66496 h 88481"/>
                  <a:gd name="connsiteX1" fmla="*/ 52917 w 60816"/>
                  <a:gd name="connsiteY1" fmla="*/ 1207 h 88481"/>
                  <a:gd name="connsiteX2" fmla="*/ 59100 w 60816"/>
                  <a:gd name="connsiteY2" fmla="*/ 854 h 88481"/>
                  <a:gd name="connsiteX3" fmla="*/ 59771 w 60816"/>
                  <a:gd name="connsiteY3" fmla="*/ 9510 h 88481"/>
                  <a:gd name="connsiteX4" fmla="*/ 33910 w 60816"/>
                  <a:gd name="connsiteY4" fmla="*/ 60101 h 88481"/>
                  <a:gd name="connsiteX5" fmla="*/ 13949 w 60816"/>
                  <a:gd name="connsiteY5" fmla="*/ 84514 h 88481"/>
                  <a:gd name="connsiteX6" fmla="*/ 135 w 60816"/>
                  <a:gd name="connsiteY6" fmla="*/ 78755 h 88481"/>
                  <a:gd name="connsiteX7" fmla="*/ 100 w 60816"/>
                  <a:gd name="connsiteY7" fmla="*/ 66496 h 8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16" h="88481">
                    <a:moveTo>
                      <a:pt x="100" y="66496"/>
                    </a:moveTo>
                    <a:cubicBezTo>
                      <a:pt x="2326" y="29683"/>
                      <a:pt x="17623" y="17918"/>
                      <a:pt x="52917" y="1207"/>
                    </a:cubicBezTo>
                    <a:cubicBezTo>
                      <a:pt x="54931" y="253"/>
                      <a:pt x="57334" y="-771"/>
                      <a:pt x="59100" y="854"/>
                    </a:cubicBezTo>
                    <a:cubicBezTo>
                      <a:pt x="61785" y="3292"/>
                      <a:pt x="60761" y="6542"/>
                      <a:pt x="59771" y="9510"/>
                    </a:cubicBezTo>
                    <a:cubicBezTo>
                      <a:pt x="53659" y="27669"/>
                      <a:pt x="43555" y="43744"/>
                      <a:pt x="33910" y="60101"/>
                    </a:cubicBezTo>
                    <a:cubicBezTo>
                      <a:pt x="28470" y="69322"/>
                      <a:pt x="22428" y="77731"/>
                      <a:pt x="13949" y="84514"/>
                    </a:cubicBezTo>
                    <a:cubicBezTo>
                      <a:pt x="5223" y="91474"/>
                      <a:pt x="1160" y="89107"/>
                      <a:pt x="135" y="78755"/>
                    </a:cubicBezTo>
                    <a:cubicBezTo>
                      <a:pt x="-147" y="75682"/>
                      <a:pt x="100" y="72573"/>
                      <a:pt x="100" y="6649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7" name="Freeform: Shape 846">
                <a:extLst>
                  <a:ext uri="{FF2B5EF4-FFF2-40B4-BE49-F238E27FC236}">
                    <a16:creationId xmlns:a16="http://schemas.microsoft.com/office/drawing/2014/main" id="{35DB074F-8337-E3F6-F5A3-51C25CF872E8}"/>
                  </a:ext>
                </a:extLst>
              </p:cNvPr>
              <p:cNvSpPr/>
              <p:nvPr/>
            </p:nvSpPr>
            <p:spPr>
              <a:xfrm>
                <a:off x="8887700" y="2868519"/>
                <a:ext cx="80759" cy="215085"/>
              </a:xfrm>
              <a:custGeom>
                <a:avLst/>
                <a:gdLst>
                  <a:gd name="connsiteX0" fmla="*/ 309 w 80759"/>
                  <a:gd name="connsiteY0" fmla="*/ 0 h 215085"/>
                  <a:gd name="connsiteX1" fmla="*/ 75490 w 80759"/>
                  <a:gd name="connsiteY1" fmla="*/ 119978 h 215085"/>
                  <a:gd name="connsiteX2" fmla="*/ 64821 w 80759"/>
                  <a:gd name="connsiteY2" fmla="*/ 215085 h 215085"/>
                  <a:gd name="connsiteX3" fmla="*/ 65033 w 80759"/>
                  <a:gd name="connsiteY3" fmla="*/ 189754 h 215085"/>
                  <a:gd name="connsiteX4" fmla="*/ 45672 w 80759"/>
                  <a:gd name="connsiteY4" fmla="*/ 81540 h 215085"/>
                  <a:gd name="connsiteX5" fmla="*/ 3948 w 80759"/>
                  <a:gd name="connsiteY5" fmla="*/ 12295 h 215085"/>
                  <a:gd name="connsiteX6" fmla="*/ 309 w 80759"/>
                  <a:gd name="connsiteY6" fmla="*/ 0 h 215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59" h="215085">
                    <a:moveTo>
                      <a:pt x="309" y="0"/>
                    </a:moveTo>
                    <a:cubicBezTo>
                      <a:pt x="31505" y="38014"/>
                      <a:pt x="62631" y="73096"/>
                      <a:pt x="75490" y="119978"/>
                    </a:cubicBezTo>
                    <a:cubicBezTo>
                      <a:pt x="84499" y="152764"/>
                      <a:pt x="82591" y="184349"/>
                      <a:pt x="64821" y="215085"/>
                    </a:cubicBezTo>
                    <a:cubicBezTo>
                      <a:pt x="64821" y="206641"/>
                      <a:pt x="63584" y="197950"/>
                      <a:pt x="65033" y="189754"/>
                    </a:cubicBezTo>
                    <a:cubicBezTo>
                      <a:pt x="71851" y="151210"/>
                      <a:pt x="66481" y="115668"/>
                      <a:pt x="45672" y="81540"/>
                    </a:cubicBezTo>
                    <a:cubicBezTo>
                      <a:pt x="31647" y="58576"/>
                      <a:pt x="20871" y="33598"/>
                      <a:pt x="3948" y="12295"/>
                    </a:cubicBezTo>
                    <a:cubicBezTo>
                      <a:pt x="1970" y="9822"/>
                      <a:pt x="-962" y="7101"/>
                      <a:pt x="309" y="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8" name="Freeform: Shape 847">
                <a:extLst>
                  <a:ext uri="{FF2B5EF4-FFF2-40B4-BE49-F238E27FC236}">
                    <a16:creationId xmlns:a16="http://schemas.microsoft.com/office/drawing/2014/main" id="{03A3FA89-1111-4660-B642-F3C9525E0F0C}"/>
                  </a:ext>
                </a:extLst>
              </p:cNvPr>
              <p:cNvSpPr/>
              <p:nvPr/>
            </p:nvSpPr>
            <p:spPr>
              <a:xfrm>
                <a:off x="8048336" y="3823966"/>
                <a:ext cx="238438" cy="55112"/>
              </a:xfrm>
              <a:custGeom>
                <a:avLst/>
                <a:gdLst>
                  <a:gd name="connsiteX0" fmla="*/ 238297 w 238438"/>
                  <a:gd name="connsiteY0" fmla="*/ 36354 h 55112"/>
                  <a:gd name="connsiteX1" fmla="*/ 195195 w 238438"/>
                  <a:gd name="connsiteY1" fmla="*/ 53771 h 55112"/>
                  <a:gd name="connsiteX2" fmla="*/ 40311 w 238438"/>
                  <a:gd name="connsiteY2" fmla="*/ 38580 h 55112"/>
                  <a:gd name="connsiteX3" fmla="*/ 1025 w 238438"/>
                  <a:gd name="connsiteY3" fmla="*/ 5052 h 55112"/>
                  <a:gd name="connsiteX4" fmla="*/ 884 w 238438"/>
                  <a:gd name="connsiteY4" fmla="*/ 0 h 55112"/>
                  <a:gd name="connsiteX5" fmla="*/ 11906 w 238438"/>
                  <a:gd name="connsiteY5" fmla="*/ 8408 h 55112"/>
                  <a:gd name="connsiteX6" fmla="*/ 96944 w 238438"/>
                  <a:gd name="connsiteY6" fmla="*/ 46670 h 55112"/>
                  <a:gd name="connsiteX7" fmla="*/ 194842 w 238438"/>
                  <a:gd name="connsiteY7" fmla="*/ 47129 h 55112"/>
                  <a:gd name="connsiteX8" fmla="*/ 238438 w 238438"/>
                  <a:gd name="connsiteY8" fmla="*/ 36460 h 55112"/>
                  <a:gd name="connsiteX9" fmla="*/ 238332 w 238438"/>
                  <a:gd name="connsiteY9" fmla="*/ 36354 h 5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438" h="55112">
                    <a:moveTo>
                      <a:pt x="238297" y="36354"/>
                    </a:moveTo>
                    <a:cubicBezTo>
                      <a:pt x="226815" y="49249"/>
                      <a:pt x="211129" y="53100"/>
                      <a:pt x="195195" y="53771"/>
                    </a:cubicBezTo>
                    <a:cubicBezTo>
                      <a:pt x="142908" y="55997"/>
                      <a:pt x="90514" y="57834"/>
                      <a:pt x="40311" y="38580"/>
                    </a:cubicBezTo>
                    <a:cubicBezTo>
                      <a:pt x="23353" y="32079"/>
                      <a:pt x="8444" y="22858"/>
                      <a:pt x="1025" y="5052"/>
                    </a:cubicBezTo>
                    <a:cubicBezTo>
                      <a:pt x="389" y="3498"/>
                      <a:pt x="-847" y="1908"/>
                      <a:pt x="884" y="0"/>
                    </a:cubicBezTo>
                    <a:cubicBezTo>
                      <a:pt x="6360" y="283"/>
                      <a:pt x="8974" y="4981"/>
                      <a:pt x="11906" y="8408"/>
                    </a:cubicBezTo>
                    <a:cubicBezTo>
                      <a:pt x="34235" y="34693"/>
                      <a:pt x="65042" y="42289"/>
                      <a:pt x="96944" y="46670"/>
                    </a:cubicBezTo>
                    <a:cubicBezTo>
                      <a:pt x="129483" y="51122"/>
                      <a:pt x="162127" y="50768"/>
                      <a:pt x="194842" y="47129"/>
                    </a:cubicBezTo>
                    <a:cubicBezTo>
                      <a:pt x="209998" y="45433"/>
                      <a:pt x="223352" y="37661"/>
                      <a:pt x="238438" y="36460"/>
                    </a:cubicBezTo>
                    <a:lnTo>
                      <a:pt x="238332" y="36354"/>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9" name="Freeform: Shape 848">
                <a:extLst>
                  <a:ext uri="{FF2B5EF4-FFF2-40B4-BE49-F238E27FC236}">
                    <a16:creationId xmlns:a16="http://schemas.microsoft.com/office/drawing/2014/main" id="{EEE6ABB3-FD1C-AEF0-C5CB-A24B75768D7A}"/>
                  </a:ext>
                </a:extLst>
              </p:cNvPr>
              <p:cNvSpPr/>
              <p:nvPr/>
            </p:nvSpPr>
            <p:spPr>
              <a:xfrm>
                <a:off x="7823854" y="2651950"/>
                <a:ext cx="88711" cy="63592"/>
              </a:xfrm>
              <a:custGeom>
                <a:avLst/>
                <a:gdLst>
                  <a:gd name="connsiteX0" fmla="*/ 88712 w 88711"/>
                  <a:gd name="connsiteY0" fmla="*/ 0 h 63592"/>
                  <a:gd name="connsiteX1" fmla="*/ 74227 w 88711"/>
                  <a:gd name="connsiteY1" fmla="*/ 17594 h 63592"/>
                  <a:gd name="connsiteX2" fmla="*/ 33810 w 88711"/>
                  <a:gd name="connsiteY2" fmla="*/ 49002 h 63592"/>
                  <a:gd name="connsiteX3" fmla="*/ 0 w 88711"/>
                  <a:gd name="connsiteY3" fmla="*/ 63593 h 63592"/>
                  <a:gd name="connsiteX4" fmla="*/ 88712 w 88711"/>
                  <a:gd name="connsiteY4" fmla="*/ 0 h 63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711" h="63592">
                    <a:moveTo>
                      <a:pt x="88712" y="0"/>
                    </a:moveTo>
                    <a:cubicBezTo>
                      <a:pt x="86557" y="9115"/>
                      <a:pt x="80904" y="14591"/>
                      <a:pt x="74227" y="17594"/>
                    </a:cubicBezTo>
                    <a:cubicBezTo>
                      <a:pt x="58152" y="24907"/>
                      <a:pt x="45540" y="36319"/>
                      <a:pt x="33810" y="49002"/>
                    </a:cubicBezTo>
                    <a:cubicBezTo>
                      <a:pt x="24907" y="58647"/>
                      <a:pt x="13142" y="61049"/>
                      <a:pt x="0" y="63593"/>
                    </a:cubicBezTo>
                    <a:cubicBezTo>
                      <a:pt x="14132" y="36531"/>
                      <a:pt x="54018" y="8055"/>
                      <a:pt x="88712" y="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0" name="Freeform: Shape 849">
                <a:extLst>
                  <a:ext uri="{FF2B5EF4-FFF2-40B4-BE49-F238E27FC236}">
                    <a16:creationId xmlns:a16="http://schemas.microsoft.com/office/drawing/2014/main" id="{4E47B24C-17AB-9FEE-5A24-07AA719D760D}"/>
                  </a:ext>
                </a:extLst>
              </p:cNvPr>
              <p:cNvSpPr/>
              <p:nvPr/>
            </p:nvSpPr>
            <p:spPr>
              <a:xfrm>
                <a:off x="8953187" y="3091642"/>
                <a:ext cx="41498" cy="91414"/>
              </a:xfrm>
              <a:custGeom>
                <a:avLst/>
                <a:gdLst>
                  <a:gd name="connsiteX0" fmla="*/ 23393 w 41498"/>
                  <a:gd name="connsiteY0" fmla="*/ 91379 h 91414"/>
                  <a:gd name="connsiteX1" fmla="*/ 24170 w 41498"/>
                  <a:gd name="connsiteY1" fmla="*/ 76081 h 91414"/>
                  <a:gd name="connsiteX2" fmla="*/ 22439 w 41498"/>
                  <a:gd name="connsiteY2" fmla="*/ 24571 h 91414"/>
                  <a:gd name="connsiteX3" fmla="*/ 8166 w 41498"/>
                  <a:gd name="connsiteY3" fmla="*/ 15880 h 91414"/>
                  <a:gd name="connsiteX4" fmla="*/ 217 w 41498"/>
                  <a:gd name="connsiteY4" fmla="*/ 4292 h 91414"/>
                  <a:gd name="connsiteX5" fmla="*/ 23605 w 41498"/>
                  <a:gd name="connsiteY5" fmla="*/ 3267 h 91414"/>
                  <a:gd name="connsiteX6" fmla="*/ 34733 w 41498"/>
                  <a:gd name="connsiteY6" fmla="*/ 4963 h 91414"/>
                  <a:gd name="connsiteX7" fmla="*/ 23357 w 41498"/>
                  <a:gd name="connsiteY7" fmla="*/ 91414 h 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98" h="91414">
                    <a:moveTo>
                      <a:pt x="23393" y="91379"/>
                    </a:moveTo>
                    <a:cubicBezTo>
                      <a:pt x="19577" y="85337"/>
                      <a:pt x="21096" y="81027"/>
                      <a:pt x="24170" y="76081"/>
                    </a:cubicBezTo>
                    <a:cubicBezTo>
                      <a:pt x="35016" y="58664"/>
                      <a:pt x="30600" y="41494"/>
                      <a:pt x="22439" y="24571"/>
                    </a:cubicBezTo>
                    <a:cubicBezTo>
                      <a:pt x="19577" y="18671"/>
                      <a:pt x="13571" y="17540"/>
                      <a:pt x="8166" y="15880"/>
                    </a:cubicBezTo>
                    <a:cubicBezTo>
                      <a:pt x="3220" y="14361"/>
                      <a:pt x="-1020" y="12912"/>
                      <a:pt x="217" y="4292"/>
                    </a:cubicBezTo>
                    <a:cubicBezTo>
                      <a:pt x="9685" y="16940"/>
                      <a:pt x="16998" y="10474"/>
                      <a:pt x="23605" y="3267"/>
                    </a:cubicBezTo>
                    <a:cubicBezTo>
                      <a:pt x="28692" y="-2279"/>
                      <a:pt x="32154" y="-124"/>
                      <a:pt x="34733" y="4963"/>
                    </a:cubicBezTo>
                    <a:cubicBezTo>
                      <a:pt x="47629" y="30153"/>
                      <a:pt x="41128" y="79720"/>
                      <a:pt x="23357" y="9141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1" name="Freeform: Shape 850">
                <a:extLst>
                  <a:ext uri="{FF2B5EF4-FFF2-40B4-BE49-F238E27FC236}">
                    <a16:creationId xmlns:a16="http://schemas.microsoft.com/office/drawing/2014/main" id="{D033D632-F30C-CCC0-DD40-D98055613C04}"/>
                  </a:ext>
                </a:extLst>
              </p:cNvPr>
              <p:cNvSpPr/>
              <p:nvPr/>
            </p:nvSpPr>
            <p:spPr>
              <a:xfrm>
                <a:off x="8312671" y="3850871"/>
                <a:ext cx="88782" cy="35065"/>
              </a:xfrm>
              <a:custGeom>
                <a:avLst/>
                <a:gdLst>
                  <a:gd name="connsiteX0" fmla="*/ 35 w 88782"/>
                  <a:gd name="connsiteY0" fmla="*/ 3230 h 35065"/>
                  <a:gd name="connsiteX1" fmla="*/ 21127 w 88782"/>
                  <a:gd name="connsiteY1" fmla="*/ 6657 h 35065"/>
                  <a:gd name="connsiteX2" fmla="*/ 88782 w 88782"/>
                  <a:gd name="connsiteY2" fmla="*/ 34037 h 35065"/>
                  <a:gd name="connsiteX3" fmla="*/ 0 w 88782"/>
                  <a:gd name="connsiteY3" fmla="*/ 3266 h 35065"/>
                </a:gdLst>
                <a:ahLst/>
                <a:cxnLst>
                  <a:cxn ang="0">
                    <a:pos x="connsiteX0" y="connsiteY0"/>
                  </a:cxn>
                  <a:cxn ang="0">
                    <a:pos x="connsiteX1" y="connsiteY1"/>
                  </a:cxn>
                  <a:cxn ang="0">
                    <a:pos x="connsiteX2" y="connsiteY2"/>
                  </a:cxn>
                  <a:cxn ang="0">
                    <a:pos x="connsiteX3" y="connsiteY3"/>
                  </a:cxn>
                </a:cxnLst>
                <a:rect l="l" t="t" r="r" b="b"/>
                <a:pathLst>
                  <a:path w="88782" h="35065">
                    <a:moveTo>
                      <a:pt x="35" y="3230"/>
                    </a:moveTo>
                    <a:cubicBezTo>
                      <a:pt x="8656" y="-2599"/>
                      <a:pt x="14450" y="15"/>
                      <a:pt x="21127" y="6657"/>
                    </a:cubicBezTo>
                    <a:cubicBezTo>
                      <a:pt x="38615" y="24004"/>
                      <a:pt x="60060" y="33366"/>
                      <a:pt x="88782" y="34037"/>
                    </a:cubicBezTo>
                    <a:cubicBezTo>
                      <a:pt x="51616" y="38948"/>
                      <a:pt x="15827" y="25876"/>
                      <a:pt x="0" y="326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2" name="Freeform: Shape 851">
                <a:extLst>
                  <a:ext uri="{FF2B5EF4-FFF2-40B4-BE49-F238E27FC236}">
                    <a16:creationId xmlns:a16="http://schemas.microsoft.com/office/drawing/2014/main" id="{F1A02A8B-176B-0B6A-1065-5CC99BBFBF0D}"/>
                  </a:ext>
                </a:extLst>
              </p:cNvPr>
              <p:cNvSpPr/>
              <p:nvPr/>
            </p:nvSpPr>
            <p:spPr>
              <a:xfrm>
                <a:off x="7980363" y="3785665"/>
                <a:ext cx="45998" cy="31362"/>
              </a:xfrm>
              <a:custGeom>
                <a:avLst/>
                <a:gdLst>
                  <a:gd name="connsiteX0" fmla="*/ 35 w 45998"/>
                  <a:gd name="connsiteY0" fmla="*/ 145 h 31362"/>
                  <a:gd name="connsiteX1" fmla="*/ 13496 w 45998"/>
                  <a:gd name="connsiteY1" fmla="*/ 8412 h 31362"/>
                  <a:gd name="connsiteX2" fmla="*/ 45999 w 45998"/>
                  <a:gd name="connsiteY2" fmla="*/ 29927 h 31362"/>
                  <a:gd name="connsiteX3" fmla="*/ 0 w 45998"/>
                  <a:gd name="connsiteY3" fmla="*/ 145 h 31362"/>
                  <a:gd name="connsiteX4" fmla="*/ 0 w 45998"/>
                  <a:gd name="connsiteY4" fmla="*/ 145 h 31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98" h="31362">
                    <a:moveTo>
                      <a:pt x="35" y="145"/>
                    </a:moveTo>
                    <a:cubicBezTo>
                      <a:pt x="6748" y="-739"/>
                      <a:pt x="11588" y="2476"/>
                      <a:pt x="13496" y="8412"/>
                    </a:cubicBezTo>
                    <a:cubicBezTo>
                      <a:pt x="18407" y="23921"/>
                      <a:pt x="30383" y="28549"/>
                      <a:pt x="45999" y="29927"/>
                    </a:cubicBezTo>
                    <a:cubicBezTo>
                      <a:pt x="19678" y="35580"/>
                      <a:pt x="2932" y="24310"/>
                      <a:pt x="0" y="145"/>
                    </a:cubicBezTo>
                    <a:lnTo>
                      <a:pt x="0" y="145"/>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3" name="Freeform: Shape 852">
                <a:extLst>
                  <a:ext uri="{FF2B5EF4-FFF2-40B4-BE49-F238E27FC236}">
                    <a16:creationId xmlns:a16="http://schemas.microsoft.com/office/drawing/2014/main" id="{68212DBC-0FEC-BCA6-96D6-6E5D7156AC3F}"/>
                  </a:ext>
                </a:extLst>
              </p:cNvPr>
              <p:cNvSpPr/>
              <p:nvPr/>
            </p:nvSpPr>
            <p:spPr>
              <a:xfrm>
                <a:off x="7858406" y="3729142"/>
                <a:ext cx="63416" cy="24765"/>
              </a:xfrm>
              <a:custGeom>
                <a:avLst/>
                <a:gdLst>
                  <a:gd name="connsiteX0" fmla="*/ 63416 w 63416"/>
                  <a:gd name="connsiteY0" fmla="*/ 24660 h 24765"/>
                  <a:gd name="connsiteX1" fmla="*/ 0 w 63416"/>
                  <a:gd name="connsiteY1" fmla="*/ 0 h 24765"/>
                  <a:gd name="connsiteX2" fmla="*/ 55679 w 63416"/>
                  <a:gd name="connsiteY2" fmla="*/ 9362 h 24765"/>
                  <a:gd name="connsiteX3" fmla="*/ 63310 w 63416"/>
                  <a:gd name="connsiteY3" fmla="*/ 24766 h 24765"/>
                  <a:gd name="connsiteX4" fmla="*/ 63381 w 63416"/>
                  <a:gd name="connsiteY4" fmla="*/ 24660 h 24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16" h="24765">
                    <a:moveTo>
                      <a:pt x="63416" y="24660"/>
                    </a:moveTo>
                    <a:cubicBezTo>
                      <a:pt x="44126" y="11659"/>
                      <a:pt x="20915" y="9327"/>
                      <a:pt x="0" y="0"/>
                    </a:cubicBezTo>
                    <a:cubicBezTo>
                      <a:pt x="18583" y="3003"/>
                      <a:pt x="37308" y="5370"/>
                      <a:pt x="55679" y="9362"/>
                    </a:cubicBezTo>
                    <a:cubicBezTo>
                      <a:pt x="62180" y="10775"/>
                      <a:pt x="63593" y="18159"/>
                      <a:pt x="63310" y="24766"/>
                    </a:cubicBezTo>
                    <a:lnTo>
                      <a:pt x="63381" y="24660"/>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4" name="Freeform: Shape 853">
                <a:extLst>
                  <a:ext uri="{FF2B5EF4-FFF2-40B4-BE49-F238E27FC236}">
                    <a16:creationId xmlns:a16="http://schemas.microsoft.com/office/drawing/2014/main" id="{96D84DDD-9578-4699-1357-08FE0381D890}"/>
                  </a:ext>
                </a:extLst>
              </p:cNvPr>
              <p:cNvSpPr/>
              <p:nvPr/>
            </p:nvSpPr>
            <p:spPr>
              <a:xfrm>
                <a:off x="8852856" y="2839372"/>
                <a:ext cx="18406" cy="31019"/>
              </a:xfrm>
              <a:custGeom>
                <a:avLst/>
                <a:gdLst>
                  <a:gd name="connsiteX0" fmla="*/ 18407 w 18406"/>
                  <a:gd name="connsiteY0" fmla="*/ 31019 h 31019"/>
                  <a:gd name="connsiteX1" fmla="*/ 0 w 18406"/>
                  <a:gd name="connsiteY1" fmla="*/ 0 h 31019"/>
                  <a:gd name="connsiteX2" fmla="*/ 18407 w 18406"/>
                  <a:gd name="connsiteY2" fmla="*/ 31019 h 31019"/>
                </a:gdLst>
                <a:ahLst/>
                <a:cxnLst>
                  <a:cxn ang="0">
                    <a:pos x="connsiteX0" y="connsiteY0"/>
                  </a:cxn>
                  <a:cxn ang="0">
                    <a:pos x="connsiteX1" y="connsiteY1"/>
                  </a:cxn>
                  <a:cxn ang="0">
                    <a:pos x="connsiteX2" y="connsiteY2"/>
                  </a:cxn>
                </a:cxnLst>
                <a:rect l="l" t="t" r="r" b="b"/>
                <a:pathLst>
                  <a:path w="18406" h="31019">
                    <a:moveTo>
                      <a:pt x="18407" y="31019"/>
                    </a:moveTo>
                    <a:cubicBezTo>
                      <a:pt x="10104" y="22010"/>
                      <a:pt x="3992" y="11659"/>
                      <a:pt x="0" y="0"/>
                    </a:cubicBezTo>
                    <a:cubicBezTo>
                      <a:pt x="13284" y="5935"/>
                      <a:pt x="14662" y="19219"/>
                      <a:pt x="18407" y="3101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5" name="Freeform: Shape 854">
                <a:extLst>
                  <a:ext uri="{FF2B5EF4-FFF2-40B4-BE49-F238E27FC236}">
                    <a16:creationId xmlns:a16="http://schemas.microsoft.com/office/drawing/2014/main" id="{BAA55F54-0B26-A5BD-0B10-DF31D216109B}"/>
                  </a:ext>
                </a:extLst>
              </p:cNvPr>
              <p:cNvSpPr/>
              <p:nvPr/>
            </p:nvSpPr>
            <p:spPr>
              <a:xfrm>
                <a:off x="8286668" y="3858447"/>
                <a:ext cx="4805" cy="1978"/>
              </a:xfrm>
              <a:custGeom>
                <a:avLst/>
                <a:gdLst>
                  <a:gd name="connsiteX0" fmla="*/ 71 w 4805"/>
                  <a:gd name="connsiteY0" fmla="*/ 1978 h 1978"/>
                  <a:gd name="connsiteX1" fmla="*/ 4134 w 4805"/>
                  <a:gd name="connsiteY1" fmla="*/ 0 h 1978"/>
                  <a:gd name="connsiteX2" fmla="*/ 4805 w 4805"/>
                  <a:gd name="connsiteY2" fmla="*/ 1201 h 1978"/>
                  <a:gd name="connsiteX3" fmla="*/ 0 w 4805"/>
                  <a:gd name="connsiteY3" fmla="*/ 1837 h 1978"/>
                  <a:gd name="connsiteX4" fmla="*/ 106 w 4805"/>
                  <a:gd name="connsiteY4" fmla="*/ 1943 h 1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5" h="1978">
                    <a:moveTo>
                      <a:pt x="71" y="1978"/>
                    </a:moveTo>
                    <a:cubicBezTo>
                      <a:pt x="1413" y="1307"/>
                      <a:pt x="2756" y="636"/>
                      <a:pt x="4134" y="0"/>
                    </a:cubicBezTo>
                    <a:cubicBezTo>
                      <a:pt x="4134" y="0"/>
                      <a:pt x="4558" y="777"/>
                      <a:pt x="4805" y="1201"/>
                    </a:cubicBezTo>
                    <a:cubicBezTo>
                      <a:pt x="3215" y="1413"/>
                      <a:pt x="1590" y="1625"/>
                      <a:pt x="0" y="1837"/>
                    </a:cubicBezTo>
                    <a:cubicBezTo>
                      <a:pt x="0" y="1837"/>
                      <a:pt x="106" y="1943"/>
                      <a:pt x="106" y="194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6" name="Freeform: Shape 855">
                <a:extLst>
                  <a:ext uri="{FF2B5EF4-FFF2-40B4-BE49-F238E27FC236}">
                    <a16:creationId xmlns:a16="http://schemas.microsoft.com/office/drawing/2014/main" id="{2F4C2381-411C-95D9-3A16-3EDAFEFA6B41}"/>
                  </a:ext>
                </a:extLst>
              </p:cNvPr>
              <p:cNvSpPr/>
              <p:nvPr/>
            </p:nvSpPr>
            <p:spPr>
              <a:xfrm>
                <a:off x="8848652" y="2832271"/>
                <a:ext cx="989" cy="1377"/>
              </a:xfrm>
              <a:custGeom>
                <a:avLst/>
                <a:gdLst>
                  <a:gd name="connsiteX0" fmla="*/ 0 w 989"/>
                  <a:gd name="connsiteY0" fmla="*/ 141 h 1377"/>
                  <a:gd name="connsiteX1" fmla="*/ 989 w 989"/>
                  <a:gd name="connsiteY1" fmla="*/ 1378 h 1377"/>
                  <a:gd name="connsiteX2" fmla="*/ 353 w 989"/>
                  <a:gd name="connsiteY2" fmla="*/ 1025 h 1377"/>
                  <a:gd name="connsiteX3" fmla="*/ 141 w 989"/>
                  <a:gd name="connsiteY3" fmla="*/ 0 h 1377"/>
                  <a:gd name="connsiteX4" fmla="*/ 35 w 989"/>
                  <a:gd name="connsiteY4" fmla="*/ 106 h 1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 h="1377">
                    <a:moveTo>
                      <a:pt x="0" y="141"/>
                    </a:moveTo>
                    <a:lnTo>
                      <a:pt x="989" y="1378"/>
                    </a:lnTo>
                    <a:cubicBezTo>
                      <a:pt x="777" y="1272"/>
                      <a:pt x="424" y="1201"/>
                      <a:pt x="353" y="1025"/>
                    </a:cubicBezTo>
                    <a:cubicBezTo>
                      <a:pt x="212" y="742"/>
                      <a:pt x="176" y="353"/>
                      <a:pt x="141" y="0"/>
                    </a:cubicBezTo>
                    <a:lnTo>
                      <a:pt x="35" y="106"/>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7" name="Freeform: Shape 856">
                <a:extLst>
                  <a:ext uri="{FF2B5EF4-FFF2-40B4-BE49-F238E27FC236}">
                    <a16:creationId xmlns:a16="http://schemas.microsoft.com/office/drawing/2014/main" id="{FAF330CA-52E3-C281-1457-13B8E4B04CE3}"/>
                  </a:ext>
                </a:extLst>
              </p:cNvPr>
              <p:cNvSpPr/>
              <p:nvPr/>
            </p:nvSpPr>
            <p:spPr>
              <a:xfrm>
                <a:off x="8847380" y="2831352"/>
                <a:ext cx="1377" cy="1059"/>
              </a:xfrm>
              <a:custGeom>
                <a:avLst/>
                <a:gdLst>
                  <a:gd name="connsiteX0" fmla="*/ 1378 w 1377"/>
                  <a:gd name="connsiteY0" fmla="*/ 919 h 1059"/>
                  <a:gd name="connsiteX1" fmla="*/ 0 w 1377"/>
                  <a:gd name="connsiteY1" fmla="*/ 0 h 1059"/>
                  <a:gd name="connsiteX2" fmla="*/ 706 w 1377"/>
                  <a:gd name="connsiteY2" fmla="*/ 141 h 1059"/>
                  <a:gd name="connsiteX3" fmla="*/ 1272 w 1377"/>
                  <a:gd name="connsiteY3" fmla="*/ 1060 h 1059"/>
                  <a:gd name="connsiteX4" fmla="*/ 1378 w 1377"/>
                  <a:gd name="connsiteY4" fmla="*/ 954 h 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 h="1059">
                    <a:moveTo>
                      <a:pt x="1378" y="919"/>
                    </a:moveTo>
                    <a:cubicBezTo>
                      <a:pt x="919" y="601"/>
                      <a:pt x="459" y="283"/>
                      <a:pt x="0" y="0"/>
                    </a:cubicBezTo>
                    <a:cubicBezTo>
                      <a:pt x="247" y="35"/>
                      <a:pt x="565" y="0"/>
                      <a:pt x="706" y="141"/>
                    </a:cubicBezTo>
                    <a:cubicBezTo>
                      <a:pt x="954" y="389"/>
                      <a:pt x="1095" y="742"/>
                      <a:pt x="1272" y="1060"/>
                    </a:cubicBezTo>
                    <a:cubicBezTo>
                      <a:pt x="1272" y="1060"/>
                      <a:pt x="1378" y="954"/>
                      <a:pt x="1378" y="95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8" name="Freeform: Shape 857">
                <a:extLst>
                  <a:ext uri="{FF2B5EF4-FFF2-40B4-BE49-F238E27FC236}">
                    <a16:creationId xmlns:a16="http://schemas.microsoft.com/office/drawing/2014/main" id="{B7F975A6-160D-D962-8545-CE3B7418E6EB}"/>
                  </a:ext>
                </a:extLst>
              </p:cNvPr>
              <p:cNvSpPr/>
              <p:nvPr/>
            </p:nvSpPr>
            <p:spPr>
              <a:xfrm>
                <a:off x="7921716" y="3753802"/>
                <a:ext cx="1271" cy="1130"/>
              </a:xfrm>
              <a:custGeom>
                <a:avLst/>
                <a:gdLst>
                  <a:gd name="connsiteX0" fmla="*/ 0 w 1271"/>
                  <a:gd name="connsiteY0" fmla="*/ 106 h 1130"/>
                  <a:gd name="connsiteX1" fmla="*/ 1272 w 1271"/>
                  <a:gd name="connsiteY1" fmla="*/ 1131 h 1130"/>
                  <a:gd name="connsiteX2" fmla="*/ 565 w 1271"/>
                  <a:gd name="connsiteY2" fmla="*/ 954 h 1130"/>
                  <a:gd name="connsiteX3" fmla="*/ 106 w 1271"/>
                  <a:gd name="connsiteY3" fmla="*/ 0 h 1130"/>
                  <a:gd name="connsiteX4" fmla="*/ 35 w 1271"/>
                  <a:gd name="connsiteY4" fmla="*/ 106 h 1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 h="1130">
                    <a:moveTo>
                      <a:pt x="0" y="106"/>
                    </a:moveTo>
                    <a:lnTo>
                      <a:pt x="1272" y="1131"/>
                    </a:lnTo>
                    <a:cubicBezTo>
                      <a:pt x="1024" y="1095"/>
                      <a:pt x="706" y="1131"/>
                      <a:pt x="565" y="954"/>
                    </a:cubicBezTo>
                    <a:cubicBezTo>
                      <a:pt x="353" y="707"/>
                      <a:pt x="247" y="318"/>
                      <a:pt x="106" y="0"/>
                    </a:cubicBezTo>
                    <a:cubicBezTo>
                      <a:pt x="106" y="0"/>
                      <a:pt x="35" y="106"/>
                      <a:pt x="35" y="10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9" name="Freeform: Shape 858">
                <a:extLst>
                  <a:ext uri="{FF2B5EF4-FFF2-40B4-BE49-F238E27FC236}">
                    <a16:creationId xmlns:a16="http://schemas.microsoft.com/office/drawing/2014/main" id="{430AC1F9-A707-DB90-74BC-5A9128F418AB}"/>
                  </a:ext>
                </a:extLst>
              </p:cNvPr>
              <p:cNvSpPr/>
              <p:nvPr/>
            </p:nvSpPr>
            <p:spPr>
              <a:xfrm>
                <a:off x="7979444" y="3785033"/>
                <a:ext cx="918" cy="777"/>
              </a:xfrm>
              <a:custGeom>
                <a:avLst/>
                <a:gdLst>
                  <a:gd name="connsiteX0" fmla="*/ 919 w 918"/>
                  <a:gd name="connsiteY0" fmla="*/ 777 h 777"/>
                  <a:gd name="connsiteX1" fmla="*/ 0 w 918"/>
                  <a:gd name="connsiteY1" fmla="*/ 0 h 777"/>
                  <a:gd name="connsiteX2" fmla="*/ 919 w 918"/>
                  <a:gd name="connsiteY2" fmla="*/ 742 h 777"/>
                  <a:gd name="connsiteX3" fmla="*/ 919 w 918"/>
                  <a:gd name="connsiteY3" fmla="*/ 742 h 777"/>
                </a:gdLst>
                <a:ahLst/>
                <a:cxnLst>
                  <a:cxn ang="0">
                    <a:pos x="connsiteX0" y="connsiteY0"/>
                  </a:cxn>
                  <a:cxn ang="0">
                    <a:pos x="connsiteX1" y="connsiteY1"/>
                  </a:cxn>
                  <a:cxn ang="0">
                    <a:pos x="connsiteX2" y="connsiteY2"/>
                  </a:cxn>
                  <a:cxn ang="0">
                    <a:pos x="connsiteX3" y="connsiteY3"/>
                  </a:cxn>
                </a:cxnLst>
                <a:rect l="l" t="t" r="r" b="b"/>
                <a:pathLst>
                  <a:path w="918" h="777">
                    <a:moveTo>
                      <a:pt x="919" y="777"/>
                    </a:moveTo>
                    <a:cubicBezTo>
                      <a:pt x="601" y="530"/>
                      <a:pt x="318" y="283"/>
                      <a:pt x="0" y="0"/>
                    </a:cubicBezTo>
                    <a:cubicBezTo>
                      <a:pt x="318" y="247"/>
                      <a:pt x="636" y="495"/>
                      <a:pt x="919" y="742"/>
                    </a:cubicBezTo>
                    <a:cubicBezTo>
                      <a:pt x="919" y="742"/>
                      <a:pt x="919" y="742"/>
                      <a:pt x="919" y="742"/>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0" name="Freeform: Shape 859">
                <a:extLst>
                  <a:ext uri="{FF2B5EF4-FFF2-40B4-BE49-F238E27FC236}">
                    <a16:creationId xmlns:a16="http://schemas.microsoft.com/office/drawing/2014/main" id="{8EC10460-2579-FF03-A30F-9A50A0510BAC}"/>
                  </a:ext>
                </a:extLst>
              </p:cNvPr>
              <p:cNvSpPr/>
              <p:nvPr/>
            </p:nvSpPr>
            <p:spPr>
              <a:xfrm>
                <a:off x="7900725" y="2838283"/>
                <a:ext cx="830972" cy="796660"/>
              </a:xfrm>
              <a:custGeom>
                <a:avLst/>
                <a:gdLst>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221450 w 830972"/>
                  <a:gd name="connsiteY29" fmla="*/ 191585 h 796660"/>
                  <a:gd name="connsiteX30" fmla="*/ 225230 w 830972"/>
                  <a:gd name="connsiteY30" fmla="*/ 179220 h 796660"/>
                  <a:gd name="connsiteX31" fmla="*/ 198238 w 830972"/>
                  <a:gd name="connsiteY31" fmla="*/ 152122 h 796660"/>
                  <a:gd name="connsiteX32" fmla="*/ 166796 w 830972"/>
                  <a:gd name="connsiteY32" fmla="*/ 166325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81881 w 830972"/>
                  <a:gd name="connsiteY47" fmla="*/ 20732 h 796660"/>
                  <a:gd name="connsiteX48" fmla="*/ 341111 w 830972"/>
                  <a:gd name="connsiteY48" fmla="*/ 24866 h 796660"/>
                  <a:gd name="connsiteX49" fmla="*/ 230176 w 830972"/>
                  <a:gd name="connsiteY49" fmla="*/ 74150 h 796660"/>
                  <a:gd name="connsiteX50" fmla="*/ 209261 w 830972"/>
                  <a:gd name="connsiteY50" fmla="*/ 92451 h 796660"/>
                  <a:gd name="connsiteX51" fmla="*/ 212052 w 830972"/>
                  <a:gd name="connsiteY51" fmla="*/ 110857 h 796660"/>
                  <a:gd name="connsiteX52" fmla="*/ 226078 w 830972"/>
                  <a:gd name="connsiteY52" fmla="*/ 114108 h 796660"/>
                  <a:gd name="connsiteX53" fmla="*/ 272678 w 830972"/>
                  <a:gd name="connsiteY53" fmla="*/ 102520 h 796660"/>
                  <a:gd name="connsiteX54" fmla="*/ 267484 w 830972"/>
                  <a:gd name="connsiteY54" fmla="*/ 112129 h 796660"/>
                  <a:gd name="connsiteX55" fmla="*/ 242754 w 830972"/>
                  <a:gd name="connsiteY55" fmla="*/ 161096 h 796660"/>
                  <a:gd name="connsiteX56" fmla="*/ 221415 w 830972"/>
                  <a:gd name="connsiteY56" fmla="*/ 191656 h 796660"/>
                  <a:gd name="connsiteX57" fmla="*/ 105358 w 830972"/>
                  <a:gd name="connsiteY57" fmla="*/ 191726 h 796660"/>
                  <a:gd name="connsiteX58" fmla="*/ 59041 w 830972"/>
                  <a:gd name="connsiteY58" fmla="*/ 237513 h 796660"/>
                  <a:gd name="connsiteX59" fmla="*/ 23888 w 830972"/>
                  <a:gd name="connsiteY59" fmla="*/ 356008 h 796660"/>
                  <a:gd name="connsiteX60" fmla="*/ 28834 w 830972"/>
                  <a:gd name="connsiteY60" fmla="*/ 363816 h 796660"/>
                  <a:gd name="connsiteX61" fmla="*/ 36466 w 830972"/>
                  <a:gd name="connsiteY61" fmla="*/ 358092 h 796660"/>
                  <a:gd name="connsiteX62" fmla="*/ 62892 w 830972"/>
                  <a:gd name="connsiteY62" fmla="*/ 292097 h 796660"/>
                  <a:gd name="connsiteX63" fmla="*/ 99988 w 830972"/>
                  <a:gd name="connsiteY63" fmla="*/ 216068 h 796660"/>
                  <a:gd name="connsiteX64" fmla="*/ 105358 w 830972"/>
                  <a:gd name="connsiteY64" fmla="*/ 191691 h 796660"/>
                  <a:gd name="connsiteX65" fmla="*/ 295182 w 830972"/>
                  <a:gd name="connsiteY65" fmla="*/ 327038 h 796660"/>
                  <a:gd name="connsiteX66" fmla="*/ 354394 w 830972"/>
                  <a:gd name="connsiteY66" fmla="*/ 281922 h 796660"/>
                  <a:gd name="connsiteX67" fmla="*/ 351956 w 830972"/>
                  <a:gd name="connsiteY67" fmla="*/ 253765 h 796660"/>
                  <a:gd name="connsiteX68" fmla="*/ 322492 w 830972"/>
                  <a:gd name="connsiteY68" fmla="*/ 247617 h 796660"/>
                  <a:gd name="connsiteX69" fmla="*/ 309137 w 830972"/>
                  <a:gd name="connsiteY69" fmla="*/ 271535 h 796660"/>
                  <a:gd name="connsiteX70" fmla="*/ 288187 w 830972"/>
                  <a:gd name="connsiteY70" fmla="*/ 297290 h 796660"/>
                  <a:gd name="connsiteX71" fmla="*/ 277165 w 830972"/>
                  <a:gd name="connsiteY71" fmla="*/ 315980 h 796660"/>
                  <a:gd name="connsiteX72" fmla="*/ 295147 w 830972"/>
                  <a:gd name="connsiteY72" fmla="*/ 327038 h 796660"/>
                  <a:gd name="connsiteX73" fmla="*/ 431624 w 830972"/>
                  <a:gd name="connsiteY73" fmla="*/ 76729 h 796660"/>
                  <a:gd name="connsiteX74" fmla="*/ 425760 w 830972"/>
                  <a:gd name="connsiteY74" fmla="*/ 78602 h 796660"/>
                  <a:gd name="connsiteX75" fmla="*/ 374073 w 830972"/>
                  <a:gd name="connsiteY75" fmla="*/ 101389 h 796660"/>
                  <a:gd name="connsiteX76" fmla="*/ 358174 w 830972"/>
                  <a:gd name="connsiteY76" fmla="*/ 110610 h 796660"/>
                  <a:gd name="connsiteX77" fmla="*/ 355596 w 830972"/>
                  <a:gd name="connsiteY77" fmla="*/ 140287 h 796660"/>
                  <a:gd name="connsiteX78" fmla="*/ 382729 w 830972"/>
                  <a:gd name="connsiteY78" fmla="*/ 137143 h 796660"/>
                  <a:gd name="connsiteX79" fmla="*/ 408448 w 830972"/>
                  <a:gd name="connsiteY79" fmla="*/ 123753 h 796660"/>
                  <a:gd name="connsiteX80" fmla="*/ 446462 w 830972"/>
                  <a:gd name="connsiteY80" fmla="*/ 93405 h 796660"/>
                  <a:gd name="connsiteX81" fmla="*/ 431624 w 830972"/>
                  <a:gd name="connsiteY81" fmla="*/ 76694 h 79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30972" h="796660">
                    <a:moveTo>
                      <a:pt x="157469" y="124883"/>
                    </a:moveTo>
                    <a:cubicBezTo>
                      <a:pt x="165983" y="119478"/>
                      <a:pt x="171954" y="111246"/>
                      <a:pt x="176476" y="102979"/>
                    </a:cubicBezTo>
                    <a:cubicBezTo>
                      <a:pt x="192162" y="74292"/>
                      <a:pt x="217316" y="57051"/>
                      <a:pt x="245015" y="42177"/>
                    </a:cubicBezTo>
                    <a:cubicBezTo>
                      <a:pt x="275928" y="25572"/>
                      <a:pt x="307230" y="10593"/>
                      <a:pt x="342171" y="3845"/>
                    </a:cubicBezTo>
                    <a:cubicBezTo>
                      <a:pt x="373331" y="-2161"/>
                      <a:pt x="403714" y="-1596"/>
                      <a:pt x="433638" y="8862"/>
                    </a:cubicBezTo>
                    <a:cubicBezTo>
                      <a:pt x="464799" y="19743"/>
                      <a:pt x="496737" y="25502"/>
                      <a:pt x="529734" y="25643"/>
                    </a:cubicBezTo>
                    <a:cubicBezTo>
                      <a:pt x="551850" y="25749"/>
                      <a:pt x="573825" y="25855"/>
                      <a:pt x="595870" y="30165"/>
                    </a:cubicBezTo>
                    <a:cubicBezTo>
                      <a:pt x="623498" y="35535"/>
                      <a:pt x="645438" y="49702"/>
                      <a:pt x="662890" y="70370"/>
                    </a:cubicBezTo>
                    <a:cubicBezTo>
                      <a:pt x="682816" y="93970"/>
                      <a:pt x="705180" y="114532"/>
                      <a:pt x="730864" y="131455"/>
                    </a:cubicBezTo>
                    <a:cubicBezTo>
                      <a:pt x="781950" y="165159"/>
                      <a:pt x="811097" y="213984"/>
                      <a:pt x="827914" y="271359"/>
                    </a:cubicBezTo>
                    <a:cubicBezTo>
                      <a:pt x="836640" y="301106"/>
                      <a:pt x="824875" y="328027"/>
                      <a:pt x="815372" y="355125"/>
                    </a:cubicBezTo>
                    <a:cubicBezTo>
                      <a:pt x="811556" y="365971"/>
                      <a:pt x="806928" y="376570"/>
                      <a:pt x="802052" y="386992"/>
                    </a:cubicBezTo>
                    <a:cubicBezTo>
                      <a:pt x="792408" y="407589"/>
                      <a:pt x="790641" y="428822"/>
                      <a:pt x="797142" y="450408"/>
                    </a:cubicBezTo>
                    <a:cubicBezTo>
                      <a:pt x="815266" y="510856"/>
                      <a:pt x="797566" y="562155"/>
                      <a:pt x="756584" y="606882"/>
                    </a:cubicBezTo>
                    <a:cubicBezTo>
                      <a:pt x="746586" y="617798"/>
                      <a:pt x="733655" y="626454"/>
                      <a:pt x="720972" y="634474"/>
                    </a:cubicBezTo>
                    <a:cubicBezTo>
                      <a:pt x="701788" y="646592"/>
                      <a:pt x="689564" y="662207"/>
                      <a:pt x="682392" y="684430"/>
                    </a:cubicBezTo>
                    <a:cubicBezTo>
                      <a:pt x="664480" y="739932"/>
                      <a:pt x="628338" y="777416"/>
                      <a:pt x="568526" y="786743"/>
                    </a:cubicBezTo>
                    <a:cubicBezTo>
                      <a:pt x="540686" y="791089"/>
                      <a:pt x="512564" y="788686"/>
                      <a:pt x="485431" y="781868"/>
                    </a:cubicBezTo>
                    <a:cubicBezTo>
                      <a:pt x="452963" y="773707"/>
                      <a:pt x="422262" y="776533"/>
                      <a:pt x="390536" y="786496"/>
                    </a:cubicBezTo>
                    <a:cubicBezTo>
                      <a:pt x="332455" y="804691"/>
                      <a:pt x="276952" y="799638"/>
                      <a:pt x="226714" y="761730"/>
                    </a:cubicBezTo>
                    <a:cubicBezTo>
                      <a:pt x="196755" y="739119"/>
                      <a:pt x="164923" y="720748"/>
                      <a:pt x="126273" y="716650"/>
                    </a:cubicBezTo>
                    <a:cubicBezTo>
                      <a:pt x="104157" y="714318"/>
                      <a:pt x="87375" y="699833"/>
                      <a:pt x="71265" y="686090"/>
                    </a:cubicBezTo>
                    <a:cubicBezTo>
                      <a:pt x="43461" y="662384"/>
                      <a:pt x="16928" y="637053"/>
                      <a:pt x="6082" y="600558"/>
                    </a:cubicBezTo>
                    <a:cubicBezTo>
                      <a:pt x="-383" y="578830"/>
                      <a:pt x="-948" y="556361"/>
                      <a:pt x="960" y="533573"/>
                    </a:cubicBezTo>
                    <a:cubicBezTo>
                      <a:pt x="3963" y="497502"/>
                      <a:pt x="5658" y="461501"/>
                      <a:pt x="3362" y="424971"/>
                    </a:cubicBezTo>
                    <a:cubicBezTo>
                      <a:pt x="748" y="383635"/>
                      <a:pt x="-2715" y="341311"/>
                      <a:pt x="7036" y="300505"/>
                    </a:cubicBezTo>
                    <a:cubicBezTo>
                      <a:pt x="20002" y="246346"/>
                      <a:pt x="51304" y="203703"/>
                      <a:pt x="97091" y="171765"/>
                    </a:cubicBezTo>
                    <a:cubicBezTo>
                      <a:pt x="107583" y="164452"/>
                      <a:pt x="117688" y="156574"/>
                      <a:pt x="127933" y="148978"/>
                    </a:cubicBezTo>
                    <a:cubicBezTo>
                      <a:pt x="143902" y="148413"/>
                      <a:pt x="154748" y="141594"/>
                      <a:pt x="157469" y="124848"/>
                    </a:cubicBezTo>
                    <a:close/>
                    <a:moveTo>
                      <a:pt x="221450" y="191585"/>
                    </a:moveTo>
                    <a:cubicBezTo>
                      <a:pt x="222722" y="187452"/>
                      <a:pt x="224206" y="183389"/>
                      <a:pt x="225230" y="179220"/>
                    </a:cubicBezTo>
                    <a:cubicBezTo>
                      <a:pt x="230282" y="158941"/>
                      <a:pt x="218412" y="146964"/>
                      <a:pt x="198238" y="152122"/>
                    </a:cubicBezTo>
                    <a:cubicBezTo>
                      <a:pt x="186969" y="155019"/>
                      <a:pt x="176971" y="160955"/>
                      <a:pt x="166796" y="166325"/>
                    </a:cubicBezTo>
                    <a:cubicBezTo>
                      <a:pt x="123552" y="189183"/>
                      <a:pt x="95395" y="222110"/>
                      <a:pt x="95572" y="273867"/>
                    </a:cubicBezTo>
                    <a:cubicBezTo>
                      <a:pt x="95572" y="283229"/>
                      <a:pt x="89884" y="290083"/>
                      <a:pt x="84372" y="297255"/>
                    </a:cubicBezTo>
                    <a:cubicBezTo>
                      <a:pt x="73915" y="310857"/>
                      <a:pt x="59394" y="321244"/>
                      <a:pt x="52823" y="337919"/>
                    </a:cubicBezTo>
                    <a:cubicBezTo>
                      <a:pt x="50668" y="343431"/>
                      <a:pt x="48725" y="348977"/>
                      <a:pt x="56427" y="350390"/>
                    </a:cubicBezTo>
                    <a:cubicBezTo>
                      <a:pt x="65648" y="352086"/>
                      <a:pt x="66990" y="359293"/>
                      <a:pt x="68509" y="365865"/>
                    </a:cubicBezTo>
                    <a:cubicBezTo>
                      <a:pt x="74515" y="391549"/>
                      <a:pt x="94971" y="404798"/>
                      <a:pt x="119737" y="395859"/>
                    </a:cubicBezTo>
                    <a:cubicBezTo>
                      <a:pt x="133763" y="390807"/>
                      <a:pt x="147576" y="385826"/>
                      <a:pt x="162132" y="382717"/>
                    </a:cubicBezTo>
                    <a:cubicBezTo>
                      <a:pt x="173508" y="380279"/>
                      <a:pt x="181387" y="370917"/>
                      <a:pt x="192303" y="366642"/>
                    </a:cubicBezTo>
                    <a:cubicBezTo>
                      <a:pt x="214137" y="358092"/>
                      <a:pt x="233603" y="346186"/>
                      <a:pt x="246534" y="324635"/>
                    </a:cubicBezTo>
                    <a:cubicBezTo>
                      <a:pt x="264305" y="294994"/>
                      <a:pt x="275610" y="262986"/>
                      <a:pt x="284230" y="230059"/>
                    </a:cubicBezTo>
                    <a:cubicBezTo>
                      <a:pt x="297974" y="177630"/>
                      <a:pt x="312741" y="125943"/>
                      <a:pt x="349908" y="84113"/>
                    </a:cubicBezTo>
                    <a:cubicBezTo>
                      <a:pt x="352169" y="81605"/>
                      <a:pt x="354854" y="77825"/>
                      <a:pt x="353370" y="74468"/>
                    </a:cubicBezTo>
                    <a:cubicBezTo>
                      <a:pt x="350084" y="67014"/>
                      <a:pt x="355242" y="65530"/>
                      <a:pt x="359906" y="62845"/>
                    </a:cubicBezTo>
                    <a:cubicBezTo>
                      <a:pt x="372872" y="55320"/>
                      <a:pt x="382905" y="45216"/>
                      <a:pt x="388805" y="31013"/>
                    </a:cubicBezTo>
                    <a:cubicBezTo>
                      <a:pt x="392197" y="22887"/>
                      <a:pt x="389865" y="21015"/>
                      <a:pt x="381881" y="20732"/>
                    </a:cubicBezTo>
                    <a:cubicBezTo>
                      <a:pt x="368032" y="20238"/>
                      <a:pt x="354536" y="22463"/>
                      <a:pt x="341111" y="24866"/>
                    </a:cubicBezTo>
                    <a:cubicBezTo>
                      <a:pt x="300164" y="32179"/>
                      <a:pt x="266036" y="55178"/>
                      <a:pt x="230176" y="74150"/>
                    </a:cubicBezTo>
                    <a:cubicBezTo>
                      <a:pt x="221768" y="78602"/>
                      <a:pt x="215762" y="85844"/>
                      <a:pt x="209261" y="92451"/>
                    </a:cubicBezTo>
                    <a:cubicBezTo>
                      <a:pt x="201984" y="99799"/>
                      <a:pt x="204174" y="105805"/>
                      <a:pt x="212052" y="110857"/>
                    </a:cubicBezTo>
                    <a:cubicBezTo>
                      <a:pt x="216327" y="113613"/>
                      <a:pt x="221168" y="113578"/>
                      <a:pt x="226078" y="114108"/>
                    </a:cubicBezTo>
                    <a:cubicBezTo>
                      <a:pt x="242612" y="115874"/>
                      <a:pt x="257874" y="111493"/>
                      <a:pt x="272678" y="102520"/>
                    </a:cubicBezTo>
                    <a:cubicBezTo>
                      <a:pt x="273278" y="109515"/>
                      <a:pt x="269604" y="110116"/>
                      <a:pt x="267484" y="112129"/>
                    </a:cubicBezTo>
                    <a:cubicBezTo>
                      <a:pt x="253353" y="125519"/>
                      <a:pt x="239857" y="140711"/>
                      <a:pt x="242754" y="161096"/>
                    </a:cubicBezTo>
                    <a:cubicBezTo>
                      <a:pt x="245333" y="179255"/>
                      <a:pt x="233851" y="184873"/>
                      <a:pt x="221415" y="191656"/>
                    </a:cubicBezTo>
                    <a:close/>
                    <a:moveTo>
                      <a:pt x="105358" y="191726"/>
                    </a:moveTo>
                    <a:cubicBezTo>
                      <a:pt x="86351" y="205187"/>
                      <a:pt x="71336" y="220131"/>
                      <a:pt x="59041" y="237513"/>
                    </a:cubicBezTo>
                    <a:cubicBezTo>
                      <a:pt x="33993" y="272949"/>
                      <a:pt x="21345" y="312270"/>
                      <a:pt x="23888" y="356008"/>
                    </a:cubicBezTo>
                    <a:cubicBezTo>
                      <a:pt x="24100" y="359576"/>
                      <a:pt x="23747" y="363498"/>
                      <a:pt x="28834" y="363816"/>
                    </a:cubicBezTo>
                    <a:cubicBezTo>
                      <a:pt x="32933" y="364098"/>
                      <a:pt x="36183" y="362155"/>
                      <a:pt x="36466" y="358092"/>
                    </a:cubicBezTo>
                    <a:cubicBezTo>
                      <a:pt x="38267" y="333291"/>
                      <a:pt x="53035" y="313577"/>
                      <a:pt x="62892" y="292097"/>
                    </a:cubicBezTo>
                    <a:cubicBezTo>
                      <a:pt x="74657" y="266519"/>
                      <a:pt x="81016" y="238326"/>
                      <a:pt x="99988" y="216068"/>
                    </a:cubicBezTo>
                    <a:cubicBezTo>
                      <a:pt x="104863" y="210310"/>
                      <a:pt x="107442" y="202043"/>
                      <a:pt x="105358" y="191691"/>
                    </a:cubicBezTo>
                    <a:close/>
                    <a:moveTo>
                      <a:pt x="295182" y="327038"/>
                    </a:moveTo>
                    <a:cubicBezTo>
                      <a:pt x="319241" y="327144"/>
                      <a:pt x="346233" y="305840"/>
                      <a:pt x="354394" y="281922"/>
                    </a:cubicBezTo>
                    <a:cubicBezTo>
                      <a:pt x="357857" y="271818"/>
                      <a:pt x="356337" y="262703"/>
                      <a:pt x="351956" y="253765"/>
                    </a:cubicBezTo>
                    <a:cubicBezTo>
                      <a:pt x="345491" y="240587"/>
                      <a:pt x="333833" y="238502"/>
                      <a:pt x="322492" y="247617"/>
                    </a:cubicBezTo>
                    <a:cubicBezTo>
                      <a:pt x="314684" y="253906"/>
                      <a:pt x="311716" y="262844"/>
                      <a:pt x="309137" y="271535"/>
                    </a:cubicBezTo>
                    <a:cubicBezTo>
                      <a:pt x="305604" y="283406"/>
                      <a:pt x="299245" y="291850"/>
                      <a:pt x="288187" y="297290"/>
                    </a:cubicBezTo>
                    <a:cubicBezTo>
                      <a:pt x="280697" y="300965"/>
                      <a:pt x="274126" y="306511"/>
                      <a:pt x="277165" y="315980"/>
                    </a:cubicBezTo>
                    <a:cubicBezTo>
                      <a:pt x="279885" y="324529"/>
                      <a:pt x="286774" y="328345"/>
                      <a:pt x="295147" y="327038"/>
                    </a:cubicBezTo>
                    <a:close/>
                    <a:moveTo>
                      <a:pt x="431624" y="76729"/>
                    </a:moveTo>
                    <a:cubicBezTo>
                      <a:pt x="430635" y="77012"/>
                      <a:pt x="427738" y="77153"/>
                      <a:pt x="425760" y="78602"/>
                    </a:cubicBezTo>
                    <a:cubicBezTo>
                      <a:pt x="410144" y="89907"/>
                      <a:pt x="392126" y="95595"/>
                      <a:pt x="374073" y="101389"/>
                    </a:cubicBezTo>
                    <a:cubicBezTo>
                      <a:pt x="368243" y="103262"/>
                      <a:pt x="362732" y="106123"/>
                      <a:pt x="358174" y="110610"/>
                    </a:cubicBezTo>
                    <a:cubicBezTo>
                      <a:pt x="349943" y="118736"/>
                      <a:pt x="348565" y="132444"/>
                      <a:pt x="355596" y="140287"/>
                    </a:cubicBezTo>
                    <a:cubicBezTo>
                      <a:pt x="363015" y="148554"/>
                      <a:pt x="372872" y="147671"/>
                      <a:pt x="382729" y="137143"/>
                    </a:cubicBezTo>
                    <a:cubicBezTo>
                      <a:pt x="389830" y="129511"/>
                      <a:pt x="396860" y="124565"/>
                      <a:pt x="408448" y="123753"/>
                    </a:cubicBezTo>
                    <a:cubicBezTo>
                      <a:pt x="430812" y="122234"/>
                      <a:pt x="443283" y="110822"/>
                      <a:pt x="446462" y="93405"/>
                    </a:cubicBezTo>
                    <a:cubicBezTo>
                      <a:pt x="448300" y="83336"/>
                      <a:pt x="442894" y="76517"/>
                      <a:pt x="431624" y="76694"/>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1" name="Freeform: Shape 860">
                <a:extLst>
                  <a:ext uri="{FF2B5EF4-FFF2-40B4-BE49-F238E27FC236}">
                    <a16:creationId xmlns:a16="http://schemas.microsoft.com/office/drawing/2014/main" id="{5071F37D-65F1-0DCC-B238-F7B175C30912}"/>
                  </a:ext>
                </a:extLst>
              </p:cNvPr>
              <p:cNvSpPr/>
              <p:nvPr/>
            </p:nvSpPr>
            <p:spPr>
              <a:xfrm>
                <a:off x="8495973" y="3534517"/>
                <a:ext cx="163666" cy="150089"/>
              </a:xfrm>
              <a:custGeom>
                <a:avLst/>
                <a:gdLst>
                  <a:gd name="connsiteX0" fmla="*/ 163455 w 163666"/>
                  <a:gd name="connsiteY0" fmla="*/ 30520 h 150089"/>
                  <a:gd name="connsiteX1" fmla="*/ 137983 w 163666"/>
                  <a:gd name="connsiteY1" fmla="*/ 79028 h 150089"/>
                  <a:gd name="connsiteX2" fmla="*/ 120353 w 163666"/>
                  <a:gd name="connsiteY2" fmla="*/ 104818 h 150089"/>
                  <a:gd name="connsiteX3" fmla="*/ 64392 w 163666"/>
                  <a:gd name="connsiteY3" fmla="*/ 144740 h 150089"/>
                  <a:gd name="connsiteX4" fmla="*/ 15814 w 163666"/>
                  <a:gd name="connsiteY4" fmla="*/ 149828 h 150089"/>
                  <a:gd name="connsiteX5" fmla="*/ 198 w 163666"/>
                  <a:gd name="connsiteY5" fmla="*/ 143256 h 150089"/>
                  <a:gd name="connsiteX6" fmla="*/ 12387 w 163666"/>
                  <a:gd name="connsiteY6" fmla="*/ 131527 h 150089"/>
                  <a:gd name="connsiteX7" fmla="*/ 46268 w 163666"/>
                  <a:gd name="connsiteY7" fmla="*/ 120010 h 150089"/>
                  <a:gd name="connsiteX8" fmla="*/ 74460 w 163666"/>
                  <a:gd name="connsiteY8" fmla="*/ 94043 h 150089"/>
                  <a:gd name="connsiteX9" fmla="*/ 104561 w 163666"/>
                  <a:gd name="connsiteY9" fmla="*/ 62069 h 150089"/>
                  <a:gd name="connsiteX10" fmla="*/ 139678 w 163666"/>
                  <a:gd name="connsiteY10" fmla="*/ 19886 h 150089"/>
                  <a:gd name="connsiteX11" fmla="*/ 144236 w 163666"/>
                  <a:gd name="connsiteY11" fmla="*/ 11796 h 150089"/>
                  <a:gd name="connsiteX12" fmla="*/ 155365 w 163666"/>
                  <a:gd name="connsiteY12" fmla="*/ 208 h 150089"/>
                  <a:gd name="connsiteX13" fmla="*/ 163526 w 163666"/>
                  <a:gd name="connsiteY13" fmla="*/ 18155 h 150089"/>
                  <a:gd name="connsiteX14" fmla="*/ 163526 w 163666"/>
                  <a:gd name="connsiteY14" fmla="*/ 30520 h 15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666" h="150089">
                    <a:moveTo>
                      <a:pt x="163455" y="30520"/>
                    </a:moveTo>
                    <a:cubicBezTo>
                      <a:pt x="165151" y="50693"/>
                      <a:pt x="156672" y="67263"/>
                      <a:pt x="137983" y="79028"/>
                    </a:cubicBezTo>
                    <a:cubicBezTo>
                      <a:pt x="128620" y="84928"/>
                      <a:pt x="123921" y="94467"/>
                      <a:pt x="120353" y="104818"/>
                    </a:cubicBezTo>
                    <a:cubicBezTo>
                      <a:pt x="111097" y="131845"/>
                      <a:pt x="93432" y="143610"/>
                      <a:pt x="64392" y="144740"/>
                    </a:cubicBezTo>
                    <a:cubicBezTo>
                      <a:pt x="48140" y="145376"/>
                      <a:pt x="32030" y="148202"/>
                      <a:pt x="15814" y="149828"/>
                    </a:cubicBezTo>
                    <a:cubicBezTo>
                      <a:pt x="9490" y="150464"/>
                      <a:pt x="1682" y="150499"/>
                      <a:pt x="198" y="143256"/>
                    </a:cubicBezTo>
                    <a:cubicBezTo>
                      <a:pt x="-1392" y="135590"/>
                      <a:pt x="6946" y="133682"/>
                      <a:pt x="12387" y="131527"/>
                    </a:cubicBezTo>
                    <a:cubicBezTo>
                      <a:pt x="23480" y="127146"/>
                      <a:pt x="34715" y="122942"/>
                      <a:pt x="46268" y="120010"/>
                    </a:cubicBezTo>
                    <a:cubicBezTo>
                      <a:pt x="60682" y="116335"/>
                      <a:pt x="68878" y="106408"/>
                      <a:pt x="74460" y="94043"/>
                    </a:cubicBezTo>
                    <a:cubicBezTo>
                      <a:pt x="80926" y="79770"/>
                      <a:pt x="90217" y="69453"/>
                      <a:pt x="104561" y="62069"/>
                    </a:cubicBezTo>
                    <a:cubicBezTo>
                      <a:pt x="121625" y="53272"/>
                      <a:pt x="130704" y="36279"/>
                      <a:pt x="139678" y="19886"/>
                    </a:cubicBezTo>
                    <a:cubicBezTo>
                      <a:pt x="141162" y="17166"/>
                      <a:pt x="142222" y="14092"/>
                      <a:pt x="144236" y="11796"/>
                    </a:cubicBezTo>
                    <a:cubicBezTo>
                      <a:pt x="147875" y="7627"/>
                      <a:pt x="149606" y="-1488"/>
                      <a:pt x="155365" y="208"/>
                    </a:cubicBezTo>
                    <a:cubicBezTo>
                      <a:pt x="162360" y="2257"/>
                      <a:pt x="163490" y="10842"/>
                      <a:pt x="163526" y="18155"/>
                    </a:cubicBezTo>
                    <a:cubicBezTo>
                      <a:pt x="163526" y="21688"/>
                      <a:pt x="163526" y="25256"/>
                      <a:pt x="163526" y="30520"/>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2" name="Freeform: Shape 861">
                <a:extLst>
                  <a:ext uri="{FF2B5EF4-FFF2-40B4-BE49-F238E27FC236}">
                    <a16:creationId xmlns:a16="http://schemas.microsoft.com/office/drawing/2014/main" id="{160622C7-6334-82E6-85C9-4E0937B99F2D}"/>
                  </a:ext>
                </a:extLst>
              </p:cNvPr>
              <p:cNvSpPr/>
              <p:nvPr/>
            </p:nvSpPr>
            <p:spPr>
              <a:xfrm>
                <a:off x="8197125" y="2618977"/>
                <a:ext cx="259018" cy="180014"/>
              </a:xfrm>
              <a:custGeom>
                <a:avLst/>
                <a:gdLst>
                  <a:gd name="connsiteX0" fmla="*/ 259018 w 259018"/>
                  <a:gd name="connsiteY0" fmla="*/ 60071 h 180014"/>
                  <a:gd name="connsiteX1" fmla="*/ 198216 w 259018"/>
                  <a:gd name="connsiteY1" fmla="*/ 70635 h 180014"/>
                  <a:gd name="connsiteX2" fmla="*/ 242342 w 259018"/>
                  <a:gd name="connsiteY2" fmla="*/ 80491 h 180014"/>
                  <a:gd name="connsiteX3" fmla="*/ 258488 w 259018"/>
                  <a:gd name="connsiteY3" fmla="*/ 86003 h 180014"/>
                  <a:gd name="connsiteX4" fmla="*/ 242766 w 259018"/>
                  <a:gd name="connsiteY4" fmla="*/ 90631 h 180014"/>
                  <a:gd name="connsiteX5" fmla="*/ 194577 w 259018"/>
                  <a:gd name="connsiteY5" fmla="*/ 83565 h 180014"/>
                  <a:gd name="connsiteX6" fmla="*/ 173768 w 259018"/>
                  <a:gd name="connsiteY6" fmla="*/ 59647 h 180014"/>
                  <a:gd name="connsiteX7" fmla="*/ 129818 w 259018"/>
                  <a:gd name="connsiteY7" fmla="*/ 17888 h 180014"/>
                  <a:gd name="connsiteX8" fmla="*/ 50327 w 259018"/>
                  <a:gd name="connsiteY8" fmla="*/ 48624 h 180014"/>
                  <a:gd name="connsiteX9" fmla="*/ 41778 w 259018"/>
                  <a:gd name="connsiteY9" fmla="*/ 77488 h 180014"/>
                  <a:gd name="connsiteX10" fmla="*/ 41354 w 259018"/>
                  <a:gd name="connsiteY10" fmla="*/ 112076 h 180014"/>
                  <a:gd name="connsiteX11" fmla="*/ 125 w 259018"/>
                  <a:gd name="connsiteY11" fmla="*/ 180014 h 180014"/>
                  <a:gd name="connsiteX12" fmla="*/ 11183 w 259018"/>
                  <a:gd name="connsiteY12" fmla="*/ 158216 h 180014"/>
                  <a:gd name="connsiteX13" fmla="*/ 28423 w 259018"/>
                  <a:gd name="connsiteY13" fmla="*/ 100876 h 180014"/>
                  <a:gd name="connsiteX14" fmla="*/ 79792 w 259018"/>
                  <a:gd name="connsiteY14" fmla="*/ 8490 h 180014"/>
                  <a:gd name="connsiteX15" fmla="*/ 184650 w 259018"/>
                  <a:gd name="connsiteY15" fmla="*/ 22693 h 180014"/>
                  <a:gd name="connsiteX16" fmla="*/ 233440 w 259018"/>
                  <a:gd name="connsiteY16" fmla="*/ 48306 h 180014"/>
                  <a:gd name="connsiteX17" fmla="*/ 259018 w 259018"/>
                  <a:gd name="connsiteY17" fmla="*/ 60142 h 1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018" h="180014">
                    <a:moveTo>
                      <a:pt x="259018" y="60071"/>
                    </a:moveTo>
                    <a:cubicBezTo>
                      <a:pt x="239375" y="70564"/>
                      <a:pt x="218636" y="69257"/>
                      <a:pt x="198216" y="70635"/>
                    </a:cubicBezTo>
                    <a:cubicBezTo>
                      <a:pt x="211853" y="79856"/>
                      <a:pt x="227045" y="80032"/>
                      <a:pt x="242342" y="80491"/>
                    </a:cubicBezTo>
                    <a:cubicBezTo>
                      <a:pt x="248136" y="80668"/>
                      <a:pt x="258559" y="76711"/>
                      <a:pt x="258488" y="86003"/>
                    </a:cubicBezTo>
                    <a:cubicBezTo>
                      <a:pt x="258453" y="93599"/>
                      <a:pt x="248384" y="90702"/>
                      <a:pt x="242766" y="90631"/>
                    </a:cubicBezTo>
                    <a:cubicBezTo>
                      <a:pt x="226444" y="90454"/>
                      <a:pt x="210087" y="89783"/>
                      <a:pt x="194577" y="83565"/>
                    </a:cubicBezTo>
                    <a:cubicBezTo>
                      <a:pt x="183484" y="79114"/>
                      <a:pt x="175711" y="71588"/>
                      <a:pt x="173768" y="59647"/>
                    </a:cubicBezTo>
                    <a:cubicBezTo>
                      <a:pt x="169599" y="34457"/>
                      <a:pt x="152288" y="23258"/>
                      <a:pt x="129818" y="17888"/>
                    </a:cubicBezTo>
                    <a:cubicBezTo>
                      <a:pt x="100778" y="10928"/>
                      <a:pt x="65943" y="24812"/>
                      <a:pt x="50327" y="48624"/>
                    </a:cubicBezTo>
                    <a:cubicBezTo>
                      <a:pt x="44498" y="57457"/>
                      <a:pt x="42096" y="67172"/>
                      <a:pt x="41778" y="77488"/>
                    </a:cubicBezTo>
                    <a:cubicBezTo>
                      <a:pt x="41424" y="89006"/>
                      <a:pt x="42237" y="100594"/>
                      <a:pt x="41354" y="112076"/>
                    </a:cubicBezTo>
                    <a:cubicBezTo>
                      <a:pt x="39163" y="140763"/>
                      <a:pt x="23689" y="161537"/>
                      <a:pt x="125" y="180014"/>
                    </a:cubicBezTo>
                    <a:cubicBezTo>
                      <a:pt x="-1077" y="168285"/>
                      <a:pt x="6696" y="163798"/>
                      <a:pt x="11183" y="158216"/>
                    </a:cubicBezTo>
                    <a:cubicBezTo>
                      <a:pt x="24784" y="141258"/>
                      <a:pt x="31779" y="123664"/>
                      <a:pt x="28423" y="100876"/>
                    </a:cubicBezTo>
                    <a:cubicBezTo>
                      <a:pt x="21817" y="56185"/>
                      <a:pt x="38598" y="23647"/>
                      <a:pt x="79792" y="8490"/>
                    </a:cubicBezTo>
                    <a:cubicBezTo>
                      <a:pt x="115687" y="-4688"/>
                      <a:pt x="152924" y="-4370"/>
                      <a:pt x="184650" y="22693"/>
                    </a:cubicBezTo>
                    <a:cubicBezTo>
                      <a:pt x="199099" y="35023"/>
                      <a:pt x="215210" y="43396"/>
                      <a:pt x="233440" y="48306"/>
                    </a:cubicBezTo>
                    <a:cubicBezTo>
                      <a:pt x="242237" y="50673"/>
                      <a:pt x="251245" y="53076"/>
                      <a:pt x="259018" y="60142"/>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3" name="Freeform: Shape 862">
                <a:extLst>
                  <a:ext uri="{FF2B5EF4-FFF2-40B4-BE49-F238E27FC236}">
                    <a16:creationId xmlns:a16="http://schemas.microsoft.com/office/drawing/2014/main" id="{F8EA6B75-2A08-579B-1C43-7A0630D21E63}"/>
                  </a:ext>
                </a:extLst>
              </p:cNvPr>
              <p:cNvSpPr/>
              <p:nvPr/>
            </p:nvSpPr>
            <p:spPr>
              <a:xfrm>
                <a:off x="8277348" y="3721780"/>
                <a:ext cx="113296" cy="47143"/>
              </a:xfrm>
              <a:custGeom>
                <a:avLst/>
                <a:gdLst>
                  <a:gd name="connsiteX0" fmla="*/ 73302 w 113296"/>
                  <a:gd name="connsiteY0" fmla="*/ 42691 h 47143"/>
                  <a:gd name="connsiteX1" fmla="*/ 23699 w 113296"/>
                  <a:gd name="connsiteY1" fmla="*/ 45199 h 47143"/>
                  <a:gd name="connsiteX2" fmla="*/ 21085 w 113296"/>
                  <a:gd name="connsiteY2" fmla="*/ 44881 h 47143"/>
                  <a:gd name="connsiteX3" fmla="*/ 28 w 113296"/>
                  <a:gd name="connsiteY3" fmla="*/ 27711 h 47143"/>
                  <a:gd name="connsiteX4" fmla="*/ 23487 w 113296"/>
                  <a:gd name="connsiteY4" fmla="*/ 16194 h 47143"/>
                  <a:gd name="connsiteX5" fmla="*/ 81462 w 113296"/>
                  <a:gd name="connsiteY5" fmla="*/ 3934 h 47143"/>
                  <a:gd name="connsiteX6" fmla="*/ 100787 w 113296"/>
                  <a:gd name="connsiteY6" fmla="*/ 225 h 47143"/>
                  <a:gd name="connsiteX7" fmla="*/ 112376 w 113296"/>
                  <a:gd name="connsiteY7" fmla="*/ 3828 h 47143"/>
                  <a:gd name="connsiteX8" fmla="*/ 109231 w 113296"/>
                  <a:gd name="connsiteY8" fmla="*/ 18596 h 47143"/>
                  <a:gd name="connsiteX9" fmla="*/ 92627 w 113296"/>
                  <a:gd name="connsiteY9" fmla="*/ 31703 h 47143"/>
                  <a:gd name="connsiteX10" fmla="*/ 73195 w 113296"/>
                  <a:gd name="connsiteY10" fmla="*/ 42726 h 47143"/>
                  <a:gd name="connsiteX11" fmla="*/ 73266 w 113296"/>
                  <a:gd name="connsiteY11" fmla="*/ 42655 h 4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296" h="47143">
                    <a:moveTo>
                      <a:pt x="73302" y="42691"/>
                    </a:moveTo>
                    <a:cubicBezTo>
                      <a:pt x="56732" y="42761"/>
                      <a:pt x="40551" y="50710"/>
                      <a:pt x="23699" y="45199"/>
                    </a:cubicBezTo>
                    <a:cubicBezTo>
                      <a:pt x="22886" y="44916"/>
                      <a:pt x="21862" y="45199"/>
                      <a:pt x="21085" y="44881"/>
                    </a:cubicBezTo>
                    <a:cubicBezTo>
                      <a:pt x="12111" y="41278"/>
                      <a:pt x="-678" y="38381"/>
                      <a:pt x="28" y="27711"/>
                    </a:cubicBezTo>
                    <a:cubicBezTo>
                      <a:pt x="841" y="15805"/>
                      <a:pt x="13559" y="16264"/>
                      <a:pt x="23487" y="16194"/>
                    </a:cubicBezTo>
                    <a:cubicBezTo>
                      <a:pt x="43625" y="16052"/>
                      <a:pt x="62985" y="11813"/>
                      <a:pt x="81462" y="3934"/>
                    </a:cubicBezTo>
                    <a:cubicBezTo>
                      <a:pt x="87786" y="1249"/>
                      <a:pt x="94040" y="-340"/>
                      <a:pt x="100787" y="225"/>
                    </a:cubicBezTo>
                    <a:cubicBezTo>
                      <a:pt x="104886" y="578"/>
                      <a:pt x="110468" y="-1860"/>
                      <a:pt x="112376" y="3828"/>
                    </a:cubicBezTo>
                    <a:cubicBezTo>
                      <a:pt x="114107" y="8986"/>
                      <a:pt x="113577" y="14251"/>
                      <a:pt x="109231" y="18596"/>
                    </a:cubicBezTo>
                    <a:cubicBezTo>
                      <a:pt x="104179" y="23613"/>
                      <a:pt x="99127" y="28382"/>
                      <a:pt x="92627" y="31703"/>
                    </a:cubicBezTo>
                    <a:cubicBezTo>
                      <a:pt x="86020" y="35095"/>
                      <a:pt x="78424" y="36861"/>
                      <a:pt x="73195" y="42726"/>
                    </a:cubicBezTo>
                    <a:cubicBezTo>
                      <a:pt x="73195" y="42726"/>
                      <a:pt x="73266" y="42655"/>
                      <a:pt x="73266" y="42655"/>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4" name="Freeform: Shape 863">
                <a:extLst>
                  <a:ext uri="{FF2B5EF4-FFF2-40B4-BE49-F238E27FC236}">
                    <a16:creationId xmlns:a16="http://schemas.microsoft.com/office/drawing/2014/main" id="{867BD8DF-49BA-0847-412E-8BE68E7EEBA6}"/>
                  </a:ext>
                </a:extLst>
              </p:cNvPr>
              <p:cNvSpPr/>
              <p:nvPr/>
            </p:nvSpPr>
            <p:spPr>
              <a:xfrm>
                <a:off x="7860694" y="2711784"/>
                <a:ext cx="83657" cy="93306"/>
              </a:xfrm>
              <a:custGeom>
                <a:avLst/>
                <a:gdLst>
                  <a:gd name="connsiteX0" fmla="*/ 8 w 83657"/>
                  <a:gd name="connsiteY0" fmla="*/ 65373 h 93306"/>
                  <a:gd name="connsiteX1" fmla="*/ 20040 w 83657"/>
                  <a:gd name="connsiteY1" fmla="*/ 33259 h 93306"/>
                  <a:gd name="connsiteX2" fmla="*/ 58513 w 83657"/>
                  <a:gd name="connsiteY2" fmla="*/ 5313 h 93306"/>
                  <a:gd name="connsiteX3" fmla="*/ 63142 w 83657"/>
                  <a:gd name="connsiteY3" fmla="*/ 2734 h 93306"/>
                  <a:gd name="connsiteX4" fmla="*/ 82820 w 83657"/>
                  <a:gd name="connsiteY4" fmla="*/ 3017 h 93306"/>
                  <a:gd name="connsiteX5" fmla="*/ 73917 w 83657"/>
                  <a:gd name="connsiteY5" fmla="*/ 15630 h 93306"/>
                  <a:gd name="connsiteX6" fmla="*/ 23325 w 83657"/>
                  <a:gd name="connsiteY6" fmla="*/ 84451 h 93306"/>
                  <a:gd name="connsiteX7" fmla="*/ 8134 w 83657"/>
                  <a:gd name="connsiteY7" fmla="*/ 84698 h 93306"/>
                  <a:gd name="connsiteX8" fmla="*/ 8 w 83657"/>
                  <a:gd name="connsiteY8" fmla="*/ 65373 h 93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657" h="93306">
                    <a:moveTo>
                      <a:pt x="8" y="65373"/>
                    </a:moveTo>
                    <a:cubicBezTo>
                      <a:pt x="-345" y="48239"/>
                      <a:pt x="10925" y="40996"/>
                      <a:pt x="20040" y="33259"/>
                    </a:cubicBezTo>
                    <a:cubicBezTo>
                      <a:pt x="32087" y="23013"/>
                      <a:pt x="45583" y="14499"/>
                      <a:pt x="58513" y="5313"/>
                    </a:cubicBezTo>
                    <a:cubicBezTo>
                      <a:pt x="59927" y="4289"/>
                      <a:pt x="61516" y="3370"/>
                      <a:pt x="63142" y="2734"/>
                    </a:cubicBezTo>
                    <a:cubicBezTo>
                      <a:pt x="69854" y="155"/>
                      <a:pt x="78899" y="-1964"/>
                      <a:pt x="82820" y="3017"/>
                    </a:cubicBezTo>
                    <a:cubicBezTo>
                      <a:pt x="86353" y="7468"/>
                      <a:pt x="77803" y="12061"/>
                      <a:pt x="73917" y="15630"/>
                    </a:cubicBezTo>
                    <a:cubicBezTo>
                      <a:pt x="52472" y="35273"/>
                      <a:pt x="37281" y="59403"/>
                      <a:pt x="23325" y="84451"/>
                    </a:cubicBezTo>
                    <a:cubicBezTo>
                      <a:pt x="16825" y="96145"/>
                      <a:pt x="15659" y="96286"/>
                      <a:pt x="8134" y="84698"/>
                    </a:cubicBezTo>
                    <a:cubicBezTo>
                      <a:pt x="1280" y="74100"/>
                      <a:pt x="-63" y="70531"/>
                      <a:pt x="8" y="65373"/>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5" name="Freeform: Shape 864">
                <a:extLst>
                  <a:ext uri="{FF2B5EF4-FFF2-40B4-BE49-F238E27FC236}">
                    <a16:creationId xmlns:a16="http://schemas.microsoft.com/office/drawing/2014/main" id="{FD03EC1A-22AD-F906-F26D-84BC8BBF6110}"/>
                  </a:ext>
                </a:extLst>
              </p:cNvPr>
              <p:cNvSpPr/>
              <p:nvPr/>
            </p:nvSpPr>
            <p:spPr>
              <a:xfrm>
                <a:off x="7972147" y="2750760"/>
                <a:ext cx="72185" cy="116204"/>
              </a:xfrm>
              <a:custGeom>
                <a:avLst/>
                <a:gdLst>
                  <a:gd name="connsiteX0" fmla="*/ 1150 w 72185"/>
                  <a:gd name="connsiteY0" fmla="*/ 116204 h 116204"/>
                  <a:gd name="connsiteX1" fmla="*/ 41320 w 72185"/>
                  <a:gd name="connsiteY1" fmla="*/ 18624 h 116204"/>
                  <a:gd name="connsiteX2" fmla="*/ 63083 w 72185"/>
                  <a:gd name="connsiteY2" fmla="*/ 3503 h 116204"/>
                  <a:gd name="connsiteX3" fmla="*/ 70961 w 72185"/>
                  <a:gd name="connsiteY3" fmla="*/ 1278 h 116204"/>
                  <a:gd name="connsiteX4" fmla="*/ 67746 w 72185"/>
                  <a:gd name="connsiteY4" fmla="*/ 10004 h 116204"/>
                  <a:gd name="connsiteX5" fmla="*/ 30050 w 72185"/>
                  <a:gd name="connsiteY5" fmla="*/ 51057 h 116204"/>
                  <a:gd name="connsiteX6" fmla="*/ 8110 w 72185"/>
                  <a:gd name="connsiteY6" fmla="*/ 104651 h 116204"/>
                  <a:gd name="connsiteX7" fmla="*/ 1150 w 72185"/>
                  <a:gd name="connsiteY7" fmla="*/ 116204 h 11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85" h="116204">
                    <a:moveTo>
                      <a:pt x="1150" y="116204"/>
                    </a:moveTo>
                    <a:cubicBezTo>
                      <a:pt x="-4750" y="74056"/>
                      <a:pt x="12561" y="43850"/>
                      <a:pt x="41320" y="18624"/>
                    </a:cubicBezTo>
                    <a:cubicBezTo>
                      <a:pt x="47926" y="12830"/>
                      <a:pt x="55699" y="8344"/>
                      <a:pt x="63083" y="3503"/>
                    </a:cubicBezTo>
                    <a:cubicBezTo>
                      <a:pt x="65379" y="1984"/>
                      <a:pt x="68029" y="-2043"/>
                      <a:pt x="70961" y="1278"/>
                    </a:cubicBezTo>
                    <a:cubicBezTo>
                      <a:pt x="74282" y="5058"/>
                      <a:pt x="70042" y="7637"/>
                      <a:pt x="67746" y="10004"/>
                    </a:cubicBezTo>
                    <a:cubicBezTo>
                      <a:pt x="54851" y="23394"/>
                      <a:pt x="40401" y="35265"/>
                      <a:pt x="30050" y="51057"/>
                    </a:cubicBezTo>
                    <a:cubicBezTo>
                      <a:pt x="19239" y="67556"/>
                      <a:pt x="10866" y="84938"/>
                      <a:pt x="8110" y="104651"/>
                    </a:cubicBezTo>
                    <a:cubicBezTo>
                      <a:pt x="7545" y="108573"/>
                      <a:pt x="6873" y="112318"/>
                      <a:pt x="1150" y="116204"/>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6" name="Freeform: Shape 865">
                <a:extLst>
                  <a:ext uri="{FF2B5EF4-FFF2-40B4-BE49-F238E27FC236}">
                    <a16:creationId xmlns:a16="http://schemas.microsoft.com/office/drawing/2014/main" id="{F3E4FB10-D8B5-98EC-08EB-1D30ACBE7FF7}"/>
                  </a:ext>
                </a:extLst>
              </p:cNvPr>
              <p:cNvSpPr/>
              <p:nvPr/>
            </p:nvSpPr>
            <p:spPr>
              <a:xfrm>
                <a:off x="8312514" y="2699732"/>
                <a:ext cx="54458" cy="29082"/>
              </a:xfrm>
              <a:custGeom>
                <a:avLst/>
                <a:gdLst>
                  <a:gd name="connsiteX0" fmla="*/ 15701 w 54458"/>
                  <a:gd name="connsiteY0" fmla="*/ 29060 h 29082"/>
                  <a:gd name="connsiteX1" fmla="*/ 15 w 54458"/>
                  <a:gd name="connsiteY1" fmla="*/ 23796 h 29082"/>
                  <a:gd name="connsiteX2" fmla="*/ 15454 w 54458"/>
                  <a:gd name="connsiteY2" fmla="*/ 17542 h 29082"/>
                  <a:gd name="connsiteX3" fmla="*/ 45236 w 54458"/>
                  <a:gd name="connsiteY3" fmla="*/ 3729 h 29082"/>
                  <a:gd name="connsiteX4" fmla="*/ 52903 w 54458"/>
                  <a:gd name="connsiteY4" fmla="*/ 1079 h 29082"/>
                  <a:gd name="connsiteX5" fmla="*/ 53009 w 54458"/>
                  <a:gd name="connsiteY5" fmla="*/ 9699 h 29082"/>
                  <a:gd name="connsiteX6" fmla="*/ 15736 w 54458"/>
                  <a:gd name="connsiteY6" fmla="*/ 29060 h 2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58" h="29082">
                    <a:moveTo>
                      <a:pt x="15701" y="29060"/>
                    </a:moveTo>
                    <a:cubicBezTo>
                      <a:pt x="10790" y="27646"/>
                      <a:pt x="721" y="32275"/>
                      <a:pt x="15" y="23796"/>
                    </a:cubicBezTo>
                    <a:cubicBezTo>
                      <a:pt x="-444" y="17966"/>
                      <a:pt x="9695" y="18885"/>
                      <a:pt x="15454" y="17542"/>
                    </a:cubicBezTo>
                    <a:cubicBezTo>
                      <a:pt x="26265" y="14963"/>
                      <a:pt x="36475" y="10865"/>
                      <a:pt x="45236" y="3729"/>
                    </a:cubicBezTo>
                    <a:cubicBezTo>
                      <a:pt x="47427" y="1927"/>
                      <a:pt x="49476" y="-1854"/>
                      <a:pt x="52903" y="1079"/>
                    </a:cubicBezTo>
                    <a:cubicBezTo>
                      <a:pt x="55659" y="3446"/>
                      <a:pt x="54139" y="6767"/>
                      <a:pt x="53009" y="9699"/>
                    </a:cubicBezTo>
                    <a:cubicBezTo>
                      <a:pt x="48593" y="21146"/>
                      <a:pt x="33719" y="29095"/>
                      <a:pt x="15736" y="29060"/>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7" name="Freeform: Shape 866">
                <a:extLst>
                  <a:ext uri="{FF2B5EF4-FFF2-40B4-BE49-F238E27FC236}">
                    <a16:creationId xmlns:a16="http://schemas.microsoft.com/office/drawing/2014/main" id="{0BAB3BCF-3AA0-B773-DD87-3679C11D6E9D}"/>
                  </a:ext>
                </a:extLst>
              </p:cNvPr>
              <p:cNvSpPr/>
              <p:nvPr/>
            </p:nvSpPr>
            <p:spPr>
              <a:xfrm>
                <a:off x="7951647" y="2858875"/>
                <a:ext cx="339427" cy="377968"/>
              </a:xfrm>
              <a:custGeom>
                <a:avLst/>
                <a:gdLst>
                  <a:gd name="connsiteX0" fmla="*/ 170528 w 339427"/>
                  <a:gd name="connsiteY0" fmla="*/ 170993 h 377968"/>
                  <a:gd name="connsiteX1" fmla="*/ 191867 w 339427"/>
                  <a:gd name="connsiteY1" fmla="*/ 140433 h 377968"/>
                  <a:gd name="connsiteX2" fmla="*/ 216597 w 339427"/>
                  <a:gd name="connsiteY2" fmla="*/ 91467 h 377968"/>
                  <a:gd name="connsiteX3" fmla="*/ 221790 w 339427"/>
                  <a:gd name="connsiteY3" fmla="*/ 81857 h 377968"/>
                  <a:gd name="connsiteX4" fmla="*/ 175191 w 339427"/>
                  <a:gd name="connsiteY4" fmla="*/ 93445 h 377968"/>
                  <a:gd name="connsiteX5" fmla="*/ 161165 w 339427"/>
                  <a:gd name="connsiteY5" fmla="*/ 90195 h 377968"/>
                  <a:gd name="connsiteX6" fmla="*/ 158374 w 339427"/>
                  <a:gd name="connsiteY6" fmla="*/ 71788 h 377968"/>
                  <a:gd name="connsiteX7" fmla="*/ 179289 w 339427"/>
                  <a:gd name="connsiteY7" fmla="*/ 53488 h 377968"/>
                  <a:gd name="connsiteX8" fmla="*/ 290223 w 339427"/>
                  <a:gd name="connsiteY8" fmla="*/ 4203 h 377968"/>
                  <a:gd name="connsiteX9" fmla="*/ 330994 w 339427"/>
                  <a:gd name="connsiteY9" fmla="*/ 69 h 377968"/>
                  <a:gd name="connsiteX10" fmla="*/ 337918 w 339427"/>
                  <a:gd name="connsiteY10" fmla="*/ 10350 h 377968"/>
                  <a:gd name="connsiteX11" fmla="*/ 309018 w 339427"/>
                  <a:gd name="connsiteY11" fmla="*/ 42182 h 377968"/>
                  <a:gd name="connsiteX12" fmla="*/ 302483 w 339427"/>
                  <a:gd name="connsiteY12" fmla="*/ 53805 h 377968"/>
                  <a:gd name="connsiteX13" fmla="*/ 299020 w 339427"/>
                  <a:gd name="connsiteY13" fmla="*/ 63450 h 377968"/>
                  <a:gd name="connsiteX14" fmla="*/ 233343 w 339427"/>
                  <a:gd name="connsiteY14" fmla="*/ 209396 h 377968"/>
                  <a:gd name="connsiteX15" fmla="*/ 195647 w 339427"/>
                  <a:gd name="connsiteY15" fmla="*/ 303973 h 377968"/>
                  <a:gd name="connsiteX16" fmla="*/ 141416 w 339427"/>
                  <a:gd name="connsiteY16" fmla="*/ 345979 h 377968"/>
                  <a:gd name="connsiteX17" fmla="*/ 111245 w 339427"/>
                  <a:gd name="connsiteY17" fmla="*/ 362054 h 377968"/>
                  <a:gd name="connsiteX18" fmla="*/ 68850 w 339427"/>
                  <a:gd name="connsiteY18" fmla="*/ 375197 h 377968"/>
                  <a:gd name="connsiteX19" fmla="*/ 17622 w 339427"/>
                  <a:gd name="connsiteY19" fmla="*/ 345202 h 377968"/>
                  <a:gd name="connsiteX20" fmla="*/ 5539 w 339427"/>
                  <a:gd name="connsiteY20" fmla="*/ 329728 h 377968"/>
                  <a:gd name="connsiteX21" fmla="*/ 1936 w 339427"/>
                  <a:gd name="connsiteY21" fmla="*/ 317256 h 377968"/>
                  <a:gd name="connsiteX22" fmla="*/ 33485 w 339427"/>
                  <a:gd name="connsiteY22" fmla="*/ 276592 h 377968"/>
                  <a:gd name="connsiteX23" fmla="*/ 44684 w 339427"/>
                  <a:gd name="connsiteY23" fmla="*/ 253204 h 377968"/>
                  <a:gd name="connsiteX24" fmla="*/ 115908 w 339427"/>
                  <a:gd name="connsiteY24" fmla="*/ 145662 h 377968"/>
                  <a:gd name="connsiteX25" fmla="*/ 147351 w 339427"/>
                  <a:gd name="connsiteY25" fmla="*/ 131459 h 377968"/>
                  <a:gd name="connsiteX26" fmla="*/ 174343 w 339427"/>
                  <a:gd name="connsiteY26" fmla="*/ 158557 h 377968"/>
                  <a:gd name="connsiteX27" fmla="*/ 170563 w 339427"/>
                  <a:gd name="connsiteY27" fmla="*/ 170922 h 377968"/>
                  <a:gd name="connsiteX28" fmla="*/ 99657 w 339427"/>
                  <a:gd name="connsiteY28" fmla="*/ 311568 h 377968"/>
                  <a:gd name="connsiteX29" fmla="*/ 107429 w 339427"/>
                  <a:gd name="connsiteY29" fmla="*/ 306764 h 377968"/>
                  <a:gd name="connsiteX30" fmla="*/ 110962 w 339427"/>
                  <a:gd name="connsiteY30" fmla="*/ 280938 h 377968"/>
                  <a:gd name="connsiteX31" fmla="*/ 107535 w 339427"/>
                  <a:gd name="connsiteY31" fmla="*/ 272070 h 377968"/>
                  <a:gd name="connsiteX32" fmla="*/ 64363 w 339427"/>
                  <a:gd name="connsiteY32" fmla="*/ 272777 h 377968"/>
                  <a:gd name="connsiteX33" fmla="*/ 58957 w 339427"/>
                  <a:gd name="connsiteY33" fmla="*/ 279737 h 377968"/>
                  <a:gd name="connsiteX34" fmla="*/ 64221 w 339427"/>
                  <a:gd name="connsiteY34" fmla="*/ 284789 h 377968"/>
                  <a:gd name="connsiteX35" fmla="*/ 87115 w 339427"/>
                  <a:gd name="connsiteY35" fmla="*/ 305456 h 377968"/>
                  <a:gd name="connsiteX36" fmla="*/ 99621 w 339427"/>
                  <a:gd name="connsiteY36" fmla="*/ 311533 h 377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9427" h="377968">
                    <a:moveTo>
                      <a:pt x="170528" y="170993"/>
                    </a:moveTo>
                    <a:cubicBezTo>
                      <a:pt x="182964" y="164210"/>
                      <a:pt x="194446" y="158592"/>
                      <a:pt x="191867" y="140433"/>
                    </a:cubicBezTo>
                    <a:cubicBezTo>
                      <a:pt x="188969" y="120048"/>
                      <a:pt x="202465" y="104856"/>
                      <a:pt x="216597" y="91467"/>
                    </a:cubicBezTo>
                    <a:cubicBezTo>
                      <a:pt x="218752" y="89453"/>
                      <a:pt x="222426" y="88852"/>
                      <a:pt x="221790" y="81857"/>
                    </a:cubicBezTo>
                    <a:cubicBezTo>
                      <a:pt x="206987" y="90831"/>
                      <a:pt x="191725" y="95211"/>
                      <a:pt x="175191" y="93445"/>
                    </a:cubicBezTo>
                    <a:cubicBezTo>
                      <a:pt x="170315" y="92915"/>
                      <a:pt x="165440" y="92950"/>
                      <a:pt x="161165" y="90195"/>
                    </a:cubicBezTo>
                    <a:cubicBezTo>
                      <a:pt x="153287" y="85143"/>
                      <a:pt x="151132" y="79137"/>
                      <a:pt x="158374" y="71788"/>
                    </a:cubicBezTo>
                    <a:cubicBezTo>
                      <a:pt x="164910" y="65182"/>
                      <a:pt x="170916" y="57939"/>
                      <a:pt x="179289" y="53488"/>
                    </a:cubicBezTo>
                    <a:cubicBezTo>
                      <a:pt x="215148" y="34551"/>
                      <a:pt x="249277" y="11552"/>
                      <a:pt x="290223" y="4203"/>
                    </a:cubicBezTo>
                    <a:cubicBezTo>
                      <a:pt x="303648" y="1801"/>
                      <a:pt x="317180" y="-425"/>
                      <a:pt x="330994" y="69"/>
                    </a:cubicBezTo>
                    <a:cubicBezTo>
                      <a:pt x="338978" y="352"/>
                      <a:pt x="341309" y="2225"/>
                      <a:pt x="337918" y="10350"/>
                    </a:cubicBezTo>
                    <a:cubicBezTo>
                      <a:pt x="331982" y="24553"/>
                      <a:pt x="321949" y="34657"/>
                      <a:pt x="309018" y="42182"/>
                    </a:cubicBezTo>
                    <a:cubicBezTo>
                      <a:pt x="304355" y="44902"/>
                      <a:pt x="299197" y="46386"/>
                      <a:pt x="302483" y="53805"/>
                    </a:cubicBezTo>
                    <a:cubicBezTo>
                      <a:pt x="303967" y="57162"/>
                      <a:pt x="301246" y="60942"/>
                      <a:pt x="299020" y="63450"/>
                    </a:cubicBezTo>
                    <a:cubicBezTo>
                      <a:pt x="261854" y="105280"/>
                      <a:pt x="247086" y="156967"/>
                      <a:pt x="233343" y="209396"/>
                    </a:cubicBezTo>
                    <a:cubicBezTo>
                      <a:pt x="224723" y="242323"/>
                      <a:pt x="213417" y="274331"/>
                      <a:pt x="195647" y="303973"/>
                    </a:cubicBezTo>
                    <a:cubicBezTo>
                      <a:pt x="182751" y="325523"/>
                      <a:pt x="163249" y="337394"/>
                      <a:pt x="141416" y="345979"/>
                    </a:cubicBezTo>
                    <a:cubicBezTo>
                      <a:pt x="130500" y="350254"/>
                      <a:pt x="122621" y="359616"/>
                      <a:pt x="111245" y="362054"/>
                    </a:cubicBezTo>
                    <a:cubicBezTo>
                      <a:pt x="96654" y="365198"/>
                      <a:pt x="82840" y="370180"/>
                      <a:pt x="68850" y="375197"/>
                    </a:cubicBezTo>
                    <a:cubicBezTo>
                      <a:pt x="44084" y="384099"/>
                      <a:pt x="23593" y="370886"/>
                      <a:pt x="17622" y="345202"/>
                    </a:cubicBezTo>
                    <a:cubicBezTo>
                      <a:pt x="16103" y="338631"/>
                      <a:pt x="14760" y="331459"/>
                      <a:pt x="5539" y="329728"/>
                    </a:cubicBezTo>
                    <a:cubicBezTo>
                      <a:pt x="-2162" y="328314"/>
                      <a:pt x="-255" y="322768"/>
                      <a:pt x="1936" y="317256"/>
                    </a:cubicBezTo>
                    <a:cubicBezTo>
                      <a:pt x="8507" y="300581"/>
                      <a:pt x="23028" y="290194"/>
                      <a:pt x="33485" y="276592"/>
                    </a:cubicBezTo>
                    <a:cubicBezTo>
                      <a:pt x="38996" y="269420"/>
                      <a:pt x="44720" y="262567"/>
                      <a:pt x="44684" y="253204"/>
                    </a:cubicBezTo>
                    <a:cubicBezTo>
                      <a:pt x="44508" y="201447"/>
                      <a:pt x="72630" y="168520"/>
                      <a:pt x="115908" y="145662"/>
                    </a:cubicBezTo>
                    <a:cubicBezTo>
                      <a:pt x="126083" y="140292"/>
                      <a:pt x="136081" y="134356"/>
                      <a:pt x="147351" y="131459"/>
                    </a:cubicBezTo>
                    <a:cubicBezTo>
                      <a:pt x="167525" y="126266"/>
                      <a:pt x="179431" y="138243"/>
                      <a:pt x="174343" y="158557"/>
                    </a:cubicBezTo>
                    <a:cubicBezTo>
                      <a:pt x="173283" y="162726"/>
                      <a:pt x="171835" y="166824"/>
                      <a:pt x="170563" y="170922"/>
                    </a:cubicBezTo>
                    <a:close/>
                    <a:moveTo>
                      <a:pt x="99657" y="311568"/>
                    </a:moveTo>
                    <a:cubicBezTo>
                      <a:pt x="102271" y="310756"/>
                      <a:pt x="107571" y="313935"/>
                      <a:pt x="107429" y="306764"/>
                    </a:cubicBezTo>
                    <a:cubicBezTo>
                      <a:pt x="107253" y="298002"/>
                      <a:pt x="108878" y="289452"/>
                      <a:pt x="110962" y="280938"/>
                    </a:cubicBezTo>
                    <a:cubicBezTo>
                      <a:pt x="111739" y="277723"/>
                      <a:pt x="112057" y="273943"/>
                      <a:pt x="107535" y="272070"/>
                    </a:cubicBezTo>
                    <a:cubicBezTo>
                      <a:pt x="92980" y="266099"/>
                      <a:pt x="78565" y="262743"/>
                      <a:pt x="64363" y="272777"/>
                    </a:cubicBezTo>
                    <a:cubicBezTo>
                      <a:pt x="61854" y="274543"/>
                      <a:pt x="58922" y="276239"/>
                      <a:pt x="58957" y="279737"/>
                    </a:cubicBezTo>
                    <a:cubicBezTo>
                      <a:pt x="58993" y="282881"/>
                      <a:pt x="61748" y="283764"/>
                      <a:pt x="64221" y="284789"/>
                    </a:cubicBezTo>
                    <a:cubicBezTo>
                      <a:pt x="74290" y="288958"/>
                      <a:pt x="82628" y="295140"/>
                      <a:pt x="87115" y="305456"/>
                    </a:cubicBezTo>
                    <a:cubicBezTo>
                      <a:pt x="89482" y="310932"/>
                      <a:pt x="93898" y="311851"/>
                      <a:pt x="99621" y="31153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8" name="Freeform: Shape 867">
                <a:extLst>
                  <a:ext uri="{FF2B5EF4-FFF2-40B4-BE49-F238E27FC236}">
                    <a16:creationId xmlns:a16="http://schemas.microsoft.com/office/drawing/2014/main" id="{DA339D32-BF0D-F63B-79F6-63E139A5A1B0}"/>
                  </a:ext>
                </a:extLst>
              </p:cNvPr>
              <p:cNvSpPr/>
              <p:nvPr/>
            </p:nvSpPr>
            <p:spPr>
              <a:xfrm>
                <a:off x="7924292" y="3030009"/>
                <a:ext cx="82518" cy="172151"/>
              </a:xfrm>
              <a:custGeom>
                <a:avLst/>
                <a:gdLst>
                  <a:gd name="connsiteX0" fmla="*/ 81791 w 82518"/>
                  <a:gd name="connsiteY0" fmla="*/ 0 h 172151"/>
                  <a:gd name="connsiteX1" fmla="*/ 76421 w 82518"/>
                  <a:gd name="connsiteY1" fmla="*/ 24377 h 172151"/>
                  <a:gd name="connsiteX2" fmla="*/ 39325 w 82518"/>
                  <a:gd name="connsiteY2" fmla="*/ 100406 h 172151"/>
                  <a:gd name="connsiteX3" fmla="*/ 12899 w 82518"/>
                  <a:gd name="connsiteY3" fmla="*/ 166401 h 172151"/>
                  <a:gd name="connsiteX4" fmla="*/ 5267 w 82518"/>
                  <a:gd name="connsiteY4" fmla="*/ 172125 h 172151"/>
                  <a:gd name="connsiteX5" fmla="*/ 321 w 82518"/>
                  <a:gd name="connsiteY5" fmla="*/ 164317 h 172151"/>
                  <a:gd name="connsiteX6" fmla="*/ 35474 w 82518"/>
                  <a:gd name="connsiteY6" fmla="*/ 45822 h 172151"/>
                  <a:gd name="connsiteX7" fmla="*/ 81791 w 82518"/>
                  <a:gd name="connsiteY7" fmla="*/ 35 h 17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518" h="172151">
                    <a:moveTo>
                      <a:pt x="81791" y="0"/>
                    </a:moveTo>
                    <a:cubicBezTo>
                      <a:pt x="83875" y="10316"/>
                      <a:pt x="81296" y="18619"/>
                      <a:pt x="76421" y="24377"/>
                    </a:cubicBezTo>
                    <a:cubicBezTo>
                      <a:pt x="57449" y="46635"/>
                      <a:pt x="51125" y="74828"/>
                      <a:pt x="39325" y="100406"/>
                    </a:cubicBezTo>
                    <a:cubicBezTo>
                      <a:pt x="29433" y="121886"/>
                      <a:pt x="14665" y="141565"/>
                      <a:pt x="12899" y="166401"/>
                    </a:cubicBezTo>
                    <a:cubicBezTo>
                      <a:pt x="12616" y="170464"/>
                      <a:pt x="9366" y="172407"/>
                      <a:pt x="5267" y="172125"/>
                    </a:cubicBezTo>
                    <a:cubicBezTo>
                      <a:pt x="180" y="171771"/>
                      <a:pt x="533" y="167850"/>
                      <a:pt x="321" y="164317"/>
                    </a:cubicBezTo>
                    <a:cubicBezTo>
                      <a:pt x="-2223" y="120579"/>
                      <a:pt x="10425" y="81222"/>
                      <a:pt x="35474" y="45822"/>
                    </a:cubicBezTo>
                    <a:cubicBezTo>
                      <a:pt x="47769" y="28440"/>
                      <a:pt x="62819" y="13496"/>
                      <a:pt x="81791" y="3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9" name="Freeform: Shape 868">
                <a:extLst>
                  <a:ext uri="{FF2B5EF4-FFF2-40B4-BE49-F238E27FC236}">
                    <a16:creationId xmlns:a16="http://schemas.microsoft.com/office/drawing/2014/main" id="{DAB79DC6-DBBB-5A5F-8EC9-FF7347CBC5CE}"/>
                  </a:ext>
                </a:extLst>
              </p:cNvPr>
              <p:cNvSpPr/>
              <p:nvPr/>
            </p:nvSpPr>
            <p:spPr>
              <a:xfrm>
                <a:off x="8177166" y="3080344"/>
                <a:ext cx="79878" cy="85227"/>
              </a:xfrm>
              <a:custGeom>
                <a:avLst/>
                <a:gdLst>
                  <a:gd name="connsiteX0" fmla="*/ 18742 w 79878"/>
                  <a:gd name="connsiteY0" fmla="*/ 84976 h 85227"/>
                  <a:gd name="connsiteX1" fmla="*/ 759 w 79878"/>
                  <a:gd name="connsiteY1" fmla="*/ 73918 h 85227"/>
                  <a:gd name="connsiteX2" fmla="*/ 11782 w 79878"/>
                  <a:gd name="connsiteY2" fmla="*/ 55229 h 85227"/>
                  <a:gd name="connsiteX3" fmla="*/ 32732 w 79878"/>
                  <a:gd name="connsiteY3" fmla="*/ 29474 h 85227"/>
                  <a:gd name="connsiteX4" fmla="*/ 46087 w 79878"/>
                  <a:gd name="connsiteY4" fmla="*/ 5556 h 85227"/>
                  <a:gd name="connsiteX5" fmla="*/ 75551 w 79878"/>
                  <a:gd name="connsiteY5" fmla="*/ 11703 h 85227"/>
                  <a:gd name="connsiteX6" fmla="*/ 77989 w 79878"/>
                  <a:gd name="connsiteY6" fmla="*/ 39861 h 85227"/>
                  <a:gd name="connsiteX7" fmla="*/ 18777 w 79878"/>
                  <a:gd name="connsiteY7" fmla="*/ 84976 h 8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78" h="85227">
                    <a:moveTo>
                      <a:pt x="18742" y="84976"/>
                    </a:moveTo>
                    <a:cubicBezTo>
                      <a:pt x="10333" y="86283"/>
                      <a:pt x="3479" y="82468"/>
                      <a:pt x="759" y="73918"/>
                    </a:cubicBezTo>
                    <a:cubicBezTo>
                      <a:pt x="-2279" y="64450"/>
                      <a:pt x="4292" y="58903"/>
                      <a:pt x="11782" y="55229"/>
                    </a:cubicBezTo>
                    <a:cubicBezTo>
                      <a:pt x="22875" y="49788"/>
                      <a:pt x="29234" y="41345"/>
                      <a:pt x="32732" y="29474"/>
                    </a:cubicBezTo>
                    <a:cubicBezTo>
                      <a:pt x="35311" y="20783"/>
                      <a:pt x="38279" y="11845"/>
                      <a:pt x="46087" y="5556"/>
                    </a:cubicBezTo>
                    <a:cubicBezTo>
                      <a:pt x="57392" y="-3524"/>
                      <a:pt x="69086" y="-1475"/>
                      <a:pt x="75551" y="11703"/>
                    </a:cubicBezTo>
                    <a:cubicBezTo>
                      <a:pt x="79932" y="20642"/>
                      <a:pt x="81416" y="29757"/>
                      <a:pt x="77989" y="39861"/>
                    </a:cubicBezTo>
                    <a:cubicBezTo>
                      <a:pt x="69828" y="63779"/>
                      <a:pt x="42836" y="85082"/>
                      <a:pt x="18777" y="8497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0" name="Freeform: Shape 869">
                <a:extLst>
                  <a:ext uri="{FF2B5EF4-FFF2-40B4-BE49-F238E27FC236}">
                    <a16:creationId xmlns:a16="http://schemas.microsoft.com/office/drawing/2014/main" id="{A76E12FD-7DA4-9660-C9E1-43E13527065A}"/>
                  </a:ext>
                </a:extLst>
              </p:cNvPr>
              <p:cNvSpPr/>
              <p:nvPr/>
            </p:nvSpPr>
            <p:spPr>
              <a:xfrm flipH="1" flipV="1">
                <a:off x="7696526" y="2776951"/>
                <a:ext cx="555264" cy="127699"/>
              </a:xfrm>
              <a:custGeom>
                <a:avLst/>
                <a:gdLst>
                  <a:gd name="connsiteX0" fmla="*/ 80558 w 95748"/>
                  <a:gd name="connsiteY0" fmla="*/ 5 h 69166"/>
                  <a:gd name="connsiteX1" fmla="*/ 95397 w 95748"/>
                  <a:gd name="connsiteY1" fmla="*/ 16716 h 69166"/>
                  <a:gd name="connsiteX2" fmla="*/ 57382 w 95748"/>
                  <a:gd name="connsiteY2" fmla="*/ 47063 h 69166"/>
                  <a:gd name="connsiteX3" fmla="*/ 31663 w 95748"/>
                  <a:gd name="connsiteY3" fmla="*/ 60453 h 69166"/>
                  <a:gd name="connsiteX4" fmla="*/ 4530 w 95748"/>
                  <a:gd name="connsiteY4" fmla="*/ 63598 h 69166"/>
                  <a:gd name="connsiteX5" fmla="*/ 7109 w 95748"/>
                  <a:gd name="connsiteY5" fmla="*/ 33921 h 69166"/>
                  <a:gd name="connsiteX6" fmla="*/ 23007 w 95748"/>
                  <a:gd name="connsiteY6" fmla="*/ 24700 h 69166"/>
                  <a:gd name="connsiteX7" fmla="*/ 74694 w 95748"/>
                  <a:gd name="connsiteY7" fmla="*/ 1913 h 69166"/>
                  <a:gd name="connsiteX8" fmla="*/ 80558 w 95748"/>
                  <a:gd name="connsiteY8" fmla="*/ 40 h 6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748" h="69166">
                    <a:moveTo>
                      <a:pt x="80558" y="5"/>
                    </a:moveTo>
                    <a:cubicBezTo>
                      <a:pt x="91828" y="-207"/>
                      <a:pt x="97234" y="6647"/>
                      <a:pt x="95397" y="16716"/>
                    </a:cubicBezTo>
                    <a:cubicBezTo>
                      <a:pt x="92217" y="34098"/>
                      <a:pt x="79746" y="45509"/>
                      <a:pt x="57382" y="47063"/>
                    </a:cubicBezTo>
                    <a:cubicBezTo>
                      <a:pt x="45794" y="47841"/>
                      <a:pt x="38764" y="52822"/>
                      <a:pt x="31663" y="60453"/>
                    </a:cubicBezTo>
                    <a:cubicBezTo>
                      <a:pt x="21806" y="71017"/>
                      <a:pt x="11949" y="71865"/>
                      <a:pt x="4530" y="63598"/>
                    </a:cubicBezTo>
                    <a:cubicBezTo>
                      <a:pt x="-2501" y="55754"/>
                      <a:pt x="-1123" y="42011"/>
                      <a:pt x="7109" y="33921"/>
                    </a:cubicBezTo>
                    <a:cubicBezTo>
                      <a:pt x="11666" y="29434"/>
                      <a:pt x="17177" y="26537"/>
                      <a:pt x="23007" y="24700"/>
                    </a:cubicBezTo>
                    <a:cubicBezTo>
                      <a:pt x="41060" y="18941"/>
                      <a:pt x="59078" y="13218"/>
                      <a:pt x="74694" y="1913"/>
                    </a:cubicBezTo>
                    <a:cubicBezTo>
                      <a:pt x="76672" y="464"/>
                      <a:pt x="79569" y="323"/>
                      <a:pt x="80558" y="4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1" name="Freeform: Shape 870">
                <a:extLst>
                  <a:ext uri="{FF2B5EF4-FFF2-40B4-BE49-F238E27FC236}">
                    <a16:creationId xmlns:a16="http://schemas.microsoft.com/office/drawing/2014/main" id="{47701E73-0B52-4BD5-2B32-20DFACE0DADA}"/>
                  </a:ext>
                </a:extLst>
              </p:cNvPr>
              <p:cNvSpPr/>
              <p:nvPr/>
            </p:nvSpPr>
            <p:spPr>
              <a:xfrm>
                <a:off x="8010640" y="3125292"/>
                <a:ext cx="52467" cy="45216"/>
              </a:xfrm>
              <a:custGeom>
                <a:avLst/>
                <a:gdLst>
                  <a:gd name="connsiteX0" fmla="*/ 40664 w 52467"/>
                  <a:gd name="connsiteY0" fmla="*/ 45152 h 45216"/>
                  <a:gd name="connsiteX1" fmla="*/ 28158 w 52467"/>
                  <a:gd name="connsiteY1" fmla="*/ 39075 h 45216"/>
                  <a:gd name="connsiteX2" fmla="*/ 5264 w 52467"/>
                  <a:gd name="connsiteY2" fmla="*/ 18407 h 45216"/>
                  <a:gd name="connsiteX3" fmla="*/ 0 w 52467"/>
                  <a:gd name="connsiteY3" fmla="*/ 13355 h 45216"/>
                  <a:gd name="connsiteX4" fmla="*/ 5406 w 52467"/>
                  <a:gd name="connsiteY4" fmla="*/ 6395 h 45216"/>
                  <a:gd name="connsiteX5" fmla="*/ 48578 w 52467"/>
                  <a:gd name="connsiteY5" fmla="*/ 5689 h 45216"/>
                  <a:gd name="connsiteX6" fmla="*/ 52005 w 52467"/>
                  <a:gd name="connsiteY6" fmla="*/ 14556 h 45216"/>
                  <a:gd name="connsiteX7" fmla="*/ 48472 w 52467"/>
                  <a:gd name="connsiteY7" fmla="*/ 40382 h 45216"/>
                  <a:gd name="connsiteX8" fmla="*/ 40700 w 52467"/>
                  <a:gd name="connsiteY8" fmla="*/ 45187 h 4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67" h="45216">
                    <a:moveTo>
                      <a:pt x="40664" y="45152"/>
                    </a:moveTo>
                    <a:cubicBezTo>
                      <a:pt x="34941" y="45505"/>
                      <a:pt x="30525" y="44551"/>
                      <a:pt x="28158" y="39075"/>
                    </a:cubicBezTo>
                    <a:cubicBezTo>
                      <a:pt x="23706" y="28759"/>
                      <a:pt x="15333" y="22576"/>
                      <a:pt x="5264" y="18407"/>
                    </a:cubicBezTo>
                    <a:cubicBezTo>
                      <a:pt x="2756" y="17383"/>
                      <a:pt x="36" y="16499"/>
                      <a:pt x="0" y="13355"/>
                    </a:cubicBezTo>
                    <a:cubicBezTo>
                      <a:pt x="-35" y="9858"/>
                      <a:pt x="2897" y="8162"/>
                      <a:pt x="5406" y="6395"/>
                    </a:cubicBezTo>
                    <a:cubicBezTo>
                      <a:pt x="19643" y="-3638"/>
                      <a:pt x="34058" y="-282"/>
                      <a:pt x="48578" y="5689"/>
                    </a:cubicBezTo>
                    <a:cubicBezTo>
                      <a:pt x="53100" y="7526"/>
                      <a:pt x="52782" y="11341"/>
                      <a:pt x="52005" y="14556"/>
                    </a:cubicBezTo>
                    <a:cubicBezTo>
                      <a:pt x="49921" y="23071"/>
                      <a:pt x="48295" y="31620"/>
                      <a:pt x="48472" y="40382"/>
                    </a:cubicBezTo>
                    <a:cubicBezTo>
                      <a:pt x="48614" y="47554"/>
                      <a:pt x="43314" y="44374"/>
                      <a:pt x="40700" y="45187"/>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611" name="Rectangle 2610">
              <a:extLst>
                <a:ext uri="{FF2B5EF4-FFF2-40B4-BE49-F238E27FC236}">
                  <a16:creationId xmlns:a16="http://schemas.microsoft.com/office/drawing/2014/main" id="{622A1F75-AEAE-625A-19AB-B5BB3744A4F6}"/>
                </a:ext>
              </a:extLst>
            </p:cNvPr>
            <p:cNvSpPr/>
            <p:nvPr/>
          </p:nvSpPr>
          <p:spPr>
            <a:xfrm>
              <a:off x="8093476" y="3424125"/>
              <a:ext cx="785721" cy="313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CC</a:t>
              </a:r>
            </a:p>
          </p:txBody>
        </p:sp>
      </p:grpSp>
      <p:grpSp>
        <p:nvGrpSpPr>
          <p:cNvPr id="872" name="Group 871">
            <a:extLst>
              <a:ext uri="{FF2B5EF4-FFF2-40B4-BE49-F238E27FC236}">
                <a16:creationId xmlns:a16="http://schemas.microsoft.com/office/drawing/2014/main" id="{201872C7-6EE3-E08F-A87C-A136D6B2CDC5}"/>
              </a:ext>
            </a:extLst>
          </p:cNvPr>
          <p:cNvGrpSpPr/>
          <p:nvPr/>
        </p:nvGrpSpPr>
        <p:grpSpPr>
          <a:xfrm>
            <a:off x="9998821" y="2514483"/>
            <a:ext cx="1211699" cy="1357196"/>
            <a:chOff x="9928870" y="2311558"/>
            <a:chExt cx="1211699" cy="1357196"/>
          </a:xfrm>
        </p:grpSpPr>
        <p:grpSp>
          <p:nvGrpSpPr>
            <p:cNvPr id="873" name="Group 872">
              <a:extLst>
                <a:ext uri="{FF2B5EF4-FFF2-40B4-BE49-F238E27FC236}">
                  <a16:creationId xmlns:a16="http://schemas.microsoft.com/office/drawing/2014/main" id="{5C2C9B9A-F9F9-7B76-7399-07423D4BAD1C}"/>
                </a:ext>
              </a:extLst>
            </p:cNvPr>
            <p:cNvGrpSpPr/>
            <p:nvPr/>
          </p:nvGrpSpPr>
          <p:grpSpPr>
            <a:xfrm>
              <a:off x="9949305" y="2311558"/>
              <a:ext cx="1133904" cy="1081097"/>
              <a:chOff x="7545955" y="2504509"/>
              <a:chExt cx="1477099" cy="1408309"/>
            </a:xfrm>
          </p:grpSpPr>
          <p:sp>
            <p:nvSpPr>
              <p:cNvPr id="875" name="Freeform: Shape 874">
                <a:extLst>
                  <a:ext uri="{FF2B5EF4-FFF2-40B4-BE49-F238E27FC236}">
                    <a16:creationId xmlns:a16="http://schemas.microsoft.com/office/drawing/2014/main" id="{83E27CB9-3F4A-2911-E641-14FE320C87D6}"/>
                  </a:ext>
                </a:extLst>
              </p:cNvPr>
              <p:cNvSpPr/>
              <p:nvPr/>
            </p:nvSpPr>
            <p:spPr>
              <a:xfrm>
                <a:off x="7545955" y="2504509"/>
                <a:ext cx="1477099" cy="1408309"/>
              </a:xfrm>
              <a:custGeom>
                <a:avLst/>
                <a:gdLst>
                  <a:gd name="connsiteX0" fmla="*/ 1449985 w 1477099"/>
                  <a:gd name="connsiteY0" fmla="*/ 526913 h 1408309"/>
                  <a:gd name="connsiteX1" fmla="*/ 1463163 w 1477099"/>
                  <a:gd name="connsiteY1" fmla="*/ 578388 h 1408309"/>
                  <a:gd name="connsiteX2" fmla="*/ 1463269 w 1477099"/>
                  <a:gd name="connsiteY2" fmla="*/ 681373 h 1408309"/>
                  <a:gd name="connsiteX3" fmla="*/ 1457510 w 1477099"/>
                  <a:gd name="connsiteY3" fmla="*/ 702641 h 1408309"/>
                  <a:gd name="connsiteX4" fmla="*/ 1462385 w 1477099"/>
                  <a:gd name="connsiteY4" fmla="*/ 771569 h 1408309"/>
                  <a:gd name="connsiteX5" fmla="*/ 1448748 w 1477099"/>
                  <a:gd name="connsiteY5" fmla="*/ 924686 h 1408309"/>
                  <a:gd name="connsiteX6" fmla="*/ 1420732 w 1477099"/>
                  <a:gd name="connsiteY6" fmla="*/ 983156 h 1408309"/>
                  <a:gd name="connsiteX7" fmla="*/ 1403173 w 1477099"/>
                  <a:gd name="connsiteY7" fmla="*/ 1075896 h 1408309"/>
                  <a:gd name="connsiteX8" fmla="*/ 1400064 w 1477099"/>
                  <a:gd name="connsiteY8" fmla="*/ 1154786 h 1408309"/>
                  <a:gd name="connsiteX9" fmla="*/ 1353395 w 1477099"/>
                  <a:gd name="connsiteY9" fmla="*/ 1203647 h 1408309"/>
                  <a:gd name="connsiteX10" fmla="*/ 1288636 w 1477099"/>
                  <a:gd name="connsiteY10" fmla="*/ 1217284 h 1408309"/>
                  <a:gd name="connsiteX11" fmla="*/ 1269629 w 1477099"/>
                  <a:gd name="connsiteY11" fmla="*/ 1227247 h 1408309"/>
                  <a:gd name="connsiteX12" fmla="*/ 1238150 w 1477099"/>
                  <a:gd name="connsiteY12" fmla="*/ 1255404 h 1408309"/>
                  <a:gd name="connsiteX13" fmla="*/ 1215328 w 1477099"/>
                  <a:gd name="connsiteY13" fmla="*/ 1279040 h 1408309"/>
                  <a:gd name="connsiteX14" fmla="*/ 1156540 w 1477099"/>
                  <a:gd name="connsiteY14" fmla="*/ 1301827 h 1408309"/>
                  <a:gd name="connsiteX15" fmla="*/ 1104181 w 1477099"/>
                  <a:gd name="connsiteY15" fmla="*/ 1313910 h 1408309"/>
                  <a:gd name="connsiteX16" fmla="*/ 986641 w 1477099"/>
                  <a:gd name="connsiteY16" fmla="*/ 1380082 h 1408309"/>
                  <a:gd name="connsiteX17" fmla="*/ 876484 w 1477099"/>
                  <a:gd name="connsiteY17" fmla="*/ 1404282 h 1408309"/>
                  <a:gd name="connsiteX18" fmla="*/ 763889 w 1477099"/>
                  <a:gd name="connsiteY18" fmla="*/ 1383897 h 1408309"/>
                  <a:gd name="connsiteX19" fmla="*/ 753184 w 1477099"/>
                  <a:gd name="connsiteY19" fmla="*/ 1382413 h 1408309"/>
                  <a:gd name="connsiteX20" fmla="*/ 686165 w 1477099"/>
                  <a:gd name="connsiteY20" fmla="*/ 1400431 h 1408309"/>
                  <a:gd name="connsiteX21" fmla="*/ 540325 w 1477099"/>
                  <a:gd name="connsiteY21" fmla="*/ 1385028 h 1408309"/>
                  <a:gd name="connsiteX22" fmla="*/ 483940 w 1477099"/>
                  <a:gd name="connsiteY22" fmla="*/ 1345247 h 1408309"/>
                  <a:gd name="connsiteX23" fmla="*/ 472811 w 1477099"/>
                  <a:gd name="connsiteY23" fmla="*/ 1340124 h 1408309"/>
                  <a:gd name="connsiteX24" fmla="*/ 415683 w 1477099"/>
                  <a:gd name="connsiteY24" fmla="*/ 1311684 h 1408309"/>
                  <a:gd name="connsiteX25" fmla="*/ 400668 w 1477099"/>
                  <a:gd name="connsiteY25" fmla="*/ 1302145 h 1408309"/>
                  <a:gd name="connsiteX26" fmla="*/ 368059 w 1477099"/>
                  <a:gd name="connsiteY26" fmla="*/ 1283350 h 1408309"/>
                  <a:gd name="connsiteX27" fmla="*/ 324710 w 1477099"/>
                  <a:gd name="connsiteY27" fmla="*/ 1257913 h 1408309"/>
                  <a:gd name="connsiteX28" fmla="*/ 203177 w 1477099"/>
                  <a:gd name="connsiteY28" fmla="*/ 1193013 h 1408309"/>
                  <a:gd name="connsiteX29" fmla="*/ 168978 w 1477099"/>
                  <a:gd name="connsiteY29" fmla="*/ 1144294 h 1408309"/>
                  <a:gd name="connsiteX30" fmla="*/ 158132 w 1477099"/>
                  <a:gd name="connsiteY30" fmla="*/ 1134613 h 1408309"/>
                  <a:gd name="connsiteX31" fmla="*/ 97931 w 1477099"/>
                  <a:gd name="connsiteY31" fmla="*/ 1047915 h 1408309"/>
                  <a:gd name="connsiteX32" fmla="*/ 98284 w 1477099"/>
                  <a:gd name="connsiteY32" fmla="*/ 1042616 h 1408309"/>
                  <a:gd name="connsiteX33" fmla="*/ 81467 w 1477099"/>
                  <a:gd name="connsiteY33" fmla="*/ 999655 h 1408309"/>
                  <a:gd name="connsiteX34" fmla="*/ 54087 w 1477099"/>
                  <a:gd name="connsiteY34" fmla="*/ 906810 h 1408309"/>
                  <a:gd name="connsiteX35" fmla="*/ 37271 w 1477099"/>
                  <a:gd name="connsiteY35" fmla="*/ 868089 h 1408309"/>
                  <a:gd name="connsiteX36" fmla="*/ 2966 w 1477099"/>
                  <a:gd name="connsiteY36" fmla="*/ 794392 h 1408309"/>
                  <a:gd name="connsiteX37" fmla="*/ 139 w 1477099"/>
                  <a:gd name="connsiteY37" fmla="*/ 717303 h 1408309"/>
                  <a:gd name="connsiteX38" fmla="*/ 14836 w 1477099"/>
                  <a:gd name="connsiteY38" fmla="*/ 654770 h 1408309"/>
                  <a:gd name="connsiteX39" fmla="*/ 36705 w 1477099"/>
                  <a:gd name="connsiteY39" fmla="*/ 584465 h 1408309"/>
                  <a:gd name="connsiteX40" fmla="*/ 51049 w 1477099"/>
                  <a:gd name="connsiteY40" fmla="*/ 542246 h 1408309"/>
                  <a:gd name="connsiteX41" fmla="*/ 54017 w 1477099"/>
                  <a:gd name="connsiteY41" fmla="*/ 510202 h 1408309"/>
                  <a:gd name="connsiteX42" fmla="*/ 40379 w 1477099"/>
                  <a:gd name="connsiteY42" fmla="*/ 453746 h 1408309"/>
                  <a:gd name="connsiteX43" fmla="*/ 88180 w 1477099"/>
                  <a:gd name="connsiteY43" fmla="*/ 366907 h 1408309"/>
                  <a:gd name="connsiteX44" fmla="*/ 142411 w 1477099"/>
                  <a:gd name="connsiteY44" fmla="*/ 346027 h 1408309"/>
                  <a:gd name="connsiteX45" fmla="*/ 154564 w 1477099"/>
                  <a:gd name="connsiteY45" fmla="*/ 334086 h 1408309"/>
                  <a:gd name="connsiteX46" fmla="*/ 211091 w 1477099"/>
                  <a:gd name="connsiteY46" fmla="*/ 260813 h 1408309"/>
                  <a:gd name="connsiteX47" fmla="*/ 218298 w 1477099"/>
                  <a:gd name="connsiteY47" fmla="*/ 248730 h 1408309"/>
                  <a:gd name="connsiteX48" fmla="*/ 255253 w 1477099"/>
                  <a:gd name="connsiteY48" fmla="*/ 191920 h 1408309"/>
                  <a:gd name="connsiteX49" fmla="*/ 301534 w 1477099"/>
                  <a:gd name="connsiteY49" fmla="*/ 148077 h 1408309"/>
                  <a:gd name="connsiteX50" fmla="*/ 407946 w 1477099"/>
                  <a:gd name="connsiteY50" fmla="*/ 115326 h 1408309"/>
                  <a:gd name="connsiteX51" fmla="*/ 424763 w 1477099"/>
                  <a:gd name="connsiteY51" fmla="*/ 105646 h 1408309"/>
                  <a:gd name="connsiteX52" fmla="*/ 495139 w 1477099"/>
                  <a:gd name="connsiteY52" fmla="*/ 31384 h 1408309"/>
                  <a:gd name="connsiteX53" fmla="*/ 623526 w 1477099"/>
                  <a:gd name="connsiteY53" fmla="*/ 4428 h 1408309"/>
                  <a:gd name="connsiteX54" fmla="*/ 701957 w 1477099"/>
                  <a:gd name="connsiteY54" fmla="*/ 17782 h 1408309"/>
                  <a:gd name="connsiteX55" fmla="*/ 727783 w 1477099"/>
                  <a:gd name="connsiteY55" fmla="*/ 14355 h 1408309"/>
                  <a:gd name="connsiteX56" fmla="*/ 777067 w 1477099"/>
                  <a:gd name="connsiteY56" fmla="*/ 21209 h 1408309"/>
                  <a:gd name="connsiteX57" fmla="*/ 799749 w 1477099"/>
                  <a:gd name="connsiteY57" fmla="*/ 22340 h 1408309"/>
                  <a:gd name="connsiteX58" fmla="*/ 860621 w 1477099"/>
                  <a:gd name="connsiteY58" fmla="*/ 3827 h 1408309"/>
                  <a:gd name="connsiteX59" fmla="*/ 1161380 w 1477099"/>
                  <a:gd name="connsiteY59" fmla="*/ 132214 h 1408309"/>
                  <a:gd name="connsiteX60" fmla="*/ 1173180 w 1477099"/>
                  <a:gd name="connsiteY60" fmla="*/ 138962 h 1408309"/>
                  <a:gd name="connsiteX61" fmla="*/ 1291250 w 1477099"/>
                  <a:gd name="connsiteY61" fmla="*/ 205204 h 1408309"/>
                  <a:gd name="connsiteX62" fmla="*/ 1318737 w 1477099"/>
                  <a:gd name="connsiteY62" fmla="*/ 292256 h 1408309"/>
                  <a:gd name="connsiteX63" fmla="*/ 1328629 w 1477099"/>
                  <a:gd name="connsiteY63" fmla="*/ 315502 h 1408309"/>
                  <a:gd name="connsiteX64" fmla="*/ 1403597 w 1477099"/>
                  <a:gd name="connsiteY64" fmla="*/ 398138 h 1408309"/>
                  <a:gd name="connsiteX65" fmla="*/ 1449914 w 1477099"/>
                  <a:gd name="connsiteY65" fmla="*/ 527055 h 1408309"/>
                  <a:gd name="connsiteX66" fmla="*/ 1302697 w 1477099"/>
                  <a:gd name="connsiteY66" fmla="*/ 327903 h 1408309"/>
                  <a:gd name="connsiteX67" fmla="*/ 1302132 w 1477099"/>
                  <a:gd name="connsiteY67" fmla="*/ 326985 h 1408309"/>
                  <a:gd name="connsiteX68" fmla="*/ 1301425 w 1477099"/>
                  <a:gd name="connsiteY68" fmla="*/ 326843 h 1408309"/>
                  <a:gd name="connsiteX69" fmla="*/ 1302803 w 1477099"/>
                  <a:gd name="connsiteY69" fmla="*/ 327762 h 1408309"/>
                  <a:gd name="connsiteX70" fmla="*/ 1303015 w 1477099"/>
                  <a:gd name="connsiteY70" fmla="*/ 328786 h 1408309"/>
                  <a:gd name="connsiteX71" fmla="*/ 1303651 w 1477099"/>
                  <a:gd name="connsiteY71" fmla="*/ 329140 h 1408309"/>
                  <a:gd name="connsiteX72" fmla="*/ 1302662 w 1477099"/>
                  <a:gd name="connsiteY72" fmla="*/ 327903 h 1408309"/>
                  <a:gd name="connsiteX73" fmla="*/ 375867 w 1477099"/>
                  <a:gd name="connsiteY73" fmla="*/ 1249292 h 1408309"/>
                  <a:gd name="connsiteX74" fmla="*/ 376326 w 1477099"/>
                  <a:gd name="connsiteY74" fmla="*/ 1250246 h 1408309"/>
                  <a:gd name="connsiteX75" fmla="*/ 377033 w 1477099"/>
                  <a:gd name="connsiteY75" fmla="*/ 1250423 h 1408309"/>
                  <a:gd name="connsiteX76" fmla="*/ 375761 w 1477099"/>
                  <a:gd name="connsiteY76" fmla="*/ 1249398 h 1408309"/>
                  <a:gd name="connsiteX77" fmla="*/ 368130 w 1477099"/>
                  <a:gd name="connsiteY77" fmla="*/ 1233995 h 1408309"/>
                  <a:gd name="connsiteX78" fmla="*/ 312451 w 1477099"/>
                  <a:gd name="connsiteY78" fmla="*/ 1224633 h 1408309"/>
                  <a:gd name="connsiteX79" fmla="*/ 375867 w 1477099"/>
                  <a:gd name="connsiteY79" fmla="*/ 1249292 h 1408309"/>
                  <a:gd name="connsiteX80" fmla="*/ 434443 w 1477099"/>
                  <a:gd name="connsiteY80" fmla="*/ 1281301 h 1408309"/>
                  <a:gd name="connsiteX81" fmla="*/ 433524 w 1477099"/>
                  <a:gd name="connsiteY81" fmla="*/ 1280559 h 1408309"/>
                  <a:gd name="connsiteX82" fmla="*/ 434443 w 1477099"/>
                  <a:gd name="connsiteY82" fmla="*/ 1281336 h 1408309"/>
                  <a:gd name="connsiteX83" fmla="*/ 480442 w 1477099"/>
                  <a:gd name="connsiteY83" fmla="*/ 1311119 h 1408309"/>
                  <a:gd name="connsiteX84" fmla="*/ 447939 w 1477099"/>
                  <a:gd name="connsiteY84" fmla="*/ 1289603 h 1408309"/>
                  <a:gd name="connsiteX85" fmla="*/ 434478 w 1477099"/>
                  <a:gd name="connsiteY85" fmla="*/ 1281336 h 1408309"/>
                  <a:gd name="connsiteX86" fmla="*/ 740784 w 1477099"/>
                  <a:gd name="connsiteY86" fmla="*/ 1355916 h 1408309"/>
                  <a:gd name="connsiteX87" fmla="*/ 697187 w 1477099"/>
                  <a:gd name="connsiteY87" fmla="*/ 1366586 h 1408309"/>
                  <a:gd name="connsiteX88" fmla="*/ 599290 w 1477099"/>
                  <a:gd name="connsiteY88" fmla="*/ 1366127 h 1408309"/>
                  <a:gd name="connsiteX89" fmla="*/ 514252 w 1477099"/>
                  <a:gd name="connsiteY89" fmla="*/ 1327865 h 1408309"/>
                  <a:gd name="connsiteX90" fmla="*/ 503229 w 1477099"/>
                  <a:gd name="connsiteY90" fmla="*/ 1319457 h 1408309"/>
                  <a:gd name="connsiteX91" fmla="*/ 503371 w 1477099"/>
                  <a:gd name="connsiteY91" fmla="*/ 1324509 h 1408309"/>
                  <a:gd name="connsiteX92" fmla="*/ 542657 w 1477099"/>
                  <a:gd name="connsiteY92" fmla="*/ 1358036 h 1408309"/>
                  <a:gd name="connsiteX93" fmla="*/ 697541 w 1477099"/>
                  <a:gd name="connsiteY93" fmla="*/ 1373228 h 1408309"/>
                  <a:gd name="connsiteX94" fmla="*/ 740643 w 1477099"/>
                  <a:gd name="connsiteY94" fmla="*/ 1355810 h 1408309"/>
                  <a:gd name="connsiteX95" fmla="*/ 745447 w 1477099"/>
                  <a:gd name="connsiteY95" fmla="*/ 1355174 h 1408309"/>
                  <a:gd name="connsiteX96" fmla="*/ 744776 w 1477099"/>
                  <a:gd name="connsiteY96" fmla="*/ 1353973 h 1408309"/>
                  <a:gd name="connsiteX97" fmla="*/ 740713 w 1477099"/>
                  <a:gd name="connsiteY97" fmla="*/ 1355952 h 1408309"/>
                  <a:gd name="connsiteX98" fmla="*/ 804624 w 1477099"/>
                  <a:gd name="connsiteY98" fmla="*/ 1260033 h 1408309"/>
                  <a:gd name="connsiteX99" fmla="*/ 826493 w 1477099"/>
                  <a:gd name="connsiteY99" fmla="*/ 1270455 h 1408309"/>
                  <a:gd name="connsiteX100" fmla="*/ 866026 w 1477099"/>
                  <a:gd name="connsiteY100" fmla="*/ 1273528 h 1408309"/>
                  <a:gd name="connsiteX101" fmla="*/ 914004 w 1477099"/>
                  <a:gd name="connsiteY101" fmla="*/ 1240389 h 1408309"/>
                  <a:gd name="connsiteX102" fmla="*/ 963252 w 1477099"/>
                  <a:gd name="connsiteY102" fmla="*/ 1221170 h 1408309"/>
                  <a:gd name="connsiteX103" fmla="*/ 988902 w 1477099"/>
                  <a:gd name="connsiteY103" fmla="*/ 1224279 h 1408309"/>
                  <a:gd name="connsiteX104" fmla="*/ 1064400 w 1477099"/>
                  <a:gd name="connsiteY104" fmla="*/ 1205095 h 1408309"/>
                  <a:gd name="connsiteX105" fmla="*/ 1081005 w 1477099"/>
                  <a:gd name="connsiteY105" fmla="*/ 1200962 h 1408309"/>
                  <a:gd name="connsiteX106" fmla="*/ 1168763 w 1477099"/>
                  <a:gd name="connsiteY106" fmla="*/ 1127971 h 1408309"/>
                  <a:gd name="connsiteX107" fmla="*/ 1177136 w 1477099"/>
                  <a:gd name="connsiteY107" fmla="*/ 1064379 h 1408309"/>
                  <a:gd name="connsiteX108" fmla="*/ 1176253 w 1477099"/>
                  <a:gd name="connsiteY108" fmla="*/ 1031098 h 1408309"/>
                  <a:gd name="connsiteX109" fmla="*/ 1174451 w 1477099"/>
                  <a:gd name="connsiteY109" fmla="*/ 1008028 h 1408309"/>
                  <a:gd name="connsiteX110" fmla="*/ 1164700 w 1477099"/>
                  <a:gd name="connsiteY110" fmla="*/ 992271 h 1408309"/>
                  <a:gd name="connsiteX111" fmla="*/ 1159684 w 1477099"/>
                  <a:gd name="connsiteY111" fmla="*/ 936628 h 1408309"/>
                  <a:gd name="connsiteX112" fmla="*/ 1187806 w 1477099"/>
                  <a:gd name="connsiteY112" fmla="*/ 869643 h 1408309"/>
                  <a:gd name="connsiteX113" fmla="*/ 1207944 w 1477099"/>
                  <a:gd name="connsiteY113" fmla="*/ 845266 h 1408309"/>
                  <a:gd name="connsiteX114" fmla="*/ 1226244 w 1477099"/>
                  <a:gd name="connsiteY114" fmla="*/ 834597 h 1408309"/>
                  <a:gd name="connsiteX115" fmla="*/ 1281676 w 1477099"/>
                  <a:gd name="connsiteY115" fmla="*/ 795770 h 1408309"/>
                  <a:gd name="connsiteX116" fmla="*/ 1292381 w 1477099"/>
                  <a:gd name="connsiteY116" fmla="*/ 792555 h 1408309"/>
                  <a:gd name="connsiteX117" fmla="*/ 1290508 w 1477099"/>
                  <a:gd name="connsiteY117" fmla="*/ 804284 h 1408309"/>
                  <a:gd name="connsiteX118" fmla="*/ 1278073 w 1477099"/>
                  <a:gd name="connsiteY118" fmla="*/ 824669 h 1408309"/>
                  <a:gd name="connsiteX119" fmla="*/ 1280404 w 1477099"/>
                  <a:gd name="connsiteY119" fmla="*/ 844418 h 1408309"/>
                  <a:gd name="connsiteX120" fmla="*/ 1296938 w 1477099"/>
                  <a:gd name="connsiteY120" fmla="*/ 842157 h 1408309"/>
                  <a:gd name="connsiteX121" fmla="*/ 1306795 w 1477099"/>
                  <a:gd name="connsiteY121" fmla="*/ 833466 h 1408309"/>
                  <a:gd name="connsiteX122" fmla="*/ 1339334 w 1477099"/>
                  <a:gd name="connsiteY122" fmla="*/ 789905 h 1408309"/>
                  <a:gd name="connsiteX123" fmla="*/ 1353677 w 1477099"/>
                  <a:gd name="connsiteY123" fmla="*/ 757649 h 1408309"/>
                  <a:gd name="connsiteX124" fmla="*/ 1347494 w 1477099"/>
                  <a:gd name="connsiteY124" fmla="*/ 742882 h 1408309"/>
                  <a:gd name="connsiteX125" fmla="*/ 1330077 w 1477099"/>
                  <a:gd name="connsiteY125" fmla="*/ 743624 h 1408309"/>
                  <a:gd name="connsiteX126" fmla="*/ 1315804 w 1477099"/>
                  <a:gd name="connsiteY126" fmla="*/ 755424 h 1408309"/>
                  <a:gd name="connsiteX127" fmla="*/ 1293794 w 1477099"/>
                  <a:gd name="connsiteY127" fmla="*/ 760723 h 1408309"/>
                  <a:gd name="connsiteX128" fmla="*/ 1284220 w 1477099"/>
                  <a:gd name="connsiteY128" fmla="*/ 741716 h 1408309"/>
                  <a:gd name="connsiteX129" fmla="*/ 1298175 w 1477099"/>
                  <a:gd name="connsiteY129" fmla="*/ 709849 h 1408309"/>
                  <a:gd name="connsiteX130" fmla="*/ 1312624 w 1477099"/>
                  <a:gd name="connsiteY130" fmla="*/ 683387 h 1408309"/>
                  <a:gd name="connsiteX131" fmla="*/ 1316440 w 1477099"/>
                  <a:gd name="connsiteY131" fmla="*/ 653216 h 1408309"/>
                  <a:gd name="connsiteX132" fmla="*/ 1326403 w 1477099"/>
                  <a:gd name="connsiteY132" fmla="*/ 548005 h 1408309"/>
                  <a:gd name="connsiteX133" fmla="*/ 1327958 w 1477099"/>
                  <a:gd name="connsiteY133" fmla="*/ 498085 h 1408309"/>
                  <a:gd name="connsiteX134" fmla="*/ 1330713 w 1477099"/>
                  <a:gd name="connsiteY134" fmla="*/ 458622 h 1408309"/>
                  <a:gd name="connsiteX135" fmla="*/ 1332056 w 1477099"/>
                  <a:gd name="connsiteY135" fmla="*/ 446928 h 1408309"/>
                  <a:gd name="connsiteX136" fmla="*/ 1301178 w 1477099"/>
                  <a:gd name="connsiteY136" fmla="*/ 400293 h 1408309"/>
                  <a:gd name="connsiteX137" fmla="*/ 1292240 w 1477099"/>
                  <a:gd name="connsiteY137" fmla="*/ 405698 h 1408309"/>
                  <a:gd name="connsiteX138" fmla="*/ 1286481 w 1477099"/>
                  <a:gd name="connsiteY138" fmla="*/ 435340 h 1408309"/>
                  <a:gd name="connsiteX139" fmla="*/ 1285916 w 1477099"/>
                  <a:gd name="connsiteY139" fmla="*/ 442794 h 1408309"/>
                  <a:gd name="connsiteX140" fmla="*/ 1289731 w 1477099"/>
                  <a:gd name="connsiteY140" fmla="*/ 503349 h 1408309"/>
                  <a:gd name="connsiteX141" fmla="*/ 1288495 w 1477099"/>
                  <a:gd name="connsiteY141" fmla="*/ 575986 h 1408309"/>
                  <a:gd name="connsiteX142" fmla="*/ 1280051 w 1477099"/>
                  <a:gd name="connsiteY142" fmla="*/ 646291 h 1408309"/>
                  <a:gd name="connsiteX143" fmla="*/ 1253342 w 1477099"/>
                  <a:gd name="connsiteY143" fmla="*/ 731505 h 1408309"/>
                  <a:gd name="connsiteX144" fmla="*/ 1234653 w 1477099"/>
                  <a:gd name="connsiteY144" fmla="*/ 777822 h 1408309"/>
                  <a:gd name="connsiteX145" fmla="*/ 1220803 w 1477099"/>
                  <a:gd name="connsiteY145" fmla="*/ 781426 h 1408309"/>
                  <a:gd name="connsiteX146" fmla="*/ 1219108 w 1477099"/>
                  <a:gd name="connsiteY146" fmla="*/ 768036 h 1408309"/>
                  <a:gd name="connsiteX147" fmla="*/ 1224760 w 1477099"/>
                  <a:gd name="connsiteY147" fmla="*/ 759133 h 1408309"/>
                  <a:gd name="connsiteX148" fmla="*/ 1236843 w 1477099"/>
                  <a:gd name="connsiteY148" fmla="*/ 738677 h 1408309"/>
                  <a:gd name="connsiteX149" fmla="*/ 1247336 w 1477099"/>
                  <a:gd name="connsiteY149" fmla="*/ 673742 h 1408309"/>
                  <a:gd name="connsiteX150" fmla="*/ 1259348 w 1477099"/>
                  <a:gd name="connsiteY150" fmla="*/ 574502 h 1408309"/>
                  <a:gd name="connsiteX151" fmla="*/ 1258782 w 1477099"/>
                  <a:gd name="connsiteY151" fmla="*/ 557473 h 1408309"/>
                  <a:gd name="connsiteX152" fmla="*/ 1236737 w 1477099"/>
                  <a:gd name="connsiteY152" fmla="*/ 595311 h 1408309"/>
                  <a:gd name="connsiteX153" fmla="*/ 1229071 w 1477099"/>
                  <a:gd name="connsiteY153" fmla="*/ 601458 h 1408309"/>
                  <a:gd name="connsiteX154" fmla="*/ 1223524 w 1477099"/>
                  <a:gd name="connsiteY154" fmla="*/ 593262 h 1408309"/>
                  <a:gd name="connsiteX155" fmla="*/ 1224301 w 1477099"/>
                  <a:gd name="connsiteY155" fmla="*/ 573442 h 1408309"/>
                  <a:gd name="connsiteX156" fmla="*/ 1236772 w 1477099"/>
                  <a:gd name="connsiteY156" fmla="*/ 503455 h 1408309"/>
                  <a:gd name="connsiteX157" fmla="*/ 1238998 w 1477099"/>
                  <a:gd name="connsiteY157" fmla="*/ 494516 h 1408309"/>
                  <a:gd name="connsiteX158" fmla="*/ 1246276 w 1477099"/>
                  <a:gd name="connsiteY158" fmla="*/ 490913 h 1408309"/>
                  <a:gd name="connsiteX159" fmla="*/ 1257758 w 1477099"/>
                  <a:gd name="connsiteY159" fmla="*/ 483070 h 1408309"/>
                  <a:gd name="connsiteX160" fmla="*/ 1241012 w 1477099"/>
                  <a:gd name="connsiteY160" fmla="*/ 418841 h 1408309"/>
                  <a:gd name="connsiteX161" fmla="*/ 1169788 w 1477099"/>
                  <a:gd name="connsiteY161" fmla="*/ 329881 h 1408309"/>
                  <a:gd name="connsiteX162" fmla="*/ 1152936 w 1477099"/>
                  <a:gd name="connsiteY162" fmla="*/ 331401 h 1408309"/>
                  <a:gd name="connsiteX163" fmla="*/ 1154561 w 1477099"/>
                  <a:gd name="connsiteY163" fmla="*/ 358534 h 1408309"/>
                  <a:gd name="connsiteX164" fmla="*/ 1161132 w 1477099"/>
                  <a:gd name="connsiteY164" fmla="*/ 411351 h 1408309"/>
                  <a:gd name="connsiteX165" fmla="*/ 1138133 w 1477099"/>
                  <a:gd name="connsiteY165" fmla="*/ 375598 h 1408309"/>
                  <a:gd name="connsiteX166" fmla="*/ 1109340 w 1477099"/>
                  <a:gd name="connsiteY166" fmla="*/ 299004 h 1408309"/>
                  <a:gd name="connsiteX167" fmla="*/ 1109163 w 1477099"/>
                  <a:gd name="connsiteY167" fmla="*/ 273955 h 1408309"/>
                  <a:gd name="connsiteX168" fmla="*/ 1123895 w 1477099"/>
                  <a:gd name="connsiteY168" fmla="*/ 255195 h 1408309"/>
                  <a:gd name="connsiteX169" fmla="*/ 1145340 w 1477099"/>
                  <a:gd name="connsiteY169" fmla="*/ 208455 h 1408309"/>
                  <a:gd name="connsiteX170" fmla="*/ 1036102 w 1477099"/>
                  <a:gd name="connsiteY170" fmla="*/ 95365 h 1408309"/>
                  <a:gd name="connsiteX171" fmla="*/ 972756 w 1477099"/>
                  <a:gd name="connsiteY171" fmla="*/ 58057 h 1408309"/>
                  <a:gd name="connsiteX172" fmla="*/ 934071 w 1477099"/>
                  <a:gd name="connsiteY172" fmla="*/ 31137 h 1408309"/>
                  <a:gd name="connsiteX173" fmla="*/ 849068 w 1477099"/>
                  <a:gd name="connsiteY173" fmla="*/ 33892 h 1408309"/>
                  <a:gd name="connsiteX174" fmla="*/ 769577 w 1477099"/>
                  <a:gd name="connsiteY174" fmla="*/ 62156 h 1408309"/>
                  <a:gd name="connsiteX175" fmla="*/ 743045 w 1477099"/>
                  <a:gd name="connsiteY175" fmla="*/ 62862 h 1408309"/>
                  <a:gd name="connsiteX176" fmla="*/ 666769 w 1477099"/>
                  <a:gd name="connsiteY176" fmla="*/ 78019 h 1408309"/>
                  <a:gd name="connsiteX177" fmla="*/ 613704 w 1477099"/>
                  <a:gd name="connsiteY177" fmla="*/ 128257 h 1408309"/>
                  <a:gd name="connsiteX178" fmla="*/ 567635 w 1477099"/>
                  <a:gd name="connsiteY178" fmla="*/ 153729 h 1408309"/>
                  <a:gd name="connsiteX179" fmla="*/ 448858 w 1477099"/>
                  <a:gd name="connsiteY179" fmla="*/ 179661 h 1408309"/>
                  <a:gd name="connsiteX180" fmla="*/ 444053 w 1477099"/>
                  <a:gd name="connsiteY180" fmla="*/ 173267 h 1408309"/>
                  <a:gd name="connsiteX181" fmla="*/ 445430 w 1477099"/>
                  <a:gd name="connsiteY181" fmla="*/ 147547 h 1408309"/>
                  <a:gd name="connsiteX182" fmla="*/ 435856 w 1477099"/>
                  <a:gd name="connsiteY182" fmla="*/ 145144 h 1408309"/>
                  <a:gd name="connsiteX183" fmla="*/ 361665 w 1477099"/>
                  <a:gd name="connsiteY183" fmla="*/ 191567 h 1408309"/>
                  <a:gd name="connsiteX184" fmla="*/ 276380 w 1477099"/>
                  <a:gd name="connsiteY184" fmla="*/ 234245 h 1408309"/>
                  <a:gd name="connsiteX185" fmla="*/ 267512 w 1477099"/>
                  <a:gd name="connsiteY185" fmla="*/ 241841 h 1408309"/>
                  <a:gd name="connsiteX186" fmla="*/ 230345 w 1477099"/>
                  <a:gd name="connsiteY186" fmla="*/ 281092 h 1408309"/>
                  <a:gd name="connsiteX187" fmla="*/ 178729 w 1477099"/>
                  <a:gd name="connsiteY187" fmla="*/ 348783 h 1408309"/>
                  <a:gd name="connsiteX188" fmla="*/ 170604 w 1477099"/>
                  <a:gd name="connsiteY188" fmla="*/ 379449 h 1408309"/>
                  <a:gd name="connsiteX189" fmla="*/ 170074 w 1477099"/>
                  <a:gd name="connsiteY189" fmla="*/ 390507 h 1408309"/>
                  <a:gd name="connsiteX190" fmla="*/ 181238 w 1477099"/>
                  <a:gd name="connsiteY190" fmla="*/ 389553 h 1408309"/>
                  <a:gd name="connsiteX191" fmla="*/ 188445 w 1477099"/>
                  <a:gd name="connsiteY191" fmla="*/ 388281 h 1408309"/>
                  <a:gd name="connsiteX192" fmla="*/ 188657 w 1477099"/>
                  <a:gd name="connsiteY192" fmla="*/ 396866 h 1408309"/>
                  <a:gd name="connsiteX193" fmla="*/ 182086 w 1477099"/>
                  <a:gd name="connsiteY193" fmla="*/ 409938 h 1408309"/>
                  <a:gd name="connsiteX194" fmla="*/ 142481 w 1477099"/>
                  <a:gd name="connsiteY194" fmla="*/ 511722 h 1408309"/>
                  <a:gd name="connsiteX195" fmla="*/ 159863 w 1477099"/>
                  <a:gd name="connsiteY195" fmla="*/ 546344 h 1408309"/>
                  <a:gd name="connsiteX196" fmla="*/ 191307 w 1477099"/>
                  <a:gd name="connsiteY196" fmla="*/ 544295 h 1408309"/>
                  <a:gd name="connsiteX197" fmla="*/ 215048 w 1477099"/>
                  <a:gd name="connsiteY197" fmla="*/ 525924 h 1408309"/>
                  <a:gd name="connsiteX198" fmla="*/ 213953 w 1477099"/>
                  <a:gd name="connsiteY198" fmla="*/ 539773 h 1408309"/>
                  <a:gd name="connsiteX199" fmla="*/ 188092 w 1477099"/>
                  <a:gd name="connsiteY199" fmla="*/ 570722 h 1408309"/>
                  <a:gd name="connsiteX200" fmla="*/ 151561 w 1477099"/>
                  <a:gd name="connsiteY200" fmla="*/ 603048 h 1408309"/>
                  <a:gd name="connsiteX201" fmla="*/ 139655 w 1477099"/>
                  <a:gd name="connsiteY201" fmla="*/ 701864 h 1408309"/>
                  <a:gd name="connsiteX202" fmla="*/ 163326 w 1477099"/>
                  <a:gd name="connsiteY202" fmla="*/ 753162 h 1408309"/>
                  <a:gd name="connsiteX203" fmla="*/ 209183 w 1477099"/>
                  <a:gd name="connsiteY203" fmla="*/ 764962 h 1408309"/>
                  <a:gd name="connsiteX204" fmla="*/ 215578 w 1477099"/>
                  <a:gd name="connsiteY204" fmla="*/ 780825 h 1408309"/>
                  <a:gd name="connsiteX205" fmla="*/ 209784 w 1477099"/>
                  <a:gd name="connsiteY205" fmla="*/ 830922 h 1408309"/>
                  <a:gd name="connsiteX206" fmla="*/ 218828 w 1477099"/>
                  <a:gd name="connsiteY206" fmla="*/ 892395 h 1408309"/>
                  <a:gd name="connsiteX207" fmla="*/ 211020 w 1477099"/>
                  <a:gd name="connsiteY207" fmla="*/ 907481 h 1408309"/>
                  <a:gd name="connsiteX208" fmla="*/ 195864 w 1477099"/>
                  <a:gd name="connsiteY208" fmla="*/ 898755 h 1408309"/>
                  <a:gd name="connsiteX209" fmla="*/ 181344 w 1477099"/>
                  <a:gd name="connsiteY209" fmla="*/ 873424 h 1408309"/>
                  <a:gd name="connsiteX210" fmla="*/ 156472 w 1477099"/>
                  <a:gd name="connsiteY210" fmla="*/ 833219 h 1408309"/>
                  <a:gd name="connsiteX211" fmla="*/ 136228 w 1477099"/>
                  <a:gd name="connsiteY211" fmla="*/ 798914 h 1408309"/>
                  <a:gd name="connsiteX212" fmla="*/ 121178 w 1477099"/>
                  <a:gd name="connsiteY212" fmla="*/ 754434 h 1408309"/>
                  <a:gd name="connsiteX213" fmla="*/ 101287 w 1477099"/>
                  <a:gd name="connsiteY213" fmla="*/ 717021 h 1408309"/>
                  <a:gd name="connsiteX214" fmla="*/ 99203 w 1477099"/>
                  <a:gd name="connsiteY214" fmla="*/ 714653 h 1408309"/>
                  <a:gd name="connsiteX215" fmla="*/ 78959 w 1477099"/>
                  <a:gd name="connsiteY215" fmla="*/ 834455 h 1408309"/>
                  <a:gd name="connsiteX216" fmla="*/ 80372 w 1477099"/>
                  <a:gd name="connsiteY216" fmla="*/ 856960 h 1408309"/>
                  <a:gd name="connsiteX217" fmla="*/ 80902 w 1477099"/>
                  <a:gd name="connsiteY217" fmla="*/ 939101 h 1408309"/>
                  <a:gd name="connsiteX218" fmla="*/ 130187 w 1477099"/>
                  <a:gd name="connsiteY218" fmla="*/ 998631 h 1408309"/>
                  <a:gd name="connsiteX219" fmla="*/ 189611 w 1477099"/>
                  <a:gd name="connsiteY219" fmla="*/ 967894 h 1408309"/>
                  <a:gd name="connsiteX220" fmla="*/ 202753 w 1477099"/>
                  <a:gd name="connsiteY220" fmla="*/ 956765 h 1408309"/>
                  <a:gd name="connsiteX221" fmla="*/ 213493 w 1477099"/>
                  <a:gd name="connsiteY221" fmla="*/ 971356 h 1408309"/>
                  <a:gd name="connsiteX222" fmla="*/ 254617 w 1477099"/>
                  <a:gd name="connsiteY222" fmla="*/ 1012197 h 1408309"/>
                  <a:gd name="connsiteX223" fmla="*/ 295140 w 1477099"/>
                  <a:gd name="connsiteY223" fmla="*/ 1018026 h 1408309"/>
                  <a:gd name="connsiteX224" fmla="*/ 342869 w 1477099"/>
                  <a:gd name="connsiteY224" fmla="*/ 1031734 h 1408309"/>
                  <a:gd name="connsiteX225" fmla="*/ 347992 w 1477099"/>
                  <a:gd name="connsiteY225" fmla="*/ 1040319 h 1408309"/>
                  <a:gd name="connsiteX226" fmla="*/ 340043 w 1477099"/>
                  <a:gd name="connsiteY226" fmla="*/ 1046643 h 1408309"/>
                  <a:gd name="connsiteX227" fmla="*/ 297966 w 1477099"/>
                  <a:gd name="connsiteY227" fmla="*/ 1047915 h 1408309"/>
                  <a:gd name="connsiteX228" fmla="*/ 280972 w 1477099"/>
                  <a:gd name="connsiteY228" fmla="*/ 1048056 h 1408309"/>
                  <a:gd name="connsiteX229" fmla="*/ 182015 w 1477099"/>
                  <a:gd name="connsiteY229" fmla="*/ 1054098 h 1408309"/>
                  <a:gd name="connsiteX230" fmla="*/ 168060 w 1477099"/>
                  <a:gd name="connsiteY230" fmla="*/ 1057313 h 1408309"/>
                  <a:gd name="connsiteX231" fmla="*/ 169614 w 1477099"/>
                  <a:gd name="connsiteY231" fmla="*/ 1071727 h 1408309"/>
                  <a:gd name="connsiteX232" fmla="*/ 194168 w 1477099"/>
                  <a:gd name="connsiteY232" fmla="*/ 1128643 h 1408309"/>
                  <a:gd name="connsiteX233" fmla="*/ 204590 w 1477099"/>
                  <a:gd name="connsiteY233" fmla="*/ 1152843 h 1408309"/>
                  <a:gd name="connsiteX234" fmla="*/ 350995 w 1477099"/>
                  <a:gd name="connsiteY234" fmla="*/ 1194921 h 1408309"/>
                  <a:gd name="connsiteX235" fmla="*/ 389716 w 1477099"/>
                  <a:gd name="connsiteY235" fmla="*/ 1119598 h 1408309"/>
                  <a:gd name="connsiteX236" fmla="*/ 384134 w 1477099"/>
                  <a:gd name="connsiteY236" fmla="*/ 1091088 h 1408309"/>
                  <a:gd name="connsiteX237" fmla="*/ 388939 w 1477099"/>
                  <a:gd name="connsiteY237" fmla="*/ 1082467 h 1408309"/>
                  <a:gd name="connsiteX238" fmla="*/ 398760 w 1477099"/>
                  <a:gd name="connsiteY238" fmla="*/ 1084834 h 1408309"/>
                  <a:gd name="connsiteX239" fmla="*/ 407593 w 1477099"/>
                  <a:gd name="connsiteY239" fmla="*/ 1104901 h 1408309"/>
                  <a:gd name="connsiteX240" fmla="*/ 450518 w 1477099"/>
                  <a:gd name="connsiteY240" fmla="*/ 1151819 h 1408309"/>
                  <a:gd name="connsiteX241" fmla="*/ 480124 w 1477099"/>
                  <a:gd name="connsiteY241" fmla="*/ 1158284 h 1408309"/>
                  <a:gd name="connsiteX242" fmla="*/ 489521 w 1477099"/>
                  <a:gd name="connsiteY242" fmla="*/ 1169448 h 1408309"/>
                  <a:gd name="connsiteX243" fmla="*/ 479523 w 1477099"/>
                  <a:gd name="connsiteY243" fmla="*/ 1180612 h 1408309"/>
                  <a:gd name="connsiteX244" fmla="*/ 457124 w 1477099"/>
                  <a:gd name="connsiteY244" fmla="*/ 1182414 h 1408309"/>
                  <a:gd name="connsiteX245" fmla="*/ 443381 w 1477099"/>
                  <a:gd name="connsiteY245" fmla="*/ 1188809 h 1408309"/>
                  <a:gd name="connsiteX246" fmla="*/ 460410 w 1477099"/>
                  <a:gd name="connsiteY246" fmla="*/ 1236221 h 1408309"/>
                  <a:gd name="connsiteX247" fmla="*/ 509164 w 1477099"/>
                  <a:gd name="connsiteY247" fmla="*/ 1237634 h 1408309"/>
                  <a:gd name="connsiteX248" fmla="*/ 565762 w 1477099"/>
                  <a:gd name="connsiteY248" fmla="*/ 1241131 h 1408309"/>
                  <a:gd name="connsiteX249" fmla="*/ 622360 w 1477099"/>
                  <a:gd name="connsiteY249" fmla="*/ 1255157 h 1408309"/>
                  <a:gd name="connsiteX250" fmla="*/ 648963 w 1477099"/>
                  <a:gd name="connsiteY250" fmla="*/ 1255157 h 1408309"/>
                  <a:gd name="connsiteX251" fmla="*/ 676237 w 1477099"/>
                  <a:gd name="connsiteY251" fmla="*/ 1263777 h 1408309"/>
                  <a:gd name="connsiteX252" fmla="*/ 671538 w 1477099"/>
                  <a:gd name="connsiteY252" fmla="*/ 1290274 h 1408309"/>
                  <a:gd name="connsiteX253" fmla="*/ 658467 w 1477099"/>
                  <a:gd name="connsiteY253" fmla="*/ 1291758 h 1408309"/>
                  <a:gd name="connsiteX254" fmla="*/ 566045 w 1477099"/>
                  <a:gd name="connsiteY254" fmla="*/ 1269324 h 1408309"/>
                  <a:gd name="connsiteX255" fmla="*/ 554775 w 1477099"/>
                  <a:gd name="connsiteY255" fmla="*/ 1265579 h 1408309"/>
                  <a:gd name="connsiteX256" fmla="*/ 525381 w 1477099"/>
                  <a:gd name="connsiteY256" fmla="*/ 1257453 h 1408309"/>
                  <a:gd name="connsiteX257" fmla="*/ 508175 w 1477099"/>
                  <a:gd name="connsiteY257" fmla="*/ 1264307 h 1408309"/>
                  <a:gd name="connsiteX258" fmla="*/ 515100 w 1477099"/>
                  <a:gd name="connsiteY258" fmla="*/ 1278192 h 1408309"/>
                  <a:gd name="connsiteX259" fmla="*/ 587066 w 1477099"/>
                  <a:gd name="connsiteY259" fmla="*/ 1300237 h 1408309"/>
                  <a:gd name="connsiteX260" fmla="*/ 599325 w 1477099"/>
                  <a:gd name="connsiteY260" fmla="*/ 1302710 h 1408309"/>
                  <a:gd name="connsiteX261" fmla="*/ 593849 w 1477099"/>
                  <a:gd name="connsiteY261" fmla="*/ 1312638 h 1408309"/>
                  <a:gd name="connsiteX262" fmla="*/ 611337 w 1477099"/>
                  <a:gd name="connsiteY262" fmla="*/ 1319315 h 1408309"/>
                  <a:gd name="connsiteX263" fmla="*/ 677262 w 1477099"/>
                  <a:gd name="connsiteY263" fmla="*/ 1332069 h 1408309"/>
                  <a:gd name="connsiteX264" fmla="*/ 709800 w 1477099"/>
                  <a:gd name="connsiteY264" fmla="*/ 1300838 h 1408309"/>
                  <a:gd name="connsiteX265" fmla="*/ 715382 w 1477099"/>
                  <a:gd name="connsiteY265" fmla="*/ 1294302 h 1408309"/>
                  <a:gd name="connsiteX266" fmla="*/ 737074 w 1477099"/>
                  <a:gd name="connsiteY266" fmla="*/ 1295963 h 1408309"/>
                  <a:gd name="connsiteX267" fmla="*/ 783250 w 1477099"/>
                  <a:gd name="connsiteY267" fmla="*/ 1293207 h 1408309"/>
                  <a:gd name="connsiteX268" fmla="*/ 804765 w 1477099"/>
                  <a:gd name="connsiteY268" fmla="*/ 1259997 h 1408309"/>
                  <a:gd name="connsiteX269" fmla="*/ 804695 w 1477099"/>
                  <a:gd name="connsiteY269" fmla="*/ 1260068 h 1408309"/>
                  <a:gd name="connsiteX270" fmla="*/ 493196 w 1477099"/>
                  <a:gd name="connsiteY270" fmla="*/ 138997 h 1408309"/>
                  <a:gd name="connsiteX271" fmla="*/ 514323 w 1477099"/>
                  <a:gd name="connsiteY271" fmla="*/ 137831 h 1408309"/>
                  <a:gd name="connsiteX272" fmla="*/ 600456 w 1477099"/>
                  <a:gd name="connsiteY272" fmla="*/ 100912 h 1408309"/>
                  <a:gd name="connsiteX273" fmla="*/ 659809 w 1477099"/>
                  <a:gd name="connsiteY273" fmla="*/ 48589 h 1408309"/>
                  <a:gd name="connsiteX274" fmla="*/ 654580 w 1477099"/>
                  <a:gd name="connsiteY274" fmla="*/ 34669 h 1408309"/>
                  <a:gd name="connsiteX275" fmla="*/ 578092 w 1477099"/>
                  <a:gd name="connsiteY275" fmla="*/ 32408 h 1408309"/>
                  <a:gd name="connsiteX276" fmla="*/ 450730 w 1477099"/>
                  <a:gd name="connsiteY276" fmla="*/ 114478 h 1408309"/>
                  <a:gd name="connsiteX277" fmla="*/ 454263 w 1477099"/>
                  <a:gd name="connsiteY277" fmla="*/ 128363 h 1408309"/>
                  <a:gd name="connsiteX278" fmla="*/ 493231 w 1477099"/>
                  <a:gd name="connsiteY278" fmla="*/ 138962 h 1408309"/>
                  <a:gd name="connsiteX279" fmla="*/ 852283 w 1477099"/>
                  <a:gd name="connsiteY279" fmla="*/ 1361110 h 1408309"/>
                  <a:gd name="connsiteX280" fmla="*/ 904500 w 1477099"/>
                  <a:gd name="connsiteY280" fmla="*/ 1352348 h 1408309"/>
                  <a:gd name="connsiteX281" fmla="*/ 1026704 w 1477099"/>
                  <a:gd name="connsiteY281" fmla="*/ 1298082 h 1408309"/>
                  <a:gd name="connsiteX282" fmla="*/ 1045782 w 1477099"/>
                  <a:gd name="connsiteY282" fmla="*/ 1283915 h 1408309"/>
                  <a:gd name="connsiteX283" fmla="*/ 1050658 w 1477099"/>
                  <a:gd name="connsiteY283" fmla="*/ 1262435 h 1408309"/>
                  <a:gd name="connsiteX284" fmla="*/ 1029849 w 1477099"/>
                  <a:gd name="connsiteY284" fmla="*/ 1255404 h 1408309"/>
                  <a:gd name="connsiteX285" fmla="*/ 1012749 w 1477099"/>
                  <a:gd name="connsiteY285" fmla="*/ 1257171 h 1408309"/>
                  <a:gd name="connsiteX286" fmla="*/ 953467 w 1477099"/>
                  <a:gd name="connsiteY286" fmla="*/ 1283209 h 1408309"/>
                  <a:gd name="connsiteX287" fmla="*/ 910011 w 1477099"/>
                  <a:gd name="connsiteY287" fmla="*/ 1310660 h 1408309"/>
                  <a:gd name="connsiteX288" fmla="*/ 822041 w 1477099"/>
                  <a:gd name="connsiteY288" fmla="*/ 1320870 h 1408309"/>
                  <a:gd name="connsiteX289" fmla="*/ 802257 w 1477099"/>
                  <a:gd name="connsiteY289" fmla="*/ 1335531 h 1408309"/>
                  <a:gd name="connsiteX290" fmla="*/ 816389 w 1477099"/>
                  <a:gd name="connsiteY290" fmla="*/ 1355068 h 1408309"/>
                  <a:gd name="connsiteX291" fmla="*/ 852283 w 1477099"/>
                  <a:gd name="connsiteY291" fmla="*/ 1361110 h 1408309"/>
                  <a:gd name="connsiteX292" fmla="*/ 1432038 w 1477099"/>
                  <a:gd name="connsiteY292" fmla="*/ 740197 h 1408309"/>
                  <a:gd name="connsiteX293" fmla="*/ 1427975 w 1477099"/>
                  <a:gd name="connsiteY293" fmla="*/ 762030 h 1408309"/>
                  <a:gd name="connsiteX294" fmla="*/ 1428222 w 1477099"/>
                  <a:gd name="connsiteY294" fmla="*/ 796088 h 1408309"/>
                  <a:gd name="connsiteX295" fmla="*/ 1398192 w 1477099"/>
                  <a:gd name="connsiteY295" fmla="*/ 936486 h 1408309"/>
                  <a:gd name="connsiteX296" fmla="*/ 1372190 w 1477099"/>
                  <a:gd name="connsiteY296" fmla="*/ 1003118 h 1408309"/>
                  <a:gd name="connsiteX297" fmla="*/ 1307926 w 1477099"/>
                  <a:gd name="connsiteY297" fmla="*/ 1080383 h 1408309"/>
                  <a:gd name="connsiteX298" fmla="*/ 1281429 w 1477099"/>
                  <a:gd name="connsiteY298" fmla="*/ 1131999 h 1408309"/>
                  <a:gd name="connsiteX299" fmla="*/ 1273974 w 1477099"/>
                  <a:gd name="connsiteY299" fmla="*/ 1159839 h 1408309"/>
                  <a:gd name="connsiteX300" fmla="*/ 1192293 w 1477099"/>
                  <a:gd name="connsiteY300" fmla="*/ 1248974 h 1408309"/>
                  <a:gd name="connsiteX301" fmla="*/ 1169788 w 1477099"/>
                  <a:gd name="connsiteY301" fmla="*/ 1260174 h 1408309"/>
                  <a:gd name="connsiteX302" fmla="*/ 1147566 w 1477099"/>
                  <a:gd name="connsiteY302" fmla="*/ 1252543 h 1408309"/>
                  <a:gd name="connsiteX303" fmla="*/ 1134529 w 1477099"/>
                  <a:gd name="connsiteY303" fmla="*/ 1247279 h 1408309"/>
                  <a:gd name="connsiteX304" fmla="*/ 1096162 w 1477099"/>
                  <a:gd name="connsiteY304" fmla="*/ 1284728 h 1408309"/>
                  <a:gd name="connsiteX305" fmla="*/ 1125909 w 1477099"/>
                  <a:gd name="connsiteY305" fmla="*/ 1263106 h 1408309"/>
                  <a:gd name="connsiteX306" fmla="*/ 1140429 w 1477099"/>
                  <a:gd name="connsiteY306" fmla="*/ 1262965 h 1408309"/>
                  <a:gd name="connsiteX307" fmla="*/ 1191904 w 1477099"/>
                  <a:gd name="connsiteY307" fmla="*/ 1265579 h 1408309"/>
                  <a:gd name="connsiteX308" fmla="*/ 1205683 w 1477099"/>
                  <a:gd name="connsiteY308" fmla="*/ 1246219 h 1408309"/>
                  <a:gd name="connsiteX309" fmla="*/ 1259984 w 1477099"/>
                  <a:gd name="connsiteY309" fmla="*/ 1200079 h 1408309"/>
                  <a:gd name="connsiteX310" fmla="*/ 1280051 w 1477099"/>
                  <a:gd name="connsiteY310" fmla="*/ 1181778 h 1408309"/>
                  <a:gd name="connsiteX311" fmla="*/ 1305665 w 1477099"/>
                  <a:gd name="connsiteY311" fmla="*/ 1116489 h 1408309"/>
                  <a:gd name="connsiteX312" fmla="*/ 1324778 w 1477099"/>
                  <a:gd name="connsiteY312" fmla="*/ 1085576 h 1408309"/>
                  <a:gd name="connsiteX313" fmla="*/ 1340040 w 1477099"/>
                  <a:gd name="connsiteY313" fmla="*/ 1070809 h 1408309"/>
                  <a:gd name="connsiteX314" fmla="*/ 1373603 w 1477099"/>
                  <a:gd name="connsiteY314" fmla="*/ 1025198 h 1408309"/>
                  <a:gd name="connsiteX315" fmla="*/ 1399676 w 1477099"/>
                  <a:gd name="connsiteY315" fmla="*/ 965880 h 1408309"/>
                  <a:gd name="connsiteX316" fmla="*/ 1422605 w 1477099"/>
                  <a:gd name="connsiteY316" fmla="*/ 916773 h 1408309"/>
                  <a:gd name="connsiteX317" fmla="*/ 1432038 w 1477099"/>
                  <a:gd name="connsiteY317" fmla="*/ 740126 h 1408309"/>
                  <a:gd name="connsiteX318" fmla="*/ 34162 w 1477099"/>
                  <a:gd name="connsiteY318" fmla="*/ 800716 h 1408309"/>
                  <a:gd name="connsiteX319" fmla="*/ 45008 w 1477099"/>
                  <a:gd name="connsiteY319" fmla="*/ 751184 h 1408309"/>
                  <a:gd name="connsiteX320" fmla="*/ 66771 w 1477099"/>
                  <a:gd name="connsiteY320" fmla="*/ 698508 h 1408309"/>
                  <a:gd name="connsiteX321" fmla="*/ 64580 w 1477099"/>
                  <a:gd name="connsiteY321" fmla="*/ 649153 h 1408309"/>
                  <a:gd name="connsiteX322" fmla="*/ 67901 w 1477099"/>
                  <a:gd name="connsiteY322" fmla="*/ 632053 h 1408309"/>
                  <a:gd name="connsiteX323" fmla="*/ 90229 w 1477099"/>
                  <a:gd name="connsiteY323" fmla="*/ 609796 h 1408309"/>
                  <a:gd name="connsiteX324" fmla="*/ 120507 w 1477099"/>
                  <a:gd name="connsiteY324" fmla="*/ 525394 h 1408309"/>
                  <a:gd name="connsiteX325" fmla="*/ 120400 w 1477099"/>
                  <a:gd name="connsiteY325" fmla="*/ 480208 h 1408309"/>
                  <a:gd name="connsiteX326" fmla="*/ 84153 w 1477099"/>
                  <a:gd name="connsiteY326" fmla="*/ 538961 h 1408309"/>
                  <a:gd name="connsiteX327" fmla="*/ 62990 w 1477099"/>
                  <a:gd name="connsiteY327" fmla="*/ 588316 h 1408309"/>
                  <a:gd name="connsiteX328" fmla="*/ 36175 w 1477099"/>
                  <a:gd name="connsiteY328" fmla="*/ 672046 h 1408309"/>
                  <a:gd name="connsiteX329" fmla="*/ 27378 w 1477099"/>
                  <a:gd name="connsiteY329" fmla="*/ 710379 h 1408309"/>
                  <a:gd name="connsiteX330" fmla="*/ 30063 w 1477099"/>
                  <a:gd name="connsiteY330" fmla="*/ 792625 h 1408309"/>
                  <a:gd name="connsiteX331" fmla="*/ 34162 w 1477099"/>
                  <a:gd name="connsiteY331" fmla="*/ 800716 h 1408309"/>
                  <a:gd name="connsiteX332" fmla="*/ 1246841 w 1477099"/>
                  <a:gd name="connsiteY332" fmla="*/ 256644 h 1408309"/>
                  <a:gd name="connsiteX333" fmla="*/ 1230837 w 1477099"/>
                  <a:gd name="connsiteY333" fmla="*/ 243713 h 1408309"/>
                  <a:gd name="connsiteX334" fmla="*/ 1169364 w 1477099"/>
                  <a:gd name="connsiteY334" fmla="*/ 222657 h 1408309"/>
                  <a:gd name="connsiteX335" fmla="*/ 1151063 w 1477099"/>
                  <a:gd name="connsiteY335" fmla="*/ 237601 h 1408309"/>
                  <a:gd name="connsiteX336" fmla="*/ 1162863 w 1477099"/>
                  <a:gd name="connsiteY336" fmla="*/ 257951 h 1408309"/>
                  <a:gd name="connsiteX337" fmla="*/ 1214409 w 1477099"/>
                  <a:gd name="connsiteY337" fmla="*/ 299322 h 1408309"/>
                  <a:gd name="connsiteX338" fmla="*/ 1252883 w 1477099"/>
                  <a:gd name="connsiteY338" fmla="*/ 329493 h 1408309"/>
                  <a:gd name="connsiteX339" fmla="*/ 1276341 w 1477099"/>
                  <a:gd name="connsiteY339" fmla="*/ 318717 h 1408309"/>
                  <a:gd name="connsiteX340" fmla="*/ 1278602 w 1477099"/>
                  <a:gd name="connsiteY340" fmla="*/ 310592 h 1408309"/>
                  <a:gd name="connsiteX341" fmla="*/ 1290650 w 1477099"/>
                  <a:gd name="connsiteY341" fmla="*/ 316174 h 1408309"/>
                  <a:gd name="connsiteX342" fmla="*/ 1286657 w 1477099"/>
                  <a:gd name="connsiteY342" fmla="*/ 300099 h 1408309"/>
                  <a:gd name="connsiteX343" fmla="*/ 1244086 w 1477099"/>
                  <a:gd name="connsiteY343" fmla="*/ 270917 h 1408309"/>
                  <a:gd name="connsiteX344" fmla="*/ 1234370 w 1477099"/>
                  <a:gd name="connsiteY344" fmla="*/ 263957 h 1408309"/>
                  <a:gd name="connsiteX345" fmla="*/ 1246841 w 1477099"/>
                  <a:gd name="connsiteY345" fmla="*/ 256714 h 1408309"/>
                  <a:gd name="connsiteX346" fmla="*/ 1249738 w 1477099"/>
                  <a:gd name="connsiteY346" fmla="*/ 886884 h 1408309"/>
                  <a:gd name="connsiteX347" fmla="*/ 1249738 w 1477099"/>
                  <a:gd name="connsiteY347" fmla="*/ 882892 h 1408309"/>
                  <a:gd name="connsiteX348" fmla="*/ 1237832 w 1477099"/>
                  <a:gd name="connsiteY348" fmla="*/ 858161 h 1408309"/>
                  <a:gd name="connsiteX349" fmla="*/ 1215928 w 1477099"/>
                  <a:gd name="connsiteY349" fmla="*/ 873812 h 1408309"/>
                  <a:gd name="connsiteX350" fmla="*/ 1199429 w 1477099"/>
                  <a:gd name="connsiteY350" fmla="*/ 900980 h 1408309"/>
                  <a:gd name="connsiteX351" fmla="*/ 1178868 w 1477099"/>
                  <a:gd name="connsiteY351" fmla="*/ 930692 h 1408309"/>
                  <a:gd name="connsiteX352" fmla="*/ 1196356 w 1477099"/>
                  <a:gd name="connsiteY352" fmla="*/ 964679 h 1408309"/>
                  <a:gd name="connsiteX353" fmla="*/ 1228470 w 1477099"/>
                  <a:gd name="connsiteY353" fmla="*/ 963973 h 1408309"/>
                  <a:gd name="connsiteX354" fmla="*/ 1249738 w 1477099"/>
                  <a:gd name="connsiteY354" fmla="*/ 886919 h 1408309"/>
                  <a:gd name="connsiteX355" fmla="*/ 1290367 w 1477099"/>
                  <a:gd name="connsiteY355" fmla="*/ 1190363 h 1408309"/>
                  <a:gd name="connsiteX356" fmla="*/ 1342902 w 1477099"/>
                  <a:gd name="connsiteY356" fmla="*/ 1179411 h 1408309"/>
                  <a:gd name="connsiteX357" fmla="*/ 1374098 w 1477099"/>
                  <a:gd name="connsiteY357" fmla="*/ 1147862 h 1408309"/>
                  <a:gd name="connsiteX358" fmla="*/ 1371801 w 1477099"/>
                  <a:gd name="connsiteY358" fmla="*/ 1054698 h 1408309"/>
                  <a:gd name="connsiteX359" fmla="*/ 1354772 w 1477099"/>
                  <a:gd name="connsiteY359" fmla="*/ 1114228 h 1408309"/>
                  <a:gd name="connsiteX360" fmla="*/ 1302944 w 1477099"/>
                  <a:gd name="connsiteY360" fmla="*/ 1177221 h 1408309"/>
                  <a:gd name="connsiteX361" fmla="*/ 1290367 w 1477099"/>
                  <a:gd name="connsiteY361" fmla="*/ 1190398 h 1408309"/>
                  <a:gd name="connsiteX362" fmla="*/ 1291568 w 1477099"/>
                  <a:gd name="connsiteY362" fmla="*/ 286815 h 1408309"/>
                  <a:gd name="connsiteX363" fmla="*/ 1258252 w 1477099"/>
                  <a:gd name="connsiteY363" fmla="*/ 207925 h 1408309"/>
                  <a:gd name="connsiteX364" fmla="*/ 1184096 w 1477099"/>
                  <a:gd name="connsiteY364" fmla="*/ 168638 h 1408309"/>
                  <a:gd name="connsiteX365" fmla="*/ 1173003 w 1477099"/>
                  <a:gd name="connsiteY365" fmla="*/ 169204 h 1408309"/>
                  <a:gd name="connsiteX366" fmla="*/ 1177454 w 1477099"/>
                  <a:gd name="connsiteY366" fmla="*/ 184289 h 1408309"/>
                  <a:gd name="connsiteX367" fmla="*/ 1209039 w 1477099"/>
                  <a:gd name="connsiteY367" fmla="*/ 197326 h 1408309"/>
                  <a:gd name="connsiteX368" fmla="*/ 1258889 w 1477099"/>
                  <a:gd name="connsiteY368" fmla="*/ 252475 h 1408309"/>
                  <a:gd name="connsiteX369" fmla="*/ 1276341 w 1477099"/>
                  <a:gd name="connsiteY369" fmla="*/ 277099 h 1408309"/>
                  <a:gd name="connsiteX370" fmla="*/ 1291604 w 1477099"/>
                  <a:gd name="connsiteY370" fmla="*/ 286780 h 1408309"/>
                  <a:gd name="connsiteX371" fmla="*/ 1372720 w 1477099"/>
                  <a:gd name="connsiteY371" fmla="*/ 698261 h 1408309"/>
                  <a:gd name="connsiteX372" fmla="*/ 1408614 w 1477099"/>
                  <a:gd name="connsiteY372" fmla="*/ 667241 h 1408309"/>
                  <a:gd name="connsiteX373" fmla="*/ 1392257 w 1477099"/>
                  <a:gd name="connsiteY373" fmla="*/ 629651 h 1408309"/>
                  <a:gd name="connsiteX374" fmla="*/ 1385862 w 1477099"/>
                  <a:gd name="connsiteY374" fmla="*/ 628732 h 1408309"/>
                  <a:gd name="connsiteX375" fmla="*/ 1357069 w 1477099"/>
                  <a:gd name="connsiteY375" fmla="*/ 645302 h 1408309"/>
                  <a:gd name="connsiteX376" fmla="*/ 1355762 w 1477099"/>
                  <a:gd name="connsiteY376" fmla="*/ 681514 h 1408309"/>
                  <a:gd name="connsiteX377" fmla="*/ 1372720 w 1477099"/>
                  <a:gd name="connsiteY377" fmla="*/ 698225 h 1408309"/>
                  <a:gd name="connsiteX378" fmla="*/ 67548 w 1477099"/>
                  <a:gd name="connsiteY378" fmla="*/ 445373 h 1408309"/>
                  <a:gd name="connsiteX379" fmla="*/ 67583 w 1477099"/>
                  <a:gd name="connsiteY379" fmla="*/ 457632 h 1408309"/>
                  <a:gd name="connsiteX380" fmla="*/ 81397 w 1477099"/>
                  <a:gd name="connsiteY380" fmla="*/ 463391 h 1408309"/>
                  <a:gd name="connsiteX381" fmla="*/ 101358 w 1477099"/>
                  <a:gd name="connsiteY381" fmla="*/ 438979 h 1408309"/>
                  <a:gd name="connsiteX382" fmla="*/ 127219 w 1477099"/>
                  <a:gd name="connsiteY382" fmla="*/ 388387 h 1408309"/>
                  <a:gd name="connsiteX383" fmla="*/ 126548 w 1477099"/>
                  <a:gd name="connsiteY383" fmla="*/ 379731 h 1408309"/>
                  <a:gd name="connsiteX384" fmla="*/ 120365 w 1477099"/>
                  <a:gd name="connsiteY384" fmla="*/ 380085 h 1408309"/>
                  <a:gd name="connsiteX385" fmla="*/ 67548 w 1477099"/>
                  <a:gd name="connsiteY385" fmla="*/ 445373 h 1408309"/>
                  <a:gd name="connsiteX386" fmla="*/ 1342054 w 1477099"/>
                  <a:gd name="connsiteY386" fmla="*/ 364010 h 1408309"/>
                  <a:gd name="connsiteX387" fmla="*/ 1345693 w 1477099"/>
                  <a:gd name="connsiteY387" fmla="*/ 376304 h 1408309"/>
                  <a:gd name="connsiteX388" fmla="*/ 1387417 w 1477099"/>
                  <a:gd name="connsiteY388" fmla="*/ 445550 h 1408309"/>
                  <a:gd name="connsiteX389" fmla="*/ 1406777 w 1477099"/>
                  <a:gd name="connsiteY389" fmla="*/ 553764 h 1408309"/>
                  <a:gd name="connsiteX390" fmla="*/ 1406565 w 1477099"/>
                  <a:gd name="connsiteY390" fmla="*/ 579095 h 1408309"/>
                  <a:gd name="connsiteX391" fmla="*/ 1417234 w 1477099"/>
                  <a:gd name="connsiteY391" fmla="*/ 483988 h 1408309"/>
                  <a:gd name="connsiteX392" fmla="*/ 1342054 w 1477099"/>
                  <a:gd name="connsiteY392" fmla="*/ 364010 h 1408309"/>
                  <a:gd name="connsiteX393" fmla="*/ 366611 w 1477099"/>
                  <a:gd name="connsiteY393" fmla="*/ 147441 h 1408309"/>
                  <a:gd name="connsiteX394" fmla="*/ 277899 w 1477099"/>
                  <a:gd name="connsiteY394" fmla="*/ 211034 h 1408309"/>
                  <a:gd name="connsiteX395" fmla="*/ 311709 w 1477099"/>
                  <a:gd name="connsiteY395" fmla="*/ 196443 h 1408309"/>
                  <a:gd name="connsiteX396" fmla="*/ 352126 w 1477099"/>
                  <a:gd name="connsiteY396" fmla="*/ 165035 h 1408309"/>
                  <a:gd name="connsiteX397" fmla="*/ 366611 w 1477099"/>
                  <a:gd name="connsiteY397" fmla="*/ 147441 h 1408309"/>
                  <a:gd name="connsiteX398" fmla="*/ 1430624 w 1477099"/>
                  <a:gd name="connsiteY398" fmla="*/ 678512 h 1408309"/>
                  <a:gd name="connsiteX399" fmla="*/ 1442000 w 1477099"/>
                  <a:gd name="connsiteY399" fmla="*/ 592061 h 1408309"/>
                  <a:gd name="connsiteX400" fmla="*/ 1430872 w 1477099"/>
                  <a:gd name="connsiteY400" fmla="*/ 590365 h 1408309"/>
                  <a:gd name="connsiteX401" fmla="*/ 1407484 w 1477099"/>
                  <a:gd name="connsiteY401" fmla="*/ 591389 h 1408309"/>
                  <a:gd name="connsiteX402" fmla="*/ 1415433 w 1477099"/>
                  <a:gd name="connsiteY402" fmla="*/ 602977 h 1408309"/>
                  <a:gd name="connsiteX403" fmla="*/ 1429706 w 1477099"/>
                  <a:gd name="connsiteY403" fmla="*/ 611668 h 1408309"/>
                  <a:gd name="connsiteX404" fmla="*/ 1431437 w 1477099"/>
                  <a:gd name="connsiteY404" fmla="*/ 663179 h 1408309"/>
                  <a:gd name="connsiteX405" fmla="*/ 1430660 w 1477099"/>
                  <a:gd name="connsiteY405" fmla="*/ 678476 h 1408309"/>
                  <a:gd name="connsiteX406" fmla="*/ 766751 w 1477099"/>
                  <a:gd name="connsiteY406" fmla="*/ 1349592 h 1408309"/>
                  <a:gd name="connsiteX407" fmla="*/ 855533 w 1477099"/>
                  <a:gd name="connsiteY407" fmla="*/ 1380364 h 1408309"/>
                  <a:gd name="connsiteX408" fmla="*/ 787878 w 1477099"/>
                  <a:gd name="connsiteY408" fmla="*/ 1352984 h 1408309"/>
                  <a:gd name="connsiteX409" fmla="*/ 766786 w 1477099"/>
                  <a:gd name="connsiteY409" fmla="*/ 1349557 h 1408309"/>
                  <a:gd name="connsiteX410" fmla="*/ 1325308 w 1477099"/>
                  <a:gd name="connsiteY410" fmla="*/ 365882 h 1408309"/>
                  <a:gd name="connsiteX411" fmla="*/ 1306901 w 1477099"/>
                  <a:gd name="connsiteY411" fmla="*/ 334863 h 1408309"/>
                  <a:gd name="connsiteX412" fmla="*/ 1325308 w 1477099"/>
                  <a:gd name="connsiteY412" fmla="*/ 365882 h 140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Lst>
                <a:rect l="l" t="t" r="r" b="b"/>
                <a:pathLst>
                  <a:path w="1477099" h="1408309">
                    <a:moveTo>
                      <a:pt x="1449985" y="526913"/>
                    </a:moveTo>
                    <a:cubicBezTo>
                      <a:pt x="1445109" y="543730"/>
                      <a:pt x="1450974" y="559911"/>
                      <a:pt x="1463163" y="578388"/>
                    </a:cubicBezTo>
                    <a:cubicBezTo>
                      <a:pt x="1484466" y="610714"/>
                      <a:pt x="1478778" y="646998"/>
                      <a:pt x="1463269" y="681373"/>
                    </a:cubicBezTo>
                    <a:cubicBezTo>
                      <a:pt x="1460195" y="688192"/>
                      <a:pt x="1456733" y="694410"/>
                      <a:pt x="1457510" y="702641"/>
                    </a:cubicBezTo>
                    <a:cubicBezTo>
                      <a:pt x="1459665" y="725570"/>
                      <a:pt x="1461220" y="748570"/>
                      <a:pt x="1462385" y="771569"/>
                    </a:cubicBezTo>
                    <a:cubicBezTo>
                      <a:pt x="1465035" y="823221"/>
                      <a:pt x="1460372" y="874307"/>
                      <a:pt x="1448748" y="924686"/>
                    </a:cubicBezTo>
                    <a:cubicBezTo>
                      <a:pt x="1443802" y="946131"/>
                      <a:pt x="1432815" y="965209"/>
                      <a:pt x="1420732" y="983156"/>
                    </a:cubicBezTo>
                    <a:cubicBezTo>
                      <a:pt x="1401407" y="1011879"/>
                      <a:pt x="1398016" y="1042616"/>
                      <a:pt x="1403173" y="1075896"/>
                    </a:cubicBezTo>
                    <a:cubicBezTo>
                      <a:pt x="1407236" y="1102181"/>
                      <a:pt x="1408508" y="1128643"/>
                      <a:pt x="1400064" y="1154786"/>
                    </a:cubicBezTo>
                    <a:cubicBezTo>
                      <a:pt x="1392292" y="1178881"/>
                      <a:pt x="1377489" y="1195804"/>
                      <a:pt x="1353395" y="1203647"/>
                    </a:cubicBezTo>
                    <a:cubicBezTo>
                      <a:pt x="1332338" y="1210501"/>
                      <a:pt x="1310999" y="1216754"/>
                      <a:pt x="1288636" y="1217284"/>
                    </a:cubicBezTo>
                    <a:cubicBezTo>
                      <a:pt x="1280263" y="1217461"/>
                      <a:pt x="1274398" y="1220570"/>
                      <a:pt x="1269629" y="1227247"/>
                    </a:cubicBezTo>
                    <a:cubicBezTo>
                      <a:pt x="1261256" y="1238941"/>
                      <a:pt x="1250833" y="1248515"/>
                      <a:pt x="1238150" y="1255404"/>
                    </a:cubicBezTo>
                    <a:cubicBezTo>
                      <a:pt x="1228011" y="1260880"/>
                      <a:pt x="1221404" y="1269925"/>
                      <a:pt x="1215328" y="1279040"/>
                    </a:cubicBezTo>
                    <a:cubicBezTo>
                      <a:pt x="1200913" y="1300661"/>
                      <a:pt x="1180175" y="1308999"/>
                      <a:pt x="1156540" y="1301827"/>
                    </a:cubicBezTo>
                    <a:cubicBezTo>
                      <a:pt x="1135307" y="1295362"/>
                      <a:pt x="1120150" y="1301827"/>
                      <a:pt x="1104181" y="1313910"/>
                    </a:cubicBezTo>
                    <a:cubicBezTo>
                      <a:pt x="1068039" y="1341184"/>
                      <a:pt x="1030908" y="1366904"/>
                      <a:pt x="986641" y="1380082"/>
                    </a:cubicBezTo>
                    <a:cubicBezTo>
                      <a:pt x="950463" y="1390857"/>
                      <a:pt x="913332" y="1396828"/>
                      <a:pt x="876484" y="1404282"/>
                    </a:cubicBezTo>
                    <a:cubicBezTo>
                      <a:pt x="836067" y="1412479"/>
                      <a:pt x="798053" y="1409334"/>
                      <a:pt x="763889" y="1383897"/>
                    </a:cubicBezTo>
                    <a:cubicBezTo>
                      <a:pt x="760851" y="1381636"/>
                      <a:pt x="757742" y="1379304"/>
                      <a:pt x="753184" y="1382413"/>
                    </a:cubicBezTo>
                    <a:cubicBezTo>
                      <a:pt x="733011" y="1396227"/>
                      <a:pt x="709906" y="1399054"/>
                      <a:pt x="686165" y="1400431"/>
                    </a:cubicBezTo>
                    <a:cubicBezTo>
                      <a:pt x="636633" y="1403293"/>
                      <a:pt x="587773" y="1400961"/>
                      <a:pt x="540325" y="1385028"/>
                    </a:cubicBezTo>
                    <a:cubicBezTo>
                      <a:pt x="517679" y="1377432"/>
                      <a:pt x="496976" y="1366515"/>
                      <a:pt x="483940" y="1345247"/>
                    </a:cubicBezTo>
                    <a:cubicBezTo>
                      <a:pt x="481113" y="1340619"/>
                      <a:pt x="477439" y="1340124"/>
                      <a:pt x="472811" y="1340124"/>
                    </a:cubicBezTo>
                    <a:cubicBezTo>
                      <a:pt x="449105" y="1340124"/>
                      <a:pt x="429744" y="1331009"/>
                      <a:pt x="415683" y="1311684"/>
                    </a:cubicBezTo>
                    <a:cubicBezTo>
                      <a:pt x="411797" y="1306314"/>
                      <a:pt x="407381" y="1303205"/>
                      <a:pt x="400668" y="1302145"/>
                    </a:cubicBezTo>
                    <a:cubicBezTo>
                      <a:pt x="387526" y="1300061"/>
                      <a:pt x="376326" y="1293913"/>
                      <a:pt x="368059" y="1283350"/>
                    </a:cubicBezTo>
                    <a:cubicBezTo>
                      <a:pt x="356895" y="1269112"/>
                      <a:pt x="342516" y="1261764"/>
                      <a:pt x="324710" y="1257913"/>
                    </a:cubicBezTo>
                    <a:cubicBezTo>
                      <a:pt x="278252" y="1247844"/>
                      <a:pt x="237588" y="1226010"/>
                      <a:pt x="203177" y="1193013"/>
                    </a:cubicBezTo>
                    <a:cubicBezTo>
                      <a:pt x="188586" y="1179022"/>
                      <a:pt x="177316" y="1162594"/>
                      <a:pt x="168978" y="1144294"/>
                    </a:cubicBezTo>
                    <a:cubicBezTo>
                      <a:pt x="166576" y="1139065"/>
                      <a:pt x="164279" y="1136133"/>
                      <a:pt x="158132" y="1134613"/>
                    </a:cubicBezTo>
                    <a:cubicBezTo>
                      <a:pt x="123616" y="1126099"/>
                      <a:pt x="90689" y="1098153"/>
                      <a:pt x="97931" y="1047915"/>
                    </a:cubicBezTo>
                    <a:cubicBezTo>
                      <a:pt x="98178" y="1046149"/>
                      <a:pt x="97931" y="1044312"/>
                      <a:pt x="98284" y="1042616"/>
                    </a:cubicBezTo>
                    <a:cubicBezTo>
                      <a:pt x="102206" y="1024527"/>
                      <a:pt x="96235" y="1011950"/>
                      <a:pt x="81467" y="999655"/>
                    </a:cubicBezTo>
                    <a:cubicBezTo>
                      <a:pt x="52533" y="975525"/>
                      <a:pt x="50484" y="941397"/>
                      <a:pt x="54087" y="906810"/>
                    </a:cubicBezTo>
                    <a:cubicBezTo>
                      <a:pt x="55819" y="890346"/>
                      <a:pt x="54017" y="877698"/>
                      <a:pt x="37271" y="868089"/>
                    </a:cubicBezTo>
                    <a:cubicBezTo>
                      <a:pt x="9431" y="852120"/>
                      <a:pt x="4591" y="823362"/>
                      <a:pt x="2966" y="794392"/>
                    </a:cubicBezTo>
                    <a:cubicBezTo>
                      <a:pt x="1517" y="768707"/>
                      <a:pt x="1305" y="742988"/>
                      <a:pt x="139" y="717303"/>
                    </a:cubicBezTo>
                    <a:cubicBezTo>
                      <a:pt x="-885" y="694975"/>
                      <a:pt x="3708" y="673919"/>
                      <a:pt x="14836" y="654770"/>
                    </a:cubicBezTo>
                    <a:cubicBezTo>
                      <a:pt x="27590" y="632866"/>
                      <a:pt x="35257" y="609655"/>
                      <a:pt x="36705" y="584465"/>
                    </a:cubicBezTo>
                    <a:cubicBezTo>
                      <a:pt x="37589" y="568991"/>
                      <a:pt x="42358" y="555000"/>
                      <a:pt x="51049" y="542246"/>
                    </a:cubicBezTo>
                    <a:cubicBezTo>
                      <a:pt x="57974" y="532107"/>
                      <a:pt x="59881" y="522497"/>
                      <a:pt x="54017" y="510202"/>
                    </a:cubicBezTo>
                    <a:cubicBezTo>
                      <a:pt x="45644" y="492608"/>
                      <a:pt x="41051" y="473283"/>
                      <a:pt x="40379" y="453746"/>
                    </a:cubicBezTo>
                    <a:cubicBezTo>
                      <a:pt x="39108" y="415661"/>
                      <a:pt x="53699" y="385667"/>
                      <a:pt x="88180" y="366907"/>
                    </a:cubicBezTo>
                    <a:cubicBezTo>
                      <a:pt x="105350" y="357544"/>
                      <a:pt x="122874" y="348959"/>
                      <a:pt x="142411" y="346027"/>
                    </a:cubicBezTo>
                    <a:cubicBezTo>
                      <a:pt x="149971" y="344896"/>
                      <a:pt x="152303" y="340268"/>
                      <a:pt x="154564" y="334086"/>
                    </a:cubicBezTo>
                    <a:cubicBezTo>
                      <a:pt x="165587" y="303702"/>
                      <a:pt x="183075" y="278124"/>
                      <a:pt x="211091" y="260813"/>
                    </a:cubicBezTo>
                    <a:cubicBezTo>
                      <a:pt x="215825" y="257916"/>
                      <a:pt x="217097" y="253535"/>
                      <a:pt x="218298" y="248730"/>
                    </a:cubicBezTo>
                    <a:cubicBezTo>
                      <a:pt x="224233" y="225660"/>
                      <a:pt x="236281" y="206759"/>
                      <a:pt x="255253" y="191920"/>
                    </a:cubicBezTo>
                    <a:cubicBezTo>
                      <a:pt x="271999" y="178813"/>
                      <a:pt x="283905" y="160477"/>
                      <a:pt x="301534" y="148077"/>
                    </a:cubicBezTo>
                    <a:cubicBezTo>
                      <a:pt x="333507" y="125537"/>
                      <a:pt x="369755" y="117128"/>
                      <a:pt x="407946" y="115326"/>
                    </a:cubicBezTo>
                    <a:cubicBezTo>
                      <a:pt x="416036" y="114938"/>
                      <a:pt x="420594" y="112500"/>
                      <a:pt x="424763" y="105646"/>
                    </a:cubicBezTo>
                    <a:cubicBezTo>
                      <a:pt x="442816" y="75863"/>
                      <a:pt x="462707" y="47741"/>
                      <a:pt x="495139" y="31384"/>
                    </a:cubicBezTo>
                    <a:cubicBezTo>
                      <a:pt x="535591" y="10928"/>
                      <a:pt x="578233" y="1919"/>
                      <a:pt x="623526" y="4428"/>
                    </a:cubicBezTo>
                    <a:cubicBezTo>
                      <a:pt x="650235" y="5911"/>
                      <a:pt x="676131" y="11529"/>
                      <a:pt x="701957" y="17782"/>
                    </a:cubicBezTo>
                    <a:cubicBezTo>
                      <a:pt x="711213" y="20008"/>
                      <a:pt x="719515" y="17711"/>
                      <a:pt x="727783" y="14355"/>
                    </a:cubicBezTo>
                    <a:cubicBezTo>
                      <a:pt x="745553" y="7183"/>
                      <a:pt x="762123" y="7148"/>
                      <a:pt x="777067" y="21209"/>
                    </a:cubicBezTo>
                    <a:cubicBezTo>
                      <a:pt x="783956" y="27674"/>
                      <a:pt x="792082" y="24530"/>
                      <a:pt x="799749" y="22340"/>
                    </a:cubicBezTo>
                    <a:cubicBezTo>
                      <a:pt x="820134" y="16510"/>
                      <a:pt x="839211" y="6830"/>
                      <a:pt x="860621" y="3827"/>
                    </a:cubicBezTo>
                    <a:cubicBezTo>
                      <a:pt x="986853" y="-14014"/>
                      <a:pt x="1086234" y="30819"/>
                      <a:pt x="1161380" y="132214"/>
                    </a:cubicBezTo>
                    <a:cubicBezTo>
                      <a:pt x="1164736" y="136736"/>
                      <a:pt x="1168233" y="137866"/>
                      <a:pt x="1173180" y="138962"/>
                    </a:cubicBezTo>
                    <a:cubicBezTo>
                      <a:pt x="1219108" y="149243"/>
                      <a:pt x="1260902" y="167119"/>
                      <a:pt x="1291250" y="205204"/>
                    </a:cubicBezTo>
                    <a:cubicBezTo>
                      <a:pt x="1311529" y="230641"/>
                      <a:pt x="1318171" y="260707"/>
                      <a:pt x="1318737" y="292256"/>
                    </a:cubicBezTo>
                    <a:cubicBezTo>
                      <a:pt x="1318913" y="301971"/>
                      <a:pt x="1321634" y="309002"/>
                      <a:pt x="1328629" y="315502"/>
                    </a:cubicBezTo>
                    <a:cubicBezTo>
                      <a:pt x="1356009" y="340834"/>
                      <a:pt x="1382117" y="367437"/>
                      <a:pt x="1403597" y="398138"/>
                    </a:cubicBezTo>
                    <a:cubicBezTo>
                      <a:pt x="1429953" y="435764"/>
                      <a:pt x="1449808" y="475792"/>
                      <a:pt x="1449914" y="527055"/>
                    </a:cubicBezTo>
                    <a:close/>
                    <a:moveTo>
                      <a:pt x="1302697" y="327903"/>
                    </a:moveTo>
                    <a:cubicBezTo>
                      <a:pt x="1302520" y="327585"/>
                      <a:pt x="1302379" y="327232"/>
                      <a:pt x="1302132" y="326985"/>
                    </a:cubicBezTo>
                    <a:cubicBezTo>
                      <a:pt x="1301990" y="326843"/>
                      <a:pt x="1301672" y="326879"/>
                      <a:pt x="1301425" y="326843"/>
                    </a:cubicBezTo>
                    <a:cubicBezTo>
                      <a:pt x="1301885" y="327161"/>
                      <a:pt x="1302344" y="327479"/>
                      <a:pt x="1302803" y="327762"/>
                    </a:cubicBezTo>
                    <a:cubicBezTo>
                      <a:pt x="1302873" y="328115"/>
                      <a:pt x="1302873" y="328468"/>
                      <a:pt x="1303015" y="328786"/>
                    </a:cubicBezTo>
                    <a:cubicBezTo>
                      <a:pt x="1303121" y="328963"/>
                      <a:pt x="1303439" y="329034"/>
                      <a:pt x="1303651" y="329140"/>
                    </a:cubicBezTo>
                    <a:cubicBezTo>
                      <a:pt x="1303333" y="328716"/>
                      <a:pt x="1302980" y="328292"/>
                      <a:pt x="1302662" y="327903"/>
                    </a:cubicBezTo>
                    <a:close/>
                    <a:moveTo>
                      <a:pt x="375867" y="1249292"/>
                    </a:moveTo>
                    <a:cubicBezTo>
                      <a:pt x="376008" y="1249610"/>
                      <a:pt x="376114" y="1249999"/>
                      <a:pt x="376326" y="1250246"/>
                    </a:cubicBezTo>
                    <a:cubicBezTo>
                      <a:pt x="376468" y="1250388"/>
                      <a:pt x="376786" y="1250352"/>
                      <a:pt x="377033" y="1250423"/>
                    </a:cubicBezTo>
                    <a:cubicBezTo>
                      <a:pt x="376609" y="1250070"/>
                      <a:pt x="376185" y="1249752"/>
                      <a:pt x="375761" y="1249398"/>
                    </a:cubicBezTo>
                    <a:cubicBezTo>
                      <a:pt x="376044" y="1242792"/>
                      <a:pt x="374631" y="1235408"/>
                      <a:pt x="368130" y="1233995"/>
                    </a:cubicBezTo>
                    <a:cubicBezTo>
                      <a:pt x="349759" y="1230003"/>
                      <a:pt x="331034" y="1227636"/>
                      <a:pt x="312451" y="1224633"/>
                    </a:cubicBezTo>
                    <a:cubicBezTo>
                      <a:pt x="333366" y="1233959"/>
                      <a:pt x="356577" y="1236291"/>
                      <a:pt x="375867" y="1249292"/>
                    </a:cubicBezTo>
                    <a:close/>
                    <a:moveTo>
                      <a:pt x="434443" y="1281301"/>
                    </a:moveTo>
                    <a:cubicBezTo>
                      <a:pt x="434125" y="1281054"/>
                      <a:pt x="433807" y="1280806"/>
                      <a:pt x="433524" y="1280559"/>
                    </a:cubicBezTo>
                    <a:cubicBezTo>
                      <a:pt x="433843" y="1280806"/>
                      <a:pt x="434125" y="1281054"/>
                      <a:pt x="434443" y="1281336"/>
                    </a:cubicBezTo>
                    <a:cubicBezTo>
                      <a:pt x="437340" y="1305466"/>
                      <a:pt x="454122" y="1316771"/>
                      <a:pt x="480442" y="1311119"/>
                    </a:cubicBezTo>
                    <a:cubicBezTo>
                      <a:pt x="464826" y="1309741"/>
                      <a:pt x="452814" y="1305077"/>
                      <a:pt x="447939" y="1289603"/>
                    </a:cubicBezTo>
                    <a:cubicBezTo>
                      <a:pt x="446066" y="1283668"/>
                      <a:pt x="441226" y="1280453"/>
                      <a:pt x="434478" y="1281336"/>
                    </a:cubicBezTo>
                    <a:close/>
                    <a:moveTo>
                      <a:pt x="740784" y="1355916"/>
                    </a:moveTo>
                    <a:cubicBezTo>
                      <a:pt x="725698" y="1357118"/>
                      <a:pt x="712344" y="1364890"/>
                      <a:pt x="697187" y="1366586"/>
                    </a:cubicBezTo>
                    <a:cubicBezTo>
                      <a:pt x="664472" y="1370260"/>
                      <a:pt x="631828" y="1370613"/>
                      <a:pt x="599290" y="1366127"/>
                    </a:cubicBezTo>
                    <a:cubicBezTo>
                      <a:pt x="567387" y="1361746"/>
                      <a:pt x="536580" y="1354115"/>
                      <a:pt x="514252" y="1327865"/>
                    </a:cubicBezTo>
                    <a:cubicBezTo>
                      <a:pt x="511320" y="1324438"/>
                      <a:pt x="508741" y="1319739"/>
                      <a:pt x="503229" y="1319457"/>
                    </a:cubicBezTo>
                    <a:cubicBezTo>
                      <a:pt x="501463" y="1321364"/>
                      <a:pt x="502699" y="1322954"/>
                      <a:pt x="503371" y="1324509"/>
                    </a:cubicBezTo>
                    <a:cubicBezTo>
                      <a:pt x="510825" y="1342315"/>
                      <a:pt x="525734" y="1351536"/>
                      <a:pt x="542657" y="1358036"/>
                    </a:cubicBezTo>
                    <a:cubicBezTo>
                      <a:pt x="592860" y="1377291"/>
                      <a:pt x="645253" y="1375454"/>
                      <a:pt x="697541" y="1373228"/>
                    </a:cubicBezTo>
                    <a:cubicBezTo>
                      <a:pt x="713474" y="1372557"/>
                      <a:pt x="729161" y="1368706"/>
                      <a:pt x="740643" y="1355810"/>
                    </a:cubicBezTo>
                    <a:cubicBezTo>
                      <a:pt x="742232" y="1355598"/>
                      <a:pt x="743857" y="1355386"/>
                      <a:pt x="745447" y="1355174"/>
                    </a:cubicBezTo>
                    <a:cubicBezTo>
                      <a:pt x="745235" y="1354751"/>
                      <a:pt x="744811" y="1353973"/>
                      <a:pt x="744776" y="1353973"/>
                    </a:cubicBezTo>
                    <a:cubicBezTo>
                      <a:pt x="743398" y="1354574"/>
                      <a:pt x="742055" y="1355280"/>
                      <a:pt x="740713" y="1355952"/>
                    </a:cubicBezTo>
                    <a:close/>
                    <a:moveTo>
                      <a:pt x="804624" y="1260033"/>
                    </a:moveTo>
                    <a:cubicBezTo>
                      <a:pt x="814728" y="1257630"/>
                      <a:pt x="818861" y="1267876"/>
                      <a:pt x="826493" y="1270455"/>
                    </a:cubicBezTo>
                    <a:cubicBezTo>
                      <a:pt x="839353" y="1274800"/>
                      <a:pt x="852778" y="1273670"/>
                      <a:pt x="866026" y="1273528"/>
                    </a:cubicBezTo>
                    <a:cubicBezTo>
                      <a:pt x="888531" y="1273281"/>
                      <a:pt x="905807" y="1261304"/>
                      <a:pt x="914004" y="1240389"/>
                    </a:cubicBezTo>
                    <a:cubicBezTo>
                      <a:pt x="924744" y="1212974"/>
                      <a:pt x="936190" y="1208310"/>
                      <a:pt x="963252" y="1221170"/>
                    </a:cubicBezTo>
                    <a:cubicBezTo>
                      <a:pt x="971696" y="1225198"/>
                      <a:pt x="979716" y="1226046"/>
                      <a:pt x="988902" y="1224279"/>
                    </a:cubicBezTo>
                    <a:cubicBezTo>
                      <a:pt x="1014445" y="1219368"/>
                      <a:pt x="1037939" y="1206544"/>
                      <a:pt x="1064400" y="1205095"/>
                    </a:cubicBezTo>
                    <a:cubicBezTo>
                      <a:pt x="1070053" y="1204778"/>
                      <a:pt x="1075600" y="1203400"/>
                      <a:pt x="1081005" y="1200962"/>
                    </a:cubicBezTo>
                    <a:cubicBezTo>
                      <a:pt x="1116970" y="1184640"/>
                      <a:pt x="1146117" y="1159803"/>
                      <a:pt x="1168763" y="1127971"/>
                    </a:cubicBezTo>
                    <a:cubicBezTo>
                      <a:pt x="1182224" y="1109035"/>
                      <a:pt x="1189431" y="1087661"/>
                      <a:pt x="1177136" y="1064379"/>
                    </a:cubicBezTo>
                    <a:cubicBezTo>
                      <a:pt x="1171448" y="1053603"/>
                      <a:pt x="1171342" y="1042545"/>
                      <a:pt x="1176253" y="1031098"/>
                    </a:cubicBezTo>
                    <a:cubicBezTo>
                      <a:pt x="1179504" y="1023467"/>
                      <a:pt x="1178514" y="1015447"/>
                      <a:pt x="1174451" y="1008028"/>
                    </a:cubicBezTo>
                    <a:cubicBezTo>
                      <a:pt x="1171484" y="1002588"/>
                      <a:pt x="1168905" y="997041"/>
                      <a:pt x="1164700" y="992271"/>
                    </a:cubicBezTo>
                    <a:cubicBezTo>
                      <a:pt x="1149509" y="975066"/>
                      <a:pt x="1146047" y="956553"/>
                      <a:pt x="1159684" y="936628"/>
                    </a:cubicBezTo>
                    <a:cubicBezTo>
                      <a:pt x="1173674" y="916243"/>
                      <a:pt x="1181729" y="893349"/>
                      <a:pt x="1187806" y="869643"/>
                    </a:cubicBezTo>
                    <a:cubicBezTo>
                      <a:pt x="1190738" y="858232"/>
                      <a:pt x="1196320" y="849718"/>
                      <a:pt x="1207944" y="845266"/>
                    </a:cubicBezTo>
                    <a:cubicBezTo>
                      <a:pt x="1214444" y="842758"/>
                      <a:pt x="1220450" y="838589"/>
                      <a:pt x="1226244" y="834597"/>
                    </a:cubicBezTo>
                    <a:cubicBezTo>
                      <a:pt x="1244792" y="821772"/>
                      <a:pt x="1263128" y="808630"/>
                      <a:pt x="1281676" y="795770"/>
                    </a:cubicBezTo>
                    <a:cubicBezTo>
                      <a:pt x="1284820" y="793579"/>
                      <a:pt x="1288919" y="789764"/>
                      <a:pt x="1292381" y="792555"/>
                    </a:cubicBezTo>
                    <a:cubicBezTo>
                      <a:pt x="1297150" y="796335"/>
                      <a:pt x="1292381" y="800751"/>
                      <a:pt x="1290508" y="804284"/>
                    </a:cubicBezTo>
                    <a:cubicBezTo>
                      <a:pt x="1286763" y="811279"/>
                      <a:pt x="1282065" y="817780"/>
                      <a:pt x="1278073" y="824669"/>
                    </a:cubicBezTo>
                    <a:cubicBezTo>
                      <a:pt x="1274010" y="831700"/>
                      <a:pt x="1275317" y="838765"/>
                      <a:pt x="1280404" y="844418"/>
                    </a:cubicBezTo>
                    <a:cubicBezTo>
                      <a:pt x="1286340" y="851025"/>
                      <a:pt x="1291886" y="844842"/>
                      <a:pt x="1296938" y="842157"/>
                    </a:cubicBezTo>
                    <a:cubicBezTo>
                      <a:pt x="1300718" y="840143"/>
                      <a:pt x="1304146" y="836893"/>
                      <a:pt x="1306795" y="833466"/>
                    </a:cubicBezTo>
                    <a:cubicBezTo>
                      <a:pt x="1317888" y="819122"/>
                      <a:pt x="1328982" y="804779"/>
                      <a:pt x="1339334" y="789905"/>
                    </a:cubicBezTo>
                    <a:cubicBezTo>
                      <a:pt x="1346082" y="780189"/>
                      <a:pt x="1353607" y="770474"/>
                      <a:pt x="1353677" y="757649"/>
                    </a:cubicBezTo>
                    <a:cubicBezTo>
                      <a:pt x="1353677" y="751855"/>
                      <a:pt x="1354242" y="746026"/>
                      <a:pt x="1347494" y="742882"/>
                    </a:cubicBezTo>
                    <a:cubicBezTo>
                      <a:pt x="1341418" y="740055"/>
                      <a:pt x="1335659" y="739101"/>
                      <a:pt x="1330077" y="743624"/>
                    </a:cubicBezTo>
                    <a:cubicBezTo>
                      <a:pt x="1325273" y="747510"/>
                      <a:pt x="1320397" y="751325"/>
                      <a:pt x="1315804" y="755424"/>
                    </a:cubicBezTo>
                    <a:cubicBezTo>
                      <a:pt x="1309339" y="761217"/>
                      <a:pt x="1301743" y="764150"/>
                      <a:pt x="1293794" y="760723"/>
                    </a:cubicBezTo>
                    <a:cubicBezTo>
                      <a:pt x="1286127" y="757402"/>
                      <a:pt x="1284432" y="749771"/>
                      <a:pt x="1284220" y="741716"/>
                    </a:cubicBezTo>
                    <a:cubicBezTo>
                      <a:pt x="1283902" y="728821"/>
                      <a:pt x="1289272" y="718434"/>
                      <a:pt x="1298175" y="709849"/>
                    </a:cubicBezTo>
                    <a:cubicBezTo>
                      <a:pt x="1305877" y="702429"/>
                      <a:pt x="1310293" y="693350"/>
                      <a:pt x="1312624" y="683387"/>
                    </a:cubicBezTo>
                    <a:cubicBezTo>
                      <a:pt x="1314921" y="673530"/>
                      <a:pt x="1316758" y="663567"/>
                      <a:pt x="1316440" y="653216"/>
                    </a:cubicBezTo>
                    <a:cubicBezTo>
                      <a:pt x="1315274" y="617745"/>
                      <a:pt x="1316299" y="582557"/>
                      <a:pt x="1326403" y="548005"/>
                    </a:cubicBezTo>
                    <a:cubicBezTo>
                      <a:pt x="1331137" y="531859"/>
                      <a:pt x="1331985" y="514654"/>
                      <a:pt x="1327958" y="498085"/>
                    </a:cubicBezTo>
                    <a:cubicBezTo>
                      <a:pt x="1324601" y="484341"/>
                      <a:pt x="1321881" y="471340"/>
                      <a:pt x="1330713" y="458622"/>
                    </a:cubicBezTo>
                    <a:cubicBezTo>
                      <a:pt x="1333116" y="455195"/>
                      <a:pt x="1332868" y="450779"/>
                      <a:pt x="1332056" y="446928"/>
                    </a:cubicBezTo>
                    <a:cubicBezTo>
                      <a:pt x="1327887" y="427390"/>
                      <a:pt x="1316581" y="412340"/>
                      <a:pt x="1301178" y="400293"/>
                    </a:cubicBezTo>
                    <a:cubicBezTo>
                      <a:pt x="1295030" y="395523"/>
                      <a:pt x="1291568" y="397537"/>
                      <a:pt x="1292240" y="405698"/>
                    </a:cubicBezTo>
                    <a:cubicBezTo>
                      <a:pt x="1293088" y="416085"/>
                      <a:pt x="1290932" y="425977"/>
                      <a:pt x="1286481" y="435340"/>
                    </a:cubicBezTo>
                    <a:cubicBezTo>
                      <a:pt x="1285315" y="437813"/>
                      <a:pt x="1284432" y="440038"/>
                      <a:pt x="1285916" y="442794"/>
                    </a:cubicBezTo>
                    <a:cubicBezTo>
                      <a:pt x="1296444" y="462367"/>
                      <a:pt x="1293299" y="482893"/>
                      <a:pt x="1289731" y="503349"/>
                    </a:cubicBezTo>
                    <a:cubicBezTo>
                      <a:pt x="1285527" y="527514"/>
                      <a:pt x="1285810" y="551573"/>
                      <a:pt x="1288495" y="575986"/>
                    </a:cubicBezTo>
                    <a:cubicBezTo>
                      <a:pt x="1291109" y="599833"/>
                      <a:pt x="1290897" y="624599"/>
                      <a:pt x="1280051" y="646291"/>
                    </a:cubicBezTo>
                    <a:cubicBezTo>
                      <a:pt x="1266378" y="673530"/>
                      <a:pt x="1257829" y="701546"/>
                      <a:pt x="1253342" y="731505"/>
                    </a:cubicBezTo>
                    <a:cubicBezTo>
                      <a:pt x="1250869" y="748004"/>
                      <a:pt x="1245605" y="764326"/>
                      <a:pt x="1234653" y="777822"/>
                    </a:cubicBezTo>
                    <a:cubicBezTo>
                      <a:pt x="1231049" y="782238"/>
                      <a:pt x="1226244" y="785347"/>
                      <a:pt x="1220803" y="781426"/>
                    </a:cubicBezTo>
                    <a:cubicBezTo>
                      <a:pt x="1216069" y="778034"/>
                      <a:pt x="1217165" y="772664"/>
                      <a:pt x="1219108" y="768036"/>
                    </a:cubicBezTo>
                    <a:cubicBezTo>
                      <a:pt x="1220450" y="764821"/>
                      <a:pt x="1222747" y="761995"/>
                      <a:pt x="1224760" y="759133"/>
                    </a:cubicBezTo>
                    <a:cubicBezTo>
                      <a:pt x="1229318" y="752632"/>
                      <a:pt x="1233734" y="746203"/>
                      <a:pt x="1236843" y="738677"/>
                    </a:cubicBezTo>
                    <a:cubicBezTo>
                      <a:pt x="1245534" y="717762"/>
                      <a:pt x="1247513" y="696070"/>
                      <a:pt x="1247336" y="673742"/>
                    </a:cubicBezTo>
                    <a:cubicBezTo>
                      <a:pt x="1247089" y="640214"/>
                      <a:pt x="1243591" y="606228"/>
                      <a:pt x="1259348" y="574502"/>
                    </a:cubicBezTo>
                    <a:cubicBezTo>
                      <a:pt x="1261715" y="569732"/>
                      <a:pt x="1261503" y="563832"/>
                      <a:pt x="1258782" y="557473"/>
                    </a:cubicBezTo>
                    <a:cubicBezTo>
                      <a:pt x="1248113" y="569414"/>
                      <a:pt x="1243732" y="583122"/>
                      <a:pt x="1236737" y="595311"/>
                    </a:cubicBezTo>
                    <a:cubicBezTo>
                      <a:pt x="1234935" y="598455"/>
                      <a:pt x="1233346" y="602165"/>
                      <a:pt x="1229071" y="601458"/>
                    </a:cubicBezTo>
                    <a:cubicBezTo>
                      <a:pt x="1224902" y="600752"/>
                      <a:pt x="1223842" y="596618"/>
                      <a:pt x="1223524" y="593262"/>
                    </a:cubicBezTo>
                    <a:cubicBezTo>
                      <a:pt x="1222923" y="586691"/>
                      <a:pt x="1222323" y="579978"/>
                      <a:pt x="1224301" y="573442"/>
                    </a:cubicBezTo>
                    <a:cubicBezTo>
                      <a:pt x="1231190" y="550619"/>
                      <a:pt x="1239599" y="528079"/>
                      <a:pt x="1236772" y="503455"/>
                    </a:cubicBezTo>
                    <a:cubicBezTo>
                      <a:pt x="1236455" y="500593"/>
                      <a:pt x="1238186" y="497484"/>
                      <a:pt x="1238998" y="494516"/>
                    </a:cubicBezTo>
                    <a:cubicBezTo>
                      <a:pt x="1240094" y="490665"/>
                      <a:pt x="1241224" y="487945"/>
                      <a:pt x="1246276" y="490913"/>
                    </a:cubicBezTo>
                    <a:cubicBezTo>
                      <a:pt x="1254967" y="496000"/>
                      <a:pt x="1257193" y="490418"/>
                      <a:pt x="1257758" y="483070"/>
                    </a:cubicBezTo>
                    <a:cubicBezTo>
                      <a:pt x="1259489" y="459752"/>
                      <a:pt x="1254578" y="438060"/>
                      <a:pt x="1241012" y="418841"/>
                    </a:cubicBezTo>
                    <a:cubicBezTo>
                      <a:pt x="1219143" y="387751"/>
                      <a:pt x="1188725" y="363515"/>
                      <a:pt x="1169788" y="329881"/>
                    </a:cubicBezTo>
                    <a:cubicBezTo>
                      <a:pt x="1165513" y="322250"/>
                      <a:pt x="1158447" y="323310"/>
                      <a:pt x="1152936" y="331401"/>
                    </a:cubicBezTo>
                    <a:cubicBezTo>
                      <a:pt x="1146259" y="341222"/>
                      <a:pt x="1148767" y="350514"/>
                      <a:pt x="1154561" y="358534"/>
                    </a:cubicBezTo>
                    <a:cubicBezTo>
                      <a:pt x="1166255" y="374785"/>
                      <a:pt x="1160320" y="391990"/>
                      <a:pt x="1161132" y="411351"/>
                    </a:cubicBezTo>
                    <a:cubicBezTo>
                      <a:pt x="1146789" y="401247"/>
                      <a:pt x="1140324" y="389447"/>
                      <a:pt x="1138133" y="375598"/>
                    </a:cubicBezTo>
                    <a:cubicBezTo>
                      <a:pt x="1133752" y="348041"/>
                      <a:pt x="1130678" y="320484"/>
                      <a:pt x="1109340" y="299004"/>
                    </a:cubicBezTo>
                    <a:cubicBezTo>
                      <a:pt x="1102803" y="292432"/>
                      <a:pt x="1104393" y="282258"/>
                      <a:pt x="1109163" y="273955"/>
                    </a:cubicBezTo>
                    <a:cubicBezTo>
                      <a:pt x="1113155" y="267031"/>
                      <a:pt x="1118348" y="261025"/>
                      <a:pt x="1123895" y="255195"/>
                    </a:cubicBezTo>
                    <a:cubicBezTo>
                      <a:pt x="1136296" y="242123"/>
                      <a:pt x="1147071" y="227638"/>
                      <a:pt x="1145340" y="208455"/>
                    </a:cubicBezTo>
                    <a:cubicBezTo>
                      <a:pt x="1140888" y="158993"/>
                      <a:pt x="1084538" y="99923"/>
                      <a:pt x="1036102" y="95365"/>
                    </a:cubicBezTo>
                    <a:cubicBezTo>
                      <a:pt x="1010311" y="92928"/>
                      <a:pt x="988831" y="79644"/>
                      <a:pt x="972756" y="58057"/>
                    </a:cubicBezTo>
                    <a:cubicBezTo>
                      <a:pt x="963147" y="45127"/>
                      <a:pt x="949898" y="36153"/>
                      <a:pt x="934071" y="31137"/>
                    </a:cubicBezTo>
                    <a:cubicBezTo>
                      <a:pt x="905348" y="22057"/>
                      <a:pt x="875954" y="25731"/>
                      <a:pt x="849068" y="33892"/>
                    </a:cubicBezTo>
                    <a:cubicBezTo>
                      <a:pt x="822394" y="41983"/>
                      <a:pt x="794308" y="47847"/>
                      <a:pt x="769577" y="62156"/>
                    </a:cubicBezTo>
                    <a:cubicBezTo>
                      <a:pt x="760957" y="67137"/>
                      <a:pt x="752407" y="66890"/>
                      <a:pt x="743045" y="62862"/>
                    </a:cubicBezTo>
                    <a:cubicBezTo>
                      <a:pt x="714322" y="50462"/>
                      <a:pt x="688708" y="55655"/>
                      <a:pt x="666769" y="78019"/>
                    </a:cubicBezTo>
                    <a:cubicBezTo>
                      <a:pt x="649670" y="95401"/>
                      <a:pt x="632641" y="112889"/>
                      <a:pt x="613704" y="128257"/>
                    </a:cubicBezTo>
                    <a:cubicBezTo>
                      <a:pt x="599926" y="139421"/>
                      <a:pt x="584875" y="147900"/>
                      <a:pt x="567635" y="153729"/>
                    </a:cubicBezTo>
                    <a:cubicBezTo>
                      <a:pt x="528914" y="166837"/>
                      <a:pt x="487826" y="168214"/>
                      <a:pt x="448858" y="179661"/>
                    </a:cubicBezTo>
                    <a:cubicBezTo>
                      <a:pt x="441438" y="181852"/>
                      <a:pt x="442922" y="177612"/>
                      <a:pt x="444053" y="173267"/>
                    </a:cubicBezTo>
                    <a:cubicBezTo>
                      <a:pt x="446243" y="164823"/>
                      <a:pt x="449988" y="156485"/>
                      <a:pt x="445430" y="147547"/>
                    </a:cubicBezTo>
                    <a:cubicBezTo>
                      <a:pt x="442957" y="142742"/>
                      <a:pt x="440661" y="139739"/>
                      <a:pt x="435856" y="145144"/>
                    </a:cubicBezTo>
                    <a:cubicBezTo>
                      <a:pt x="415683" y="167896"/>
                      <a:pt x="387667" y="178142"/>
                      <a:pt x="361665" y="191567"/>
                    </a:cubicBezTo>
                    <a:cubicBezTo>
                      <a:pt x="333401" y="206158"/>
                      <a:pt x="302594" y="215626"/>
                      <a:pt x="276380" y="234245"/>
                    </a:cubicBezTo>
                    <a:cubicBezTo>
                      <a:pt x="273235" y="236471"/>
                      <a:pt x="268572" y="237460"/>
                      <a:pt x="267512" y="241841"/>
                    </a:cubicBezTo>
                    <a:cubicBezTo>
                      <a:pt x="262707" y="262155"/>
                      <a:pt x="245431" y="270634"/>
                      <a:pt x="230345" y="281092"/>
                    </a:cubicBezTo>
                    <a:cubicBezTo>
                      <a:pt x="205791" y="298120"/>
                      <a:pt x="184735" y="317693"/>
                      <a:pt x="178729" y="348783"/>
                    </a:cubicBezTo>
                    <a:cubicBezTo>
                      <a:pt x="176715" y="359205"/>
                      <a:pt x="174843" y="369627"/>
                      <a:pt x="170604" y="379449"/>
                    </a:cubicBezTo>
                    <a:cubicBezTo>
                      <a:pt x="169049" y="383017"/>
                      <a:pt x="166435" y="387186"/>
                      <a:pt x="170074" y="390507"/>
                    </a:cubicBezTo>
                    <a:cubicBezTo>
                      <a:pt x="173536" y="393651"/>
                      <a:pt x="177563" y="391107"/>
                      <a:pt x="181238" y="389553"/>
                    </a:cubicBezTo>
                    <a:cubicBezTo>
                      <a:pt x="183534" y="388599"/>
                      <a:pt x="185936" y="386020"/>
                      <a:pt x="188445" y="388281"/>
                    </a:cubicBezTo>
                    <a:cubicBezTo>
                      <a:pt x="191236" y="390789"/>
                      <a:pt x="189999" y="394004"/>
                      <a:pt x="188657" y="396866"/>
                    </a:cubicBezTo>
                    <a:cubicBezTo>
                      <a:pt x="186572" y="401282"/>
                      <a:pt x="184205" y="405557"/>
                      <a:pt x="182086" y="409938"/>
                    </a:cubicBezTo>
                    <a:cubicBezTo>
                      <a:pt x="166293" y="442829"/>
                      <a:pt x="144990" y="473425"/>
                      <a:pt x="142481" y="511722"/>
                    </a:cubicBezTo>
                    <a:cubicBezTo>
                      <a:pt x="141704" y="523840"/>
                      <a:pt x="147357" y="538431"/>
                      <a:pt x="159863" y="546344"/>
                    </a:cubicBezTo>
                    <a:cubicBezTo>
                      <a:pt x="170921" y="553340"/>
                      <a:pt x="180531" y="553128"/>
                      <a:pt x="191307" y="544295"/>
                    </a:cubicBezTo>
                    <a:cubicBezTo>
                      <a:pt x="198761" y="538183"/>
                      <a:pt x="204696" y="529457"/>
                      <a:pt x="215048" y="525924"/>
                    </a:cubicBezTo>
                    <a:cubicBezTo>
                      <a:pt x="216320" y="531365"/>
                      <a:pt x="215401" y="535392"/>
                      <a:pt x="213953" y="539773"/>
                    </a:cubicBezTo>
                    <a:cubicBezTo>
                      <a:pt x="209395" y="553622"/>
                      <a:pt x="199326" y="562596"/>
                      <a:pt x="188092" y="570722"/>
                    </a:cubicBezTo>
                    <a:cubicBezTo>
                      <a:pt x="174878" y="580331"/>
                      <a:pt x="160499" y="588740"/>
                      <a:pt x="151561" y="603048"/>
                    </a:cubicBezTo>
                    <a:cubicBezTo>
                      <a:pt x="132165" y="634067"/>
                      <a:pt x="133154" y="667807"/>
                      <a:pt x="139655" y="701864"/>
                    </a:cubicBezTo>
                    <a:cubicBezTo>
                      <a:pt x="143259" y="720730"/>
                      <a:pt x="150642" y="738395"/>
                      <a:pt x="163326" y="753162"/>
                    </a:cubicBezTo>
                    <a:cubicBezTo>
                      <a:pt x="175691" y="767506"/>
                      <a:pt x="192896" y="764432"/>
                      <a:pt x="209183" y="764962"/>
                    </a:cubicBezTo>
                    <a:cubicBezTo>
                      <a:pt x="221690" y="765386"/>
                      <a:pt x="219959" y="773653"/>
                      <a:pt x="215578" y="780825"/>
                    </a:cubicBezTo>
                    <a:cubicBezTo>
                      <a:pt x="205827" y="796830"/>
                      <a:pt x="207417" y="813470"/>
                      <a:pt x="209784" y="830922"/>
                    </a:cubicBezTo>
                    <a:cubicBezTo>
                      <a:pt x="212539" y="851449"/>
                      <a:pt x="220665" y="871162"/>
                      <a:pt x="218828" y="892395"/>
                    </a:cubicBezTo>
                    <a:cubicBezTo>
                      <a:pt x="218263" y="898825"/>
                      <a:pt x="218439" y="905785"/>
                      <a:pt x="211020" y="907481"/>
                    </a:cubicBezTo>
                    <a:cubicBezTo>
                      <a:pt x="204272" y="909035"/>
                      <a:pt x="199220" y="904160"/>
                      <a:pt x="195864" y="898755"/>
                    </a:cubicBezTo>
                    <a:cubicBezTo>
                      <a:pt x="190741" y="890488"/>
                      <a:pt x="186926" y="881337"/>
                      <a:pt x="181344" y="873424"/>
                    </a:cubicBezTo>
                    <a:cubicBezTo>
                      <a:pt x="172229" y="860458"/>
                      <a:pt x="169544" y="843429"/>
                      <a:pt x="156472" y="833219"/>
                    </a:cubicBezTo>
                    <a:cubicBezTo>
                      <a:pt x="145060" y="824316"/>
                      <a:pt x="137818" y="813646"/>
                      <a:pt x="136228" y="798914"/>
                    </a:cubicBezTo>
                    <a:cubicBezTo>
                      <a:pt x="134497" y="783016"/>
                      <a:pt x="132448" y="765528"/>
                      <a:pt x="121178" y="754434"/>
                    </a:cubicBezTo>
                    <a:cubicBezTo>
                      <a:pt x="109978" y="743376"/>
                      <a:pt x="107258" y="729774"/>
                      <a:pt x="101287" y="717021"/>
                    </a:cubicBezTo>
                    <a:cubicBezTo>
                      <a:pt x="101111" y="716632"/>
                      <a:pt x="100722" y="716349"/>
                      <a:pt x="99203" y="714653"/>
                    </a:cubicBezTo>
                    <a:cubicBezTo>
                      <a:pt x="84965" y="754010"/>
                      <a:pt x="73907" y="792837"/>
                      <a:pt x="78959" y="834455"/>
                    </a:cubicBezTo>
                    <a:cubicBezTo>
                      <a:pt x="79878" y="841980"/>
                      <a:pt x="79772" y="849470"/>
                      <a:pt x="80372" y="856960"/>
                    </a:cubicBezTo>
                    <a:cubicBezTo>
                      <a:pt x="82563" y="884340"/>
                      <a:pt x="80726" y="911721"/>
                      <a:pt x="80902" y="939101"/>
                    </a:cubicBezTo>
                    <a:cubicBezTo>
                      <a:pt x="81044" y="964926"/>
                      <a:pt x="104396" y="992201"/>
                      <a:pt x="130187" y="998631"/>
                    </a:cubicBezTo>
                    <a:cubicBezTo>
                      <a:pt x="154776" y="1004743"/>
                      <a:pt x="174278" y="994497"/>
                      <a:pt x="189611" y="967894"/>
                    </a:cubicBezTo>
                    <a:cubicBezTo>
                      <a:pt x="192543" y="962807"/>
                      <a:pt x="194557" y="955847"/>
                      <a:pt x="202753" y="956765"/>
                    </a:cubicBezTo>
                    <a:cubicBezTo>
                      <a:pt x="211444" y="957755"/>
                      <a:pt x="212645" y="964750"/>
                      <a:pt x="213493" y="971356"/>
                    </a:cubicBezTo>
                    <a:cubicBezTo>
                      <a:pt x="216638" y="995698"/>
                      <a:pt x="232642" y="1007392"/>
                      <a:pt x="254617" y="1012197"/>
                    </a:cubicBezTo>
                    <a:cubicBezTo>
                      <a:pt x="267901" y="1015094"/>
                      <a:pt x="281679" y="1015801"/>
                      <a:pt x="295140" y="1018026"/>
                    </a:cubicBezTo>
                    <a:cubicBezTo>
                      <a:pt x="311568" y="1020712"/>
                      <a:pt x="328914" y="1020606"/>
                      <a:pt x="342869" y="1031734"/>
                    </a:cubicBezTo>
                    <a:cubicBezTo>
                      <a:pt x="345519" y="1033854"/>
                      <a:pt x="349193" y="1036221"/>
                      <a:pt x="347992" y="1040319"/>
                    </a:cubicBezTo>
                    <a:cubicBezTo>
                      <a:pt x="346968" y="1043852"/>
                      <a:pt x="343859" y="1045972"/>
                      <a:pt x="340043" y="1046643"/>
                    </a:cubicBezTo>
                    <a:cubicBezTo>
                      <a:pt x="326088" y="1049081"/>
                      <a:pt x="312098" y="1051377"/>
                      <a:pt x="297966" y="1047915"/>
                    </a:cubicBezTo>
                    <a:cubicBezTo>
                      <a:pt x="292313" y="1046537"/>
                      <a:pt x="286307" y="1045619"/>
                      <a:pt x="280972" y="1048056"/>
                    </a:cubicBezTo>
                    <a:cubicBezTo>
                      <a:pt x="248717" y="1062859"/>
                      <a:pt x="215472" y="1060068"/>
                      <a:pt x="182015" y="1054098"/>
                    </a:cubicBezTo>
                    <a:cubicBezTo>
                      <a:pt x="176645" y="1053144"/>
                      <a:pt x="171805" y="1051130"/>
                      <a:pt x="168060" y="1057313"/>
                    </a:cubicBezTo>
                    <a:cubicBezTo>
                      <a:pt x="164739" y="1062789"/>
                      <a:pt x="166117" y="1066816"/>
                      <a:pt x="169614" y="1071727"/>
                    </a:cubicBezTo>
                    <a:cubicBezTo>
                      <a:pt x="181838" y="1088897"/>
                      <a:pt x="190247" y="1107940"/>
                      <a:pt x="194168" y="1128643"/>
                    </a:cubicBezTo>
                    <a:cubicBezTo>
                      <a:pt x="195864" y="1137652"/>
                      <a:pt x="199927" y="1145354"/>
                      <a:pt x="204590" y="1152843"/>
                    </a:cubicBezTo>
                    <a:cubicBezTo>
                      <a:pt x="238153" y="1206756"/>
                      <a:pt x="304184" y="1215412"/>
                      <a:pt x="350995" y="1194921"/>
                    </a:cubicBezTo>
                    <a:cubicBezTo>
                      <a:pt x="379541" y="1182449"/>
                      <a:pt x="399962" y="1155776"/>
                      <a:pt x="389716" y="1119598"/>
                    </a:cubicBezTo>
                    <a:cubicBezTo>
                      <a:pt x="387102" y="1110342"/>
                      <a:pt x="383463" y="1101086"/>
                      <a:pt x="384134" y="1091088"/>
                    </a:cubicBezTo>
                    <a:cubicBezTo>
                      <a:pt x="384381" y="1087343"/>
                      <a:pt x="384982" y="1083845"/>
                      <a:pt x="388939" y="1082467"/>
                    </a:cubicBezTo>
                    <a:cubicBezTo>
                      <a:pt x="392613" y="1081160"/>
                      <a:pt x="395793" y="1082397"/>
                      <a:pt x="398760" y="1084834"/>
                    </a:cubicBezTo>
                    <a:cubicBezTo>
                      <a:pt x="405084" y="1090098"/>
                      <a:pt x="406992" y="1097306"/>
                      <a:pt x="407593" y="1104901"/>
                    </a:cubicBezTo>
                    <a:cubicBezTo>
                      <a:pt x="409465" y="1128784"/>
                      <a:pt x="428402" y="1150724"/>
                      <a:pt x="450518" y="1151819"/>
                    </a:cubicBezTo>
                    <a:cubicBezTo>
                      <a:pt x="460481" y="1152313"/>
                      <a:pt x="470408" y="1155458"/>
                      <a:pt x="480124" y="1158284"/>
                    </a:cubicBezTo>
                    <a:cubicBezTo>
                      <a:pt x="485141" y="1159733"/>
                      <a:pt x="490511" y="1162877"/>
                      <a:pt x="489521" y="1169448"/>
                    </a:cubicBezTo>
                    <a:cubicBezTo>
                      <a:pt x="488674" y="1174854"/>
                      <a:pt x="485459" y="1178634"/>
                      <a:pt x="479523" y="1180612"/>
                    </a:cubicBezTo>
                    <a:cubicBezTo>
                      <a:pt x="472034" y="1183121"/>
                      <a:pt x="464614" y="1182449"/>
                      <a:pt x="457124" y="1182414"/>
                    </a:cubicBezTo>
                    <a:cubicBezTo>
                      <a:pt x="451366" y="1182414"/>
                      <a:pt x="446808" y="1183898"/>
                      <a:pt x="443381" y="1188809"/>
                    </a:cubicBezTo>
                    <a:cubicBezTo>
                      <a:pt x="431687" y="1205590"/>
                      <a:pt x="440661" y="1230956"/>
                      <a:pt x="460410" y="1236221"/>
                    </a:cubicBezTo>
                    <a:cubicBezTo>
                      <a:pt x="476520" y="1240531"/>
                      <a:pt x="492842" y="1239612"/>
                      <a:pt x="509164" y="1237634"/>
                    </a:cubicBezTo>
                    <a:cubicBezTo>
                      <a:pt x="528278" y="1235337"/>
                      <a:pt x="548309" y="1228766"/>
                      <a:pt x="565762" y="1241131"/>
                    </a:cubicBezTo>
                    <a:cubicBezTo>
                      <a:pt x="583215" y="1253497"/>
                      <a:pt x="601904" y="1256570"/>
                      <a:pt x="622360" y="1255157"/>
                    </a:cubicBezTo>
                    <a:cubicBezTo>
                      <a:pt x="631192" y="1254557"/>
                      <a:pt x="640130" y="1254557"/>
                      <a:pt x="648963" y="1255157"/>
                    </a:cubicBezTo>
                    <a:cubicBezTo>
                      <a:pt x="658643" y="1255828"/>
                      <a:pt x="668500" y="1256782"/>
                      <a:pt x="676237" y="1263777"/>
                    </a:cubicBezTo>
                    <a:cubicBezTo>
                      <a:pt x="686235" y="1272822"/>
                      <a:pt x="683974" y="1285010"/>
                      <a:pt x="671538" y="1290274"/>
                    </a:cubicBezTo>
                    <a:cubicBezTo>
                      <a:pt x="667228" y="1292112"/>
                      <a:pt x="662741" y="1292394"/>
                      <a:pt x="658467" y="1291758"/>
                    </a:cubicBezTo>
                    <a:cubicBezTo>
                      <a:pt x="627023" y="1287095"/>
                      <a:pt x="599007" y="1268335"/>
                      <a:pt x="566045" y="1269324"/>
                    </a:cubicBezTo>
                    <a:cubicBezTo>
                      <a:pt x="562335" y="1269430"/>
                      <a:pt x="558590" y="1266710"/>
                      <a:pt x="554775" y="1265579"/>
                    </a:cubicBezTo>
                    <a:cubicBezTo>
                      <a:pt x="545024" y="1262718"/>
                      <a:pt x="535343" y="1259503"/>
                      <a:pt x="525381" y="1257453"/>
                    </a:cubicBezTo>
                    <a:cubicBezTo>
                      <a:pt x="518739" y="1256076"/>
                      <a:pt x="511850" y="1257100"/>
                      <a:pt x="508175" y="1264307"/>
                    </a:cubicBezTo>
                    <a:cubicBezTo>
                      <a:pt x="504360" y="1271797"/>
                      <a:pt x="511072" y="1275224"/>
                      <a:pt x="515100" y="1278192"/>
                    </a:cubicBezTo>
                    <a:cubicBezTo>
                      <a:pt x="536404" y="1293843"/>
                      <a:pt x="560251" y="1302004"/>
                      <a:pt x="587066" y="1300237"/>
                    </a:cubicBezTo>
                    <a:cubicBezTo>
                      <a:pt x="591199" y="1299955"/>
                      <a:pt x="596463" y="1297941"/>
                      <a:pt x="599325" y="1302710"/>
                    </a:cubicBezTo>
                    <a:cubicBezTo>
                      <a:pt x="602611" y="1308186"/>
                      <a:pt x="592754" y="1307586"/>
                      <a:pt x="593849" y="1312638"/>
                    </a:cubicBezTo>
                    <a:cubicBezTo>
                      <a:pt x="599785" y="1314899"/>
                      <a:pt x="605543" y="1317195"/>
                      <a:pt x="611337" y="1319315"/>
                    </a:cubicBezTo>
                    <a:cubicBezTo>
                      <a:pt x="632641" y="1327088"/>
                      <a:pt x="654404" y="1332528"/>
                      <a:pt x="677262" y="1332069"/>
                    </a:cubicBezTo>
                    <a:cubicBezTo>
                      <a:pt x="699696" y="1331645"/>
                      <a:pt x="708281" y="1323307"/>
                      <a:pt x="709800" y="1300838"/>
                    </a:cubicBezTo>
                    <a:cubicBezTo>
                      <a:pt x="710047" y="1296881"/>
                      <a:pt x="712662" y="1295821"/>
                      <a:pt x="715382" y="1294302"/>
                    </a:cubicBezTo>
                    <a:cubicBezTo>
                      <a:pt x="723013" y="1289957"/>
                      <a:pt x="730432" y="1292818"/>
                      <a:pt x="737074" y="1295963"/>
                    </a:cubicBezTo>
                    <a:cubicBezTo>
                      <a:pt x="753184" y="1303523"/>
                      <a:pt x="768729" y="1299955"/>
                      <a:pt x="783250" y="1293207"/>
                    </a:cubicBezTo>
                    <a:cubicBezTo>
                      <a:pt x="796498" y="1287059"/>
                      <a:pt x="806779" y="1276991"/>
                      <a:pt x="804765" y="1259997"/>
                    </a:cubicBezTo>
                    <a:lnTo>
                      <a:pt x="804695" y="1260068"/>
                    </a:lnTo>
                    <a:close/>
                    <a:moveTo>
                      <a:pt x="493196" y="138997"/>
                    </a:moveTo>
                    <a:cubicBezTo>
                      <a:pt x="500191" y="138467"/>
                      <a:pt x="507186" y="138997"/>
                      <a:pt x="514323" y="137831"/>
                    </a:cubicBezTo>
                    <a:cubicBezTo>
                      <a:pt x="546048" y="132461"/>
                      <a:pt x="573429" y="116952"/>
                      <a:pt x="600456" y="100912"/>
                    </a:cubicBezTo>
                    <a:cubicBezTo>
                      <a:pt x="623384" y="87310"/>
                      <a:pt x="644017" y="70564"/>
                      <a:pt x="659809" y="48589"/>
                    </a:cubicBezTo>
                    <a:cubicBezTo>
                      <a:pt x="665038" y="41311"/>
                      <a:pt x="666557" y="36507"/>
                      <a:pt x="654580" y="34669"/>
                    </a:cubicBezTo>
                    <a:cubicBezTo>
                      <a:pt x="629108" y="30819"/>
                      <a:pt x="603847" y="28628"/>
                      <a:pt x="578092" y="32408"/>
                    </a:cubicBezTo>
                    <a:cubicBezTo>
                      <a:pt x="523049" y="40499"/>
                      <a:pt x="477686" y="62827"/>
                      <a:pt x="450730" y="114478"/>
                    </a:cubicBezTo>
                    <a:cubicBezTo>
                      <a:pt x="447232" y="121156"/>
                      <a:pt x="448186" y="124512"/>
                      <a:pt x="454263" y="128363"/>
                    </a:cubicBezTo>
                    <a:cubicBezTo>
                      <a:pt x="466239" y="135888"/>
                      <a:pt x="478817" y="140552"/>
                      <a:pt x="493231" y="138962"/>
                    </a:cubicBezTo>
                    <a:close/>
                    <a:moveTo>
                      <a:pt x="852283" y="1361110"/>
                    </a:moveTo>
                    <a:cubicBezTo>
                      <a:pt x="870796" y="1363442"/>
                      <a:pt x="888284" y="1359096"/>
                      <a:pt x="904500" y="1352348"/>
                    </a:cubicBezTo>
                    <a:cubicBezTo>
                      <a:pt x="945623" y="1335213"/>
                      <a:pt x="986182" y="1316630"/>
                      <a:pt x="1026704" y="1298082"/>
                    </a:cubicBezTo>
                    <a:cubicBezTo>
                      <a:pt x="1033770" y="1294832"/>
                      <a:pt x="1039988" y="1289285"/>
                      <a:pt x="1045782" y="1283915"/>
                    </a:cubicBezTo>
                    <a:cubicBezTo>
                      <a:pt x="1052000" y="1278192"/>
                      <a:pt x="1055392" y="1270737"/>
                      <a:pt x="1050658" y="1262435"/>
                    </a:cubicBezTo>
                    <a:cubicBezTo>
                      <a:pt x="1045994" y="1254309"/>
                      <a:pt x="1038222" y="1252649"/>
                      <a:pt x="1029849" y="1255404"/>
                    </a:cubicBezTo>
                    <a:cubicBezTo>
                      <a:pt x="1024161" y="1257312"/>
                      <a:pt x="1018472" y="1256853"/>
                      <a:pt x="1012749" y="1257171"/>
                    </a:cubicBezTo>
                    <a:cubicBezTo>
                      <a:pt x="989714" y="1258407"/>
                      <a:pt x="967033" y="1261446"/>
                      <a:pt x="953467" y="1283209"/>
                    </a:cubicBezTo>
                    <a:cubicBezTo>
                      <a:pt x="943186" y="1299707"/>
                      <a:pt x="927535" y="1305961"/>
                      <a:pt x="910011" y="1310660"/>
                    </a:cubicBezTo>
                    <a:cubicBezTo>
                      <a:pt x="881147" y="1318432"/>
                      <a:pt x="851329" y="1317407"/>
                      <a:pt x="822041" y="1320870"/>
                    </a:cubicBezTo>
                    <a:cubicBezTo>
                      <a:pt x="812290" y="1322000"/>
                      <a:pt x="804589" y="1326416"/>
                      <a:pt x="802257" y="1335531"/>
                    </a:cubicBezTo>
                    <a:cubicBezTo>
                      <a:pt x="799536" y="1346236"/>
                      <a:pt x="807768" y="1351606"/>
                      <a:pt x="816389" y="1355068"/>
                    </a:cubicBezTo>
                    <a:cubicBezTo>
                      <a:pt x="827977" y="1359732"/>
                      <a:pt x="839847" y="1363300"/>
                      <a:pt x="852283" y="1361110"/>
                    </a:cubicBezTo>
                    <a:close/>
                    <a:moveTo>
                      <a:pt x="1432038" y="740197"/>
                    </a:moveTo>
                    <a:cubicBezTo>
                      <a:pt x="1426985" y="747898"/>
                      <a:pt x="1426774" y="755247"/>
                      <a:pt x="1427975" y="762030"/>
                    </a:cubicBezTo>
                    <a:cubicBezTo>
                      <a:pt x="1430059" y="773512"/>
                      <a:pt x="1428576" y="784641"/>
                      <a:pt x="1428222" y="796088"/>
                    </a:cubicBezTo>
                    <a:cubicBezTo>
                      <a:pt x="1426597" y="844807"/>
                      <a:pt x="1416140" y="891477"/>
                      <a:pt x="1398192" y="936486"/>
                    </a:cubicBezTo>
                    <a:cubicBezTo>
                      <a:pt x="1389360" y="958603"/>
                      <a:pt x="1383672" y="981814"/>
                      <a:pt x="1372190" y="1003118"/>
                    </a:cubicBezTo>
                    <a:cubicBezTo>
                      <a:pt x="1355833" y="1033430"/>
                      <a:pt x="1331278" y="1056182"/>
                      <a:pt x="1307926" y="1080383"/>
                    </a:cubicBezTo>
                    <a:cubicBezTo>
                      <a:pt x="1294076" y="1094727"/>
                      <a:pt x="1280899" y="1110166"/>
                      <a:pt x="1281429" y="1131999"/>
                    </a:cubicBezTo>
                    <a:cubicBezTo>
                      <a:pt x="1281676" y="1142174"/>
                      <a:pt x="1278426" y="1151077"/>
                      <a:pt x="1273974" y="1159839"/>
                    </a:cubicBezTo>
                    <a:cubicBezTo>
                      <a:pt x="1255002" y="1197146"/>
                      <a:pt x="1225290" y="1224562"/>
                      <a:pt x="1192293" y="1248974"/>
                    </a:cubicBezTo>
                    <a:cubicBezTo>
                      <a:pt x="1185509" y="1253991"/>
                      <a:pt x="1177666" y="1257136"/>
                      <a:pt x="1169788" y="1260174"/>
                    </a:cubicBezTo>
                    <a:cubicBezTo>
                      <a:pt x="1159896" y="1264025"/>
                      <a:pt x="1152335" y="1262223"/>
                      <a:pt x="1147566" y="1252543"/>
                    </a:cubicBezTo>
                    <a:cubicBezTo>
                      <a:pt x="1144634" y="1246572"/>
                      <a:pt x="1139652" y="1244452"/>
                      <a:pt x="1134529" y="1247279"/>
                    </a:cubicBezTo>
                    <a:cubicBezTo>
                      <a:pt x="1118348" y="1256182"/>
                      <a:pt x="1106902" y="1270137"/>
                      <a:pt x="1096162" y="1284728"/>
                    </a:cubicBezTo>
                    <a:cubicBezTo>
                      <a:pt x="1106690" y="1278157"/>
                      <a:pt x="1115946" y="1270172"/>
                      <a:pt x="1125909" y="1263106"/>
                    </a:cubicBezTo>
                    <a:cubicBezTo>
                      <a:pt x="1130007" y="1260209"/>
                      <a:pt x="1136013" y="1254945"/>
                      <a:pt x="1140429" y="1262965"/>
                    </a:cubicBezTo>
                    <a:cubicBezTo>
                      <a:pt x="1150675" y="1281583"/>
                      <a:pt x="1179256" y="1283032"/>
                      <a:pt x="1191904" y="1265579"/>
                    </a:cubicBezTo>
                    <a:cubicBezTo>
                      <a:pt x="1196568" y="1259149"/>
                      <a:pt x="1198617" y="1250529"/>
                      <a:pt x="1205683" y="1246219"/>
                    </a:cubicBezTo>
                    <a:cubicBezTo>
                      <a:pt x="1226280" y="1233677"/>
                      <a:pt x="1243203" y="1217107"/>
                      <a:pt x="1259984" y="1200079"/>
                    </a:cubicBezTo>
                    <a:cubicBezTo>
                      <a:pt x="1266237" y="1193719"/>
                      <a:pt x="1275529" y="1190787"/>
                      <a:pt x="1280051" y="1181778"/>
                    </a:cubicBezTo>
                    <a:cubicBezTo>
                      <a:pt x="1290544" y="1160757"/>
                      <a:pt x="1301531" y="1140125"/>
                      <a:pt x="1305665" y="1116489"/>
                    </a:cubicBezTo>
                    <a:cubicBezTo>
                      <a:pt x="1307855" y="1104054"/>
                      <a:pt x="1314214" y="1093490"/>
                      <a:pt x="1324778" y="1085576"/>
                    </a:cubicBezTo>
                    <a:cubicBezTo>
                      <a:pt x="1330395" y="1081337"/>
                      <a:pt x="1335588" y="1076285"/>
                      <a:pt x="1340040" y="1070809"/>
                    </a:cubicBezTo>
                    <a:cubicBezTo>
                      <a:pt x="1352017" y="1056147"/>
                      <a:pt x="1368551" y="1044135"/>
                      <a:pt x="1373603" y="1025198"/>
                    </a:cubicBezTo>
                    <a:cubicBezTo>
                      <a:pt x="1379291" y="1003859"/>
                      <a:pt x="1388724" y="984676"/>
                      <a:pt x="1399676" y="965880"/>
                    </a:cubicBezTo>
                    <a:cubicBezTo>
                      <a:pt x="1408791" y="950229"/>
                      <a:pt x="1418542" y="934967"/>
                      <a:pt x="1422605" y="916773"/>
                    </a:cubicBezTo>
                    <a:cubicBezTo>
                      <a:pt x="1435571" y="858797"/>
                      <a:pt x="1439139" y="800398"/>
                      <a:pt x="1432038" y="740126"/>
                    </a:cubicBezTo>
                    <a:close/>
                    <a:moveTo>
                      <a:pt x="34162" y="800716"/>
                    </a:moveTo>
                    <a:cubicBezTo>
                      <a:pt x="39991" y="784182"/>
                      <a:pt x="39850" y="767153"/>
                      <a:pt x="45008" y="751184"/>
                    </a:cubicBezTo>
                    <a:cubicBezTo>
                      <a:pt x="50908" y="732954"/>
                      <a:pt x="60588" y="716455"/>
                      <a:pt x="66771" y="698508"/>
                    </a:cubicBezTo>
                    <a:cubicBezTo>
                      <a:pt x="72494" y="681868"/>
                      <a:pt x="75532" y="664980"/>
                      <a:pt x="64580" y="649153"/>
                    </a:cubicBezTo>
                    <a:cubicBezTo>
                      <a:pt x="59528" y="641840"/>
                      <a:pt x="62284" y="637070"/>
                      <a:pt x="67901" y="632053"/>
                    </a:cubicBezTo>
                    <a:cubicBezTo>
                      <a:pt x="75744" y="625094"/>
                      <a:pt x="84506" y="619441"/>
                      <a:pt x="90229" y="609796"/>
                    </a:cubicBezTo>
                    <a:cubicBezTo>
                      <a:pt x="105809" y="583511"/>
                      <a:pt x="114077" y="554859"/>
                      <a:pt x="120507" y="525394"/>
                    </a:cubicBezTo>
                    <a:cubicBezTo>
                      <a:pt x="123792" y="510344"/>
                      <a:pt x="123828" y="495470"/>
                      <a:pt x="120400" y="480208"/>
                    </a:cubicBezTo>
                    <a:cubicBezTo>
                      <a:pt x="107293" y="499568"/>
                      <a:pt x="95811" y="519317"/>
                      <a:pt x="84153" y="538961"/>
                    </a:cubicBezTo>
                    <a:cubicBezTo>
                      <a:pt x="74932" y="554505"/>
                      <a:pt x="63061" y="569344"/>
                      <a:pt x="62990" y="588316"/>
                    </a:cubicBezTo>
                    <a:cubicBezTo>
                      <a:pt x="62884" y="619264"/>
                      <a:pt x="50236" y="645797"/>
                      <a:pt x="36175" y="672046"/>
                    </a:cubicBezTo>
                    <a:cubicBezTo>
                      <a:pt x="29781" y="684023"/>
                      <a:pt x="27025" y="696918"/>
                      <a:pt x="27378" y="710379"/>
                    </a:cubicBezTo>
                    <a:cubicBezTo>
                      <a:pt x="28120" y="737794"/>
                      <a:pt x="29110" y="765210"/>
                      <a:pt x="30063" y="792625"/>
                    </a:cubicBezTo>
                    <a:cubicBezTo>
                      <a:pt x="30134" y="795169"/>
                      <a:pt x="29710" y="798031"/>
                      <a:pt x="34162" y="800716"/>
                    </a:cubicBezTo>
                    <a:close/>
                    <a:moveTo>
                      <a:pt x="1246841" y="256644"/>
                    </a:moveTo>
                    <a:cubicBezTo>
                      <a:pt x="1241754" y="252546"/>
                      <a:pt x="1236348" y="248023"/>
                      <a:pt x="1230837" y="243713"/>
                    </a:cubicBezTo>
                    <a:cubicBezTo>
                      <a:pt x="1212784" y="229581"/>
                      <a:pt x="1194024" y="217358"/>
                      <a:pt x="1169364" y="222657"/>
                    </a:cubicBezTo>
                    <a:cubicBezTo>
                      <a:pt x="1160850" y="224494"/>
                      <a:pt x="1153183" y="227744"/>
                      <a:pt x="1151063" y="237601"/>
                    </a:cubicBezTo>
                    <a:cubicBezTo>
                      <a:pt x="1148838" y="247953"/>
                      <a:pt x="1156080" y="253111"/>
                      <a:pt x="1162863" y="257951"/>
                    </a:cubicBezTo>
                    <a:cubicBezTo>
                      <a:pt x="1180846" y="270776"/>
                      <a:pt x="1198122" y="284342"/>
                      <a:pt x="1214409" y="299322"/>
                    </a:cubicBezTo>
                    <a:cubicBezTo>
                      <a:pt x="1226386" y="310309"/>
                      <a:pt x="1239564" y="320095"/>
                      <a:pt x="1252883" y="329493"/>
                    </a:cubicBezTo>
                    <a:cubicBezTo>
                      <a:pt x="1263022" y="336629"/>
                      <a:pt x="1274221" y="330977"/>
                      <a:pt x="1276341" y="318717"/>
                    </a:cubicBezTo>
                    <a:cubicBezTo>
                      <a:pt x="1276836" y="315926"/>
                      <a:pt x="1275105" y="312393"/>
                      <a:pt x="1278602" y="310592"/>
                    </a:cubicBezTo>
                    <a:cubicBezTo>
                      <a:pt x="1283584" y="310486"/>
                      <a:pt x="1285032" y="317057"/>
                      <a:pt x="1290650" y="316174"/>
                    </a:cubicBezTo>
                    <a:cubicBezTo>
                      <a:pt x="1293335" y="309850"/>
                      <a:pt x="1292240" y="304303"/>
                      <a:pt x="1286657" y="300099"/>
                    </a:cubicBezTo>
                    <a:cubicBezTo>
                      <a:pt x="1272914" y="289747"/>
                      <a:pt x="1259701" y="278583"/>
                      <a:pt x="1244086" y="270917"/>
                    </a:cubicBezTo>
                    <a:cubicBezTo>
                      <a:pt x="1240447" y="269115"/>
                      <a:pt x="1233805" y="269892"/>
                      <a:pt x="1234370" y="263957"/>
                    </a:cubicBezTo>
                    <a:cubicBezTo>
                      <a:pt x="1234900" y="258092"/>
                      <a:pt x="1242390" y="263356"/>
                      <a:pt x="1246841" y="256714"/>
                    </a:cubicBezTo>
                    <a:close/>
                    <a:moveTo>
                      <a:pt x="1249738" y="886884"/>
                    </a:moveTo>
                    <a:cubicBezTo>
                      <a:pt x="1249738" y="885541"/>
                      <a:pt x="1249703" y="884234"/>
                      <a:pt x="1249738" y="882892"/>
                    </a:cubicBezTo>
                    <a:cubicBezTo>
                      <a:pt x="1250198" y="872470"/>
                      <a:pt x="1250798" y="861129"/>
                      <a:pt x="1237832" y="858161"/>
                    </a:cubicBezTo>
                    <a:cubicBezTo>
                      <a:pt x="1225926" y="855406"/>
                      <a:pt x="1221086" y="865580"/>
                      <a:pt x="1215928" y="873812"/>
                    </a:cubicBezTo>
                    <a:cubicBezTo>
                      <a:pt x="1210275" y="882786"/>
                      <a:pt x="1204022" y="891477"/>
                      <a:pt x="1199429" y="900980"/>
                    </a:cubicBezTo>
                    <a:cubicBezTo>
                      <a:pt x="1193953" y="912250"/>
                      <a:pt x="1176182" y="916843"/>
                      <a:pt x="1178868" y="930692"/>
                    </a:cubicBezTo>
                    <a:cubicBezTo>
                      <a:pt x="1181199" y="942704"/>
                      <a:pt x="1189820" y="953656"/>
                      <a:pt x="1196356" y="964679"/>
                    </a:cubicBezTo>
                    <a:cubicBezTo>
                      <a:pt x="1206990" y="982591"/>
                      <a:pt x="1218048" y="982344"/>
                      <a:pt x="1228470" y="963973"/>
                    </a:cubicBezTo>
                    <a:cubicBezTo>
                      <a:pt x="1242001" y="940125"/>
                      <a:pt x="1249138" y="914406"/>
                      <a:pt x="1249738" y="886919"/>
                    </a:cubicBezTo>
                    <a:close/>
                    <a:moveTo>
                      <a:pt x="1290367" y="1190363"/>
                    </a:moveTo>
                    <a:cubicBezTo>
                      <a:pt x="1309268" y="1190080"/>
                      <a:pt x="1326014" y="1184322"/>
                      <a:pt x="1342902" y="1179411"/>
                    </a:cubicBezTo>
                    <a:cubicBezTo>
                      <a:pt x="1359118" y="1174712"/>
                      <a:pt x="1368940" y="1163901"/>
                      <a:pt x="1374098" y="1147862"/>
                    </a:cubicBezTo>
                    <a:cubicBezTo>
                      <a:pt x="1384166" y="1116560"/>
                      <a:pt x="1376253" y="1085859"/>
                      <a:pt x="1371801" y="1054698"/>
                    </a:cubicBezTo>
                    <a:cubicBezTo>
                      <a:pt x="1368763" y="1075507"/>
                      <a:pt x="1358517" y="1094126"/>
                      <a:pt x="1354772" y="1114228"/>
                    </a:cubicBezTo>
                    <a:cubicBezTo>
                      <a:pt x="1348943" y="1145530"/>
                      <a:pt x="1328629" y="1163160"/>
                      <a:pt x="1302944" y="1177221"/>
                    </a:cubicBezTo>
                    <a:cubicBezTo>
                      <a:pt x="1297998" y="1179941"/>
                      <a:pt x="1292169" y="1181637"/>
                      <a:pt x="1290367" y="1190398"/>
                    </a:cubicBezTo>
                    <a:close/>
                    <a:moveTo>
                      <a:pt x="1291568" y="286815"/>
                    </a:moveTo>
                    <a:cubicBezTo>
                      <a:pt x="1289660" y="255195"/>
                      <a:pt x="1280228" y="229087"/>
                      <a:pt x="1258252" y="207925"/>
                    </a:cubicBezTo>
                    <a:cubicBezTo>
                      <a:pt x="1237161" y="187681"/>
                      <a:pt x="1211512" y="176517"/>
                      <a:pt x="1184096" y="168638"/>
                    </a:cubicBezTo>
                    <a:cubicBezTo>
                      <a:pt x="1180669" y="167649"/>
                      <a:pt x="1175476" y="162456"/>
                      <a:pt x="1173003" y="169204"/>
                    </a:cubicBezTo>
                    <a:cubicBezTo>
                      <a:pt x="1171060" y="174538"/>
                      <a:pt x="1171378" y="179979"/>
                      <a:pt x="1177454" y="184289"/>
                    </a:cubicBezTo>
                    <a:cubicBezTo>
                      <a:pt x="1187100" y="191108"/>
                      <a:pt x="1197875" y="194853"/>
                      <a:pt x="1209039" y="197326"/>
                    </a:cubicBezTo>
                    <a:cubicBezTo>
                      <a:pt x="1238892" y="203968"/>
                      <a:pt x="1254578" y="224741"/>
                      <a:pt x="1258889" y="252475"/>
                    </a:cubicBezTo>
                    <a:cubicBezTo>
                      <a:pt x="1260938" y="265653"/>
                      <a:pt x="1266096" y="271871"/>
                      <a:pt x="1276341" y="277099"/>
                    </a:cubicBezTo>
                    <a:cubicBezTo>
                      <a:pt x="1281005" y="279466"/>
                      <a:pt x="1285244" y="282717"/>
                      <a:pt x="1291604" y="286780"/>
                    </a:cubicBezTo>
                    <a:close/>
                    <a:moveTo>
                      <a:pt x="1372720" y="698261"/>
                    </a:moveTo>
                    <a:cubicBezTo>
                      <a:pt x="1389819" y="698119"/>
                      <a:pt x="1405187" y="682680"/>
                      <a:pt x="1408614" y="667241"/>
                    </a:cubicBezTo>
                    <a:cubicBezTo>
                      <a:pt x="1410063" y="660741"/>
                      <a:pt x="1397733" y="631983"/>
                      <a:pt x="1392257" y="629651"/>
                    </a:cubicBezTo>
                    <a:cubicBezTo>
                      <a:pt x="1390314" y="628838"/>
                      <a:pt x="1387664" y="628097"/>
                      <a:pt x="1385862" y="628732"/>
                    </a:cubicBezTo>
                    <a:cubicBezTo>
                      <a:pt x="1375264" y="632477"/>
                      <a:pt x="1363676" y="634632"/>
                      <a:pt x="1357069" y="645302"/>
                    </a:cubicBezTo>
                    <a:cubicBezTo>
                      <a:pt x="1349756" y="657102"/>
                      <a:pt x="1348166" y="669467"/>
                      <a:pt x="1355762" y="681514"/>
                    </a:cubicBezTo>
                    <a:cubicBezTo>
                      <a:pt x="1360849" y="689570"/>
                      <a:pt x="1366396" y="698049"/>
                      <a:pt x="1372720" y="698225"/>
                    </a:cubicBezTo>
                    <a:close/>
                    <a:moveTo>
                      <a:pt x="67548" y="445373"/>
                    </a:moveTo>
                    <a:cubicBezTo>
                      <a:pt x="67548" y="451450"/>
                      <a:pt x="67301" y="454559"/>
                      <a:pt x="67583" y="457632"/>
                    </a:cubicBezTo>
                    <a:cubicBezTo>
                      <a:pt x="68608" y="467984"/>
                      <a:pt x="72671" y="470351"/>
                      <a:pt x="81397" y="463391"/>
                    </a:cubicBezTo>
                    <a:cubicBezTo>
                      <a:pt x="89876" y="456643"/>
                      <a:pt x="95953" y="448235"/>
                      <a:pt x="101358" y="438979"/>
                    </a:cubicBezTo>
                    <a:cubicBezTo>
                      <a:pt x="111003" y="422621"/>
                      <a:pt x="121072" y="406511"/>
                      <a:pt x="127219" y="388387"/>
                    </a:cubicBezTo>
                    <a:cubicBezTo>
                      <a:pt x="128208" y="385419"/>
                      <a:pt x="129233" y="382169"/>
                      <a:pt x="126548" y="379731"/>
                    </a:cubicBezTo>
                    <a:cubicBezTo>
                      <a:pt x="124746" y="378106"/>
                      <a:pt x="122379" y="379131"/>
                      <a:pt x="120365" y="380085"/>
                    </a:cubicBezTo>
                    <a:cubicBezTo>
                      <a:pt x="85107" y="396795"/>
                      <a:pt x="69809" y="408560"/>
                      <a:pt x="67548" y="445373"/>
                    </a:cubicBezTo>
                    <a:close/>
                    <a:moveTo>
                      <a:pt x="1342054" y="364010"/>
                    </a:moveTo>
                    <a:cubicBezTo>
                      <a:pt x="1340782" y="371076"/>
                      <a:pt x="1343750" y="373831"/>
                      <a:pt x="1345693" y="376304"/>
                    </a:cubicBezTo>
                    <a:cubicBezTo>
                      <a:pt x="1362615" y="397608"/>
                      <a:pt x="1373391" y="422586"/>
                      <a:pt x="1387417" y="445550"/>
                    </a:cubicBezTo>
                    <a:cubicBezTo>
                      <a:pt x="1408226" y="479678"/>
                      <a:pt x="1413596" y="515184"/>
                      <a:pt x="1406777" y="553764"/>
                    </a:cubicBezTo>
                    <a:cubicBezTo>
                      <a:pt x="1405329" y="561960"/>
                      <a:pt x="1406565" y="570651"/>
                      <a:pt x="1406565" y="579095"/>
                    </a:cubicBezTo>
                    <a:cubicBezTo>
                      <a:pt x="1424336" y="548358"/>
                      <a:pt x="1426244" y="516809"/>
                      <a:pt x="1417234" y="483988"/>
                    </a:cubicBezTo>
                    <a:cubicBezTo>
                      <a:pt x="1404340" y="437106"/>
                      <a:pt x="1373214" y="402024"/>
                      <a:pt x="1342054" y="364010"/>
                    </a:cubicBezTo>
                    <a:close/>
                    <a:moveTo>
                      <a:pt x="366611" y="147441"/>
                    </a:moveTo>
                    <a:cubicBezTo>
                      <a:pt x="331917" y="155531"/>
                      <a:pt x="292031" y="183971"/>
                      <a:pt x="277899" y="211034"/>
                    </a:cubicBezTo>
                    <a:cubicBezTo>
                      <a:pt x="291041" y="208455"/>
                      <a:pt x="302806" y="206052"/>
                      <a:pt x="311709" y="196443"/>
                    </a:cubicBezTo>
                    <a:cubicBezTo>
                      <a:pt x="323438" y="183759"/>
                      <a:pt x="336016" y="172348"/>
                      <a:pt x="352126" y="165035"/>
                    </a:cubicBezTo>
                    <a:cubicBezTo>
                      <a:pt x="358803" y="161996"/>
                      <a:pt x="364456" y="156556"/>
                      <a:pt x="366611" y="147441"/>
                    </a:cubicBezTo>
                    <a:close/>
                    <a:moveTo>
                      <a:pt x="1430624" y="678512"/>
                    </a:moveTo>
                    <a:cubicBezTo>
                      <a:pt x="1448431" y="666817"/>
                      <a:pt x="1454931" y="617250"/>
                      <a:pt x="1442000" y="592061"/>
                    </a:cubicBezTo>
                    <a:cubicBezTo>
                      <a:pt x="1439386" y="586973"/>
                      <a:pt x="1435924" y="584818"/>
                      <a:pt x="1430872" y="590365"/>
                    </a:cubicBezTo>
                    <a:cubicBezTo>
                      <a:pt x="1424265" y="597607"/>
                      <a:pt x="1416987" y="604037"/>
                      <a:pt x="1407484" y="591389"/>
                    </a:cubicBezTo>
                    <a:cubicBezTo>
                      <a:pt x="1406247" y="600010"/>
                      <a:pt x="1410452" y="601458"/>
                      <a:pt x="1415433" y="602977"/>
                    </a:cubicBezTo>
                    <a:cubicBezTo>
                      <a:pt x="1420803" y="604638"/>
                      <a:pt x="1426844" y="605768"/>
                      <a:pt x="1429706" y="611668"/>
                    </a:cubicBezTo>
                    <a:cubicBezTo>
                      <a:pt x="1437832" y="628591"/>
                      <a:pt x="1442248" y="645797"/>
                      <a:pt x="1431437" y="663179"/>
                    </a:cubicBezTo>
                    <a:cubicBezTo>
                      <a:pt x="1428363" y="668125"/>
                      <a:pt x="1426844" y="672435"/>
                      <a:pt x="1430660" y="678476"/>
                    </a:cubicBezTo>
                    <a:close/>
                    <a:moveTo>
                      <a:pt x="766751" y="1349592"/>
                    </a:moveTo>
                    <a:cubicBezTo>
                      <a:pt x="782543" y="1372239"/>
                      <a:pt x="818367" y="1385275"/>
                      <a:pt x="855533" y="1380364"/>
                    </a:cubicBezTo>
                    <a:cubicBezTo>
                      <a:pt x="826811" y="1379728"/>
                      <a:pt x="805366" y="1370331"/>
                      <a:pt x="787878" y="1352984"/>
                    </a:cubicBezTo>
                    <a:cubicBezTo>
                      <a:pt x="781201" y="1346377"/>
                      <a:pt x="775407" y="1343763"/>
                      <a:pt x="766786" y="1349557"/>
                    </a:cubicBezTo>
                    <a:close/>
                    <a:moveTo>
                      <a:pt x="1325308" y="365882"/>
                    </a:moveTo>
                    <a:cubicBezTo>
                      <a:pt x="1321563" y="354082"/>
                      <a:pt x="1320220" y="340834"/>
                      <a:pt x="1306901" y="334863"/>
                    </a:cubicBezTo>
                    <a:cubicBezTo>
                      <a:pt x="1310893" y="346522"/>
                      <a:pt x="1317005" y="356838"/>
                      <a:pt x="1325308" y="365882"/>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6" name="Freeform: Shape 875">
                <a:extLst>
                  <a:ext uri="{FF2B5EF4-FFF2-40B4-BE49-F238E27FC236}">
                    <a16:creationId xmlns:a16="http://schemas.microsoft.com/office/drawing/2014/main" id="{CEE23B63-7802-AD14-15D6-16CE6F6A92EE}"/>
                  </a:ext>
                </a:extLst>
              </p:cNvPr>
              <p:cNvSpPr/>
              <p:nvPr/>
            </p:nvSpPr>
            <p:spPr>
              <a:xfrm>
                <a:off x="7635374" y="2533691"/>
                <a:ext cx="1275985" cy="1306265"/>
              </a:xfrm>
              <a:custGeom>
                <a:avLst/>
                <a:gdLst>
                  <a:gd name="connsiteX0" fmla="*/ 727050 w 1275984"/>
                  <a:gd name="connsiteY0" fmla="*/ 1234167 h 1306265"/>
                  <a:gd name="connsiteX1" fmla="*/ 705534 w 1275984"/>
                  <a:gd name="connsiteY1" fmla="*/ 1267376 h 1306265"/>
                  <a:gd name="connsiteX2" fmla="*/ 659359 w 1275984"/>
                  <a:gd name="connsiteY2" fmla="*/ 1270132 h 1306265"/>
                  <a:gd name="connsiteX3" fmla="*/ 637666 w 1275984"/>
                  <a:gd name="connsiteY3" fmla="*/ 1268471 h 1306265"/>
                  <a:gd name="connsiteX4" fmla="*/ 632084 w 1275984"/>
                  <a:gd name="connsiteY4" fmla="*/ 1275007 h 1306265"/>
                  <a:gd name="connsiteX5" fmla="*/ 599546 w 1275984"/>
                  <a:gd name="connsiteY5" fmla="*/ 1306239 h 1306265"/>
                  <a:gd name="connsiteX6" fmla="*/ 533622 w 1275984"/>
                  <a:gd name="connsiteY6" fmla="*/ 1293485 h 1306265"/>
                  <a:gd name="connsiteX7" fmla="*/ 516133 w 1275984"/>
                  <a:gd name="connsiteY7" fmla="*/ 1286807 h 1306265"/>
                  <a:gd name="connsiteX8" fmla="*/ 521609 w 1275984"/>
                  <a:gd name="connsiteY8" fmla="*/ 1276880 h 1306265"/>
                  <a:gd name="connsiteX9" fmla="*/ 509350 w 1275984"/>
                  <a:gd name="connsiteY9" fmla="*/ 1274407 h 1306265"/>
                  <a:gd name="connsiteX10" fmla="*/ 437384 w 1275984"/>
                  <a:gd name="connsiteY10" fmla="*/ 1252361 h 1306265"/>
                  <a:gd name="connsiteX11" fmla="*/ 430460 w 1275984"/>
                  <a:gd name="connsiteY11" fmla="*/ 1238477 h 1306265"/>
                  <a:gd name="connsiteX12" fmla="*/ 447665 w 1275984"/>
                  <a:gd name="connsiteY12" fmla="*/ 1231623 h 1306265"/>
                  <a:gd name="connsiteX13" fmla="*/ 477059 w 1275984"/>
                  <a:gd name="connsiteY13" fmla="*/ 1239749 h 1306265"/>
                  <a:gd name="connsiteX14" fmla="*/ 488329 w 1275984"/>
                  <a:gd name="connsiteY14" fmla="*/ 1243494 h 1306265"/>
                  <a:gd name="connsiteX15" fmla="*/ 580751 w 1275984"/>
                  <a:gd name="connsiteY15" fmla="*/ 1265928 h 1306265"/>
                  <a:gd name="connsiteX16" fmla="*/ 593822 w 1275984"/>
                  <a:gd name="connsiteY16" fmla="*/ 1264444 h 1306265"/>
                  <a:gd name="connsiteX17" fmla="*/ 598522 w 1275984"/>
                  <a:gd name="connsiteY17" fmla="*/ 1237947 h 1306265"/>
                  <a:gd name="connsiteX18" fmla="*/ 571247 w 1275984"/>
                  <a:gd name="connsiteY18" fmla="*/ 1229327 h 1306265"/>
                  <a:gd name="connsiteX19" fmla="*/ 544644 w 1275984"/>
                  <a:gd name="connsiteY19" fmla="*/ 1229327 h 1306265"/>
                  <a:gd name="connsiteX20" fmla="*/ 488047 w 1275984"/>
                  <a:gd name="connsiteY20" fmla="*/ 1215301 h 1306265"/>
                  <a:gd name="connsiteX21" fmla="*/ 431449 w 1275984"/>
                  <a:gd name="connsiteY21" fmla="*/ 1211803 h 1306265"/>
                  <a:gd name="connsiteX22" fmla="*/ 382695 w 1275984"/>
                  <a:gd name="connsiteY22" fmla="*/ 1210390 h 1306265"/>
                  <a:gd name="connsiteX23" fmla="*/ 365666 w 1275984"/>
                  <a:gd name="connsiteY23" fmla="*/ 1162978 h 1306265"/>
                  <a:gd name="connsiteX24" fmla="*/ 379409 w 1275984"/>
                  <a:gd name="connsiteY24" fmla="*/ 1156583 h 1306265"/>
                  <a:gd name="connsiteX25" fmla="*/ 401808 w 1275984"/>
                  <a:gd name="connsiteY25" fmla="*/ 1154782 h 1306265"/>
                  <a:gd name="connsiteX26" fmla="*/ 411806 w 1275984"/>
                  <a:gd name="connsiteY26" fmla="*/ 1143618 h 1306265"/>
                  <a:gd name="connsiteX27" fmla="*/ 402408 w 1275984"/>
                  <a:gd name="connsiteY27" fmla="*/ 1132453 h 1306265"/>
                  <a:gd name="connsiteX28" fmla="*/ 372802 w 1275984"/>
                  <a:gd name="connsiteY28" fmla="*/ 1125988 h 1306265"/>
                  <a:gd name="connsiteX29" fmla="*/ 329877 w 1275984"/>
                  <a:gd name="connsiteY29" fmla="*/ 1079071 h 1306265"/>
                  <a:gd name="connsiteX30" fmla="*/ 321045 w 1275984"/>
                  <a:gd name="connsiteY30" fmla="*/ 1059004 h 1306265"/>
                  <a:gd name="connsiteX31" fmla="*/ 311223 w 1275984"/>
                  <a:gd name="connsiteY31" fmla="*/ 1056637 h 1306265"/>
                  <a:gd name="connsiteX32" fmla="*/ 306418 w 1275984"/>
                  <a:gd name="connsiteY32" fmla="*/ 1065257 h 1306265"/>
                  <a:gd name="connsiteX33" fmla="*/ 312000 w 1275984"/>
                  <a:gd name="connsiteY33" fmla="*/ 1093768 h 1306265"/>
                  <a:gd name="connsiteX34" fmla="*/ 273279 w 1275984"/>
                  <a:gd name="connsiteY34" fmla="*/ 1169090 h 1306265"/>
                  <a:gd name="connsiteX35" fmla="*/ 126875 w 1275984"/>
                  <a:gd name="connsiteY35" fmla="*/ 1127013 h 1306265"/>
                  <a:gd name="connsiteX36" fmla="*/ 116452 w 1275984"/>
                  <a:gd name="connsiteY36" fmla="*/ 1102812 h 1306265"/>
                  <a:gd name="connsiteX37" fmla="*/ 91899 w 1275984"/>
                  <a:gd name="connsiteY37" fmla="*/ 1045897 h 1306265"/>
                  <a:gd name="connsiteX38" fmla="*/ 90344 w 1275984"/>
                  <a:gd name="connsiteY38" fmla="*/ 1031482 h 1306265"/>
                  <a:gd name="connsiteX39" fmla="*/ 104299 w 1275984"/>
                  <a:gd name="connsiteY39" fmla="*/ 1028267 h 1306265"/>
                  <a:gd name="connsiteX40" fmla="*/ 203257 w 1275984"/>
                  <a:gd name="connsiteY40" fmla="*/ 1022226 h 1306265"/>
                  <a:gd name="connsiteX41" fmla="*/ 220250 w 1275984"/>
                  <a:gd name="connsiteY41" fmla="*/ 1022085 h 1306265"/>
                  <a:gd name="connsiteX42" fmla="*/ 262327 w 1275984"/>
                  <a:gd name="connsiteY42" fmla="*/ 1020813 h 1306265"/>
                  <a:gd name="connsiteX43" fmla="*/ 270277 w 1275984"/>
                  <a:gd name="connsiteY43" fmla="*/ 1014489 h 1306265"/>
                  <a:gd name="connsiteX44" fmla="*/ 265154 w 1275984"/>
                  <a:gd name="connsiteY44" fmla="*/ 1005904 h 1306265"/>
                  <a:gd name="connsiteX45" fmla="*/ 217424 w 1275984"/>
                  <a:gd name="connsiteY45" fmla="*/ 992196 h 1306265"/>
                  <a:gd name="connsiteX46" fmla="*/ 176901 w 1275984"/>
                  <a:gd name="connsiteY46" fmla="*/ 986367 h 1306265"/>
                  <a:gd name="connsiteX47" fmla="*/ 135778 w 1275984"/>
                  <a:gd name="connsiteY47" fmla="*/ 945526 h 1306265"/>
                  <a:gd name="connsiteX48" fmla="*/ 125037 w 1275984"/>
                  <a:gd name="connsiteY48" fmla="*/ 930935 h 1306265"/>
                  <a:gd name="connsiteX49" fmla="*/ 111895 w 1275984"/>
                  <a:gd name="connsiteY49" fmla="*/ 942064 h 1306265"/>
                  <a:gd name="connsiteX50" fmla="*/ 52471 w 1275984"/>
                  <a:gd name="connsiteY50" fmla="*/ 972800 h 1306265"/>
                  <a:gd name="connsiteX51" fmla="*/ 3187 w 1275984"/>
                  <a:gd name="connsiteY51" fmla="*/ 913270 h 1306265"/>
                  <a:gd name="connsiteX52" fmla="*/ 2657 w 1275984"/>
                  <a:gd name="connsiteY52" fmla="*/ 831129 h 1306265"/>
                  <a:gd name="connsiteX53" fmla="*/ 1243 w 1275984"/>
                  <a:gd name="connsiteY53" fmla="*/ 808625 h 1306265"/>
                  <a:gd name="connsiteX54" fmla="*/ 21487 w 1275984"/>
                  <a:gd name="connsiteY54" fmla="*/ 688823 h 1306265"/>
                  <a:gd name="connsiteX55" fmla="*/ 23572 w 1275984"/>
                  <a:gd name="connsiteY55" fmla="*/ 691190 h 1306265"/>
                  <a:gd name="connsiteX56" fmla="*/ 43462 w 1275984"/>
                  <a:gd name="connsiteY56" fmla="*/ 728604 h 1306265"/>
                  <a:gd name="connsiteX57" fmla="*/ 58512 w 1275984"/>
                  <a:gd name="connsiteY57" fmla="*/ 773083 h 1306265"/>
                  <a:gd name="connsiteX58" fmla="*/ 78756 w 1275984"/>
                  <a:gd name="connsiteY58" fmla="*/ 807388 h 1306265"/>
                  <a:gd name="connsiteX59" fmla="*/ 103628 w 1275984"/>
                  <a:gd name="connsiteY59" fmla="*/ 847593 h 1306265"/>
                  <a:gd name="connsiteX60" fmla="*/ 118148 w 1275984"/>
                  <a:gd name="connsiteY60" fmla="*/ 872924 h 1306265"/>
                  <a:gd name="connsiteX61" fmla="*/ 133305 w 1275984"/>
                  <a:gd name="connsiteY61" fmla="*/ 881650 h 1306265"/>
                  <a:gd name="connsiteX62" fmla="*/ 141112 w 1275984"/>
                  <a:gd name="connsiteY62" fmla="*/ 866565 h 1306265"/>
                  <a:gd name="connsiteX63" fmla="*/ 132068 w 1275984"/>
                  <a:gd name="connsiteY63" fmla="*/ 805092 h 1306265"/>
                  <a:gd name="connsiteX64" fmla="*/ 137862 w 1275984"/>
                  <a:gd name="connsiteY64" fmla="*/ 754995 h 1306265"/>
                  <a:gd name="connsiteX65" fmla="*/ 131467 w 1275984"/>
                  <a:gd name="connsiteY65" fmla="*/ 739132 h 1306265"/>
                  <a:gd name="connsiteX66" fmla="*/ 85610 w 1275984"/>
                  <a:gd name="connsiteY66" fmla="*/ 727332 h 1306265"/>
                  <a:gd name="connsiteX67" fmla="*/ 61939 w 1275984"/>
                  <a:gd name="connsiteY67" fmla="*/ 676034 h 1306265"/>
                  <a:gd name="connsiteX68" fmla="*/ 73845 w 1275984"/>
                  <a:gd name="connsiteY68" fmla="*/ 577217 h 1306265"/>
                  <a:gd name="connsiteX69" fmla="*/ 110376 w 1275984"/>
                  <a:gd name="connsiteY69" fmla="*/ 544891 h 1306265"/>
                  <a:gd name="connsiteX70" fmla="*/ 136237 w 1275984"/>
                  <a:gd name="connsiteY70" fmla="*/ 513943 h 1306265"/>
                  <a:gd name="connsiteX71" fmla="*/ 137332 w 1275984"/>
                  <a:gd name="connsiteY71" fmla="*/ 500093 h 1306265"/>
                  <a:gd name="connsiteX72" fmla="*/ 113591 w 1275984"/>
                  <a:gd name="connsiteY72" fmla="*/ 518465 h 1306265"/>
                  <a:gd name="connsiteX73" fmla="*/ 82148 w 1275984"/>
                  <a:gd name="connsiteY73" fmla="*/ 520514 h 1306265"/>
                  <a:gd name="connsiteX74" fmla="*/ 64766 w 1275984"/>
                  <a:gd name="connsiteY74" fmla="*/ 485891 h 1306265"/>
                  <a:gd name="connsiteX75" fmla="*/ 104370 w 1275984"/>
                  <a:gd name="connsiteY75" fmla="*/ 384107 h 1306265"/>
                  <a:gd name="connsiteX76" fmla="*/ 110941 w 1275984"/>
                  <a:gd name="connsiteY76" fmla="*/ 371035 h 1306265"/>
                  <a:gd name="connsiteX77" fmla="*/ 110729 w 1275984"/>
                  <a:gd name="connsiteY77" fmla="*/ 362450 h 1306265"/>
                  <a:gd name="connsiteX78" fmla="*/ 103522 w 1275984"/>
                  <a:gd name="connsiteY78" fmla="*/ 363722 h 1306265"/>
                  <a:gd name="connsiteX79" fmla="*/ 92358 w 1275984"/>
                  <a:gd name="connsiteY79" fmla="*/ 364676 h 1306265"/>
                  <a:gd name="connsiteX80" fmla="*/ 92888 w 1275984"/>
                  <a:gd name="connsiteY80" fmla="*/ 353618 h 1306265"/>
                  <a:gd name="connsiteX81" fmla="*/ 101014 w 1275984"/>
                  <a:gd name="connsiteY81" fmla="*/ 322952 h 1306265"/>
                  <a:gd name="connsiteX82" fmla="*/ 152630 w 1275984"/>
                  <a:gd name="connsiteY82" fmla="*/ 255261 h 1306265"/>
                  <a:gd name="connsiteX83" fmla="*/ 189796 w 1275984"/>
                  <a:gd name="connsiteY83" fmla="*/ 216010 h 1306265"/>
                  <a:gd name="connsiteX84" fmla="*/ 198664 w 1275984"/>
                  <a:gd name="connsiteY84" fmla="*/ 208414 h 1306265"/>
                  <a:gd name="connsiteX85" fmla="*/ 283949 w 1275984"/>
                  <a:gd name="connsiteY85" fmla="*/ 165737 h 1306265"/>
                  <a:gd name="connsiteX86" fmla="*/ 358141 w 1275984"/>
                  <a:gd name="connsiteY86" fmla="*/ 119314 h 1306265"/>
                  <a:gd name="connsiteX87" fmla="*/ 367715 w 1275984"/>
                  <a:gd name="connsiteY87" fmla="*/ 121716 h 1306265"/>
                  <a:gd name="connsiteX88" fmla="*/ 366337 w 1275984"/>
                  <a:gd name="connsiteY88" fmla="*/ 147436 h 1306265"/>
                  <a:gd name="connsiteX89" fmla="*/ 371142 w 1275984"/>
                  <a:gd name="connsiteY89" fmla="*/ 153831 h 1306265"/>
                  <a:gd name="connsiteX90" fmla="*/ 489919 w 1275984"/>
                  <a:gd name="connsiteY90" fmla="*/ 127899 h 1306265"/>
                  <a:gd name="connsiteX91" fmla="*/ 535988 w 1275984"/>
                  <a:gd name="connsiteY91" fmla="*/ 102426 h 1306265"/>
                  <a:gd name="connsiteX92" fmla="*/ 589053 w 1275984"/>
                  <a:gd name="connsiteY92" fmla="*/ 52188 h 1306265"/>
                  <a:gd name="connsiteX93" fmla="*/ 665329 w 1275984"/>
                  <a:gd name="connsiteY93" fmla="*/ 37032 h 1306265"/>
                  <a:gd name="connsiteX94" fmla="*/ 691861 w 1275984"/>
                  <a:gd name="connsiteY94" fmla="*/ 36325 h 1306265"/>
                  <a:gd name="connsiteX95" fmla="*/ 771352 w 1275984"/>
                  <a:gd name="connsiteY95" fmla="*/ 8062 h 1306265"/>
                  <a:gd name="connsiteX96" fmla="*/ 856355 w 1275984"/>
                  <a:gd name="connsiteY96" fmla="*/ 5306 h 1306265"/>
                  <a:gd name="connsiteX97" fmla="*/ 895040 w 1275984"/>
                  <a:gd name="connsiteY97" fmla="*/ 32227 h 1306265"/>
                  <a:gd name="connsiteX98" fmla="*/ 958386 w 1275984"/>
                  <a:gd name="connsiteY98" fmla="*/ 69535 h 1306265"/>
                  <a:gd name="connsiteX99" fmla="*/ 1067624 w 1275984"/>
                  <a:gd name="connsiteY99" fmla="*/ 182624 h 1306265"/>
                  <a:gd name="connsiteX100" fmla="*/ 1046179 w 1275984"/>
                  <a:gd name="connsiteY100" fmla="*/ 229365 h 1306265"/>
                  <a:gd name="connsiteX101" fmla="*/ 1031447 w 1275984"/>
                  <a:gd name="connsiteY101" fmla="*/ 248125 h 1306265"/>
                  <a:gd name="connsiteX102" fmla="*/ 1031624 w 1275984"/>
                  <a:gd name="connsiteY102" fmla="*/ 273173 h 1306265"/>
                  <a:gd name="connsiteX103" fmla="*/ 1060417 w 1275984"/>
                  <a:gd name="connsiteY103" fmla="*/ 349767 h 1306265"/>
                  <a:gd name="connsiteX104" fmla="*/ 1083417 w 1275984"/>
                  <a:gd name="connsiteY104" fmla="*/ 385520 h 1306265"/>
                  <a:gd name="connsiteX105" fmla="*/ 1076845 w 1275984"/>
                  <a:gd name="connsiteY105" fmla="*/ 332703 h 1306265"/>
                  <a:gd name="connsiteX106" fmla="*/ 1075220 w 1275984"/>
                  <a:gd name="connsiteY106" fmla="*/ 305570 h 1306265"/>
                  <a:gd name="connsiteX107" fmla="*/ 1092072 w 1275984"/>
                  <a:gd name="connsiteY107" fmla="*/ 304051 h 1306265"/>
                  <a:gd name="connsiteX108" fmla="*/ 1163296 w 1275984"/>
                  <a:gd name="connsiteY108" fmla="*/ 393010 h 1306265"/>
                  <a:gd name="connsiteX109" fmla="*/ 1180042 w 1275984"/>
                  <a:gd name="connsiteY109" fmla="*/ 457239 h 1306265"/>
                  <a:gd name="connsiteX110" fmla="*/ 1168560 w 1275984"/>
                  <a:gd name="connsiteY110" fmla="*/ 465082 h 1306265"/>
                  <a:gd name="connsiteX111" fmla="*/ 1161282 w 1275984"/>
                  <a:gd name="connsiteY111" fmla="*/ 468686 h 1306265"/>
                  <a:gd name="connsiteX112" fmla="*/ 1159057 w 1275984"/>
                  <a:gd name="connsiteY112" fmla="*/ 477624 h 1306265"/>
                  <a:gd name="connsiteX113" fmla="*/ 1146586 w 1275984"/>
                  <a:gd name="connsiteY113" fmla="*/ 547611 h 1306265"/>
                  <a:gd name="connsiteX114" fmla="*/ 1145808 w 1275984"/>
                  <a:gd name="connsiteY114" fmla="*/ 567431 h 1306265"/>
                  <a:gd name="connsiteX115" fmla="*/ 1151355 w 1275984"/>
                  <a:gd name="connsiteY115" fmla="*/ 575628 h 1306265"/>
                  <a:gd name="connsiteX116" fmla="*/ 1159021 w 1275984"/>
                  <a:gd name="connsiteY116" fmla="*/ 569480 h 1306265"/>
                  <a:gd name="connsiteX117" fmla="*/ 1181067 w 1275984"/>
                  <a:gd name="connsiteY117" fmla="*/ 531643 h 1306265"/>
                  <a:gd name="connsiteX118" fmla="*/ 1181632 w 1275984"/>
                  <a:gd name="connsiteY118" fmla="*/ 548671 h 1306265"/>
                  <a:gd name="connsiteX119" fmla="*/ 1169620 w 1275984"/>
                  <a:gd name="connsiteY119" fmla="*/ 647911 h 1306265"/>
                  <a:gd name="connsiteX120" fmla="*/ 1159127 w 1275984"/>
                  <a:gd name="connsiteY120" fmla="*/ 712847 h 1306265"/>
                  <a:gd name="connsiteX121" fmla="*/ 1147045 w 1275984"/>
                  <a:gd name="connsiteY121" fmla="*/ 733302 h 1306265"/>
                  <a:gd name="connsiteX122" fmla="*/ 1141392 w 1275984"/>
                  <a:gd name="connsiteY122" fmla="*/ 742206 h 1306265"/>
                  <a:gd name="connsiteX123" fmla="*/ 1143088 w 1275984"/>
                  <a:gd name="connsiteY123" fmla="*/ 755595 h 1306265"/>
                  <a:gd name="connsiteX124" fmla="*/ 1156937 w 1275984"/>
                  <a:gd name="connsiteY124" fmla="*/ 751992 h 1306265"/>
                  <a:gd name="connsiteX125" fmla="*/ 1175626 w 1275984"/>
                  <a:gd name="connsiteY125" fmla="*/ 705675 h 1306265"/>
                  <a:gd name="connsiteX126" fmla="*/ 1202335 w 1275984"/>
                  <a:gd name="connsiteY126" fmla="*/ 620461 h 1306265"/>
                  <a:gd name="connsiteX127" fmla="*/ 1210779 w 1275984"/>
                  <a:gd name="connsiteY127" fmla="*/ 550155 h 1306265"/>
                  <a:gd name="connsiteX128" fmla="*/ 1212015 w 1275984"/>
                  <a:gd name="connsiteY128" fmla="*/ 477518 h 1306265"/>
                  <a:gd name="connsiteX129" fmla="*/ 1208200 w 1275984"/>
                  <a:gd name="connsiteY129" fmla="*/ 416964 h 1306265"/>
                  <a:gd name="connsiteX130" fmla="*/ 1208765 w 1275984"/>
                  <a:gd name="connsiteY130" fmla="*/ 409509 h 1306265"/>
                  <a:gd name="connsiteX131" fmla="*/ 1214524 w 1275984"/>
                  <a:gd name="connsiteY131" fmla="*/ 379868 h 1306265"/>
                  <a:gd name="connsiteX132" fmla="*/ 1223462 w 1275984"/>
                  <a:gd name="connsiteY132" fmla="*/ 374462 h 1306265"/>
                  <a:gd name="connsiteX133" fmla="*/ 1254340 w 1275984"/>
                  <a:gd name="connsiteY133" fmla="*/ 421097 h 1306265"/>
                  <a:gd name="connsiteX134" fmla="*/ 1252998 w 1275984"/>
                  <a:gd name="connsiteY134" fmla="*/ 432791 h 1306265"/>
                  <a:gd name="connsiteX135" fmla="*/ 1250242 w 1275984"/>
                  <a:gd name="connsiteY135" fmla="*/ 472254 h 1306265"/>
                  <a:gd name="connsiteX136" fmla="*/ 1248687 w 1275984"/>
                  <a:gd name="connsiteY136" fmla="*/ 522174 h 1306265"/>
                  <a:gd name="connsiteX137" fmla="*/ 1238724 w 1275984"/>
                  <a:gd name="connsiteY137" fmla="*/ 627385 h 1306265"/>
                  <a:gd name="connsiteX138" fmla="*/ 1234909 w 1275984"/>
                  <a:gd name="connsiteY138" fmla="*/ 657556 h 1306265"/>
                  <a:gd name="connsiteX139" fmla="*/ 1220459 w 1275984"/>
                  <a:gd name="connsiteY139" fmla="*/ 684018 h 1306265"/>
                  <a:gd name="connsiteX140" fmla="*/ 1206504 w 1275984"/>
                  <a:gd name="connsiteY140" fmla="*/ 715885 h 1306265"/>
                  <a:gd name="connsiteX141" fmla="*/ 1216078 w 1275984"/>
                  <a:gd name="connsiteY141" fmla="*/ 734892 h 1306265"/>
                  <a:gd name="connsiteX142" fmla="*/ 1238088 w 1275984"/>
                  <a:gd name="connsiteY142" fmla="*/ 729593 h 1306265"/>
                  <a:gd name="connsiteX143" fmla="*/ 1252362 w 1275984"/>
                  <a:gd name="connsiteY143" fmla="*/ 717793 h 1306265"/>
                  <a:gd name="connsiteX144" fmla="*/ 1269779 w 1275984"/>
                  <a:gd name="connsiteY144" fmla="*/ 717051 h 1306265"/>
                  <a:gd name="connsiteX145" fmla="*/ 1275962 w 1275984"/>
                  <a:gd name="connsiteY145" fmla="*/ 731819 h 1306265"/>
                  <a:gd name="connsiteX146" fmla="*/ 1261618 w 1275984"/>
                  <a:gd name="connsiteY146" fmla="*/ 764074 h 1306265"/>
                  <a:gd name="connsiteX147" fmla="*/ 1229080 w 1275984"/>
                  <a:gd name="connsiteY147" fmla="*/ 807635 h 1306265"/>
                  <a:gd name="connsiteX148" fmla="*/ 1219223 w 1275984"/>
                  <a:gd name="connsiteY148" fmla="*/ 816326 h 1306265"/>
                  <a:gd name="connsiteX149" fmla="*/ 1202688 w 1275984"/>
                  <a:gd name="connsiteY149" fmla="*/ 818588 h 1306265"/>
                  <a:gd name="connsiteX150" fmla="*/ 1200357 w 1275984"/>
                  <a:gd name="connsiteY150" fmla="*/ 798838 h 1306265"/>
                  <a:gd name="connsiteX151" fmla="*/ 1212793 w 1275984"/>
                  <a:gd name="connsiteY151" fmla="*/ 778453 h 1306265"/>
                  <a:gd name="connsiteX152" fmla="*/ 1214665 w 1275984"/>
                  <a:gd name="connsiteY152" fmla="*/ 766724 h 1306265"/>
                  <a:gd name="connsiteX153" fmla="*/ 1203960 w 1275984"/>
                  <a:gd name="connsiteY153" fmla="*/ 769939 h 1306265"/>
                  <a:gd name="connsiteX154" fmla="*/ 1148529 w 1275984"/>
                  <a:gd name="connsiteY154" fmla="*/ 808766 h 1306265"/>
                  <a:gd name="connsiteX155" fmla="*/ 1130228 w 1275984"/>
                  <a:gd name="connsiteY155" fmla="*/ 819435 h 1306265"/>
                  <a:gd name="connsiteX156" fmla="*/ 1110090 w 1275984"/>
                  <a:gd name="connsiteY156" fmla="*/ 843813 h 1306265"/>
                  <a:gd name="connsiteX157" fmla="*/ 1081968 w 1275984"/>
                  <a:gd name="connsiteY157" fmla="*/ 910797 h 1306265"/>
                  <a:gd name="connsiteX158" fmla="*/ 1086985 w 1275984"/>
                  <a:gd name="connsiteY158" fmla="*/ 966441 h 1306265"/>
                  <a:gd name="connsiteX159" fmla="*/ 1096736 w 1275984"/>
                  <a:gd name="connsiteY159" fmla="*/ 982198 h 1306265"/>
                  <a:gd name="connsiteX160" fmla="*/ 1098537 w 1275984"/>
                  <a:gd name="connsiteY160" fmla="*/ 1005268 h 1306265"/>
                  <a:gd name="connsiteX161" fmla="*/ 1099421 w 1275984"/>
                  <a:gd name="connsiteY161" fmla="*/ 1038548 h 1306265"/>
                  <a:gd name="connsiteX162" fmla="*/ 1091048 w 1275984"/>
                  <a:gd name="connsiteY162" fmla="*/ 1102141 h 1306265"/>
                  <a:gd name="connsiteX163" fmla="*/ 1003290 w 1275984"/>
                  <a:gd name="connsiteY163" fmla="*/ 1175131 h 1306265"/>
                  <a:gd name="connsiteX164" fmla="*/ 986685 w 1275984"/>
                  <a:gd name="connsiteY164" fmla="*/ 1179265 h 1306265"/>
                  <a:gd name="connsiteX165" fmla="*/ 911186 w 1275984"/>
                  <a:gd name="connsiteY165" fmla="*/ 1198449 h 1306265"/>
                  <a:gd name="connsiteX166" fmla="*/ 885537 w 1275984"/>
                  <a:gd name="connsiteY166" fmla="*/ 1195340 h 1306265"/>
                  <a:gd name="connsiteX167" fmla="*/ 836288 w 1275984"/>
                  <a:gd name="connsiteY167" fmla="*/ 1214559 h 1306265"/>
                  <a:gd name="connsiteX168" fmla="*/ 788311 w 1275984"/>
                  <a:gd name="connsiteY168" fmla="*/ 1247698 h 1306265"/>
                  <a:gd name="connsiteX169" fmla="*/ 748777 w 1275984"/>
                  <a:gd name="connsiteY169" fmla="*/ 1244624 h 1306265"/>
                  <a:gd name="connsiteX170" fmla="*/ 726908 w 1275984"/>
                  <a:gd name="connsiteY170" fmla="*/ 1234202 h 1306265"/>
                  <a:gd name="connsiteX171" fmla="*/ 746339 w 1275984"/>
                  <a:gd name="connsiteY171" fmla="*/ 1223179 h 1306265"/>
                  <a:gd name="connsiteX172" fmla="*/ 762944 w 1275984"/>
                  <a:gd name="connsiteY172" fmla="*/ 1210072 h 1306265"/>
                  <a:gd name="connsiteX173" fmla="*/ 766088 w 1275984"/>
                  <a:gd name="connsiteY173" fmla="*/ 1195304 h 1306265"/>
                  <a:gd name="connsiteX174" fmla="*/ 754500 w 1275984"/>
                  <a:gd name="connsiteY174" fmla="*/ 1191701 h 1306265"/>
                  <a:gd name="connsiteX175" fmla="*/ 735175 w 1275984"/>
                  <a:gd name="connsiteY175" fmla="*/ 1195410 h 1306265"/>
                  <a:gd name="connsiteX176" fmla="*/ 677200 w 1275984"/>
                  <a:gd name="connsiteY176" fmla="*/ 1207670 h 1306265"/>
                  <a:gd name="connsiteX177" fmla="*/ 653741 w 1275984"/>
                  <a:gd name="connsiteY177" fmla="*/ 1219187 h 1306265"/>
                  <a:gd name="connsiteX178" fmla="*/ 674797 w 1275984"/>
                  <a:gd name="connsiteY178" fmla="*/ 1236357 h 1306265"/>
                  <a:gd name="connsiteX179" fmla="*/ 677412 w 1275984"/>
                  <a:gd name="connsiteY179" fmla="*/ 1236675 h 1306265"/>
                  <a:gd name="connsiteX180" fmla="*/ 727014 w 1275984"/>
                  <a:gd name="connsiteY180" fmla="*/ 1234167 h 130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275984" h="1306265">
                    <a:moveTo>
                      <a:pt x="727050" y="1234167"/>
                    </a:moveTo>
                    <a:cubicBezTo>
                      <a:pt x="729099" y="1251160"/>
                      <a:pt x="718818" y="1261229"/>
                      <a:pt x="705534" y="1267376"/>
                    </a:cubicBezTo>
                    <a:cubicBezTo>
                      <a:pt x="691014" y="1274124"/>
                      <a:pt x="675469" y="1277657"/>
                      <a:pt x="659359" y="1270132"/>
                    </a:cubicBezTo>
                    <a:cubicBezTo>
                      <a:pt x="652717" y="1267023"/>
                      <a:pt x="645298" y="1264126"/>
                      <a:pt x="637666" y="1268471"/>
                    </a:cubicBezTo>
                    <a:cubicBezTo>
                      <a:pt x="634946" y="1270026"/>
                      <a:pt x="632367" y="1271086"/>
                      <a:pt x="632084" y="1275007"/>
                    </a:cubicBezTo>
                    <a:cubicBezTo>
                      <a:pt x="630565" y="1297477"/>
                      <a:pt x="622015" y="1305779"/>
                      <a:pt x="599546" y="1306239"/>
                    </a:cubicBezTo>
                    <a:cubicBezTo>
                      <a:pt x="576688" y="1306698"/>
                      <a:pt x="554925" y="1301257"/>
                      <a:pt x="533622" y="1293485"/>
                    </a:cubicBezTo>
                    <a:cubicBezTo>
                      <a:pt x="527828" y="1291365"/>
                      <a:pt x="522104" y="1289104"/>
                      <a:pt x="516133" y="1286807"/>
                    </a:cubicBezTo>
                    <a:cubicBezTo>
                      <a:pt x="515003" y="1281791"/>
                      <a:pt x="524895" y="1282391"/>
                      <a:pt x="521609" y="1276880"/>
                    </a:cubicBezTo>
                    <a:cubicBezTo>
                      <a:pt x="518748" y="1272146"/>
                      <a:pt x="513484" y="1274160"/>
                      <a:pt x="509350" y="1274407"/>
                    </a:cubicBezTo>
                    <a:cubicBezTo>
                      <a:pt x="482535" y="1276138"/>
                      <a:pt x="458723" y="1267977"/>
                      <a:pt x="437384" y="1252361"/>
                    </a:cubicBezTo>
                    <a:cubicBezTo>
                      <a:pt x="433357" y="1249394"/>
                      <a:pt x="426644" y="1246002"/>
                      <a:pt x="430460" y="1238477"/>
                    </a:cubicBezTo>
                    <a:cubicBezTo>
                      <a:pt x="434134" y="1231270"/>
                      <a:pt x="440988" y="1230280"/>
                      <a:pt x="447665" y="1231623"/>
                    </a:cubicBezTo>
                    <a:cubicBezTo>
                      <a:pt x="457593" y="1233672"/>
                      <a:pt x="467273" y="1236887"/>
                      <a:pt x="477059" y="1239749"/>
                    </a:cubicBezTo>
                    <a:cubicBezTo>
                      <a:pt x="480875" y="1240879"/>
                      <a:pt x="484619" y="1243600"/>
                      <a:pt x="488329" y="1243494"/>
                    </a:cubicBezTo>
                    <a:cubicBezTo>
                      <a:pt x="521256" y="1242469"/>
                      <a:pt x="549308" y="1261264"/>
                      <a:pt x="580751" y="1265928"/>
                    </a:cubicBezTo>
                    <a:cubicBezTo>
                      <a:pt x="585026" y="1266564"/>
                      <a:pt x="589512" y="1266246"/>
                      <a:pt x="593822" y="1264444"/>
                    </a:cubicBezTo>
                    <a:cubicBezTo>
                      <a:pt x="606258" y="1259180"/>
                      <a:pt x="608520" y="1246991"/>
                      <a:pt x="598522" y="1237947"/>
                    </a:cubicBezTo>
                    <a:cubicBezTo>
                      <a:pt x="590784" y="1230952"/>
                      <a:pt x="580892" y="1229998"/>
                      <a:pt x="571247" y="1229327"/>
                    </a:cubicBezTo>
                    <a:cubicBezTo>
                      <a:pt x="562415" y="1228691"/>
                      <a:pt x="553477" y="1228691"/>
                      <a:pt x="544644" y="1229327"/>
                    </a:cubicBezTo>
                    <a:cubicBezTo>
                      <a:pt x="524188" y="1230740"/>
                      <a:pt x="505499" y="1227666"/>
                      <a:pt x="488047" y="1215301"/>
                    </a:cubicBezTo>
                    <a:cubicBezTo>
                      <a:pt x="470558" y="1202936"/>
                      <a:pt x="450562" y="1209507"/>
                      <a:pt x="431449" y="1211803"/>
                    </a:cubicBezTo>
                    <a:cubicBezTo>
                      <a:pt x="415127" y="1213746"/>
                      <a:pt x="398805" y="1214665"/>
                      <a:pt x="382695" y="1210390"/>
                    </a:cubicBezTo>
                    <a:cubicBezTo>
                      <a:pt x="362945" y="1205126"/>
                      <a:pt x="353972" y="1179760"/>
                      <a:pt x="365666" y="1162978"/>
                    </a:cubicBezTo>
                    <a:cubicBezTo>
                      <a:pt x="369093" y="1158067"/>
                      <a:pt x="373650" y="1156583"/>
                      <a:pt x="379409" y="1156583"/>
                    </a:cubicBezTo>
                    <a:cubicBezTo>
                      <a:pt x="386863" y="1156583"/>
                      <a:pt x="394318" y="1157290"/>
                      <a:pt x="401808" y="1154782"/>
                    </a:cubicBezTo>
                    <a:cubicBezTo>
                      <a:pt x="407743" y="1152803"/>
                      <a:pt x="410958" y="1149023"/>
                      <a:pt x="411806" y="1143618"/>
                    </a:cubicBezTo>
                    <a:cubicBezTo>
                      <a:pt x="412830" y="1137046"/>
                      <a:pt x="407460" y="1133902"/>
                      <a:pt x="402408" y="1132453"/>
                    </a:cubicBezTo>
                    <a:cubicBezTo>
                      <a:pt x="392693" y="1129662"/>
                      <a:pt x="382765" y="1126518"/>
                      <a:pt x="372802" y="1125988"/>
                    </a:cubicBezTo>
                    <a:cubicBezTo>
                      <a:pt x="350686" y="1124893"/>
                      <a:pt x="331749" y="1102953"/>
                      <a:pt x="329877" y="1079071"/>
                    </a:cubicBezTo>
                    <a:cubicBezTo>
                      <a:pt x="329276" y="1071475"/>
                      <a:pt x="327369" y="1064233"/>
                      <a:pt x="321045" y="1059004"/>
                    </a:cubicBezTo>
                    <a:cubicBezTo>
                      <a:pt x="318077" y="1056531"/>
                      <a:pt x="314897" y="1055330"/>
                      <a:pt x="311223" y="1056637"/>
                    </a:cubicBezTo>
                    <a:cubicBezTo>
                      <a:pt x="307231" y="1058050"/>
                      <a:pt x="306666" y="1061547"/>
                      <a:pt x="306418" y="1065257"/>
                    </a:cubicBezTo>
                    <a:cubicBezTo>
                      <a:pt x="305747" y="1075255"/>
                      <a:pt x="309351" y="1084512"/>
                      <a:pt x="312000" y="1093768"/>
                    </a:cubicBezTo>
                    <a:cubicBezTo>
                      <a:pt x="322246" y="1129945"/>
                      <a:pt x="301826" y="1156583"/>
                      <a:pt x="273279" y="1169090"/>
                    </a:cubicBezTo>
                    <a:cubicBezTo>
                      <a:pt x="226468" y="1189546"/>
                      <a:pt x="160437" y="1180925"/>
                      <a:pt x="126875" y="1127013"/>
                    </a:cubicBezTo>
                    <a:cubicBezTo>
                      <a:pt x="122211" y="1119488"/>
                      <a:pt x="118148" y="1111821"/>
                      <a:pt x="116452" y="1102812"/>
                    </a:cubicBezTo>
                    <a:cubicBezTo>
                      <a:pt x="112531" y="1082109"/>
                      <a:pt x="104123" y="1063067"/>
                      <a:pt x="91899" y="1045897"/>
                    </a:cubicBezTo>
                    <a:cubicBezTo>
                      <a:pt x="88401" y="1040986"/>
                      <a:pt x="87023" y="1036958"/>
                      <a:pt x="90344" y="1031482"/>
                    </a:cubicBezTo>
                    <a:cubicBezTo>
                      <a:pt x="94089" y="1025264"/>
                      <a:pt x="98965" y="1027313"/>
                      <a:pt x="104299" y="1028267"/>
                    </a:cubicBezTo>
                    <a:cubicBezTo>
                      <a:pt x="137721" y="1034238"/>
                      <a:pt x="171001" y="1037029"/>
                      <a:pt x="203257" y="1022226"/>
                    </a:cubicBezTo>
                    <a:cubicBezTo>
                      <a:pt x="208591" y="1019753"/>
                      <a:pt x="214597" y="1020671"/>
                      <a:pt x="220250" y="1022085"/>
                    </a:cubicBezTo>
                    <a:cubicBezTo>
                      <a:pt x="234417" y="1025582"/>
                      <a:pt x="248372" y="1023250"/>
                      <a:pt x="262327" y="1020813"/>
                    </a:cubicBezTo>
                    <a:cubicBezTo>
                      <a:pt x="266108" y="1020141"/>
                      <a:pt x="269216" y="1017986"/>
                      <a:pt x="270277" y="1014489"/>
                    </a:cubicBezTo>
                    <a:cubicBezTo>
                      <a:pt x="271478" y="1010391"/>
                      <a:pt x="267803" y="1008023"/>
                      <a:pt x="265154" y="1005904"/>
                    </a:cubicBezTo>
                    <a:cubicBezTo>
                      <a:pt x="251163" y="994775"/>
                      <a:pt x="233852" y="994881"/>
                      <a:pt x="217424" y="992196"/>
                    </a:cubicBezTo>
                    <a:cubicBezTo>
                      <a:pt x="203963" y="990006"/>
                      <a:pt x="190185" y="989299"/>
                      <a:pt x="176901" y="986367"/>
                    </a:cubicBezTo>
                    <a:cubicBezTo>
                      <a:pt x="154926" y="981562"/>
                      <a:pt x="138922" y="969903"/>
                      <a:pt x="135778" y="945526"/>
                    </a:cubicBezTo>
                    <a:cubicBezTo>
                      <a:pt x="134930" y="938919"/>
                      <a:pt x="133729" y="931924"/>
                      <a:pt x="125037" y="930935"/>
                    </a:cubicBezTo>
                    <a:cubicBezTo>
                      <a:pt x="116876" y="930016"/>
                      <a:pt x="114827" y="936976"/>
                      <a:pt x="111895" y="942064"/>
                    </a:cubicBezTo>
                    <a:cubicBezTo>
                      <a:pt x="96562" y="968702"/>
                      <a:pt x="77060" y="978912"/>
                      <a:pt x="52471" y="972800"/>
                    </a:cubicBezTo>
                    <a:cubicBezTo>
                      <a:pt x="26681" y="966370"/>
                      <a:pt x="3328" y="939131"/>
                      <a:pt x="3187" y="913270"/>
                    </a:cubicBezTo>
                    <a:cubicBezTo>
                      <a:pt x="3010" y="885890"/>
                      <a:pt x="4847" y="858510"/>
                      <a:pt x="2657" y="831129"/>
                    </a:cubicBezTo>
                    <a:cubicBezTo>
                      <a:pt x="2056" y="823640"/>
                      <a:pt x="2162" y="816185"/>
                      <a:pt x="1243" y="808625"/>
                    </a:cubicBezTo>
                    <a:cubicBezTo>
                      <a:pt x="-3809" y="767042"/>
                      <a:pt x="7250" y="728180"/>
                      <a:pt x="21487" y="688823"/>
                    </a:cubicBezTo>
                    <a:cubicBezTo>
                      <a:pt x="23006" y="690519"/>
                      <a:pt x="23395" y="690801"/>
                      <a:pt x="23572" y="691190"/>
                    </a:cubicBezTo>
                    <a:cubicBezTo>
                      <a:pt x="29542" y="703944"/>
                      <a:pt x="32227" y="717546"/>
                      <a:pt x="43462" y="728604"/>
                    </a:cubicBezTo>
                    <a:cubicBezTo>
                      <a:pt x="54732" y="739732"/>
                      <a:pt x="56816" y="757185"/>
                      <a:pt x="58512" y="773083"/>
                    </a:cubicBezTo>
                    <a:cubicBezTo>
                      <a:pt x="60102" y="787816"/>
                      <a:pt x="67380" y="798485"/>
                      <a:pt x="78756" y="807388"/>
                    </a:cubicBezTo>
                    <a:cubicBezTo>
                      <a:pt x="91828" y="817598"/>
                      <a:pt x="94513" y="834662"/>
                      <a:pt x="103628" y="847593"/>
                    </a:cubicBezTo>
                    <a:cubicBezTo>
                      <a:pt x="109210" y="855507"/>
                      <a:pt x="112990" y="864657"/>
                      <a:pt x="118148" y="872924"/>
                    </a:cubicBezTo>
                    <a:cubicBezTo>
                      <a:pt x="121504" y="878329"/>
                      <a:pt x="126557" y="883170"/>
                      <a:pt x="133305" y="881650"/>
                    </a:cubicBezTo>
                    <a:cubicBezTo>
                      <a:pt x="140724" y="879955"/>
                      <a:pt x="140582" y="872995"/>
                      <a:pt x="141112" y="866565"/>
                    </a:cubicBezTo>
                    <a:cubicBezTo>
                      <a:pt x="142949" y="845332"/>
                      <a:pt x="134824" y="825618"/>
                      <a:pt x="132068" y="805092"/>
                    </a:cubicBezTo>
                    <a:cubicBezTo>
                      <a:pt x="129701" y="787639"/>
                      <a:pt x="128111" y="770999"/>
                      <a:pt x="137862" y="754995"/>
                    </a:cubicBezTo>
                    <a:cubicBezTo>
                      <a:pt x="142208" y="747823"/>
                      <a:pt x="143974" y="739556"/>
                      <a:pt x="131467" y="739132"/>
                    </a:cubicBezTo>
                    <a:cubicBezTo>
                      <a:pt x="115181" y="738567"/>
                      <a:pt x="97975" y="741676"/>
                      <a:pt x="85610" y="727332"/>
                    </a:cubicBezTo>
                    <a:cubicBezTo>
                      <a:pt x="72927" y="712600"/>
                      <a:pt x="65543" y="694899"/>
                      <a:pt x="61939" y="676034"/>
                    </a:cubicBezTo>
                    <a:cubicBezTo>
                      <a:pt x="55439" y="641976"/>
                      <a:pt x="54449" y="608237"/>
                      <a:pt x="73845" y="577217"/>
                    </a:cubicBezTo>
                    <a:cubicBezTo>
                      <a:pt x="82819" y="562874"/>
                      <a:pt x="97163" y="554465"/>
                      <a:pt x="110376" y="544891"/>
                    </a:cubicBezTo>
                    <a:cubicBezTo>
                      <a:pt x="121611" y="536730"/>
                      <a:pt x="131679" y="527756"/>
                      <a:pt x="136237" y="513943"/>
                    </a:cubicBezTo>
                    <a:cubicBezTo>
                      <a:pt x="137685" y="509562"/>
                      <a:pt x="138639" y="505570"/>
                      <a:pt x="137332" y="500093"/>
                    </a:cubicBezTo>
                    <a:cubicBezTo>
                      <a:pt x="126981" y="503626"/>
                      <a:pt x="121045" y="512353"/>
                      <a:pt x="113591" y="518465"/>
                    </a:cubicBezTo>
                    <a:cubicBezTo>
                      <a:pt x="102815" y="527297"/>
                      <a:pt x="93206" y="527509"/>
                      <a:pt x="82148" y="520514"/>
                    </a:cubicBezTo>
                    <a:cubicBezTo>
                      <a:pt x="69641" y="512600"/>
                      <a:pt x="63988" y="498009"/>
                      <a:pt x="64766" y="485891"/>
                    </a:cubicBezTo>
                    <a:cubicBezTo>
                      <a:pt x="67274" y="447594"/>
                      <a:pt x="88578" y="416999"/>
                      <a:pt x="104370" y="384107"/>
                    </a:cubicBezTo>
                    <a:cubicBezTo>
                      <a:pt x="106490" y="379726"/>
                      <a:pt x="108857" y="375452"/>
                      <a:pt x="110941" y="371035"/>
                    </a:cubicBezTo>
                    <a:cubicBezTo>
                      <a:pt x="112284" y="368209"/>
                      <a:pt x="113520" y="364959"/>
                      <a:pt x="110729" y="362450"/>
                    </a:cubicBezTo>
                    <a:cubicBezTo>
                      <a:pt x="108185" y="360189"/>
                      <a:pt x="105818" y="362768"/>
                      <a:pt x="103522" y="363722"/>
                    </a:cubicBezTo>
                    <a:cubicBezTo>
                      <a:pt x="99848" y="365277"/>
                      <a:pt x="95820" y="367820"/>
                      <a:pt x="92358" y="364676"/>
                    </a:cubicBezTo>
                    <a:cubicBezTo>
                      <a:pt x="88754" y="361390"/>
                      <a:pt x="91369" y="357222"/>
                      <a:pt x="92888" y="353618"/>
                    </a:cubicBezTo>
                    <a:cubicBezTo>
                      <a:pt x="97127" y="343796"/>
                      <a:pt x="99000" y="333374"/>
                      <a:pt x="101014" y="322952"/>
                    </a:cubicBezTo>
                    <a:cubicBezTo>
                      <a:pt x="107020" y="291862"/>
                      <a:pt x="128076" y="272290"/>
                      <a:pt x="152630" y="255261"/>
                    </a:cubicBezTo>
                    <a:cubicBezTo>
                      <a:pt x="167680" y="244804"/>
                      <a:pt x="184956" y="236289"/>
                      <a:pt x="189796" y="216010"/>
                    </a:cubicBezTo>
                    <a:cubicBezTo>
                      <a:pt x="190856" y="211629"/>
                      <a:pt x="195484" y="210640"/>
                      <a:pt x="198664" y="208414"/>
                    </a:cubicBezTo>
                    <a:cubicBezTo>
                      <a:pt x="224878" y="189760"/>
                      <a:pt x="255685" y="180328"/>
                      <a:pt x="283949" y="165737"/>
                    </a:cubicBezTo>
                    <a:cubicBezTo>
                      <a:pt x="309951" y="152311"/>
                      <a:pt x="337967" y="142031"/>
                      <a:pt x="358141" y="119314"/>
                    </a:cubicBezTo>
                    <a:cubicBezTo>
                      <a:pt x="362945" y="113908"/>
                      <a:pt x="365242" y="116876"/>
                      <a:pt x="367715" y="121716"/>
                    </a:cubicBezTo>
                    <a:cubicBezTo>
                      <a:pt x="372272" y="130654"/>
                      <a:pt x="368527" y="138957"/>
                      <a:pt x="366337" y="147436"/>
                    </a:cubicBezTo>
                    <a:cubicBezTo>
                      <a:pt x="365206" y="151781"/>
                      <a:pt x="363758" y="156021"/>
                      <a:pt x="371142" y="153831"/>
                    </a:cubicBezTo>
                    <a:cubicBezTo>
                      <a:pt x="410075" y="142384"/>
                      <a:pt x="451163" y="140971"/>
                      <a:pt x="489919" y="127899"/>
                    </a:cubicBezTo>
                    <a:cubicBezTo>
                      <a:pt x="507159" y="122069"/>
                      <a:pt x="522210" y="113626"/>
                      <a:pt x="535988" y="102426"/>
                    </a:cubicBezTo>
                    <a:cubicBezTo>
                      <a:pt x="554960" y="87058"/>
                      <a:pt x="571989" y="69605"/>
                      <a:pt x="589053" y="52188"/>
                    </a:cubicBezTo>
                    <a:cubicBezTo>
                      <a:pt x="611028" y="29825"/>
                      <a:pt x="636642" y="24631"/>
                      <a:pt x="665329" y="37032"/>
                    </a:cubicBezTo>
                    <a:cubicBezTo>
                      <a:pt x="674691" y="41059"/>
                      <a:pt x="683241" y="41307"/>
                      <a:pt x="691861" y="36325"/>
                    </a:cubicBezTo>
                    <a:cubicBezTo>
                      <a:pt x="716592" y="22017"/>
                      <a:pt x="744679" y="16152"/>
                      <a:pt x="771352" y="8062"/>
                    </a:cubicBezTo>
                    <a:cubicBezTo>
                      <a:pt x="798238" y="-99"/>
                      <a:pt x="827632" y="-3774"/>
                      <a:pt x="856355" y="5306"/>
                    </a:cubicBezTo>
                    <a:cubicBezTo>
                      <a:pt x="872182" y="10323"/>
                      <a:pt x="885396" y="19296"/>
                      <a:pt x="895040" y="32227"/>
                    </a:cubicBezTo>
                    <a:cubicBezTo>
                      <a:pt x="911115" y="53848"/>
                      <a:pt x="932596" y="67097"/>
                      <a:pt x="958386" y="69535"/>
                    </a:cubicBezTo>
                    <a:cubicBezTo>
                      <a:pt x="1006787" y="74092"/>
                      <a:pt x="1063173" y="133163"/>
                      <a:pt x="1067624" y="182624"/>
                    </a:cubicBezTo>
                    <a:cubicBezTo>
                      <a:pt x="1069355" y="201808"/>
                      <a:pt x="1058580" y="216293"/>
                      <a:pt x="1046179" y="229365"/>
                    </a:cubicBezTo>
                    <a:cubicBezTo>
                      <a:pt x="1040633" y="235194"/>
                      <a:pt x="1035439" y="241200"/>
                      <a:pt x="1031447" y="248125"/>
                    </a:cubicBezTo>
                    <a:cubicBezTo>
                      <a:pt x="1026642" y="256427"/>
                      <a:pt x="1025088" y="266602"/>
                      <a:pt x="1031624" y="273173"/>
                    </a:cubicBezTo>
                    <a:cubicBezTo>
                      <a:pt x="1052963" y="294689"/>
                      <a:pt x="1056037" y="322246"/>
                      <a:pt x="1060417" y="349767"/>
                    </a:cubicBezTo>
                    <a:cubicBezTo>
                      <a:pt x="1062608" y="363616"/>
                      <a:pt x="1069073" y="375416"/>
                      <a:pt x="1083417" y="385520"/>
                    </a:cubicBezTo>
                    <a:cubicBezTo>
                      <a:pt x="1082604" y="366160"/>
                      <a:pt x="1088539" y="348955"/>
                      <a:pt x="1076845" y="332703"/>
                    </a:cubicBezTo>
                    <a:cubicBezTo>
                      <a:pt x="1071052" y="324683"/>
                      <a:pt x="1068578" y="315392"/>
                      <a:pt x="1075220" y="305570"/>
                    </a:cubicBezTo>
                    <a:cubicBezTo>
                      <a:pt x="1080732" y="297444"/>
                      <a:pt x="1087798" y="296420"/>
                      <a:pt x="1092072" y="304051"/>
                    </a:cubicBezTo>
                    <a:cubicBezTo>
                      <a:pt x="1111009" y="337684"/>
                      <a:pt x="1141427" y="361920"/>
                      <a:pt x="1163296" y="393010"/>
                    </a:cubicBezTo>
                    <a:cubicBezTo>
                      <a:pt x="1176827" y="412265"/>
                      <a:pt x="1181774" y="433957"/>
                      <a:pt x="1180042" y="457239"/>
                    </a:cubicBezTo>
                    <a:cubicBezTo>
                      <a:pt x="1179512" y="464587"/>
                      <a:pt x="1177251" y="470205"/>
                      <a:pt x="1168560" y="465082"/>
                    </a:cubicBezTo>
                    <a:cubicBezTo>
                      <a:pt x="1163508" y="462114"/>
                      <a:pt x="1162378" y="464870"/>
                      <a:pt x="1161282" y="468686"/>
                    </a:cubicBezTo>
                    <a:cubicBezTo>
                      <a:pt x="1160434" y="471653"/>
                      <a:pt x="1158703" y="474762"/>
                      <a:pt x="1159057" y="477624"/>
                    </a:cubicBezTo>
                    <a:cubicBezTo>
                      <a:pt x="1161883" y="502249"/>
                      <a:pt x="1153475" y="524789"/>
                      <a:pt x="1146586" y="547611"/>
                    </a:cubicBezTo>
                    <a:cubicBezTo>
                      <a:pt x="1144607" y="554147"/>
                      <a:pt x="1145208" y="560825"/>
                      <a:pt x="1145808" y="567431"/>
                    </a:cubicBezTo>
                    <a:cubicBezTo>
                      <a:pt x="1146126" y="570823"/>
                      <a:pt x="1147221" y="574956"/>
                      <a:pt x="1151355" y="575628"/>
                    </a:cubicBezTo>
                    <a:cubicBezTo>
                      <a:pt x="1155630" y="576334"/>
                      <a:pt x="1157219" y="572625"/>
                      <a:pt x="1159021" y="569480"/>
                    </a:cubicBezTo>
                    <a:cubicBezTo>
                      <a:pt x="1166017" y="557292"/>
                      <a:pt x="1170362" y="543549"/>
                      <a:pt x="1181067" y="531643"/>
                    </a:cubicBezTo>
                    <a:cubicBezTo>
                      <a:pt x="1183787" y="538002"/>
                      <a:pt x="1183999" y="543937"/>
                      <a:pt x="1181632" y="548671"/>
                    </a:cubicBezTo>
                    <a:cubicBezTo>
                      <a:pt x="1165911" y="580397"/>
                      <a:pt x="1169373" y="614384"/>
                      <a:pt x="1169620" y="647911"/>
                    </a:cubicBezTo>
                    <a:cubicBezTo>
                      <a:pt x="1169797" y="670240"/>
                      <a:pt x="1167818" y="691967"/>
                      <a:pt x="1159127" y="712847"/>
                    </a:cubicBezTo>
                    <a:cubicBezTo>
                      <a:pt x="1156018" y="720372"/>
                      <a:pt x="1151602" y="726802"/>
                      <a:pt x="1147045" y="733302"/>
                    </a:cubicBezTo>
                    <a:cubicBezTo>
                      <a:pt x="1145031" y="736199"/>
                      <a:pt x="1142770" y="739026"/>
                      <a:pt x="1141392" y="742206"/>
                    </a:cubicBezTo>
                    <a:cubicBezTo>
                      <a:pt x="1139449" y="746798"/>
                      <a:pt x="1138354" y="752204"/>
                      <a:pt x="1143088" y="755595"/>
                    </a:cubicBezTo>
                    <a:cubicBezTo>
                      <a:pt x="1148529" y="759517"/>
                      <a:pt x="1153369" y="756373"/>
                      <a:pt x="1156937" y="751992"/>
                    </a:cubicBezTo>
                    <a:cubicBezTo>
                      <a:pt x="1167924" y="738531"/>
                      <a:pt x="1173153" y="722209"/>
                      <a:pt x="1175626" y="705675"/>
                    </a:cubicBezTo>
                    <a:cubicBezTo>
                      <a:pt x="1180113" y="675716"/>
                      <a:pt x="1188663" y="647664"/>
                      <a:pt x="1202335" y="620461"/>
                    </a:cubicBezTo>
                    <a:cubicBezTo>
                      <a:pt x="1213217" y="598804"/>
                      <a:pt x="1213429" y="574003"/>
                      <a:pt x="1210779" y="550155"/>
                    </a:cubicBezTo>
                    <a:cubicBezTo>
                      <a:pt x="1208094" y="525743"/>
                      <a:pt x="1207811" y="501683"/>
                      <a:pt x="1212015" y="477518"/>
                    </a:cubicBezTo>
                    <a:cubicBezTo>
                      <a:pt x="1215584" y="457062"/>
                      <a:pt x="1218728" y="436536"/>
                      <a:pt x="1208200" y="416964"/>
                    </a:cubicBezTo>
                    <a:cubicBezTo>
                      <a:pt x="1206716" y="414173"/>
                      <a:pt x="1207599" y="411982"/>
                      <a:pt x="1208765" y="409509"/>
                    </a:cubicBezTo>
                    <a:cubicBezTo>
                      <a:pt x="1213217" y="400147"/>
                      <a:pt x="1215407" y="390255"/>
                      <a:pt x="1214524" y="379868"/>
                    </a:cubicBezTo>
                    <a:cubicBezTo>
                      <a:pt x="1213852" y="371707"/>
                      <a:pt x="1217350" y="369693"/>
                      <a:pt x="1223462" y="374462"/>
                    </a:cubicBezTo>
                    <a:cubicBezTo>
                      <a:pt x="1238866" y="386474"/>
                      <a:pt x="1250206" y="401560"/>
                      <a:pt x="1254340" y="421097"/>
                    </a:cubicBezTo>
                    <a:cubicBezTo>
                      <a:pt x="1255153" y="424913"/>
                      <a:pt x="1255400" y="429364"/>
                      <a:pt x="1252998" y="432791"/>
                    </a:cubicBezTo>
                    <a:cubicBezTo>
                      <a:pt x="1244165" y="445474"/>
                      <a:pt x="1246885" y="458511"/>
                      <a:pt x="1250242" y="472254"/>
                    </a:cubicBezTo>
                    <a:cubicBezTo>
                      <a:pt x="1254269" y="488823"/>
                      <a:pt x="1253422" y="506029"/>
                      <a:pt x="1248687" y="522174"/>
                    </a:cubicBezTo>
                    <a:cubicBezTo>
                      <a:pt x="1238583" y="556726"/>
                      <a:pt x="1237559" y="591914"/>
                      <a:pt x="1238724" y="627385"/>
                    </a:cubicBezTo>
                    <a:cubicBezTo>
                      <a:pt x="1239042" y="637737"/>
                      <a:pt x="1237205" y="647700"/>
                      <a:pt x="1234909" y="657556"/>
                    </a:cubicBezTo>
                    <a:cubicBezTo>
                      <a:pt x="1232577" y="667519"/>
                      <a:pt x="1228161" y="676599"/>
                      <a:pt x="1220459" y="684018"/>
                    </a:cubicBezTo>
                    <a:cubicBezTo>
                      <a:pt x="1211591" y="692568"/>
                      <a:pt x="1206221" y="702955"/>
                      <a:pt x="1206504" y="715885"/>
                    </a:cubicBezTo>
                    <a:cubicBezTo>
                      <a:pt x="1206680" y="723940"/>
                      <a:pt x="1208412" y="731571"/>
                      <a:pt x="1216078" y="734892"/>
                    </a:cubicBezTo>
                    <a:cubicBezTo>
                      <a:pt x="1224027" y="738319"/>
                      <a:pt x="1231623" y="735387"/>
                      <a:pt x="1238088" y="729593"/>
                    </a:cubicBezTo>
                    <a:cubicBezTo>
                      <a:pt x="1242681" y="725459"/>
                      <a:pt x="1247592" y="721679"/>
                      <a:pt x="1252362" y="717793"/>
                    </a:cubicBezTo>
                    <a:cubicBezTo>
                      <a:pt x="1257979" y="713235"/>
                      <a:pt x="1263737" y="714225"/>
                      <a:pt x="1269779" y="717051"/>
                    </a:cubicBezTo>
                    <a:cubicBezTo>
                      <a:pt x="1276527" y="720195"/>
                      <a:pt x="1275997" y="726025"/>
                      <a:pt x="1275962" y="731819"/>
                    </a:cubicBezTo>
                    <a:cubicBezTo>
                      <a:pt x="1275891" y="744643"/>
                      <a:pt x="1268366" y="754359"/>
                      <a:pt x="1261618" y="764074"/>
                    </a:cubicBezTo>
                    <a:cubicBezTo>
                      <a:pt x="1251266" y="778948"/>
                      <a:pt x="1240173" y="793292"/>
                      <a:pt x="1229080" y="807635"/>
                    </a:cubicBezTo>
                    <a:cubicBezTo>
                      <a:pt x="1226430" y="811062"/>
                      <a:pt x="1223003" y="814313"/>
                      <a:pt x="1219223" y="816326"/>
                    </a:cubicBezTo>
                    <a:cubicBezTo>
                      <a:pt x="1214206" y="819011"/>
                      <a:pt x="1208659" y="825194"/>
                      <a:pt x="1202688" y="818588"/>
                    </a:cubicBezTo>
                    <a:cubicBezTo>
                      <a:pt x="1197601" y="812935"/>
                      <a:pt x="1196259" y="805869"/>
                      <a:pt x="1200357" y="798838"/>
                    </a:cubicBezTo>
                    <a:cubicBezTo>
                      <a:pt x="1204349" y="791949"/>
                      <a:pt x="1209048" y="785484"/>
                      <a:pt x="1212793" y="778453"/>
                    </a:cubicBezTo>
                    <a:cubicBezTo>
                      <a:pt x="1214665" y="774920"/>
                      <a:pt x="1219435" y="770504"/>
                      <a:pt x="1214665" y="766724"/>
                    </a:cubicBezTo>
                    <a:cubicBezTo>
                      <a:pt x="1211167" y="763968"/>
                      <a:pt x="1207104" y="767749"/>
                      <a:pt x="1203960" y="769939"/>
                    </a:cubicBezTo>
                    <a:cubicBezTo>
                      <a:pt x="1185413" y="782799"/>
                      <a:pt x="1167112" y="795941"/>
                      <a:pt x="1148529" y="808766"/>
                    </a:cubicBezTo>
                    <a:cubicBezTo>
                      <a:pt x="1142699" y="812793"/>
                      <a:pt x="1136729" y="816962"/>
                      <a:pt x="1130228" y="819435"/>
                    </a:cubicBezTo>
                    <a:cubicBezTo>
                      <a:pt x="1118605" y="823887"/>
                      <a:pt x="1112987" y="832401"/>
                      <a:pt x="1110090" y="843813"/>
                    </a:cubicBezTo>
                    <a:cubicBezTo>
                      <a:pt x="1104014" y="867483"/>
                      <a:pt x="1095923" y="890412"/>
                      <a:pt x="1081968" y="910797"/>
                    </a:cubicBezTo>
                    <a:cubicBezTo>
                      <a:pt x="1068296" y="930723"/>
                      <a:pt x="1071758" y="949236"/>
                      <a:pt x="1086985" y="966441"/>
                    </a:cubicBezTo>
                    <a:cubicBezTo>
                      <a:pt x="1091189" y="971210"/>
                      <a:pt x="1093768" y="976792"/>
                      <a:pt x="1096736" y="982198"/>
                    </a:cubicBezTo>
                    <a:cubicBezTo>
                      <a:pt x="1100834" y="989652"/>
                      <a:pt x="1101823" y="997637"/>
                      <a:pt x="1098537" y="1005268"/>
                    </a:cubicBezTo>
                    <a:cubicBezTo>
                      <a:pt x="1093627" y="1016714"/>
                      <a:pt x="1093733" y="1027773"/>
                      <a:pt x="1099421" y="1038548"/>
                    </a:cubicBezTo>
                    <a:cubicBezTo>
                      <a:pt x="1111715" y="1061830"/>
                      <a:pt x="1104508" y="1083204"/>
                      <a:pt x="1091048" y="1102141"/>
                    </a:cubicBezTo>
                    <a:cubicBezTo>
                      <a:pt x="1068402" y="1133973"/>
                      <a:pt x="1039255" y="1158809"/>
                      <a:pt x="1003290" y="1175131"/>
                    </a:cubicBezTo>
                    <a:cubicBezTo>
                      <a:pt x="997884" y="1177604"/>
                      <a:pt x="992338" y="1178982"/>
                      <a:pt x="986685" y="1179265"/>
                    </a:cubicBezTo>
                    <a:cubicBezTo>
                      <a:pt x="960258" y="1180713"/>
                      <a:pt x="936729" y="1193538"/>
                      <a:pt x="911186" y="1198449"/>
                    </a:cubicBezTo>
                    <a:cubicBezTo>
                      <a:pt x="902000" y="1200215"/>
                      <a:pt x="894016" y="1199367"/>
                      <a:pt x="885537" y="1195340"/>
                    </a:cubicBezTo>
                    <a:cubicBezTo>
                      <a:pt x="858510" y="1182480"/>
                      <a:pt x="847063" y="1187143"/>
                      <a:pt x="836288" y="1214559"/>
                    </a:cubicBezTo>
                    <a:cubicBezTo>
                      <a:pt x="828092" y="1235474"/>
                      <a:pt x="810851" y="1247450"/>
                      <a:pt x="788311" y="1247698"/>
                    </a:cubicBezTo>
                    <a:cubicBezTo>
                      <a:pt x="775062" y="1247839"/>
                      <a:pt x="761637" y="1248970"/>
                      <a:pt x="748777" y="1244624"/>
                    </a:cubicBezTo>
                    <a:cubicBezTo>
                      <a:pt x="741111" y="1242010"/>
                      <a:pt x="737012" y="1231800"/>
                      <a:pt x="726908" y="1234202"/>
                    </a:cubicBezTo>
                    <a:cubicBezTo>
                      <a:pt x="732137" y="1228337"/>
                      <a:pt x="739697" y="1226571"/>
                      <a:pt x="746339" y="1223179"/>
                    </a:cubicBezTo>
                    <a:cubicBezTo>
                      <a:pt x="752840" y="1219858"/>
                      <a:pt x="757892" y="1215089"/>
                      <a:pt x="762944" y="1210072"/>
                    </a:cubicBezTo>
                    <a:cubicBezTo>
                      <a:pt x="767289" y="1205727"/>
                      <a:pt x="767819" y="1200462"/>
                      <a:pt x="766088" y="1195304"/>
                    </a:cubicBezTo>
                    <a:cubicBezTo>
                      <a:pt x="764180" y="1189616"/>
                      <a:pt x="758599" y="1192054"/>
                      <a:pt x="754500" y="1191701"/>
                    </a:cubicBezTo>
                    <a:cubicBezTo>
                      <a:pt x="747753" y="1191136"/>
                      <a:pt x="741499" y="1192725"/>
                      <a:pt x="735175" y="1195410"/>
                    </a:cubicBezTo>
                    <a:cubicBezTo>
                      <a:pt x="716698" y="1203254"/>
                      <a:pt x="697338" y="1207528"/>
                      <a:pt x="677200" y="1207670"/>
                    </a:cubicBezTo>
                    <a:cubicBezTo>
                      <a:pt x="667272" y="1207740"/>
                      <a:pt x="654554" y="1207246"/>
                      <a:pt x="653741" y="1219187"/>
                    </a:cubicBezTo>
                    <a:cubicBezTo>
                      <a:pt x="652999" y="1229892"/>
                      <a:pt x="665824" y="1232754"/>
                      <a:pt x="674797" y="1236357"/>
                    </a:cubicBezTo>
                    <a:cubicBezTo>
                      <a:pt x="675575" y="1236675"/>
                      <a:pt x="676599" y="1236392"/>
                      <a:pt x="677412" y="1236675"/>
                    </a:cubicBezTo>
                    <a:cubicBezTo>
                      <a:pt x="694264" y="1242186"/>
                      <a:pt x="710445" y="1234237"/>
                      <a:pt x="727014" y="123416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7" name="Freeform: Shape 876">
                <a:extLst>
                  <a:ext uri="{FF2B5EF4-FFF2-40B4-BE49-F238E27FC236}">
                    <a16:creationId xmlns:a16="http://schemas.microsoft.com/office/drawing/2014/main" id="{6A6311CC-BB51-7246-A160-2048264A38F5}"/>
                  </a:ext>
                </a:extLst>
              </p:cNvPr>
              <p:cNvSpPr/>
              <p:nvPr/>
            </p:nvSpPr>
            <p:spPr>
              <a:xfrm>
                <a:off x="7850262" y="2904383"/>
                <a:ext cx="60045" cy="114436"/>
              </a:xfrm>
              <a:custGeom>
                <a:avLst/>
                <a:gdLst>
                  <a:gd name="connsiteX0" fmla="*/ 44922 w 60045"/>
                  <a:gd name="connsiteY0" fmla="*/ 15893 h 114436"/>
                  <a:gd name="connsiteX1" fmla="*/ 29129 w 60045"/>
                  <a:gd name="connsiteY1" fmla="*/ 22924 h 114436"/>
                  <a:gd name="connsiteX2" fmla="*/ 3586 w 60045"/>
                  <a:gd name="connsiteY2" fmla="*/ 70654 h 114436"/>
                  <a:gd name="connsiteX3" fmla="*/ 11147 w 60045"/>
                  <a:gd name="connsiteY3" fmla="*/ 108951 h 114436"/>
                  <a:gd name="connsiteX4" fmla="*/ 29235 w 60045"/>
                  <a:gd name="connsiteY4" fmla="*/ 113579 h 114436"/>
                  <a:gd name="connsiteX5" fmla="*/ 36761 w 60045"/>
                  <a:gd name="connsiteY5" fmla="*/ 98317 h 114436"/>
                  <a:gd name="connsiteX6" fmla="*/ 42625 w 60045"/>
                  <a:gd name="connsiteY6" fmla="*/ 70371 h 114436"/>
                  <a:gd name="connsiteX7" fmla="*/ 44745 w 60045"/>
                  <a:gd name="connsiteY7" fmla="*/ 15823 h 114436"/>
                  <a:gd name="connsiteX8" fmla="*/ 60042 w 60045"/>
                  <a:gd name="connsiteY8" fmla="*/ 5718 h 114436"/>
                  <a:gd name="connsiteX9" fmla="*/ 51175 w 60045"/>
                  <a:gd name="connsiteY9" fmla="*/ 101 h 114436"/>
                  <a:gd name="connsiteX10" fmla="*/ 44922 w 60045"/>
                  <a:gd name="connsiteY10" fmla="*/ 14621 h 114436"/>
                  <a:gd name="connsiteX11" fmla="*/ 44886 w 60045"/>
                  <a:gd name="connsiteY11" fmla="*/ 15929 h 11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045" h="114436">
                    <a:moveTo>
                      <a:pt x="44922" y="15893"/>
                    </a:moveTo>
                    <a:cubicBezTo>
                      <a:pt x="36301" y="10523"/>
                      <a:pt x="32026" y="18119"/>
                      <a:pt x="29129" y="22924"/>
                    </a:cubicBezTo>
                    <a:cubicBezTo>
                      <a:pt x="19802" y="38363"/>
                      <a:pt x="10546" y="54084"/>
                      <a:pt x="3586" y="70654"/>
                    </a:cubicBezTo>
                    <a:cubicBezTo>
                      <a:pt x="-1996" y="83973"/>
                      <a:pt x="-2172" y="97893"/>
                      <a:pt x="11147" y="108951"/>
                    </a:cubicBezTo>
                    <a:cubicBezTo>
                      <a:pt x="16976" y="113791"/>
                      <a:pt x="22664" y="115699"/>
                      <a:pt x="29235" y="113579"/>
                    </a:cubicBezTo>
                    <a:cubicBezTo>
                      <a:pt x="36337" y="111282"/>
                      <a:pt x="37290" y="104923"/>
                      <a:pt x="36761" y="98317"/>
                    </a:cubicBezTo>
                    <a:cubicBezTo>
                      <a:pt x="35983" y="88424"/>
                      <a:pt x="37573" y="79239"/>
                      <a:pt x="42625" y="70371"/>
                    </a:cubicBezTo>
                    <a:cubicBezTo>
                      <a:pt x="52694" y="52706"/>
                      <a:pt x="53012" y="34335"/>
                      <a:pt x="44745" y="15823"/>
                    </a:cubicBezTo>
                    <a:cubicBezTo>
                      <a:pt x="52164" y="15893"/>
                      <a:pt x="59760" y="15434"/>
                      <a:pt x="60042" y="5718"/>
                    </a:cubicBezTo>
                    <a:cubicBezTo>
                      <a:pt x="60184" y="843"/>
                      <a:pt x="55379" y="-394"/>
                      <a:pt x="51175" y="101"/>
                    </a:cubicBezTo>
                    <a:cubicBezTo>
                      <a:pt x="40859" y="1232"/>
                      <a:pt x="46299" y="9463"/>
                      <a:pt x="44922" y="14621"/>
                    </a:cubicBezTo>
                    <a:cubicBezTo>
                      <a:pt x="44815" y="15045"/>
                      <a:pt x="44922" y="15505"/>
                      <a:pt x="44886" y="1592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8" name="Freeform: Shape 877">
                <a:extLst>
                  <a:ext uri="{FF2B5EF4-FFF2-40B4-BE49-F238E27FC236}">
                    <a16:creationId xmlns:a16="http://schemas.microsoft.com/office/drawing/2014/main" id="{49A26FB3-6844-14FF-E785-E1A0DFA97B10}"/>
                  </a:ext>
                </a:extLst>
              </p:cNvPr>
              <p:cNvSpPr/>
              <p:nvPr/>
            </p:nvSpPr>
            <p:spPr>
              <a:xfrm>
                <a:off x="7900725" y="2838415"/>
                <a:ext cx="830957" cy="796634"/>
              </a:xfrm>
              <a:custGeom>
                <a:avLst/>
                <a:gdLst>
                  <a:gd name="connsiteX0" fmla="*/ 157469 w 830957"/>
                  <a:gd name="connsiteY0" fmla="*/ 124752 h 796634"/>
                  <a:gd name="connsiteX1" fmla="*/ 152028 w 830957"/>
                  <a:gd name="connsiteY1" fmla="*/ 115672 h 796634"/>
                  <a:gd name="connsiteX2" fmla="*/ 134116 w 830957"/>
                  <a:gd name="connsiteY2" fmla="*/ 83840 h 796634"/>
                  <a:gd name="connsiteX3" fmla="*/ 117829 w 830957"/>
                  <a:gd name="connsiteY3" fmla="*/ 77870 h 796634"/>
                  <a:gd name="connsiteX4" fmla="*/ 102955 w 830957"/>
                  <a:gd name="connsiteY4" fmla="*/ 114824 h 796634"/>
                  <a:gd name="connsiteX5" fmla="*/ 127933 w 830957"/>
                  <a:gd name="connsiteY5" fmla="*/ 148952 h 796634"/>
                  <a:gd name="connsiteX6" fmla="*/ 97091 w 830957"/>
                  <a:gd name="connsiteY6" fmla="*/ 171740 h 796634"/>
                  <a:gd name="connsiteX7" fmla="*/ 7036 w 830957"/>
                  <a:gd name="connsiteY7" fmla="*/ 300480 h 796634"/>
                  <a:gd name="connsiteX8" fmla="*/ 3362 w 830957"/>
                  <a:gd name="connsiteY8" fmla="*/ 424945 h 796634"/>
                  <a:gd name="connsiteX9" fmla="*/ 960 w 830957"/>
                  <a:gd name="connsiteY9" fmla="*/ 533547 h 796634"/>
                  <a:gd name="connsiteX10" fmla="*/ 6082 w 830957"/>
                  <a:gd name="connsiteY10" fmla="*/ 600532 h 796634"/>
                  <a:gd name="connsiteX11" fmla="*/ 71265 w 830957"/>
                  <a:gd name="connsiteY11" fmla="*/ 686064 h 796634"/>
                  <a:gd name="connsiteX12" fmla="*/ 126273 w 830957"/>
                  <a:gd name="connsiteY12" fmla="*/ 716624 h 796634"/>
                  <a:gd name="connsiteX13" fmla="*/ 226714 w 830957"/>
                  <a:gd name="connsiteY13" fmla="*/ 761704 h 796634"/>
                  <a:gd name="connsiteX14" fmla="*/ 390536 w 830957"/>
                  <a:gd name="connsiteY14" fmla="*/ 786470 h 796634"/>
                  <a:gd name="connsiteX15" fmla="*/ 485431 w 830957"/>
                  <a:gd name="connsiteY15" fmla="*/ 781842 h 796634"/>
                  <a:gd name="connsiteX16" fmla="*/ 568526 w 830957"/>
                  <a:gd name="connsiteY16" fmla="*/ 786718 h 796634"/>
                  <a:gd name="connsiteX17" fmla="*/ 682392 w 830957"/>
                  <a:gd name="connsiteY17" fmla="*/ 684404 h 796634"/>
                  <a:gd name="connsiteX18" fmla="*/ 720972 w 830957"/>
                  <a:gd name="connsiteY18" fmla="*/ 634448 h 796634"/>
                  <a:gd name="connsiteX19" fmla="*/ 756584 w 830957"/>
                  <a:gd name="connsiteY19" fmla="*/ 606856 h 796634"/>
                  <a:gd name="connsiteX20" fmla="*/ 797142 w 830957"/>
                  <a:gd name="connsiteY20" fmla="*/ 450382 h 796634"/>
                  <a:gd name="connsiteX21" fmla="*/ 802052 w 830957"/>
                  <a:gd name="connsiteY21" fmla="*/ 386966 h 796634"/>
                  <a:gd name="connsiteX22" fmla="*/ 815372 w 830957"/>
                  <a:gd name="connsiteY22" fmla="*/ 355099 h 796634"/>
                  <a:gd name="connsiteX23" fmla="*/ 827914 w 830957"/>
                  <a:gd name="connsiteY23" fmla="*/ 271333 h 796634"/>
                  <a:gd name="connsiteX24" fmla="*/ 730864 w 830957"/>
                  <a:gd name="connsiteY24" fmla="*/ 131429 h 796634"/>
                  <a:gd name="connsiteX25" fmla="*/ 662890 w 830957"/>
                  <a:gd name="connsiteY25" fmla="*/ 70344 h 796634"/>
                  <a:gd name="connsiteX26" fmla="*/ 595870 w 830957"/>
                  <a:gd name="connsiteY26" fmla="*/ 30140 h 796634"/>
                  <a:gd name="connsiteX27" fmla="*/ 529734 w 830957"/>
                  <a:gd name="connsiteY27" fmla="*/ 25617 h 796634"/>
                  <a:gd name="connsiteX28" fmla="*/ 433638 w 830957"/>
                  <a:gd name="connsiteY28" fmla="*/ 8836 h 796634"/>
                  <a:gd name="connsiteX29" fmla="*/ 342171 w 830957"/>
                  <a:gd name="connsiteY29" fmla="*/ 3819 h 796634"/>
                  <a:gd name="connsiteX30" fmla="*/ 245015 w 830957"/>
                  <a:gd name="connsiteY30" fmla="*/ 42152 h 796634"/>
                  <a:gd name="connsiteX31" fmla="*/ 176476 w 830957"/>
                  <a:gd name="connsiteY31" fmla="*/ 102953 h 796634"/>
                  <a:gd name="connsiteX32" fmla="*/ 157469 w 830957"/>
                  <a:gd name="connsiteY32" fmla="*/ 124858 h 79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0957" h="796634">
                    <a:moveTo>
                      <a:pt x="157469" y="124752"/>
                    </a:moveTo>
                    <a:cubicBezTo>
                      <a:pt x="155667" y="121713"/>
                      <a:pt x="153794" y="118710"/>
                      <a:pt x="152028" y="115672"/>
                    </a:cubicBezTo>
                    <a:cubicBezTo>
                      <a:pt x="146022" y="105214"/>
                      <a:pt x="133162" y="99314"/>
                      <a:pt x="134116" y="83840"/>
                    </a:cubicBezTo>
                    <a:cubicBezTo>
                      <a:pt x="134469" y="78117"/>
                      <a:pt x="125001" y="74796"/>
                      <a:pt x="117829" y="77870"/>
                    </a:cubicBezTo>
                    <a:cubicBezTo>
                      <a:pt x="109562" y="81367"/>
                      <a:pt x="99952" y="106027"/>
                      <a:pt x="102955" y="114824"/>
                    </a:cubicBezTo>
                    <a:cubicBezTo>
                      <a:pt x="107725" y="128814"/>
                      <a:pt x="113448" y="142063"/>
                      <a:pt x="127933" y="148952"/>
                    </a:cubicBezTo>
                    <a:cubicBezTo>
                      <a:pt x="117652" y="156583"/>
                      <a:pt x="107548" y="164426"/>
                      <a:pt x="97091" y="171740"/>
                    </a:cubicBezTo>
                    <a:cubicBezTo>
                      <a:pt x="51304" y="203677"/>
                      <a:pt x="20002" y="246320"/>
                      <a:pt x="7036" y="300480"/>
                    </a:cubicBezTo>
                    <a:cubicBezTo>
                      <a:pt x="-2715" y="341285"/>
                      <a:pt x="748" y="383610"/>
                      <a:pt x="3362" y="424945"/>
                    </a:cubicBezTo>
                    <a:cubicBezTo>
                      <a:pt x="5658" y="461440"/>
                      <a:pt x="3963" y="497441"/>
                      <a:pt x="960" y="533547"/>
                    </a:cubicBezTo>
                    <a:cubicBezTo>
                      <a:pt x="-948" y="556335"/>
                      <a:pt x="-383" y="578804"/>
                      <a:pt x="6082" y="600532"/>
                    </a:cubicBezTo>
                    <a:cubicBezTo>
                      <a:pt x="16928" y="636992"/>
                      <a:pt x="43461" y="662358"/>
                      <a:pt x="71265" y="686064"/>
                    </a:cubicBezTo>
                    <a:cubicBezTo>
                      <a:pt x="87375" y="699807"/>
                      <a:pt x="104157" y="714257"/>
                      <a:pt x="126273" y="716624"/>
                    </a:cubicBezTo>
                    <a:cubicBezTo>
                      <a:pt x="164888" y="720722"/>
                      <a:pt x="196720" y="739094"/>
                      <a:pt x="226714" y="761704"/>
                    </a:cubicBezTo>
                    <a:cubicBezTo>
                      <a:pt x="276952" y="799613"/>
                      <a:pt x="332455" y="804665"/>
                      <a:pt x="390536" y="786470"/>
                    </a:cubicBezTo>
                    <a:cubicBezTo>
                      <a:pt x="422262" y="776543"/>
                      <a:pt x="452963" y="773681"/>
                      <a:pt x="485431" y="781842"/>
                    </a:cubicBezTo>
                    <a:cubicBezTo>
                      <a:pt x="512564" y="788661"/>
                      <a:pt x="540686" y="791063"/>
                      <a:pt x="568526" y="786718"/>
                    </a:cubicBezTo>
                    <a:cubicBezTo>
                      <a:pt x="628338" y="777355"/>
                      <a:pt x="664480" y="739871"/>
                      <a:pt x="682392" y="684404"/>
                    </a:cubicBezTo>
                    <a:cubicBezTo>
                      <a:pt x="689564" y="662182"/>
                      <a:pt x="701788" y="646601"/>
                      <a:pt x="720972" y="634448"/>
                    </a:cubicBezTo>
                    <a:cubicBezTo>
                      <a:pt x="733619" y="626428"/>
                      <a:pt x="746550" y="617773"/>
                      <a:pt x="756584" y="606856"/>
                    </a:cubicBezTo>
                    <a:cubicBezTo>
                      <a:pt x="797566" y="562129"/>
                      <a:pt x="815266" y="510831"/>
                      <a:pt x="797142" y="450382"/>
                    </a:cubicBezTo>
                    <a:cubicBezTo>
                      <a:pt x="790676" y="428796"/>
                      <a:pt x="792443" y="407563"/>
                      <a:pt x="802052" y="386966"/>
                    </a:cubicBezTo>
                    <a:cubicBezTo>
                      <a:pt x="806928" y="376544"/>
                      <a:pt x="811592" y="365945"/>
                      <a:pt x="815372" y="355099"/>
                    </a:cubicBezTo>
                    <a:cubicBezTo>
                      <a:pt x="824875" y="328037"/>
                      <a:pt x="836605" y="301080"/>
                      <a:pt x="827914" y="271333"/>
                    </a:cubicBezTo>
                    <a:cubicBezTo>
                      <a:pt x="811097" y="213958"/>
                      <a:pt x="781950" y="165133"/>
                      <a:pt x="730864" y="131429"/>
                    </a:cubicBezTo>
                    <a:cubicBezTo>
                      <a:pt x="705180" y="114506"/>
                      <a:pt x="682851" y="93944"/>
                      <a:pt x="662890" y="70344"/>
                    </a:cubicBezTo>
                    <a:cubicBezTo>
                      <a:pt x="645438" y="49677"/>
                      <a:pt x="623498" y="35510"/>
                      <a:pt x="595870" y="30140"/>
                    </a:cubicBezTo>
                    <a:cubicBezTo>
                      <a:pt x="573860" y="25865"/>
                      <a:pt x="551850" y="25723"/>
                      <a:pt x="529734" y="25617"/>
                    </a:cubicBezTo>
                    <a:cubicBezTo>
                      <a:pt x="496737" y="25476"/>
                      <a:pt x="464799" y="19717"/>
                      <a:pt x="433638" y="8836"/>
                    </a:cubicBezTo>
                    <a:cubicBezTo>
                      <a:pt x="403714" y="-1586"/>
                      <a:pt x="373331" y="-2151"/>
                      <a:pt x="342171" y="3819"/>
                    </a:cubicBezTo>
                    <a:cubicBezTo>
                      <a:pt x="307230" y="10532"/>
                      <a:pt x="275928" y="25511"/>
                      <a:pt x="245015" y="42152"/>
                    </a:cubicBezTo>
                    <a:cubicBezTo>
                      <a:pt x="217316" y="57061"/>
                      <a:pt x="192162" y="74301"/>
                      <a:pt x="176476" y="102953"/>
                    </a:cubicBezTo>
                    <a:cubicBezTo>
                      <a:pt x="171954" y="111256"/>
                      <a:pt x="165983" y="119452"/>
                      <a:pt x="157469" y="12485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9" name="Freeform: Shape 878">
                <a:extLst>
                  <a:ext uri="{FF2B5EF4-FFF2-40B4-BE49-F238E27FC236}">
                    <a16:creationId xmlns:a16="http://schemas.microsoft.com/office/drawing/2014/main" id="{17FD54B3-5C5C-6BA8-4F58-E63638891D66}"/>
                  </a:ext>
                </a:extLst>
              </p:cNvPr>
              <p:cNvSpPr/>
              <p:nvPr/>
            </p:nvSpPr>
            <p:spPr>
              <a:xfrm>
                <a:off x="8495911" y="3534524"/>
                <a:ext cx="163666" cy="150082"/>
              </a:xfrm>
              <a:custGeom>
                <a:avLst/>
                <a:gdLst>
                  <a:gd name="connsiteX0" fmla="*/ 163517 w 163666"/>
                  <a:gd name="connsiteY0" fmla="*/ 30513 h 150082"/>
                  <a:gd name="connsiteX1" fmla="*/ 163517 w 163666"/>
                  <a:gd name="connsiteY1" fmla="*/ 18148 h 150082"/>
                  <a:gd name="connsiteX2" fmla="*/ 155357 w 163666"/>
                  <a:gd name="connsiteY2" fmla="*/ 200 h 150082"/>
                  <a:gd name="connsiteX3" fmla="*/ 144228 w 163666"/>
                  <a:gd name="connsiteY3" fmla="*/ 11788 h 150082"/>
                  <a:gd name="connsiteX4" fmla="*/ 139670 w 163666"/>
                  <a:gd name="connsiteY4" fmla="*/ 19879 h 150082"/>
                  <a:gd name="connsiteX5" fmla="*/ 104553 w 163666"/>
                  <a:gd name="connsiteY5" fmla="*/ 62062 h 150082"/>
                  <a:gd name="connsiteX6" fmla="*/ 74452 w 163666"/>
                  <a:gd name="connsiteY6" fmla="*/ 94035 h 150082"/>
                  <a:gd name="connsiteX7" fmla="*/ 46260 w 163666"/>
                  <a:gd name="connsiteY7" fmla="*/ 120002 h 150082"/>
                  <a:gd name="connsiteX8" fmla="*/ 12379 w 163666"/>
                  <a:gd name="connsiteY8" fmla="*/ 131520 h 150082"/>
                  <a:gd name="connsiteX9" fmla="*/ 190 w 163666"/>
                  <a:gd name="connsiteY9" fmla="*/ 143249 h 150082"/>
                  <a:gd name="connsiteX10" fmla="*/ 15806 w 163666"/>
                  <a:gd name="connsiteY10" fmla="*/ 149820 h 150082"/>
                  <a:gd name="connsiteX11" fmla="*/ 64383 w 163666"/>
                  <a:gd name="connsiteY11" fmla="*/ 144733 h 150082"/>
                  <a:gd name="connsiteX12" fmla="*/ 120345 w 163666"/>
                  <a:gd name="connsiteY12" fmla="*/ 104811 h 150082"/>
                  <a:gd name="connsiteX13" fmla="*/ 137974 w 163666"/>
                  <a:gd name="connsiteY13" fmla="*/ 79020 h 150082"/>
                  <a:gd name="connsiteX14" fmla="*/ 163447 w 163666"/>
                  <a:gd name="connsiteY14" fmla="*/ 30513 h 15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666" h="150082">
                    <a:moveTo>
                      <a:pt x="163517" y="30513"/>
                    </a:moveTo>
                    <a:cubicBezTo>
                      <a:pt x="163517" y="25249"/>
                      <a:pt x="163517" y="21681"/>
                      <a:pt x="163517" y="18148"/>
                    </a:cubicBezTo>
                    <a:cubicBezTo>
                      <a:pt x="163482" y="10835"/>
                      <a:pt x="162352" y="2250"/>
                      <a:pt x="155357" y="200"/>
                    </a:cubicBezTo>
                    <a:cubicBezTo>
                      <a:pt x="149598" y="-1460"/>
                      <a:pt x="147867" y="7620"/>
                      <a:pt x="144228" y="11788"/>
                    </a:cubicBezTo>
                    <a:cubicBezTo>
                      <a:pt x="142249" y="14085"/>
                      <a:pt x="141154" y="17159"/>
                      <a:pt x="139670" y="19879"/>
                    </a:cubicBezTo>
                    <a:cubicBezTo>
                      <a:pt x="130697" y="36272"/>
                      <a:pt x="121617" y="53265"/>
                      <a:pt x="104553" y="62062"/>
                    </a:cubicBezTo>
                    <a:cubicBezTo>
                      <a:pt x="90209" y="69481"/>
                      <a:pt x="80917" y="79762"/>
                      <a:pt x="74452" y="94035"/>
                    </a:cubicBezTo>
                    <a:cubicBezTo>
                      <a:pt x="68835" y="106400"/>
                      <a:pt x="60674" y="116363"/>
                      <a:pt x="46260" y="120002"/>
                    </a:cubicBezTo>
                    <a:cubicBezTo>
                      <a:pt x="34742" y="122935"/>
                      <a:pt x="23472" y="127139"/>
                      <a:pt x="12379" y="131520"/>
                    </a:cubicBezTo>
                    <a:cubicBezTo>
                      <a:pt x="6973" y="133675"/>
                      <a:pt x="-1364" y="135582"/>
                      <a:pt x="190" y="143249"/>
                    </a:cubicBezTo>
                    <a:cubicBezTo>
                      <a:pt x="1674" y="150491"/>
                      <a:pt x="9482" y="150456"/>
                      <a:pt x="15806" y="149820"/>
                    </a:cubicBezTo>
                    <a:cubicBezTo>
                      <a:pt x="32022" y="148195"/>
                      <a:pt x="48167" y="145369"/>
                      <a:pt x="64383" y="144733"/>
                    </a:cubicBezTo>
                    <a:cubicBezTo>
                      <a:pt x="93424" y="143602"/>
                      <a:pt x="111089" y="131802"/>
                      <a:pt x="120345" y="104811"/>
                    </a:cubicBezTo>
                    <a:cubicBezTo>
                      <a:pt x="123878" y="94459"/>
                      <a:pt x="128577" y="84920"/>
                      <a:pt x="137974" y="79020"/>
                    </a:cubicBezTo>
                    <a:cubicBezTo>
                      <a:pt x="156664" y="67255"/>
                      <a:pt x="165178" y="50686"/>
                      <a:pt x="163447" y="3051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0" name="Freeform: Shape 879">
                <a:extLst>
                  <a:ext uri="{FF2B5EF4-FFF2-40B4-BE49-F238E27FC236}">
                    <a16:creationId xmlns:a16="http://schemas.microsoft.com/office/drawing/2014/main" id="{7650476F-5E26-4F6D-BEC6-4449C3D92CBD}"/>
                  </a:ext>
                </a:extLst>
              </p:cNvPr>
              <p:cNvSpPr/>
              <p:nvPr/>
            </p:nvSpPr>
            <p:spPr>
              <a:xfrm>
                <a:off x="8197126" y="2618916"/>
                <a:ext cx="259017" cy="180003"/>
              </a:xfrm>
              <a:custGeom>
                <a:avLst/>
                <a:gdLst>
                  <a:gd name="connsiteX0" fmla="*/ 259018 w 259017"/>
                  <a:gd name="connsiteY0" fmla="*/ 60131 h 180003"/>
                  <a:gd name="connsiteX1" fmla="*/ 233439 w 259017"/>
                  <a:gd name="connsiteY1" fmla="*/ 48296 h 180003"/>
                  <a:gd name="connsiteX2" fmla="*/ 184649 w 259017"/>
                  <a:gd name="connsiteY2" fmla="*/ 22682 h 180003"/>
                  <a:gd name="connsiteX3" fmla="*/ 79791 w 259017"/>
                  <a:gd name="connsiteY3" fmla="*/ 8480 h 180003"/>
                  <a:gd name="connsiteX4" fmla="*/ 28423 w 259017"/>
                  <a:gd name="connsiteY4" fmla="*/ 100866 h 180003"/>
                  <a:gd name="connsiteX5" fmla="*/ 11182 w 259017"/>
                  <a:gd name="connsiteY5" fmla="*/ 158206 h 180003"/>
                  <a:gd name="connsiteX6" fmla="*/ 124 w 259017"/>
                  <a:gd name="connsiteY6" fmla="*/ 180004 h 180003"/>
                  <a:gd name="connsiteX7" fmla="*/ 41354 w 259017"/>
                  <a:gd name="connsiteY7" fmla="*/ 112065 h 180003"/>
                  <a:gd name="connsiteX8" fmla="*/ 41777 w 259017"/>
                  <a:gd name="connsiteY8" fmla="*/ 77478 h 180003"/>
                  <a:gd name="connsiteX9" fmla="*/ 50327 w 259017"/>
                  <a:gd name="connsiteY9" fmla="*/ 48614 h 180003"/>
                  <a:gd name="connsiteX10" fmla="*/ 129818 w 259017"/>
                  <a:gd name="connsiteY10" fmla="*/ 17877 h 180003"/>
                  <a:gd name="connsiteX11" fmla="*/ 173768 w 259017"/>
                  <a:gd name="connsiteY11" fmla="*/ 59637 h 180003"/>
                  <a:gd name="connsiteX12" fmla="*/ 194577 w 259017"/>
                  <a:gd name="connsiteY12" fmla="*/ 83555 h 180003"/>
                  <a:gd name="connsiteX13" fmla="*/ 242766 w 259017"/>
                  <a:gd name="connsiteY13" fmla="*/ 90621 h 180003"/>
                  <a:gd name="connsiteX14" fmla="*/ 258488 w 259017"/>
                  <a:gd name="connsiteY14" fmla="*/ 85992 h 180003"/>
                  <a:gd name="connsiteX15" fmla="*/ 242342 w 259017"/>
                  <a:gd name="connsiteY15" fmla="*/ 80481 h 180003"/>
                  <a:gd name="connsiteX16" fmla="*/ 198215 w 259017"/>
                  <a:gd name="connsiteY16" fmla="*/ 70624 h 180003"/>
                  <a:gd name="connsiteX17" fmla="*/ 259018 w 259017"/>
                  <a:gd name="connsiteY17" fmla="*/ 60061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017" h="180003">
                    <a:moveTo>
                      <a:pt x="259018" y="60131"/>
                    </a:moveTo>
                    <a:cubicBezTo>
                      <a:pt x="251245" y="53030"/>
                      <a:pt x="242236" y="50663"/>
                      <a:pt x="233439" y="48296"/>
                    </a:cubicBezTo>
                    <a:cubicBezTo>
                      <a:pt x="215209" y="43385"/>
                      <a:pt x="199099" y="35012"/>
                      <a:pt x="184649" y="22682"/>
                    </a:cubicBezTo>
                    <a:cubicBezTo>
                      <a:pt x="152923" y="-4345"/>
                      <a:pt x="115686" y="-4698"/>
                      <a:pt x="79791" y="8480"/>
                    </a:cubicBezTo>
                    <a:cubicBezTo>
                      <a:pt x="38598" y="23636"/>
                      <a:pt x="21816" y="56174"/>
                      <a:pt x="28423" y="100866"/>
                    </a:cubicBezTo>
                    <a:cubicBezTo>
                      <a:pt x="31779" y="123654"/>
                      <a:pt x="24784" y="141248"/>
                      <a:pt x="11182" y="158206"/>
                    </a:cubicBezTo>
                    <a:cubicBezTo>
                      <a:pt x="6731" y="163788"/>
                      <a:pt x="-1077" y="168274"/>
                      <a:pt x="124" y="180004"/>
                    </a:cubicBezTo>
                    <a:cubicBezTo>
                      <a:pt x="23689" y="161527"/>
                      <a:pt x="39163" y="140753"/>
                      <a:pt x="41354" y="112065"/>
                    </a:cubicBezTo>
                    <a:cubicBezTo>
                      <a:pt x="42237" y="100583"/>
                      <a:pt x="41424" y="89031"/>
                      <a:pt x="41777" y="77478"/>
                    </a:cubicBezTo>
                    <a:cubicBezTo>
                      <a:pt x="42095" y="67197"/>
                      <a:pt x="44497" y="57482"/>
                      <a:pt x="50327" y="48614"/>
                    </a:cubicBezTo>
                    <a:cubicBezTo>
                      <a:pt x="65978" y="24837"/>
                      <a:pt x="100777" y="10918"/>
                      <a:pt x="129818" y="17877"/>
                    </a:cubicBezTo>
                    <a:cubicBezTo>
                      <a:pt x="152287" y="23248"/>
                      <a:pt x="169599" y="34447"/>
                      <a:pt x="173768" y="59637"/>
                    </a:cubicBezTo>
                    <a:cubicBezTo>
                      <a:pt x="175746" y="71543"/>
                      <a:pt x="183519" y="79103"/>
                      <a:pt x="194577" y="83555"/>
                    </a:cubicBezTo>
                    <a:cubicBezTo>
                      <a:pt x="210086" y="89773"/>
                      <a:pt x="226444" y="90444"/>
                      <a:pt x="242766" y="90621"/>
                    </a:cubicBezTo>
                    <a:cubicBezTo>
                      <a:pt x="248383" y="90691"/>
                      <a:pt x="258452" y="93588"/>
                      <a:pt x="258488" y="85992"/>
                    </a:cubicBezTo>
                    <a:cubicBezTo>
                      <a:pt x="258523" y="76701"/>
                      <a:pt x="248136" y="80658"/>
                      <a:pt x="242342" y="80481"/>
                    </a:cubicBezTo>
                    <a:cubicBezTo>
                      <a:pt x="227044" y="80022"/>
                      <a:pt x="211888" y="79845"/>
                      <a:pt x="198215" y="70624"/>
                    </a:cubicBezTo>
                    <a:cubicBezTo>
                      <a:pt x="218636" y="69246"/>
                      <a:pt x="239374" y="70589"/>
                      <a:pt x="259018" y="6006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1" name="Freeform: Shape 880">
                <a:extLst>
                  <a:ext uri="{FF2B5EF4-FFF2-40B4-BE49-F238E27FC236}">
                    <a16:creationId xmlns:a16="http://schemas.microsoft.com/office/drawing/2014/main" id="{A4AF8BAE-CD18-4ECB-6C53-1F8978897301}"/>
                  </a:ext>
                </a:extLst>
              </p:cNvPr>
              <p:cNvSpPr/>
              <p:nvPr/>
            </p:nvSpPr>
            <p:spPr>
              <a:xfrm>
                <a:off x="8004775" y="2808059"/>
                <a:ext cx="90687" cy="64306"/>
              </a:xfrm>
              <a:custGeom>
                <a:avLst/>
                <a:gdLst>
                  <a:gd name="connsiteX0" fmla="*/ 22647 w 90687"/>
                  <a:gd name="connsiteY0" fmla="*/ 64276 h 64306"/>
                  <a:gd name="connsiteX1" fmla="*/ 71931 w 90687"/>
                  <a:gd name="connsiteY1" fmla="*/ 57245 h 64306"/>
                  <a:gd name="connsiteX2" fmla="*/ 84332 w 90687"/>
                  <a:gd name="connsiteY2" fmla="*/ 39192 h 64306"/>
                  <a:gd name="connsiteX3" fmla="*/ 87794 w 90687"/>
                  <a:gd name="connsiteY3" fmla="*/ 19478 h 64306"/>
                  <a:gd name="connsiteX4" fmla="*/ 88112 w 90687"/>
                  <a:gd name="connsiteY4" fmla="*/ 3297 h 64306"/>
                  <a:gd name="connsiteX5" fmla="*/ 73627 w 90687"/>
                  <a:gd name="connsiteY5" fmla="*/ 3015 h 64306"/>
                  <a:gd name="connsiteX6" fmla="*/ 15475 w 90687"/>
                  <a:gd name="connsiteY6" fmla="*/ 27851 h 64306"/>
                  <a:gd name="connsiteX7" fmla="*/ 495 w 90687"/>
                  <a:gd name="connsiteY7" fmla="*/ 50391 h 64306"/>
                  <a:gd name="connsiteX8" fmla="*/ 22682 w 90687"/>
                  <a:gd name="connsiteY8" fmla="*/ 64276 h 6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687" h="64306">
                    <a:moveTo>
                      <a:pt x="22647" y="64276"/>
                    </a:moveTo>
                    <a:cubicBezTo>
                      <a:pt x="39711" y="61873"/>
                      <a:pt x="55856" y="59789"/>
                      <a:pt x="71931" y="57245"/>
                    </a:cubicBezTo>
                    <a:cubicBezTo>
                      <a:pt x="82106" y="55655"/>
                      <a:pt x="87088" y="48978"/>
                      <a:pt x="84332" y="39192"/>
                    </a:cubicBezTo>
                    <a:cubicBezTo>
                      <a:pt x="82177" y="31490"/>
                      <a:pt x="83307" y="25696"/>
                      <a:pt x="87794" y="19478"/>
                    </a:cubicBezTo>
                    <a:cubicBezTo>
                      <a:pt x="91433" y="14461"/>
                      <a:pt x="91751" y="8243"/>
                      <a:pt x="88112" y="3297"/>
                    </a:cubicBezTo>
                    <a:cubicBezTo>
                      <a:pt x="84014" y="-2250"/>
                      <a:pt x="77761" y="294"/>
                      <a:pt x="73627" y="3015"/>
                    </a:cubicBezTo>
                    <a:cubicBezTo>
                      <a:pt x="55680" y="14920"/>
                      <a:pt x="35613" y="21138"/>
                      <a:pt x="15475" y="27851"/>
                    </a:cubicBezTo>
                    <a:cubicBezTo>
                      <a:pt x="6501" y="30819"/>
                      <a:pt x="-2190" y="39474"/>
                      <a:pt x="495" y="50391"/>
                    </a:cubicBezTo>
                    <a:cubicBezTo>
                      <a:pt x="3039" y="60813"/>
                      <a:pt x="12825" y="64700"/>
                      <a:pt x="22682" y="6427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2" name="Freeform: Shape 881">
                <a:extLst>
                  <a:ext uri="{FF2B5EF4-FFF2-40B4-BE49-F238E27FC236}">
                    <a16:creationId xmlns:a16="http://schemas.microsoft.com/office/drawing/2014/main" id="{9E0F18B9-BBD3-F8EE-CAA3-643671BD9E3A}"/>
                  </a:ext>
                </a:extLst>
              </p:cNvPr>
              <p:cNvSpPr/>
              <p:nvPr/>
            </p:nvSpPr>
            <p:spPr>
              <a:xfrm>
                <a:off x="7860694" y="2711784"/>
                <a:ext cx="83657" cy="93306"/>
              </a:xfrm>
              <a:custGeom>
                <a:avLst/>
                <a:gdLst>
                  <a:gd name="connsiteX0" fmla="*/ 8 w 83657"/>
                  <a:gd name="connsiteY0" fmla="*/ 65373 h 93306"/>
                  <a:gd name="connsiteX1" fmla="*/ 8134 w 83657"/>
                  <a:gd name="connsiteY1" fmla="*/ 84698 h 93306"/>
                  <a:gd name="connsiteX2" fmla="*/ 23325 w 83657"/>
                  <a:gd name="connsiteY2" fmla="*/ 84451 h 93306"/>
                  <a:gd name="connsiteX3" fmla="*/ 73917 w 83657"/>
                  <a:gd name="connsiteY3" fmla="*/ 15630 h 93306"/>
                  <a:gd name="connsiteX4" fmla="*/ 82820 w 83657"/>
                  <a:gd name="connsiteY4" fmla="*/ 3017 h 93306"/>
                  <a:gd name="connsiteX5" fmla="*/ 63142 w 83657"/>
                  <a:gd name="connsiteY5" fmla="*/ 2734 h 93306"/>
                  <a:gd name="connsiteX6" fmla="*/ 58513 w 83657"/>
                  <a:gd name="connsiteY6" fmla="*/ 5313 h 93306"/>
                  <a:gd name="connsiteX7" fmla="*/ 20040 w 83657"/>
                  <a:gd name="connsiteY7" fmla="*/ 33259 h 93306"/>
                  <a:gd name="connsiteX8" fmla="*/ 8 w 83657"/>
                  <a:gd name="connsiteY8" fmla="*/ 65373 h 93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657" h="93306">
                    <a:moveTo>
                      <a:pt x="8" y="65373"/>
                    </a:moveTo>
                    <a:cubicBezTo>
                      <a:pt x="-63" y="70531"/>
                      <a:pt x="1280" y="74135"/>
                      <a:pt x="8134" y="84698"/>
                    </a:cubicBezTo>
                    <a:cubicBezTo>
                      <a:pt x="15624" y="96286"/>
                      <a:pt x="16790" y="96145"/>
                      <a:pt x="23325" y="84451"/>
                    </a:cubicBezTo>
                    <a:cubicBezTo>
                      <a:pt x="37281" y="59403"/>
                      <a:pt x="52472" y="35237"/>
                      <a:pt x="73917" y="15630"/>
                    </a:cubicBezTo>
                    <a:cubicBezTo>
                      <a:pt x="77803" y="12061"/>
                      <a:pt x="86353" y="7504"/>
                      <a:pt x="82820" y="3017"/>
                    </a:cubicBezTo>
                    <a:cubicBezTo>
                      <a:pt x="78899" y="-1964"/>
                      <a:pt x="69854" y="155"/>
                      <a:pt x="63142" y="2734"/>
                    </a:cubicBezTo>
                    <a:cubicBezTo>
                      <a:pt x="61516" y="3370"/>
                      <a:pt x="59962" y="4289"/>
                      <a:pt x="58513" y="5313"/>
                    </a:cubicBezTo>
                    <a:cubicBezTo>
                      <a:pt x="45618" y="14534"/>
                      <a:pt x="32087" y="23049"/>
                      <a:pt x="20040" y="33259"/>
                    </a:cubicBezTo>
                    <a:cubicBezTo>
                      <a:pt x="10925" y="40996"/>
                      <a:pt x="-345" y="48239"/>
                      <a:pt x="8" y="6537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3" name="Freeform: Shape 882">
                <a:extLst>
                  <a:ext uri="{FF2B5EF4-FFF2-40B4-BE49-F238E27FC236}">
                    <a16:creationId xmlns:a16="http://schemas.microsoft.com/office/drawing/2014/main" id="{6F4F4702-FDBE-05C6-52B5-22B81728A587}"/>
                  </a:ext>
                </a:extLst>
              </p:cNvPr>
              <p:cNvSpPr/>
              <p:nvPr/>
            </p:nvSpPr>
            <p:spPr>
              <a:xfrm>
                <a:off x="7857754" y="3069243"/>
                <a:ext cx="37568" cy="74595"/>
              </a:xfrm>
              <a:custGeom>
                <a:avLst/>
                <a:gdLst>
                  <a:gd name="connsiteX0" fmla="*/ 263 w 37568"/>
                  <a:gd name="connsiteY0" fmla="*/ 33333 h 74595"/>
                  <a:gd name="connsiteX1" fmla="*/ 20154 w 37568"/>
                  <a:gd name="connsiteY1" fmla="*/ 71630 h 74595"/>
                  <a:gd name="connsiteX2" fmla="*/ 37041 w 37568"/>
                  <a:gd name="connsiteY2" fmla="*/ 65200 h 74595"/>
                  <a:gd name="connsiteX3" fmla="*/ 36794 w 37568"/>
                  <a:gd name="connsiteY3" fmla="*/ 53329 h 74595"/>
                  <a:gd name="connsiteX4" fmla="*/ 34109 w 37568"/>
                  <a:gd name="connsiteY4" fmla="*/ 16975 h 74595"/>
                  <a:gd name="connsiteX5" fmla="*/ 24676 w 37568"/>
                  <a:gd name="connsiteY5" fmla="*/ 1042 h 74595"/>
                  <a:gd name="connsiteX6" fmla="*/ 7258 w 37568"/>
                  <a:gd name="connsiteY6" fmla="*/ 6977 h 74595"/>
                  <a:gd name="connsiteX7" fmla="*/ 263 w 37568"/>
                  <a:gd name="connsiteY7" fmla="*/ 33297 h 74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68" h="74595">
                    <a:moveTo>
                      <a:pt x="263" y="33333"/>
                    </a:moveTo>
                    <a:cubicBezTo>
                      <a:pt x="-1821" y="50573"/>
                      <a:pt x="8813" y="61490"/>
                      <a:pt x="20154" y="71630"/>
                    </a:cubicBezTo>
                    <a:cubicBezTo>
                      <a:pt x="26831" y="77600"/>
                      <a:pt x="35381" y="74103"/>
                      <a:pt x="37041" y="65200"/>
                    </a:cubicBezTo>
                    <a:cubicBezTo>
                      <a:pt x="37748" y="61384"/>
                      <a:pt x="37818" y="57039"/>
                      <a:pt x="36794" y="53329"/>
                    </a:cubicBezTo>
                    <a:cubicBezTo>
                      <a:pt x="33438" y="41352"/>
                      <a:pt x="30399" y="29800"/>
                      <a:pt x="34109" y="16975"/>
                    </a:cubicBezTo>
                    <a:cubicBezTo>
                      <a:pt x="36016" y="10404"/>
                      <a:pt x="31388" y="3621"/>
                      <a:pt x="24676" y="1042"/>
                    </a:cubicBezTo>
                    <a:cubicBezTo>
                      <a:pt x="17963" y="-1537"/>
                      <a:pt x="11886" y="759"/>
                      <a:pt x="7258" y="6977"/>
                    </a:cubicBezTo>
                    <a:cubicBezTo>
                      <a:pt x="1358" y="14926"/>
                      <a:pt x="-337" y="23723"/>
                      <a:pt x="263" y="3329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4" name="Freeform: Shape 883">
                <a:extLst>
                  <a:ext uri="{FF2B5EF4-FFF2-40B4-BE49-F238E27FC236}">
                    <a16:creationId xmlns:a16="http://schemas.microsoft.com/office/drawing/2014/main" id="{B6C4A802-3367-9188-DCEF-C1DC75F0F0EB}"/>
                  </a:ext>
                </a:extLst>
              </p:cNvPr>
              <p:cNvSpPr/>
              <p:nvPr/>
            </p:nvSpPr>
            <p:spPr>
              <a:xfrm>
                <a:off x="7972148" y="2750766"/>
                <a:ext cx="72183" cy="116198"/>
              </a:xfrm>
              <a:custGeom>
                <a:avLst/>
                <a:gdLst>
                  <a:gd name="connsiteX0" fmla="*/ 1149 w 72183"/>
                  <a:gd name="connsiteY0" fmla="*/ 116198 h 116198"/>
                  <a:gd name="connsiteX1" fmla="*/ 8108 w 72183"/>
                  <a:gd name="connsiteY1" fmla="*/ 104645 h 116198"/>
                  <a:gd name="connsiteX2" fmla="*/ 30048 w 72183"/>
                  <a:gd name="connsiteY2" fmla="*/ 51051 h 116198"/>
                  <a:gd name="connsiteX3" fmla="*/ 67744 w 72183"/>
                  <a:gd name="connsiteY3" fmla="*/ 9998 h 116198"/>
                  <a:gd name="connsiteX4" fmla="*/ 70959 w 72183"/>
                  <a:gd name="connsiteY4" fmla="*/ 1272 h 116198"/>
                  <a:gd name="connsiteX5" fmla="*/ 63081 w 72183"/>
                  <a:gd name="connsiteY5" fmla="*/ 3498 h 116198"/>
                  <a:gd name="connsiteX6" fmla="*/ 41318 w 72183"/>
                  <a:gd name="connsiteY6" fmla="*/ 18619 h 116198"/>
                  <a:gd name="connsiteX7" fmla="*/ 1149 w 72183"/>
                  <a:gd name="connsiteY7" fmla="*/ 116198 h 1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83" h="116198">
                    <a:moveTo>
                      <a:pt x="1149" y="116198"/>
                    </a:moveTo>
                    <a:cubicBezTo>
                      <a:pt x="6872" y="112347"/>
                      <a:pt x="7543" y="108602"/>
                      <a:pt x="8108" y="104645"/>
                    </a:cubicBezTo>
                    <a:cubicBezTo>
                      <a:pt x="10864" y="84932"/>
                      <a:pt x="19273" y="67550"/>
                      <a:pt x="30048" y="51051"/>
                    </a:cubicBezTo>
                    <a:cubicBezTo>
                      <a:pt x="40399" y="35259"/>
                      <a:pt x="54814" y="23353"/>
                      <a:pt x="67744" y="9998"/>
                    </a:cubicBezTo>
                    <a:cubicBezTo>
                      <a:pt x="70041" y="7631"/>
                      <a:pt x="74280" y="5052"/>
                      <a:pt x="70959" y="1272"/>
                    </a:cubicBezTo>
                    <a:cubicBezTo>
                      <a:pt x="68027" y="-2049"/>
                      <a:pt x="65377" y="2014"/>
                      <a:pt x="63081" y="3498"/>
                    </a:cubicBezTo>
                    <a:cubicBezTo>
                      <a:pt x="55662" y="8338"/>
                      <a:pt x="47925" y="12825"/>
                      <a:pt x="41318" y="18619"/>
                    </a:cubicBezTo>
                    <a:cubicBezTo>
                      <a:pt x="12595" y="43844"/>
                      <a:pt x="-4751" y="74050"/>
                      <a:pt x="1149" y="11619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5" name="Freeform: Shape 884">
                <a:extLst>
                  <a:ext uri="{FF2B5EF4-FFF2-40B4-BE49-F238E27FC236}">
                    <a16:creationId xmlns:a16="http://schemas.microsoft.com/office/drawing/2014/main" id="{A66872AA-651A-AC3D-F13C-B4666A75FCD4}"/>
                  </a:ext>
                </a:extLst>
              </p:cNvPr>
              <p:cNvSpPr/>
              <p:nvPr/>
            </p:nvSpPr>
            <p:spPr>
              <a:xfrm>
                <a:off x="7924574" y="2758020"/>
                <a:ext cx="47041" cy="57695"/>
              </a:xfrm>
              <a:custGeom>
                <a:avLst/>
                <a:gdLst>
                  <a:gd name="connsiteX0" fmla="*/ 74 w 47041"/>
                  <a:gd name="connsiteY0" fmla="*/ 42631 h 57695"/>
                  <a:gd name="connsiteX1" fmla="*/ 11309 w 47041"/>
                  <a:gd name="connsiteY1" fmla="*/ 57010 h 57695"/>
                  <a:gd name="connsiteX2" fmla="*/ 28373 w 47041"/>
                  <a:gd name="connsiteY2" fmla="*/ 48036 h 57695"/>
                  <a:gd name="connsiteX3" fmla="*/ 45225 w 47041"/>
                  <a:gd name="connsiteY3" fmla="*/ 14898 h 57695"/>
                  <a:gd name="connsiteX4" fmla="*/ 44342 w 47041"/>
                  <a:gd name="connsiteY4" fmla="*/ 2497 h 57695"/>
                  <a:gd name="connsiteX5" fmla="*/ 37417 w 47041"/>
                  <a:gd name="connsiteY5" fmla="*/ 271 h 57695"/>
                  <a:gd name="connsiteX6" fmla="*/ 74 w 47041"/>
                  <a:gd name="connsiteY6" fmla="*/ 42666 h 5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41" h="57695">
                    <a:moveTo>
                      <a:pt x="74" y="42631"/>
                    </a:moveTo>
                    <a:cubicBezTo>
                      <a:pt x="-703" y="50934"/>
                      <a:pt x="4738" y="54961"/>
                      <a:pt x="11309" y="57010"/>
                    </a:cubicBezTo>
                    <a:cubicBezTo>
                      <a:pt x="19435" y="59554"/>
                      <a:pt x="26430" y="54678"/>
                      <a:pt x="28373" y="48036"/>
                    </a:cubicBezTo>
                    <a:cubicBezTo>
                      <a:pt x="31977" y="35707"/>
                      <a:pt x="35934" y="24225"/>
                      <a:pt x="45225" y="14898"/>
                    </a:cubicBezTo>
                    <a:cubicBezTo>
                      <a:pt x="49005" y="11082"/>
                      <a:pt x="45967" y="6454"/>
                      <a:pt x="44342" y="2497"/>
                    </a:cubicBezTo>
                    <a:cubicBezTo>
                      <a:pt x="43070" y="-541"/>
                      <a:pt x="40067" y="-117"/>
                      <a:pt x="37417" y="271"/>
                    </a:cubicBezTo>
                    <a:cubicBezTo>
                      <a:pt x="28196" y="1614"/>
                      <a:pt x="604" y="32986"/>
                      <a:pt x="74" y="4266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6" name="Freeform: Shape 885">
                <a:extLst>
                  <a:ext uri="{FF2B5EF4-FFF2-40B4-BE49-F238E27FC236}">
                    <a16:creationId xmlns:a16="http://schemas.microsoft.com/office/drawing/2014/main" id="{965D8CD1-2979-33F0-400E-C39F0DACDFCD}"/>
                  </a:ext>
                </a:extLst>
              </p:cNvPr>
              <p:cNvSpPr/>
              <p:nvPr/>
            </p:nvSpPr>
            <p:spPr>
              <a:xfrm>
                <a:off x="8312479" y="2699717"/>
                <a:ext cx="54458" cy="29098"/>
              </a:xfrm>
              <a:custGeom>
                <a:avLst/>
                <a:gdLst>
                  <a:gd name="connsiteX0" fmla="*/ 15736 w 54458"/>
                  <a:gd name="connsiteY0" fmla="*/ 29075 h 29098"/>
                  <a:gd name="connsiteX1" fmla="*/ 53009 w 54458"/>
                  <a:gd name="connsiteY1" fmla="*/ 9714 h 29098"/>
                  <a:gd name="connsiteX2" fmla="*/ 52903 w 54458"/>
                  <a:gd name="connsiteY2" fmla="*/ 1094 h 29098"/>
                  <a:gd name="connsiteX3" fmla="*/ 45237 w 54458"/>
                  <a:gd name="connsiteY3" fmla="*/ 3744 h 29098"/>
                  <a:gd name="connsiteX4" fmla="*/ 15454 w 54458"/>
                  <a:gd name="connsiteY4" fmla="*/ 17557 h 29098"/>
                  <a:gd name="connsiteX5" fmla="*/ 15 w 54458"/>
                  <a:gd name="connsiteY5" fmla="*/ 23811 h 29098"/>
                  <a:gd name="connsiteX6" fmla="*/ 15701 w 54458"/>
                  <a:gd name="connsiteY6" fmla="*/ 29075 h 2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58" h="29098">
                    <a:moveTo>
                      <a:pt x="15736" y="29075"/>
                    </a:moveTo>
                    <a:cubicBezTo>
                      <a:pt x="33719" y="29110"/>
                      <a:pt x="48593" y="21161"/>
                      <a:pt x="53009" y="9714"/>
                    </a:cubicBezTo>
                    <a:cubicBezTo>
                      <a:pt x="54139" y="6782"/>
                      <a:pt x="55659" y="3496"/>
                      <a:pt x="52903" y="1094"/>
                    </a:cubicBezTo>
                    <a:cubicBezTo>
                      <a:pt x="49512" y="-1874"/>
                      <a:pt x="47462" y="1942"/>
                      <a:pt x="45237" y="3744"/>
                    </a:cubicBezTo>
                    <a:cubicBezTo>
                      <a:pt x="36475" y="10880"/>
                      <a:pt x="26300" y="14943"/>
                      <a:pt x="15454" y="17557"/>
                    </a:cubicBezTo>
                    <a:cubicBezTo>
                      <a:pt x="9695" y="18935"/>
                      <a:pt x="-444" y="17981"/>
                      <a:pt x="15" y="23811"/>
                    </a:cubicBezTo>
                    <a:cubicBezTo>
                      <a:pt x="686" y="32290"/>
                      <a:pt x="10755" y="27662"/>
                      <a:pt x="15701" y="2907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7" name="Freeform: Shape 886">
                <a:extLst>
                  <a:ext uri="{FF2B5EF4-FFF2-40B4-BE49-F238E27FC236}">
                    <a16:creationId xmlns:a16="http://schemas.microsoft.com/office/drawing/2014/main" id="{0A189147-4232-EDBE-4972-C5486871088A}"/>
                  </a:ext>
                </a:extLst>
              </p:cNvPr>
              <p:cNvSpPr/>
              <p:nvPr/>
            </p:nvSpPr>
            <p:spPr>
              <a:xfrm>
                <a:off x="8108457" y="2800595"/>
                <a:ext cx="15554" cy="15497"/>
              </a:xfrm>
              <a:custGeom>
                <a:avLst/>
                <a:gdLst>
                  <a:gd name="connsiteX0" fmla="*/ 15555 w 15554"/>
                  <a:gd name="connsiteY0" fmla="*/ 7475 h 15497"/>
                  <a:gd name="connsiteX1" fmla="*/ 6723 w 15554"/>
                  <a:gd name="connsiteY1" fmla="*/ 56 h 15497"/>
                  <a:gd name="connsiteX2" fmla="*/ 10 w 15554"/>
                  <a:gd name="connsiteY2" fmla="*/ 8111 h 15497"/>
                  <a:gd name="connsiteX3" fmla="*/ 7429 w 15554"/>
                  <a:gd name="connsiteY3" fmla="*/ 15495 h 15497"/>
                  <a:gd name="connsiteX4" fmla="*/ 15555 w 15554"/>
                  <a:gd name="connsiteY4" fmla="*/ 7475 h 15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4" h="15497">
                    <a:moveTo>
                      <a:pt x="15555" y="7475"/>
                    </a:moveTo>
                    <a:cubicBezTo>
                      <a:pt x="15060" y="1964"/>
                      <a:pt x="11881" y="-403"/>
                      <a:pt x="6723" y="56"/>
                    </a:cubicBezTo>
                    <a:cubicBezTo>
                      <a:pt x="2023" y="480"/>
                      <a:pt x="-167" y="3518"/>
                      <a:pt x="10" y="8111"/>
                    </a:cubicBezTo>
                    <a:cubicBezTo>
                      <a:pt x="187" y="12810"/>
                      <a:pt x="2766" y="15389"/>
                      <a:pt x="7429" y="15495"/>
                    </a:cubicBezTo>
                    <a:cubicBezTo>
                      <a:pt x="12799" y="15601"/>
                      <a:pt x="15413" y="12704"/>
                      <a:pt x="15555" y="747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8" name="Freeform: Shape 887">
                <a:extLst>
                  <a:ext uri="{FF2B5EF4-FFF2-40B4-BE49-F238E27FC236}">
                    <a16:creationId xmlns:a16="http://schemas.microsoft.com/office/drawing/2014/main" id="{79138D38-B150-8E06-BC15-40FEF38144CA}"/>
                  </a:ext>
                </a:extLst>
              </p:cNvPr>
              <p:cNvSpPr/>
              <p:nvPr/>
            </p:nvSpPr>
            <p:spPr>
              <a:xfrm>
                <a:off x="7895344" y="3091163"/>
                <a:ext cx="14960" cy="15016"/>
              </a:xfrm>
              <a:custGeom>
                <a:avLst/>
                <a:gdLst>
                  <a:gd name="connsiteX0" fmla="*/ 14961 w 14960"/>
                  <a:gd name="connsiteY0" fmla="*/ 7915 h 15016"/>
                  <a:gd name="connsiteX1" fmla="*/ 7400 w 14960"/>
                  <a:gd name="connsiteY1" fmla="*/ 108 h 15016"/>
                  <a:gd name="connsiteX2" fmla="*/ 16 w 14960"/>
                  <a:gd name="connsiteY2" fmla="*/ 7067 h 15016"/>
                  <a:gd name="connsiteX3" fmla="*/ 6482 w 14960"/>
                  <a:gd name="connsiteY3" fmla="*/ 15017 h 15016"/>
                  <a:gd name="connsiteX4" fmla="*/ 14925 w 14960"/>
                  <a:gd name="connsiteY4" fmla="*/ 7915 h 15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60" h="15016">
                    <a:moveTo>
                      <a:pt x="14961" y="7915"/>
                    </a:moveTo>
                    <a:cubicBezTo>
                      <a:pt x="14183" y="3641"/>
                      <a:pt x="11498" y="743"/>
                      <a:pt x="7400" y="108"/>
                    </a:cubicBezTo>
                    <a:cubicBezTo>
                      <a:pt x="2560" y="-634"/>
                      <a:pt x="264" y="2545"/>
                      <a:pt x="16" y="7067"/>
                    </a:cubicBezTo>
                    <a:cubicBezTo>
                      <a:pt x="-196" y="11519"/>
                      <a:pt x="1642" y="14981"/>
                      <a:pt x="6482" y="15017"/>
                    </a:cubicBezTo>
                    <a:cubicBezTo>
                      <a:pt x="10827" y="15017"/>
                      <a:pt x="13300" y="11837"/>
                      <a:pt x="14925" y="791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9" name="Freeform: Shape 888">
                <a:extLst>
                  <a:ext uri="{FF2B5EF4-FFF2-40B4-BE49-F238E27FC236}">
                    <a16:creationId xmlns:a16="http://schemas.microsoft.com/office/drawing/2014/main" id="{4C1817F0-B9E0-8D34-BAE8-D06840FEB234}"/>
                  </a:ext>
                </a:extLst>
              </p:cNvPr>
              <p:cNvSpPr/>
              <p:nvPr/>
            </p:nvSpPr>
            <p:spPr>
              <a:xfrm>
                <a:off x="7994628" y="2534990"/>
                <a:ext cx="215027" cy="108815"/>
              </a:xfrm>
              <a:custGeom>
                <a:avLst/>
                <a:gdLst>
                  <a:gd name="connsiteX0" fmla="*/ 44523 w 215027"/>
                  <a:gd name="connsiteY0" fmla="*/ 108516 h 108815"/>
                  <a:gd name="connsiteX1" fmla="*/ 5555 w 215027"/>
                  <a:gd name="connsiteY1" fmla="*/ 97917 h 108815"/>
                  <a:gd name="connsiteX2" fmla="*/ 2022 w 215027"/>
                  <a:gd name="connsiteY2" fmla="*/ 84033 h 108815"/>
                  <a:gd name="connsiteX3" fmla="*/ 129385 w 215027"/>
                  <a:gd name="connsiteY3" fmla="*/ 1963 h 108815"/>
                  <a:gd name="connsiteX4" fmla="*/ 205873 w 215027"/>
                  <a:gd name="connsiteY4" fmla="*/ 4224 h 108815"/>
                  <a:gd name="connsiteX5" fmla="*/ 211101 w 215027"/>
                  <a:gd name="connsiteY5" fmla="*/ 18143 h 108815"/>
                  <a:gd name="connsiteX6" fmla="*/ 151748 w 215027"/>
                  <a:gd name="connsiteY6" fmla="*/ 70466 h 108815"/>
                  <a:gd name="connsiteX7" fmla="*/ 65615 w 215027"/>
                  <a:gd name="connsiteY7" fmla="*/ 107385 h 108815"/>
                  <a:gd name="connsiteX8" fmla="*/ 44488 w 215027"/>
                  <a:gd name="connsiteY8" fmla="*/ 108551 h 10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027" h="108815">
                    <a:moveTo>
                      <a:pt x="44523" y="108516"/>
                    </a:moveTo>
                    <a:cubicBezTo>
                      <a:pt x="30109" y="110070"/>
                      <a:pt x="17532" y="105442"/>
                      <a:pt x="5555" y="97917"/>
                    </a:cubicBezTo>
                    <a:cubicBezTo>
                      <a:pt x="-522" y="94102"/>
                      <a:pt x="-1476" y="90745"/>
                      <a:pt x="2022" y="84033"/>
                    </a:cubicBezTo>
                    <a:cubicBezTo>
                      <a:pt x="28943" y="32381"/>
                      <a:pt x="74306" y="10053"/>
                      <a:pt x="129385" y="1963"/>
                    </a:cubicBezTo>
                    <a:cubicBezTo>
                      <a:pt x="155175" y="-1818"/>
                      <a:pt x="180400" y="373"/>
                      <a:pt x="205873" y="4224"/>
                    </a:cubicBezTo>
                    <a:cubicBezTo>
                      <a:pt x="217884" y="6061"/>
                      <a:pt x="216330" y="10866"/>
                      <a:pt x="211101" y="18143"/>
                    </a:cubicBezTo>
                    <a:cubicBezTo>
                      <a:pt x="195309" y="40118"/>
                      <a:pt x="174677" y="56829"/>
                      <a:pt x="151748" y="70466"/>
                    </a:cubicBezTo>
                    <a:cubicBezTo>
                      <a:pt x="124756" y="86470"/>
                      <a:pt x="97376" y="101980"/>
                      <a:pt x="65615" y="107385"/>
                    </a:cubicBezTo>
                    <a:cubicBezTo>
                      <a:pt x="58514" y="108587"/>
                      <a:pt x="51483" y="108057"/>
                      <a:pt x="44488" y="10855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0" name="Freeform: Shape 889">
                <a:extLst>
                  <a:ext uri="{FF2B5EF4-FFF2-40B4-BE49-F238E27FC236}">
                    <a16:creationId xmlns:a16="http://schemas.microsoft.com/office/drawing/2014/main" id="{7BDA31B5-C56B-9D4E-7718-1940F2086122}"/>
                  </a:ext>
                </a:extLst>
              </p:cNvPr>
              <p:cNvSpPr/>
              <p:nvPr/>
            </p:nvSpPr>
            <p:spPr>
              <a:xfrm>
                <a:off x="8347683" y="3758665"/>
                <a:ext cx="251152" cy="107615"/>
              </a:xfrm>
              <a:custGeom>
                <a:avLst/>
                <a:gdLst>
                  <a:gd name="connsiteX0" fmla="*/ 50556 w 251152"/>
                  <a:gd name="connsiteY0" fmla="*/ 106954 h 107615"/>
                  <a:gd name="connsiteX1" fmla="*/ 14661 w 251152"/>
                  <a:gd name="connsiteY1" fmla="*/ 100913 h 107615"/>
                  <a:gd name="connsiteX2" fmla="*/ 529 w 251152"/>
                  <a:gd name="connsiteY2" fmla="*/ 81376 h 107615"/>
                  <a:gd name="connsiteX3" fmla="*/ 20313 w 251152"/>
                  <a:gd name="connsiteY3" fmla="*/ 66714 h 107615"/>
                  <a:gd name="connsiteX4" fmla="*/ 108284 w 251152"/>
                  <a:gd name="connsiteY4" fmla="*/ 56504 h 107615"/>
                  <a:gd name="connsiteX5" fmla="*/ 151739 w 251152"/>
                  <a:gd name="connsiteY5" fmla="*/ 29053 h 107615"/>
                  <a:gd name="connsiteX6" fmla="*/ 211021 w 251152"/>
                  <a:gd name="connsiteY6" fmla="*/ 3015 h 107615"/>
                  <a:gd name="connsiteX7" fmla="*/ 228121 w 251152"/>
                  <a:gd name="connsiteY7" fmla="*/ 1249 h 107615"/>
                  <a:gd name="connsiteX8" fmla="*/ 248930 w 251152"/>
                  <a:gd name="connsiteY8" fmla="*/ 8279 h 107615"/>
                  <a:gd name="connsiteX9" fmla="*/ 244054 w 251152"/>
                  <a:gd name="connsiteY9" fmla="*/ 29760 h 107615"/>
                  <a:gd name="connsiteX10" fmla="*/ 224977 w 251152"/>
                  <a:gd name="connsiteY10" fmla="*/ 43927 h 107615"/>
                  <a:gd name="connsiteX11" fmla="*/ 102772 w 251152"/>
                  <a:gd name="connsiteY11" fmla="*/ 98193 h 107615"/>
                  <a:gd name="connsiteX12" fmla="*/ 50556 w 251152"/>
                  <a:gd name="connsiteY12" fmla="*/ 106954 h 107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152" h="107615">
                    <a:moveTo>
                      <a:pt x="50556" y="106954"/>
                    </a:moveTo>
                    <a:cubicBezTo>
                      <a:pt x="38120" y="109145"/>
                      <a:pt x="26214" y="105576"/>
                      <a:pt x="14661" y="100913"/>
                    </a:cubicBezTo>
                    <a:cubicBezTo>
                      <a:pt x="6041" y="97451"/>
                      <a:pt x="-2191" y="92045"/>
                      <a:pt x="529" y="81376"/>
                    </a:cubicBezTo>
                    <a:cubicBezTo>
                      <a:pt x="2861" y="72296"/>
                      <a:pt x="10563" y="67845"/>
                      <a:pt x="20313" y="66714"/>
                    </a:cubicBezTo>
                    <a:cubicBezTo>
                      <a:pt x="49637" y="63287"/>
                      <a:pt x="79419" y="64276"/>
                      <a:pt x="108284" y="56504"/>
                    </a:cubicBezTo>
                    <a:cubicBezTo>
                      <a:pt x="125807" y="51805"/>
                      <a:pt x="141458" y="45552"/>
                      <a:pt x="151739" y="29053"/>
                    </a:cubicBezTo>
                    <a:cubicBezTo>
                      <a:pt x="165341" y="7255"/>
                      <a:pt x="187987" y="4252"/>
                      <a:pt x="211021" y="3015"/>
                    </a:cubicBezTo>
                    <a:cubicBezTo>
                      <a:pt x="216744" y="2697"/>
                      <a:pt x="222398" y="3157"/>
                      <a:pt x="228121" y="1249"/>
                    </a:cubicBezTo>
                    <a:cubicBezTo>
                      <a:pt x="236494" y="-1542"/>
                      <a:pt x="244266" y="154"/>
                      <a:pt x="248930" y="8279"/>
                    </a:cubicBezTo>
                    <a:cubicBezTo>
                      <a:pt x="253664" y="16582"/>
                      <a:pt x="250272" y="24036"/>
                      <a:pt x="244054" y="29760"/>
                    </a:cubicBezTo>
                    <a:cubicBezTo>
                      <a:pt x="238260" y="35130"/>
                      <a:pt x="232042" y="40676"/>
                      <a:pt x="224977" y="43927"/>
                    </a:cubicBezTo>
                    <a:cubicBezTo>
                      <a:pt x="184454" y="62510"/>
                      <a:pt x="143895" y="81058"/>
                      <a:pt x="102772" y="98193"/>
                    </a:cubicBezTo>
                    <a:cubicBezTo>
                      <a:pt x="86591" y="104941"/>
                      <a:pt x="69068" y="109286"/>
                      <a:pt x="50556" y="10695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1" name="Freeform: Shape 890">
                <a:extLst>
                  <a:ext uri="{FF2B5EF4-FFF2-40B4-BE49-F238E27FC236}">
                    <a16:creationId xmlns:a16="http://schemas.microsoft.com/office/drawing/2014/main" id="{D7C4C2B9-E4F3-E44B-7262-994DB1694E70}"/>
                  </a:ext>
                </a:extLst>
              </p:cNvPr>
              <p:cNvSpPr/>
              <p:nvPr/>
            </p:nvSpPr>
            <p:spPr>
              <a:xfrm>
                <a:off x="8642117" y="3244706"/>
                <a:ext cx="339477" cy="544601"/>
              </a:xfrm>
              <a:custGeom>
                <a:avLst/>
                <a:gdLst>
                  <a:gd name="connsiteX0" fmla="*/ 335876 w 339477"/>
                  <a:gd name="connsiteY0" fmla="*/ 0 h 544601"/>
                  <a:gd name="connsiteX1" fmla="*/ 326443 w 339477"/>
                  <a:gd name="connsiteY1" fmla="*/ 176647 h 544601"/>
                  <a:gd name="connsiteX2" fmla="*/ 303514 w 339477"/>
                  <a:gd name="connsiteY2" fmla="*/ 225755 h 544601"/>
                  <a:gd name="connsiteX3" fmla="*/ 277441 w 339477"/>
                  <a:gd name="connsiteY3" fmla="*/ 285073 h 544601"/>
                  <a:gd name="connsiteX4" fmla="*/ 243878 w 339477"/>
                  <a:gd name="connsiteY4" fmla="*/ 330683 h 544601"/>
                  <a:gd name="connsiteX5" fmla="*/ 228616 w 339477"/>
                  <a:gd name="connsiteY5" fmla="*/ 345450 h 544601"/>
                  <a:gd name="connsiteX6" fmla="*/ 209503 w 339477"/>
                  <a:gd name="connsiteY6" fmla="*/ 376364 h 544601"/>
                  <a:gd name="connsiteX7" fmla="*/ 183889 w 339477"/>
                  <a:gd name="connsiteY7" fmla="*/ 441652 h 544601"/>
                  <a:gd name="connsiteX8" fmla="*/ 163822 w 339477"/>
                  <a:gd name="connsiteY8" fmla="*/ 459953 h 544601"/>
                  <a:gd name="connsiteX9" fmla="*/ 109521 w 339477"/>
                  <a:gd name="connsiteY9" fmla="*/ 506093 h 544601"/>
                  <a:gd name="connsiteX10" fmla="*/ 95742 w 339477"/>
                  <a:gd name="connsiteY10" fmla="*/ 525453 h 544601"/>
                  <a:gd name="connsiteX11" fmla="*/ 44267 w 339477"/>
                  <a:gd name="connsiteY11" fmla="*/ 522839 h 544601"/>
                  <a:gd name="connsiteX12" fmla="*/ 29747 w 339477"/>
                  <a:gd name="connsiteY12" fmla="*/ 522980 h 544601"/>
                  <a:gd name="connsiteX13" fmla="*/ 0 w 339477"/>
                  <a:gd name="connsiteY13" fmla="*/ 544602 h 544601"/>
                  <a:gd name="connsiteX14" fmla="*/ 38368 w 339477"/>
                  <a:gd name="connsiteY14" fmla="*/ 507153 h 544601"/>
                  <a:gd name="connsiteX15" fmla="*/ 51404 w 339477"/>
                  <a:gd name="connsiteY15" fmla="*/ 512417 h 544601"/>
                  <a:gd name="connsiteX16" fmla="*/ 73626 w 339477"/>
                  <a:gd name="connsiteY16" fmla="*/ 520048 h 544601"/>
                  <a:gd name="connsiteX17" fmla="*/ 96131 w 339477"/>
                  <a:gd name="connsiteY17" fmla="*/ 508849 h 544601"/>
                  <a:gd name="connsiteX18" fmla="*/ 177812 w 339477"/>
                  <a:gd name="connsiteY18" fmla="*/ 419713 h 544601"/>
                  <a:gd name="connsiteX19" fmla="*/ 185267 w 339477"/>
                  <a:gd name="connsiteY19" fmla="*/ 391873 h 544601"/>
                  <a:gd name="connsiteX20" fmla="*/ 211764 w 339477"/>
                  <a:gd name="connsiteY20" fmla="*/ 340257 h 544601"/>
                  <a:gd name="connsiteX21" fmla="*/ 276028 w 339477"/>
                  <a:gd name="connsiteY21" fmla="*/ 262992 h 544601"/>
                  <a:gd name="connsiteX22" fmla="*/ 302031 w 339477"/>
                  <a:gd name="connsiteY22" fmla="*/ 196360 h 544601"/>
                  <a:gd name="connsiteX23" fmla="*/ 332060 w 339477"/>
                  <a:gd name="connsiteY23" fmla="*/ 55962 h 544601"/>
                  <a:gd name="connsiteX24" fmla="*/ 331813 w 339477"/>
                  <a:gd name="connsiteY24" fmla="*/ 21904 h 544601"/>
                  <a:gd name="connsiteX25" fmla="*/ 335876 w 339477"/>
                  <a:gd name="connsiteY25" fmla="*/ 71 h 54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9477" h="544601">
                    <a:moveTo>
                      <a:pt x="335876" y="0"/>
                    </a:moveTo>
                    <a:cubicBezTo>
                      <a:pt x="342977" y="60272"/>
                      <a:pt x="339444" y="118671"/>
                      <a:pt x="326443" y="176647"/>
                    </a:cubicBezTo>
                    <a:cubicBezTo>
                      <a:pt x="322380" y="194841"/>
                      <a:pt x="312629" y="210104"/>
                      <a:pt x="303514" y="225755"/>
                    </a:cubicBezTo>
                    <a:cubicBezTo>
                      <a:pt x="292562" y="244550"/>
                      <a:pt x="283129" y="263734"/>
                      <a:pt x="277441" y="285073"/>
                    </a:cubicBezTo>
                    <a:cubicBezTo>
                      <a:pt x="272389" y="304009"/>
                      <a:pt x="255855" y="316021"/>
                      <a:pt x="243878" y="330683"/>
                    </a:cubicBezTo>
                    <a:cubicBezTo>
                      <a:pt x="239427" y="336123"/>
                      <a:pt x="234233" y="341211"/>
                      <a:pt x="228616" y="345450"/>
                    </a:cubicBezTo>
                    <a:cubicBezTo>
                      <a:pt x="218088" y="353364"/>
                      <a:pt x="211693" y="363928"/>
                      <a:pt x="209503" y="376364"/>
                    </a:cubicBezTo>
                    <a:cubicBezTo>
                      <a:pt x="205369" y="399964"/>
                      <a:pt x="194382" y="420631"/>
                      <a:pt x="183889" y="441652"/>
                    </a:cubicBezTo>
                    <a:cubicBezTo>
                      <a:pt x="179402" y="450661"/>
                      <a:pt x="170075" y="453629"/>
                      <a:pt x="163822" y="459953"/>
                    </a:cubicBezTo>
                    <a:cubicBezTo>
                      <a:pt x="147041" y="476981"/>
                      <a:pt x="130118" y="493586"/>
                      <a:pt x="109521" y="506093"/>
                    </a:cubicBezTo>
                    <a:cubicBezTo>
                      <a:pt x="102490" y="510368"/>
                      <a:pt x="100406" y="519023"/>
                      <a:pt x="95742" y="525453"/>
                    </a:cubicBezTo>
                    <a:cubicBezTo>
                      <a:pt x="83094" y="542906"/>
                      <a:pt x="54513" y="541422"/>
                      <a:pt x="44267" y="522839"/>
                    </a:cubicBezTo>
                    <a:cubicBezTo>
                      <a:pt x="39851" y="514819"/>
                      <a:pt x="33845" y="520083"/>
                      <a:pt x="29747" y="522980"/>
                    </a:cubicBezTo>
                    <a:cubicBezTo>
                      <a:pt x="19784" y="530011"/>
                      <a:pt x="10528" y="538031"/>
                      <a:pt x="0" y="544602"/>
                    </a:cubicBezTo>
                    <a:cubicBezTo>
                      <a:pt x="10704" y="529975"/>
                      <a:pt x="22186" y="516056"/>
                      <a:pt x="38368" y="507153"/>
                    </a:cubicBezTo>
                    <a:cubicBezTo>
                      <a:pt x="43490" y="504326"/>
                      <a:pt x="48472" y="506446"/>
                      <a:pt x="51404" y="512417"/>
                    </a:cubicBezTo>
                    <a:cubicBezTo>
                      <a:pt x="56173" y="522097"/>
                      <a:pt x="63734" y="523899"/>
                      <a:pt x="73626" y="520048"/>
                    </a:cubicBezTo>
                    <a:cubicBezTo>
                      <a:pt x="81505" y="516974"/>
                      <a:pt x="89348" y="513865"/>
                      <a:pt x="96131" y="508849"/>
                    </a:cubicBezTo>
                    <a:cubicBezTo>
                      <a:pt x="129128" y="484436"/>
                      <a:pt x="158841" y="456985"/>
                      <a:pt x="177812" y="419713"/>
                    </a:cubicBezTo>
                    <a:cubicBezTo>
                      <a:pt x="182264" y="410916"/>
                      <a:pt x="185514" y="402048"/>
                      <a:pt x="185267" y="391873"/>
                    </a:cubicBezTo>
                    <a:cubicBezTo>
                      <a:pt x="184737" y="370040"/>
                      <a:pt x="197915" y="354565"/>
                      <a:pt x="211764" y="340257"/>
                    </a:cubicBezTo>
                    <a:cubicBezTo>
                      <a:pt x="235117" y="316092"/>
                      <a:pt x="259671" y="293340"/>
                      <a:pt x="276028" y="262992"/>
                    </a:cubicBezTo>
                    <a:cubicBezTo>
                      <a:pt x="287545" y="241653"/>
                      <a:pt x="293198" y="218477"/>
                      <a:pt x="302031" y="196360"/>
                    </a:cubicBezTo>
                    <a:cubicBezTo>
                      <a:pt x="320013" y="151351"/>
                      <a:pt x="330435" y="104681"/>
                      <a:pt x="332060" y="55962"/>
                    </a:cubicBezTo>
                    <a:cubicBezTo>
                      <a:pt x="332449" y="44550"/>
                      <a:pt x="333897" y="33386"/>
                      <a:pt x="331813" y="21904"/>
                    </a:cubicBezTo>
                    <a:cubicBezTo>
                      <a:pt x="330576" y="15121"/>
                      <a:pt x="330824" y="7772"/>
                      <a:pt x="335876" y="7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2" name="Freeform: Shape 891">
                <a:extLst>
                  <a:ext uri="{FF2B5EF4-FFF2-40B4-BE49-F238E27FC236}">
                    <a16:creationId xmlns:a16="http://schemas.microsoft.com/office/drawing/2014/main" id="{89E77047-2E4E-ACCF-F493-8D6104A92A42}"/>
                  </a:ext>
                </a:extLst>
              </p:cNvPr>
              <p:cNvSpPr/>
              <p:nvPr/>
            </p:nvSpPr>
            <p:spPr>
              <a:xfrm>
                <a:off x="7573303" y="2984717"/>
                <a:ext cx="95609" cy="320507"/>
              </a:xfrm>
              <a:custGeom>
                <a:avLst/>
                <a:gdLst>
                  <a:gd name="connsiteX0" fmla="*/ 6814 w 95609"/>
                  <a:gd name="connsiteY0" fmla="*/ 320508 h 320507"/>
                  <a:gd name="connsiteX1" fmla="*/ 2715 w 95609"/>
                  <a:gd name="connsiteY1" fmla="*/ 312417 h 320507"/>
                  <a:gd name="connsiteX2" fmla="*/ 30 w 95609"/>
                  <a:gd name="connsiteY2" fmla="*/ 230171 h 320507"/>
                  <a:gd name="connsiteX3" fmla="*/ 8828 w 95609"/>
                  <a:gd name="connsiteY3" fmla="*/ 191838 h 320507"/>
                  <a:gd name="connsiteX4" fmla="*/ 35642 w 95609"/>
                  <a:gd name="connsiteY4" fmla="*/ 108108 h 320507"/>
                  <a:gd name="connsiteX5" fmla="*/ 56805 w 95609"/>
                  <a:gd name="connsiteY5" fmla="*/ 58753 h 320507"/>
                  <a:gd name="connsiteX6" fmla="*/ 93053 w 95609"/>
                  <a:gd name="connsiteY6" fmla="*/ 0 h 320507"/>
                  <a:gd name="connsiteX7" fmla="*/ 93159 w 95609"/>
                  <a:gd name="connsiteY7" fmla="*/ 45186 h 320507"/>
                  <a:gd name="connsiteX8" fmla="*/ 62881 w 95609"/>
                  <a:gd name="connsiteY8" fmla="*/ 129588 h 320507"/>
                  <a:gd name="connsiteX9" fmla="*/ 40553 w 95609"/>
                  <a:gd name="connsiteY9" fmla="*/ 151846 h 320507"/>
                  <a:gd name="connsiteX10" fmla="*/ 37232 w 95609"/>
                  <a:gd name="connsiteY10" fmla="*/ 168945 h 320507"/>
                  <a:gd name="connsiteX11" fmla="*/ 39423 w 95609"/>
                  <a:gd name="connsiteY11" fmla="*/ 218300 h 320507"/>
                  <a:gd name="connsiteX12" fmla="*/ 17660 w 95609"/>
                  <a:gd name="connsiteY12" fmla="*/ 270976 h 320507"/>
                  <a:gd name="connsiteX13" fmla="*/ 6814 w 95609"/>
                  <a:gd name="connsiteY13" fmla="*/ 320508 h 320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609" h="320507">
                    <a:moveTo>
                      <a:pt x="6814" y="320508"/>
                    </a:moveTo>
                    <a:cubicBezTo>
                      <a:pt x="2362" y="317858"/>
                      <a:pt x="2821" y="314961"/>
                      <a:pt x="2715" y="312417"/>
                    </a:cubicBezTo>
                    <a:cubicBezTo>
                      <a:pt x="1762" y="285002"/>
                      <a:pt x="808" y="257586"/>
                      <a:pt x="30" y="230171"/>
                    </a:cubicBezTo>
                    <a:cubicBezTo>
                      <a:pt x="-323" y="216710"/>
                      <a:pt x="2398" y="203815"/>
                      <a:pt x="8828" y="191838"/>
                    </a:cubicBezTo>
                    <a:cubicBezTo>
                      <a:pt x="22889" y="165589"/>
                      <a:pt x="35501" y="139056"/>
                      <a:pt x="35642" y="108108"/>
                    </a:cubicBezTo>
                    <a:cubicBezTo>
                      <a:pt x="35713" y="89136"/>
                      <a:pt x="47548" y="74298"/>
                      <a:pt x="56805" y="58753"/>
                    </a:cubicBezTo>
                    <a:cubicBezTo>
                      <a:pt x="68463" y="39110"/>
                      <a:pt x="79945" y="19360"/>
                      <a:pt x="93053" y="0"/>
                    </a:cubicBezTo>
                    <a:cubicBezTo>
                      <a:pt x="96444" y="15262"/>
                      <a:pt x="96444" y="30171"/>
                      <a:pt x="93159" y="45186"/>
                    </a:cubicBezTo>
                    <a:cubicBezTo>
                      <a:pt x="86729" y="74651"/>
                      <a:pt x="78462" y="103303"/>
                      <a:pt x="62881" y="129588"/>
                    </a:cubicBezTo>
                    <a:cubicBezTo>
                      <a:pt x="57158" y="139233"/>
                      <a:pt x="48396" y="144886"/>
                      <a:pt x="40553" y="151846"/>
                    </a:cubicBezTo>
                    <a:cubicBezTo>
                      <a:pt x="34936" y="156827"/>
                      <a:pt x="32180" y="161632"/>
                      <a:pt x="37232" y="168945"/>
                    </a:cubicBezTo>
                    <a:cubicBezTo>
                      <a:pt x="48184" y="184808"/>
                      <a:pt x="45146" y="201695"/>
                      <a:pt x="39423" y="218300"/>
                    </a:cubicBezTo>
                    <a:cubicBezTo>
                      <a:pt x="33240" y="236283"/>
                      <a:pt x="23560" y="252746"/>
                      <a:pt x="17660" y="270976"/>
                    </a:cubicBezTo>
                    <a:cubicBezTo>
                      <a:pt x="12502" y="286945"/>
                      <a:pt x="12643" y="303974"/>
                      <a:pt x="6814" y="32050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3" name="Freeform: Shape 892">
                <a:extLst>
                  <a:ext uri="{FF2B5EF4-FFF2-40B4-BE49-F238E27FC236}">
                    <a16:creationId xmlns:a16="http://schemas.microsoft.com/office/drawing/2014/main" id="{5A204F2F-5CFE-61AA-0570-EE01C195C691}"/>
                  </a:ext>
                </a:extLst>
              </p:cNvPr>
              <p:cNvSpPr/>
              <p:nvPr/>
            </p:nvSpPr>
            <p:spPr>
              <a:xfrm>
                <a:off x="8696608" y="2725833"/>
                <a:ext cx="141381" cy="111234"/>
              </a:xfrm>
              <a:custGeom>
                <a:avLst/>
                <a:gdLst>
                  <a:gd name="connsiteX0" fmla="*/ 96188 w 141381"/>
                  <a:gd name="connsiteY0" fmla="*/ 35320 h 111234"/>
                  <a:gd name="connsiteX1" fmla="*/ 83717 w 141381"/>
                  <a:gd name="connsiteY1" fmla="*/ 42562 h 111234"/>
                  <a:gd name="connsiteX2" fmla="*/ 93433 w 141381"/>
                  <a:gd name="connsiteY2" fmla="*/ 49522 h 111234"/>
                  <a:gd name="connsiteX3" fmla="*/ 136004 w 141381"/>
                  <a:gd name="connsiteY3" fmla="*/ 78704 h 111234"/>
                  <a:gd name="connsiteX4" fmla="*/ 139997 w 141381"/>
                  <a:gd name="connsiteY4" fmla="*/ 94779 h 111234"/>
                  <a:gd name="connsiteX5" fmla="*/ 127949 w 141381"/>
                  <a:gd name="connsiteY5" fmla="*/ 89197 h 111234"/>
                  <a:gd name="connsiteX6" fmla="*/ 125688 w 141381"/>
                  <a:gd name="connsiteY6" fmla="*/ 97323 h 111234"/>
                  <a:gd name="connsiteX7" fmla="*/ 102230 w 141381"/>
                  <a:gd name="connsiteY7" fmla="*/ 108098 h 111234"/>
                  <a:gd name="connsiteX8" fmla="*/ 63756 w 141381"/>
                  <a:gd name="connsiteY8" fmla="*/ 77927 h 111234"/>
                  <a:gd name="connsiteX9" fmla="*/ 12210 w 141381"/>
                  <a:gd name="connsiteY9" fmla="*/ 36556 h 111234"/>
                  <a:gd name="connsiteX10" fmla="*/ 410 w 141381"/>
                  <a:gd name="connsiteY10" fmla="*/ 16207 h 111234"/>
                  <a:gd name="connsiteX11" fmla="*/ 18711 w 141381"/>
                  <a:gd name="connsiteY11" fmla="*/ 1262 h 111234"/>
                  <a:gd name="connsiteX12" fmla="*/ 80184 w 141381"/>
                  <a:gd name="connsiteY12" fmla="*/ 22319 h 111234"/>
                  <a:gd name="connsiteX13" fmla="*/ 96188 w 141381"/>
                  <a:gd name="connsiteY13" fmla="*/ 35249 h 11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381" h="111234">
                    <a:moveTo>
                      <a:pt x="96188" y="35320"/>
                    </a:moveTo>
                    <a:cubicBezTo>
                      <a:pt x="91737" y="41962"/>
                      <a:pt x="84247" y="36698"/>
                      <a:pt x="83717" y="42562"/>
                    </a:cubicBezTo>
                    <a:cubicBezTo>
                      <a:pt x="83152" y="48533"/>
                      <a:pt x="89794" y="47756"/>
                      <a:pt x="93433" y="49522"/>
                    </a:cubicBezTo>
                    <a:cubicBezTo>
                      <a:pt x="109048" y="57189"/>
                      <a:pt x="122261" y="68353"/>
                      <a:pt x="136004" y="78704"/>
                    </a:cubicBezTo>
                    <a:cubicBezTo>
                      <a:pt x="141587" y="82908"/>
                      <a:pt x="142646" y="88490"/>
                      <a:pt x="139997" y="94779"/>
                    </a:cubicBezTo>
                    <a:cubicBezTo>
                      <a:pt x="134379" y="95662"/>
                      <a:pt x="132931" y="89091"/>
                      <a:pt x="127949" y="89197"/>
                    </a:cubicBezTo>
                    <a:cubicBezTo>
                      <a:pt x="124452" y="90999"/>
                      <a:pt x="126183" y="94532"/>
                      <a:pt x="125688" y="97323"/>
                    </a:cubicBezTo>
                    <a:cubicBezTo>
                      <a:pt x="123568" y="109582"/>
                      <a:pt x="112369" y="115235"/>
                      <a:pt x="102230" y="108098"/>
                    </a:cubicBezTo>
                    <a:cubicBezTo>
                      <a:pt x="88910" y="98701"/>
                      <a:pt x="75733" y="88914"/>
                      <a:pt x="63756" y="77927"/>
                    </a:cubicBezTo>
                    <a:cubicBezTo>
                      <a:pt x="47434" y="62947"/>
                      <a:pt x="30193" y="49381"/>
                      <a:pt x="12210" y="36556"/>
                    </a:cubicBezTo>
                    <a:cubicBezTo>
                      <a:pt x="5427" y="31716"/>
                      <a:pt x="-1816" y="26523"/>
                      <a:pt x="410" y="16207"/>
                    </a:cubicBezTo>
                    <a:cubicBezTo>
                      <a:pt x="2530" y="6385"/>
                      <a:pt x="10197" y="3099"/>
                      <a:pt x="18711" y="1262"/>
                    </a:cubicBezTo>
                    <a:cubicBezTo>
                      <a:pt x="43371" y="-4037"/>
                      <a:pt x="62130" y="8187"/>
                      <a:pt x="80184" y="22319"/>
                    </a:cubicBezTo>
                    <a:cubicBezTo>
                      <a:pt x="85695" y="26664"/>
                      <a:pt x="91101" y="31151"/>
                      <a:pt x="96188" y="3524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4" name="Freeform: Shape 893">
                <a:extLst>
                  <a:ext uri="{FF2B5EF4-FFF2-40B4-BE49-F238E27FC236}">
                    <a16:creationId xmlns:a16="http://schemas.microsoft.com/office/drawing/2014/main" id="{92E9E80E-6535-24F1-73BC-5E8DD8D1F723}"/>
                  </a:ext>
                </a:extLst>
              </p:cNvPr>
              <p:cNvSpPr/>
              <p:nvPr/>
            </p:nvSpPr>
            <p:spPr>
              <a:xfrm>
                <a:off x="8724548" y="3362175"/>
                <a:ext cx="71328" cy="120233"/>
              </a:xfrm>
              <a:custGeom>
                <a:avLst/>
                <a:gdLst>
                  <a:gd name="connsiteX0" fmla="*/ 71145 w 71328"/>
                  <a:gd name="connsiteY0" fmla="*/ 29218 h 120233"/>
                  <a:gd name="connsiteX1" fmla="*/ 49877 w 71328"/>
                  <a:gd name="connsiteY1" fmla="*/ 106272 h 120233"/>
                  <a:gd name="connsiteX2" fmla="*/ 17763 w 71328"/>
                  <a:gd name="connsiteY2" fmla="*/ 106978 h 120233"/>
                  <a:gd name="connsiteX3" fmla="*/ 274 w 71328"/>
                  <a:gd name="connsiteY3" fmla="*/ 72991 h 120233"/>
                  <a:gd name="connsiteX4" fmla="*/ 20836 w 71328"/>
                  <a:gd name="connsiteY4" fmla="*/ 43280 h 120233"/>
                  <a:gd name="connsiteX5" fmla="*/ 37335 w 71328"/>
                  <a:gd name="connsiteY5" fmla="*/ 16111 h 120233"/>
                  <a:gd name="connsiteX6" fmla="*/ 59239 w 71328"/>
                  <a:gd name="connsiteY6" fmla="*/ 460 h 120233"/>
                  <a:gd name="connsiteX7" fmla="*/ 71145 w 71328"/>
                  <a:gd name="connsiteY7" fmla="*/ 25191 h 120233"/>
                  <a:gd name="connsiteX8" fmla="*/ 71145 w 71328"/>
                  <a:gd name="connsiteY8" fmla="*/ 29183 h 12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28" h="120233">
                    <a:moveTo>
                      <a:pt x="71145" y="29218"/>
                    </a:moveTo>
                    <a:cubicBezTo>
                      <a:pt x="70509" y="56705"/>
                      <a:pt x="63408" y="82424"/>
                      <a:pt x="49877" y="106272"/>
                    </a:cubicBezTo>
                    <a:cubicBezTo>
                      <a:pt x="39455" y="124643"/>
                      <a:pt x="28397" y="124890"/>
                      <a:pt x="17763" y="106978"/>
                    </a:cubicBezTo>
                    <a:cubicBezTo>
                      <a:pt x="11226" y="95956"/>
                      <a:pt x="2606" y="85004"/>
                      <a:pt x="274" y="72991"/>
                    </a:cubicBezTo>
                    <a:cubicBezTo>
                      <a:pt x="-2411" y="59142"/>
                      <a:pt x="15360" y="54585"/>
                      <a:pt x="20836" y="43280"/>
                    </a:cubicBezTo>
                    <a:cubicBezTo>
                      <a:pt x="25429" y="33776"/>
                      <a:pt x="31718" y="25085"/>
                      <a:pt x="37335" y="16111"/>
                    </a:cubicBezTo>
                    <a:cubicBezTo>
                      <a:pt x="42493" y="7880"/>
                      <a:pt x="47333" y="-2295"/>
                      <a:pt x="59239" y="460"/>
                    </a:cubicBezTo>
                    <a:cubicBezTo>
                      <a:pt x="72205" y="3463"/>
                      <a:pt x="71605" y="14769"/>
                      <a:pt x="71145" y="25191"/>
                    </a:cubicBezTo>
                    <a:cubicBezTo>
                      <a:pt x="71075" y="26533"/>
                      <a:pt x="71145" y="27841"/>
                      <a:pt x="71145" y="2918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5" name="Freeform: Shape 894">
                <a:extLst>
                  <a:ext uri="{FF2B5EF4-FFF2-40B4-BE49-F238E27FC236}">
                    <a16:creationId xmlns:a16="http://schemas.microsoft.com/office/drawing/2014/main" id="{172BC008-1D19-E7AC-1298-5973399CFB67}"/>
                  </a:ext>
                </a:extLst>
              </p:cNvPr>
              <p:cNvSpPr/>
              <p:nvPr/>
            </p:nvSpPr>
            <p:spPr>
              <a:xfrm>
                <a:off x="8836322" y="3559172"/>
                <a:ext cx="88614" cy="135700"/>
              </a:xfrm>
              <a:custGeom>
                <a:avLst/>
                <a:gdLst>
                  <a:gd name="connsiteX0" fmla="*/ 0 w 88614"/>
                  <a:gd name="connsiteY0" fmla="*/ 135700 h 135700"/>
                  <a:gd name="connsiteX1" fmla="*/ 12577 w 88614"/>
                  <a:gd name="connsiteY1" fmla="*/ 122522 h 135700"/>
                  <a:gd name="connsiteX2" fmla="*/ 64405 w 88614"/>
                  <a:gd name="connsiteY2" fmla="*/ 59530 h 135700"/>
                  <a:gd name="connsiteX3" fmla="*/ 81434 w 88614"/>
                  <a:gd name="connsiteY3" fmla="*/ 0 h 135700"/>
                  <a:gd name="connsiteX4" fmla="*/ 83730 w 88614"/>
                  <a:gd name="connsiteY4" fmla="*/ 93163 h 135700"/>
                  <a:gd name="connsiteX5" fmla="*/ 52535 w 88614"/>
                  <a:gd name="connsiteY5" fmla="*/ 124713 h 135700"/>
                  <a:gd name="connsiteX6" fmla="*/ 0 w 88614"/>
                  <a:gd name="connsiteY6" fmla="*/ 135665 h 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14" h="135700">
                    <a:moveTo>
                      <a:pt x="0" y="135700"/>
                    </a:moveTo>
                    <a:cubicBezTo>
                      <a:pt x="1802" y="126974"/>
                      <a:pt x="7631" y="125243"/>
                      <a:pt x="12577" y="122522"/>
                    </a:cubicBezTo>
                    <a:cubicBezTo>
                      <a:pt x="38226" y="108461"/>
                      <a:pt x="58541" y="90832"/>
                      <a:pt x="64405" y="59530"/>
                    </a:cubicBezTo>
                    <a:cubicBezTo>
                      <a:pt x="68150" y="39428"/>
                      <a:pt x="78431" y="20809"/>
                      <a:pt x="81434" y="0"/>
                    </a:cubicBezTo>
                    <a:cubicBezTo>
                      <a:pt x="85885" y="31161"/>
                      <a:pt x="93799" y="61862"/>
                      <a:pt x="83730" y="93163"/>
                    </a:cubicBezTo>
                    <a:cubicBezTo>
                      <a:pt x="78572" y="109168"/>
                      <a:pt x="68786" y="120014"/>
                      <a:pt x="52535" y="124713"/>
                    </a:cubicBezTo>
                    <a:cubicBezTo>
                      <a:pt x="35647" y="129623"/>
                      <a:pt x="18901" y="135382"/>
                      <a:pt x="0" y="13566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98" name="Freeform: Shape 2797">
                <a:extLst>
                  <a:ext uri="{FF2B5EF4-FFF2-40B4-BE49-F238E27FC236}">
                    <a16:creationId xmlns:a16="http://schemas.microsoft.com/office/drawing/2014/main" id="{8666AAEE-FAC2-552D-8886-501969DC59E0}"/>
                  </a:ext>
                </a:extLst>
              </p:cNvPr>
              <p:cNvSpPr/>
              <p:nvPr/>
            </p:nvSpPr>
            <p:spPr>
              <a:xfrm>
                <a:off x="8717862" y="2670343"/>
                <a:ext cx="119660" cy="121016"/>
              </a:xfrm>
              <a:custGeom>
                <a:avLst/>
                <a:gdLst>
                  <a:gd name="connsiteX0" fmla="*/ 119661 w 119660"/>
                  <a:gd name="connsiteY0" fmla="*/ 120982 h 121016"/>
                  <a:gd name="connsiteX1" fmla="*/ 104399 w 119660"/>
                  <a:gd name="connsiteY1" fmla="*/ 111301 h 121016"/>
                  <a:gd name="connsiteX2" fmla="*/ 86946 w 119660"/>
                  <a:gd name="connsiteY2" fmla="*/ 86677 h 121016"/>
                  <a:gd name="connsiteX3" fmla="*/ 37096 w 119660"/>
                  <a:gd name="connsiteY3" fmla="*/ 31528 h 121016"/>
                  <a:gd name="connsiteX4" fmla="*/ 5512 w 119660"/>
                  <a:gd name="connsiteY4" fmla="*/ 18491 h 121016"/>
                  <a:gd name="connsiteX5" fmla="*/ 1061 w 119660"/>
                  <a:gd name="connsiteY5" fmla="*/ 3406 h 121016"/>
                  <a:gd name="connsiteX6" fmla="*/ 12154 w 119660"/>
                  <a:gd name="connsiteY6" fmla="*/ 2840 h 121016"/>
                  <a:gd name="connsiteX7" fmla="*/ 86310 w 119660"/>
                  <a:gd name="connsiteY7" fmla="*/ 42127 h 121016"/>
                  <a:gd name="connsiteX8" fmla="*/ 119626 w 119660"/>
                  <a:gd name="connsiteY8" fmla="*/ 121017 h 12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60" h="121016">
                    <a:moveTo>
                      <a:pt x="119661" y="120982"/>
                    </a:moveTo>
                    <a:cubicBezTo>
                      <a:pt x="113301" y="116919"/>
                      <a:pt x="109062" y="113668"/>
                      <a:pt x="104399" y="111301"/>
                    </a:cubicBezTo>
                    <a:cubicBezTo>
                      <a:pt x="94153" y="106073"/>
                      <a:pt x="88995" y="99855"/>
                      <a:pt x="86946" y="86677"/>
                    </a:cubicBezTo>
                    <a:cubicBezTo>
                      <a:pt x="82636" y="58943"/>
                      <a:pt x="66949" y="38134"/>
                      <a:pt x="37096" y="31528"/>
                    </a:cubicBezTo>
                    <a:cubicBezTo>
                      <a:pt x="25932" y="29055"/>
                      <a:pt x="15157" y="25310"/>
                      <a:pt x="5512" y="18491"/>
                    </a:cubicBezTo>
                    <a:cubicBezTo>
                      <a:pt x="-565" y="14181"/>
                      <a:pt x="-883" y="8740"/>
                      <a:pt x="1061" y="3406"/>
                    </a:cubicBezTo>
                    <a:cubicBezTo>
                      <a:pt x="3533" y="-3342"/>
                      <a:pt x="8727" y="1851"/>
                      <a:pt x="12154" y="2840"/>
                    </a:cubicBezTo>
                    <a:cubicBezTo>
                      <a:pt x="39605" y="10719"/>
                      <a:pt x="65254" y="21883"/>
                      <a:pt x="86310" y="42127"/>
                    </a:cubicBezTo>
                    <a:cubicBezTo>
                      <a:pt x="108320" y="63289"/>
                      <a:pt x="117718" y="89362"/>
                      <a:pt x="119626" y="12101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99" name="Freeform: Shape 2798">
                <a:extLst>
                  <a:ext uri="{FF2B5EF4-FFF2-40B4-BE49-F238E27FC236}">
                    <a16:creationId xmlns:a16="http://schemas.microsoft.com/office/drawing/2014/main" id="{1434A66C-8C05-96E9-2455-5A007FE2F80B}"/>
                  </a:ext>
                </a:extLst>
              </p:cNvPr>
              <p:cNvSpPr/>
              <p:nvPr/>
            </p:nvSpPr>
            <p:spPr>
              <a:xfrm>
                <a:off x="8896727" y="3133032"/>
                <a:ext cx="57954" cy="69773"/>
              </a:xfrm>
              <a:custGeom>
                <a:avLst/>
                <a:gdLst>
                  <a:gd name="connsiteX0" fmla="*/ 21948 w 57954"/>
                  <a:gd name="connsiteY0" fmla="*/ 69738 h 69773"/>
                  <a:gd name="connsiteX1" fmla="*/ 4990 w 57954"/>
                  <a:gd name="connsiteY1" fmla="*/ 53027 h 69773"/>
                  <a:gd name="connsiteX2" fmla="*/ 6297 w 57954"/>
                  <a:gd name="connsiteY2" fmla="*/ 16815 h 69773"/>
                  <a:gd name="connsiteX3" fmla="*/ 35090 w 57954"/>
                  <a:gd name="connsiteY3" fmla="*/ 245 h 69773"/>
                  <a:gd name="connsiteX4" fmla="*/ 41485 w 57954"/>
                  <a:gd name="connsiteY4" fmla="*/ 1164 h 69773"/>
                  <a:gd name="connsiteX5" fmla="*/ 57842 w 57954"/>
                  <a:gd name="connsiteY5" fmla="*/ 38754 h 69773"/>
                  <a:gd name="connsiteX6" fmla="*/ 21948 w 57954"/>
                  <a:gd name="connsiteY6" fmla="*/ 69773 h 6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954" h="69773">
                    <a:moveTo>
                      <a:pt x="21948" y="69738"/>
                    </a:moveTo>
                    <a:cubicBezTo>
                      <a:pt x="15589" y="69561"/>
                      <a:pt x="10042" y="61082"/>
                      <a:pt x="4990" y="53027"/>
                    </a:cubicBezTo>
                    <a:cubicBezTo>
                      <a:pt x="-2606" y="40980"/>
                      <a:pt x="-1016" y="28615"/>
                      <a:pt x="6297" y="16815"/>
                    </a:cubicBezTo>
                    <a:cubicBezTo>
                      <a:pt x="12904" y="6180"/>
                      <a:pt x="24492" y="3990"/>
                      <a:pt x="35090" y="245"/>
                    </a:cubicBezTo>
                    <a:cubicBezTo>
                      <a:pt x="36927" y="-391"/>
                      <a:pt x="39542" y="316"/>
                      <a:pt x="41485" y="1164"/>
                    </a:cubicBezTo>
                    <a:cubicBezTo>
                      <a:pt x="46926" y="3460"/>
                      <a:pt x="59256" y="32254"/>
                      <a:pt x="57842" y="38754"/>
                    </a:cubicBezTo>
                    <a:cubicBezTo>
                      <a:pt x="54415" y="54193"/>
                      <a:pt x="39082" y="69632"/>
                      <a:pt x="21948" y="6977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4" name="Freeform: Shape 1023">
                <a:extLst>
                  <a:ext uri="{FF2B5EF4-FFF2-40B4-BE49-F238E27FC236}">
                    <a16:creationId xmlns:a16="http://schemas.microsoft.com/office/drawing/2014/main" id="{69EE1031-4A5D-8699-A312-F0A118F743D4}"/>
                  </a:ext>
                </a:extLst>
              </p:cNvPr>
              <p:cNvSpPr/>
              <p:nvPr/>
            </p:nvSpPr>
            <p:spPr>
              <a:xfrm>
                <a:off x="7613403" y="2883386"/>
                <a:ext cx="60816" cy="88481"/>
              </a:xfrm>
              <a:custGeom>
                <a:avLst/>
                <a:gdLst>
                  <a:gd name="connsiteX0" fmla="*/ 100 w 60816"/>
                  <a:gd name="connsiteY0" fmla="*/ 66496 h 88481"/>
                  <a:gd name="connsiteX1" fmla="*/ 52917 w 60816"/>
                  <a:gd name="connsiteY1" fmla="*/ 1207 h 88481"/>
                  <a:gd name="connsiteX2" fmla="*/ 59100 w 60816"/>
                  <a:gd name="connsiteY2" fmla="*/ 854 h 88481"/>
                  <a:gd name="connsiteX3" fmla="*/ 59771 w 60816"/>
                  <a:gd name="connsiteY3" fmla="*/ 9510 h 88481"/>
                  <a:gd name="connsiteX4" fmla="*/ 33910 w 60816"/>
                  <a:gd name="connsiteY4" fmla="*/ 60101 h 88481"/>
                  <a:gd name="connsiteX5" fmla="*/ 13949 w 60816"/>
                  <a:gd name="connsiteY5" fmla="*/ 84514 h 88481"/>
                  <a:gd name="connsiteX6" fmla="*/ 135 w 60816"/>
                  <a:gd name="connsiteY6" fmla="*/ 78755 h 88481"/>
                  <a:gd name="connsiteX7" fmla="*/ 100 w 60816"/>
                  <a:gd name="connsiteY7" fmla="*/ 66496 h 8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16" h="88481">
                    <a:moveTo>
                      <a:pt x="100" y="66496"/>
                    </a:moveTo>
                    <a:cubicBezTo>
                      <a:pt x="2326" y="29683"/>
                      <a:pt x="17623" y="17918"/>
                      <a:pt x="52917" y="1207"/>
                    </a:cubicBezTo>
                    <a:cubicBezTo>
                      <a:pt x="54931" y="253"/>
                      <a:pt x="57334" y="-771"/>
                      <a:pt x="59100" y="854"/>
                    </a:cubicBezTo>
                    <a:cubicBezTo>
                      <a:pt x="61785" y="3292"/>
                      <a:pt x="60761" y="6542"/>
                      <a:pt x="59771" y="9510"/>
                    </a:cubicBezTo>
                    <a:cubicBezTo>
                      <a:pt x="53659" y="27669"/>
                      <a:pt x="43555" y="43744"/>
                      <a:pt x="33910" y="60101"/>
                    </a:cubicBezTo>
                    <a:cubicBezTo>
                      <a:pt x="28470" y="69322"/>
                      <a:pt x="22428" y="77731"/>
                      <a:pt x="13949" y="84514"/>
                    </a:cubicBezTo>
                    <a:cubicBezTo>
                      <a:pt x="5223" y="91474"/>
                      <a:pt x="1160" y="89107"/>
                      <a:pt x="135" y="78755"/>
                    </a:cubicBezTo>
                    <a:cubicBezTo>
                      <a:pt x="-147" y="75682"/>
                      <a:pt x="100" y="72573"/>
                      <a:pt x="100" y="6649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5" name="Freeform: Shape 1024">
                <a:extLst>
                  <a:ext uri="{FF2B5EF4-FFF2-40B4-BE49-F238E27FC236}">
                    <a16:creationId xmlns:a16="http://schemas.microsoft.com/office/drawing/2014/main" id="{0B59148A-EE34-A718-81BF-A0181422FFAC}"/>
                  </a:ext>
                </a:extLst>
              </p:cNvPr>
              <p:cNvSpPr/>
              <p:nvPr/>
            </p:nvSpPr>
            <p:spPr>
              <a:xfrm>
                <a:off x="8887700" y="2868519"/>
                <a:ext cx="80759" cy="215085"/>
              </a:xfrm>
              <a:custGeom>
                <a:avLst/>
                <a:gdLst>
                  <a:gd name="connsiteX0" fmla="*/ 309 w 80759"/>
                  <a:gd name="connsiteY0" fmla="*/ 0 h 215085"/>
                  <a:gd name="connsiteX1" fmla="*/ 75490 w 80759"/>
                  <a:gd name="connsiteY1" fmla="*/ 119978 h 215085"/>
                  <a:gd name="connsiteX2" fmla="*/ 64821 w 80759"/>
                  <a:gd name="connsiteY2" fmla="*/ 215085 h 215085"/>
                  <a:gd name="connsiteX3" fmla="*/ 65033 w 80759"/>
                  <a:gd name="connsiteY3" fmla="*/ 189754 h 215085"/>
                  <a:gd name="connsiteX4" fmla="*/ 45672 w 80759"/>
                  <a:gd name="connsiteY4" fmla="*/ 81540 h 215085"/>
                  <a:gd name="connsiteX5" fmla="*/ 3948 w 80759"/>
                  <a:gd name="connsiteY5" fmla="*/ 12295 h 215085"/>
                  <a:gd name="connsiteX6" fmla="*/ 309 w 80759"/>
                  <a:gd name="connsiteY6" fmla="*/ 0 h 215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59" h="215085">
                    <a:moveTo>
                      <a:pt x="309" y="0"/>
                    </a:moveTo>
                    <a:cubicBezTo>
                      <a:pt x="31505" y="38014"/>
                      <a:pt x="62631" y="73096"/>
                      <a:pt x="75490" y="119978"/>
                    </a:cubicBezTo>
                    <a:cubicBezTo>
                      <a:pt x="84499" y="152764"/>
                      <a:pt x="82591" y="184349"/>
                      <a:pt x="64821" y="215085"/>
                    </a:cubicBezTo>
                    <a:cubicBezTo>
                      <a:pt x="64821" y="206641"/>
                      <a:pt x="63584" y="197950"/>
                      <a:pt x="65033" y="189754"/>
                    </a:cubicBezTo>
                    <a:cubicBezTo>
                      <a:pt x="71851" y="151210"/>
                      <a:pt x="66481" y="115668"/>
                      <a:pt x="45672" y="81540"/>
                    </a:cubicBezTo>
                    <a:cubicBezTo>
                      <a:pt x="31647" y="58576"/>
                      <a:pt x="20871" y="33598"/>
                      <a:pt x="3948" y="12295"/>
                    </a:cubicBezTo>
                    <a:cubicBezTo>
                      <a:pt x="1970" y="9822"/>
                      <a:pt x="-962" y="7101"/>
                      <a:pt x="309" y="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7" name="Freeform: Shape 1026">
                <a:extLst>
                  <a:ext uri="{FF2B5EF4-FFF2-40B4-BE49-F238E27FC236}">
                    <a16:creationId xmlns:a16="http://schemas.microsoft.com/office/drawing/2014/main" id="{8D0B88E4-2C95-FAE2-047C-D261BAE872CA}"/>
                  </a:ext>
                </a:extLst>
              </p:cNvPr>
              <p:cNvSpPr/>
              <p:nvPr/>
            </p:nvSpPr>
            <p:spPr>
              <a:xfrm>
                <a:off x="8048336" y="3823966"/>
                <a:ext cx="238438" cy="55112"/>
              </a:xfrm>
              <a:custGeom>
                <a:avLst/>
                <a:gdLst>
                  <a:gd name="connsiteX0" fmla="*/ 238297 w 238438"/>
                  <a:gd name="connsiteY0" fmla="*/ 36354 h 55112"/>
                  <a:gd name="connsiteX1" fmla="*/ 195195 w 238438"/>
                  <a:gd name="connsiteY1" fmla="*/ 53771 h 55112"/>
                  <a:gd name="connsiteX2" fmla="*/ 40311 w 238438"/>
                  <a:gd name="connsiteY2" fmla="*/ 38580 h 55112"/>
                  <a:gd name="connsiteX3" fmla="*/ 1025 w 238438"/>
                  <a:gd name="connsiteY3" fmla="*/ 5052 h 55112"/>
                  <a:gd name="connsiteX4" fmla="*/ 884 w 238438"/>
                  <a:gd name="connsiteY4" fmla="*/ 0 h 55112"/>
                  <a:gd name="connsiteX5" fmla="*/ 11906 w 238438"/>
                  <a:gd name="connsiteY5" fmla="*/ 8408 h 55112"/>
                  <a:gd name="connsiteX6" fmla="*/ 96944 w 238438"/>
                  <a:gd name="connsiteY6" fmla="*/ 46670 h 55112"/>
                  <a:gd name="connsiteX7" fmla="*/ 194842 w 238438"/>
                  <a:gd name="connsiteY7" fmla="*/ 47129 h 55112"/>
                  <a:gd name="connsiteX8" fmla="*/ 238438 w 238438"/>
                  <a:gd name="connsiteY8" fmla="*/ 36460 h 55112"/>
                  <a:gd name="connsiteX9" fmla="*/ 238332 w 238438"/>
                  <a:gd name="connsiteY9" fmla="*/ 36354 h 5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438" h="55112">
                    <a:moveTo>
                      <a:pt x="238297" y="36354"/>
                    </a:moveTo>
                    <a:cubicBezTo>
                      <a:pt x="226815" y="49249"/>
                      <a:pt x="211129" y="53100"/>
                      <a:pt x="195195" y="53771"/>
                    </a:cubicBezTo>
                    <a:cubicBezTo>
                      <a:pt x="142908" y="55997"/>
                      <a:pt x="90514" y="57834"/>
                      <a:pt x="40311" y="38580"/>
                    </a:cubicBezTo>
                    <a:cubicBezTo>
                      <a:pt x="23353" y="32079"/>
                      <a:pt x="8444" y="22858"/>
                      <a:pt x="1025" y="5052"/>
                    </a:cubicBezTo>
                    <a:cubicBezTo>
                      <a:pt x="389" y="3498"/>
                      <a:pt x="-847" y="1908"/>
                      <a:pt x="884" y="0"/>
                    </a:cubicBezTo>
                    <a:cubicBezTo>
                      <a:pt x="6360" y="283"/>
                      <a:pt x="8974" y="4981"/>
                      <a:pt x="11906" y="8408"/>
                    </a:cubicBezTo>
                    <a:cubicBezTo>
                      <a:pt x="34235" y="34693"/>
                      <a:pt x="65042" y="42289"/>
                      <a:pt x="96944" y="46670"/>
                    </a:cubicBezTo>
                    <a:cubicBezTo>
                      <a:pt x="129483" y="51122"/>
                      <a:pt x="162127" y="50768"/>
                      <a:pt x="194842" y="47129"/>
                    </a:cubicBezTo>
                    <a:cubicBezTo>
                      <a:pt x="209998" y="45433"/>
                      <a:pt x="223352" y="37661"/>
                      <a:pt x="238438" y="36460"/>
                    </a:cubicBezTo>
                    <a:lnTo>
                      <a:pt x="238332" y="36354"/>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8" name="Freeform: Shape 1027">
                <a:extLst>
                  <a:ext uri="{FF2B5EF4-FFF2-40B4-BE49-F238E27FC236}">
                    <a16:creationId xmlns:a16="http://schemas.microsoft.com/office/drawing/2014/main" id="{F217C0D3-62FB-9234-EBCF-D298CE1D91E7}"/>
                  </a:ext>
                </a:extLst>
              </p:cNvPr>
              <p:cNvSpPr/>
              <p:nvPr/>
            </p:nvSpPr>
            <p:spPr>
              <a:xfrm>
                <a:off x="7823854" y="2651950"/>
                <a:ext cx="88711" cy="63592"/>
              </a:xfrm>
              <a:custGeom>
                <a:avLst/>
                <a:gdLst>
                  <a:gd name="connsiteX0" fmla="*/ 88712 w 88711"/>
                  <a:gd name="connsiteY0" fmla="*/ 0 h 63592"/>
                  <a:gd name="connsiteX1" fmla="*/ 74227 w 88711"/>
                  <a:gd name="connsiteY1" fmla="*/ 17594 h 63592"/>
                  <a:gd name="connsiteX2" fmla="*/ 33810 w 88711"/>
                  <a:gd name="connsiteY2" fmla="*/ 49002 h 63592"/>
                  <a:gd name="connsiteX3" fmla="*/ 0 w 88711"/>
                  <a:gd name="connsiteY3" fmla="*/ 63593 h 63592"/>
                  <a:gd name="connsiteX4" fmla="*/ 88712 w 88711"/>
                  <a:gd name="connsiteY4" fmla="*/ 0 h 63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711" h="63592">
                    <a:moveTo>
                      <a:pt x="88712" y="0"/>
                    </a:moveTo>
                    <a:cubicBezTo>
                      <a:pt x="86557" y="9115"/>
                      <a:pt x="80904" y="14591"/>
                      <a:pt x="74227" y="17594"/>
                    </a:cubicBezTo>
                    <a:cubicBezTo>
                      <a:pt x="58152" y="24907"/>
                      <a:pt x="45540" y="36319"/>
                      <a:pt x="33810" y="49002"/>
                    </a:cubicBezTo>
                    <a:cubicBezTo>
                      <a:pt x="24907" y="58647"/>
                      <a:pt x="13142" y="61049"/>
                      <a:pt x="0" y="63593"/>
                    </a:cubicBezTo>
                    <a:cubicBezTo>
                      <a:pt x="14132" y="36531"/>
                      <a:pt x="54018" y="8055"/>
                      <a:pt x="88712" y="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9" name="Freeform: Shape 1028">
                <a:extLst>
                  <a:ext uri="{FF2B5EF4-FFF2-40B4-BE49-F238E27FC236}">
                    <a16:creationId xmlns:a16="http://schemas.microsoft.com/office/drawing/2014/main" id="{4CC53901-51F7-FF69-FAAB-ADD8A7367CFA}"/>
                  </a:ext>
                </a:extLst>
              </p:cNvPr>
              <p:cNvSpPr/>
              <p:nvPr/>
            </p:nvSpPr>
            <p:spPr>
              <a:xfrm>
                <a:off x="8953187" y="3091642"/>
                <a:ext cx="41498" cy="91414"/>
              </a:xfrm>
              <a:custGeom>
                <a:avLst/>
                <a:gdLst>
                  <a:gd name="connsiteX0" fmla="*/ 23393 w 41498"/>
                  <a:gd name="connsiteY0" fmla="*/ 91379 h 91414"/>
                  <a:gd name="connsiteX1" fmla="*/ 24170 w 41498"/>
                  <a:gd name="connsiteY1" fmla="*/ 76081 h 91414"/>
                  <a:gd name="connsiteX2" fmla="*/ 22439 w 41498"/>
                  <a:gd name="connsiteY2" fmla="*/ 24571 h 91414"/>
                  <a:gd name="connsiteX3" fmla="*/ 8166 w 41498"/>
                  <a:gd name="connsiteY3" fmla="*/ 15880 h 91414"/>
                  <a:gd name="connsiteX4" fmla="*/ 217 w 41498"/>
                  <a:gd name="connsiteY4" fmla="*/ 4292 h 91414"/>
                  <a:gd name="connsiteX5" fmla="*/ 23605 w 41498"/>
                  <a:gd name="connsiteY5" fmla="*/ 3267 h 91414"/>
                  <a:gd name="connsiteX6" fmla="*/ 34733 w 41498"/>
                  <a:gd name="connsiteY6" fmla="*/ 4963 h 91414"/>
                  <a:gd name="connsiteX7" fmla="*/ 23357 w 41498"/>
                  <a:gd name="connsiteY7" fmla="*/ 91414 h 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98" h="91414">
                    <a:moveTo>
                      <a:pt x="23393" y="91379"/>
                    </a:moveTo>
                    <a:cubicBezTo>
                      <a:pt x="19577" y="85337"/>
                      <a:pt x="21096" y="81027"/>
                      <a:pt x="24170" y="76081"/>
                    </a:cubicBezTo>
                    <a:cubicBezTo>
                      <a:pt x="35016" y="58664"/>
                      <a:pt x="30600" y="41494"/>
                      <a:pt x="22439" y="24571"/>
                    </a:cubicBezTo>
                    <a:cubicBezTo>
                      <a:pt x="19577" y="18671"/>
                      <a:pt x="13571" y="17540"/>
                      <a:pt x="8166" y="15880"/>
                    </a:cubicBezTo>
                    <a:cubicBezTo>
                      <a:pt x="3220" y="14361"/>
                      <a:pt x="-1020" y="12912"/>
                      <a:pt x="217" y="4292"/>
                    </a:cubicBezTo>
                    <a:cubicBezTo>
                      <a:pt x="9685" y="16940"/>
                      <a:pt x="16998" y="10474"/>
                      <a:pt x="23605" y="3267"/>
                    </a:cubicBezTo>
                    <a:cubicBezTo>
                      <a:pt x="28692" y="-2279"/>
                      <a:pt x="32154" y="-124"/>
                      <a:pt x="34733" y="4963"/>
                    </a:cubicBezTo>
                    <a:cubicBezTo>
                      <a:pt x="47629" y="30153"/>
                      <a:pt x="41128" y="79720"/>
                      <a:pt x="23357" y="9141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0" name="Freeform: Shape 1029">
                <a:extLst>
                  <a:ext uri="{FF2B5EF4-FFF2-40B4-BE49-F238E27FC236}">
                    <a16:creationId xmlns:a16="http://schemas.microsoft.com/office/drawing/2014/main" id="{64A0AC9A-EE99-8D44-E6B9-1BA29D3565DC}"/>
                  </a:ext>
                </a:extLst>
              </p:cNvPr>
              <p:cNvSpPr/>
              <p:nvPr/>
            </p:nvSpPr>
            <p:spPr>
              <a:xfrm>
                <a:off x="8312671" y="3850871"/>
                <a:ext cx="88782" cy="35065"/>
              </a:xfrm>
              <a:custGeom>
                <a:avLst/>
                <a:gdLst>
                  <a:gd name="connsiteX0" fmla="*/ 35 w 88782"/>
                  <a:gd name="connsiteY0" fmla="*/ 3230 h 35065"/>
                  <a:gd name="connsiteX1" fmla="*/ 21127 w 88782"/>
                  <a:gd name="connsiteY1" fmla="*/ 6657 h 35065"/>
                  <a:gd name="connsiteX2" fmla="*/ 88782 w 88782"/>
                  <a:gd name="connsiteY2" fmla="*/ 34037 h 35065"/>
                  <a:gd name="connsiteX3" fmla="*/ 0 w 88782"/>
                  <a:gd name="connsiteY3" fmla="*/ 3266 h 35065"/>
                </a:gdLst>
                <a:ahLst/>
                <a:cxnLst>
                  <a:cxn ang="0">
                    <a:pos x="connsiteX0" y="connsiteY0"/>
                  </a:cxn>
                  <a:cxn ang="0">
                    <a:pos x="connsiteX1" y="connsiteY1"/>
                  </a:cxn>
                  <a:cxn ang="0">
                    <a:pos x="connsiteX2" y="connsiteY2"/>
                  </a:cxn>
                  <a:cxn ang="0">
                    <a:pos x="connsiteX3" y="connsiteY3"/>
                  </a:cxn>
                </a:cxnLst>
                <a:rect l="l" t="t" r="r" b="b"/>
                <a:pathLst>
                  <a:path w="88782" h="35065">
                    <a:moveTo>
                      <a:pt x="35" y="3230"/>
                    </a:moveTo>
                    <a:cubicBezTo>
                      <a:pt x="8656" y="-2599"/>
                      <a:pt x="14450" y="15"/>
                      <a:pt x="21127" y="6657"/>
                    </a:cubicBezTo>
                    <a:cubicBezTo>
                      <a:pt x="38615" y="24004"/>
                      <a:pt x="60060" y="33366"/>
                      <a:pt x="88782" y="34037"/>
                    </a:cubicBezTo>
                    <a:cubicBezTo>
                      <a:pt x="51616" y="38948"/>
                      <a:pt x="15827" y="25876"/>
                      <a:pt x="0" y="326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1" name="Freeform: Shape 1030">
                <a:extLst>
                  <a:ext uri="{FF2B5EF4-FFF2-40B4-BE49-F238E27FC236}">
                    <a16:creationId xmlns:a16="http://schemas.microsoft.com/office/drawing/2014/main" id="{702824C4-AE86-A1C4-FF67-0B36D1AF091D}"/>
                  </a:ext>
                </a:extLst>
              </p:cNvPr>
              <p:cNvSpPr/>
              <p:nvPr/>
            </p:nvSpPr>
            <p:spPr>
              <a:xfrm>
                <a:off x="7980363" y="3785665"/>
                <a:ext cx="45998" cy="31362"/>
              </a:xfrm>
              <a:custGeom>
                <a:avLst/>
                <a:gdLst>
                  <a:gd name="connsiteX0" fmla="*/ 35 w 45998"/>
                  <a:gd name="connsiteY0" fmla="*/ 145 h 31362"/>
                  <a:gd name="connsiteX1" fmla="*/ 13496 w 45998"/>
                  <a:gd name="connsiteY1" fmla="*/ 8412 h 31362"/>
                  <a:gd name="connsiteX2" fmla="*/ 45999 w 45998"/>
                  <a:gd name="connsiteY2" fmla="*/ 29927 h 31362"/>
                  <a:gd name="connsiteX3" fmla="*/ 0 w 45998"/>
                  <a:gd name="connsiteY3" fmla="*/ 145 h 31362"/>
                  <a:gd name="connsiteX4" fmla="*/ 0 w 45998"/>
                  <a:gd name="connsiteY4" fmla="*/ 145 h 31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98" h="31362">
                    <a:moveTo>
                      <a:pt x="35" y="145"/>
                    </a:moveTo>
                    <a:cubicBezTo>
                      <a:pt x="6748" y="-739"/>
                      <a:pt x="11588" y="2476"/>
                      <a:pt x="13496" y="8412"/>
                    </a:cubicBezTo>
                    <a:cubicBezTo>
                      <a:pt x="18407" y="23921"/>
                      <a:pt x="30383" y="28549"/>
                      <a:pt x="45999" y="29927"/>
                    </a:cubicBezTo>
                    <a:cubicBezTo>
                      <a:pt x="19678" y="35580"/>
                      <a:pt x="2932" y="24310"/>
                      <a:pt x="0" y="145"/>
                    </a:cubicBezTo>
                    <a:lnTo>
                      <a:pt x="0" y="145"/>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2" name="Freeform: Shape 1031">
                <a:extLst>
                  <a:ext uri="{FF2B5EF4-FFF2-40B4-BE49-F238E27FC236}">
                    <a16:creationId xmlns:a16="http://schemas.microsoft.com/office/drawing/2014/main" id="{167410F2-C985-60A1-D942-1614F1595F69}"/>
                  </a:ext>
                </a:extLst>
              </p:cNvPr>
              <p:cNvSpPr/>
              <p:nvPr/>
            </p:nvSpPr>
            <p:spPr>
              <a:xfrm>
                <a:off x="7858406" y="3729142"/>
                <a:ext cx="63416" cy="24765"/>
              </a:xfrm>
              <a:custGeom>
                <a:avLst/>
                <a:gdLst>
                  <a:gd name="connsiteX0" fmla="*/ 63416 w 63416"/>
                  <a:gd name="connsiteY0" fmla="*/ 24660 h 24765"/>
                  <a:gd name="connsiteX1" fmla="*/ 0 w 63416"/>
                  <a:gd name="connsiteY1" fmla="*/ 0 h 24765"/>
                  <a:gd name="connsiteX2" fmla="*/ 55679 w 63416"/>
                  <a:gd name="connsiteY2" fmla="*/ 9362 h 24765"/>
                  <a:gd name="connsiteX3" fmla="*/ 63310 w 63416"/>
                  <a:gd name="connsiteY3" fmla="*/ 24766 h 24765"/>
                  <a:gd name="connsiteX4" fmla="*/ 63381 w 63416"/>
                  <a:gd name="connsiteY4" fmla="*/ 24660 h 24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16" h="24765">
                    <a:moveTo>
                      <a:pt x="63416" y="24660"/>
                    </a:moveTo>
                    <a:cubicBezTo>
                      <a:pt x="44126" y="11659"/>
                      <a:pt x="20915" y="9327"/>
                      <a:pt x="0" y="0"/>
                    </a:cubicBezTo>
                    <a:cubicBezTo>
                      <a:pt x="18583" y="3003"/>
                      <a:pt x="37308" y="5370"/>
                      <a:pt x="55679" y="9362"/>
                    </a:cubicBezTo>
                    <a:cubicBezTo>
                      <a:pt x="62180" y="10775"/>
                      <a:pt x="63593" y="18159"/>
                      <a:pt x="63310" y="24766"/>
                    </a:cubicBezTo>
                    <a:lnTo>
                      <a:pt x="63381" y="24660"/>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3" name="Freeform: Shape 1032">
                <a:extLst>
                  <a:ext uri="{FF2B5EF4-FFF2-40B4-BE49-F238E27FC236}">
                    <a16:creationId xmlns:a16="http://schemas.microsoft.com/office/drawing/2014/main" id="{646FD97C-4FAF-ECAD-AE2C-02F2009B1978}"/>
                  </a:ext>
                </a:extLst>
              </p:cNvPr>
              <p:cNvSpPr/>
              <p:nvPr/>
            </p:nvSpPr>
            <p:spPr>
              <a:xfrm>
                <a:off x="8852856" y="2839372"/>
                <a:ext cx="18406" cy="31019"/>
              </a:xfrm>
              <a:custGeom>
                <a:avLst/>
                <a:gdLst>
                  <a:gd name="connsiteX0" fmla="*/ 18407 w 18406"/>
                  <a:gd name="connsiteY0" fmla="*/ 31019 h 31019"/>
                  <a:gd name="connsiteX1" fmla="*/ 0 w 18406"/>
                  <a:gd name="connsiteY1" fmla="*/ 0 h 31019"/>
                  <a:gd name="connsiteX2" fmla="*/ 18407 w 18406"/>
                  <a:gd name="connsiteY2" fmla="*/ 31019 h 31019"/>
                </a:gdLst>
                <a:ahLst/>
                <a:cxnLst>
                  <a:cxn ang="0">
                    <a:pos x="connsiteX0" y="connsiteY0"/>
                  </a:cxn>
                  <a:cxn ang="0">
                    <a:pos x="connsiteX1" y="connsiteY1"/>
                  </a:cxn>
                  <a:cxn ang="0">
                    <a:pos x="connsiteX2" y="connsiteY2"/>
                  </a:cxn>
                </a:cxnLst>
                <a:rect l="l" t="t" r="r" b="b"/>
                <a:pathLst>
                  <a:path w="18406" h="31019">
                    <a:moveTo>
                      <a:pt x="18407" y="31019"/>
                    </a:moveTo>
                    <a:cubicBezTo>
                      <a:pt x="10104" y="22010"/>
                      <a:pt x="3992" y="11659"/>
                      <a:pt x="0" y="0"/>
                    </a:cubicBezTo>
                    <a:cubicBezTo>
                      <a:pt x="13284" y="5935"/>
                      <a:pt x="14662" y="19219"/>
                      <a:pt x="18407" y="3101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4" name="Freeform: Shape 1033">
                <a:extLst>
                  <a:ext uri="{FF2B5EF4-FFF2-40B4-BE49-F238E27FC236}">
                    <a16:creationId xmlns:a16="http://schemas.microsoft.com/office/drawing/2014/main" id="{7889F421-4FFF-7525-354D-26595ADFFEEC}"/>
                  </a:ext>
                </a:extLst>
              </p:cNvPr>
              <p:cNvSpPr/>
              <p:nvPr/>
            </p:nvSpPr>
            <p:spPr>
              <a:xfrm>
                <a:off x="8286668" y="3858447"/>
                <a:ext cx="4805" cy="1978"/>
              </a:xfrm>
              <a:custGeom>
                <a:avLst/>
                <a:gdLst>
                  <a:gd name="connsiteX0" fmla="*/ 71 w 4805"/>
                  <a:gd name="connsiteY0" fmla="*/ 1978 h 1978"/>
                  <a:gd name="connsiteX1" fmla="*/ 4134 w 4805"/>
                  <a:gd name="connsiteY1" fmla="*/ 0 h 1978"/>
                  <a:gd name="connsiteX2" fmla="*/ 4805 w 4805"/>
                  <a:gd name="connsiteY2" fmla="*/ 1201 h 1978"/>
                  <a:gd name="connsiteX3" fmla="*/ 0 w 4805"/>
                  <a:gd name="connsiteY3" fmla="*/ 1837 h 1978"/>
                  <a:gd name="connsiteX4" fmla="*/ 106 w 4805"/>
                  <a:gd name="connsiteY4" fmla="*/ 1943 h 1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5" h="1978">
                    <a:moveTo>
                      <a:pt x="71" y="1978"/>
                    </a:moveTo>
                    <a:cubicBezTo>
                      <a:pt x="1413" y="1307"/>
                      <a:pt x="2756" y="636"/>
                      <a:pt x="4134" y="0"/>
                    </a:cubicBezTo>
                    <a:cubicBezTo>
                      <a:pt x="4134" y="0"/>
                      <a:pt x="4558" y="777"/>
                      <a:pt x="4805" y="1201"/>
                    </a:cubicBezTo>
                    <a:cubicBezTo>
                      <a:pt x="3215" y="1413"/>
                      <a:pt x="1590" y="1625"/>
                      <a:pt x="0" y="1837"/>
                    </a:cubicBezTo>
                    <a:cubicBezTo>
                      <a:pt x="0" y="1837"/>
                      <a:pt x="106" y="1943"/>
                      <a:pt x="106" y="194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5" name="Freeform: Shape 1034">
                <a:extLst>
                  <a:ext uri="{FF2B5EF4-FFF2-40B4-BE49-F238E27FC236}">
                    <a16:creationId xmlns:a16="http://schemas.microsoft.com/office/drawing/2014/main" id="{6F66C430-0282-45B6-440E-53C099BA6DD1}"/>
                  </a:ext>
                </a:extLst>
              </p:cNvPr>
              <p:cNvSpPr/>
              <p:nvPr/>
            </p:nvSpPr>
            <p:spPr>
              <a:xfrm>
                <a:off x="8848652" y="2832271"/>
                <a:ext cx="989" cy="1377"/>
              </a:xfrm>
              <a:custGeom>
                <a:avLst/>
                <a:gdLst>
                  <a:gd name="connsiteX0" fmla="*/ 0 w 989"/>
                  <a:gd name="connsiteY0" fmla="*/ 141 h 1377"/>
                  <a:gd name="connsiteX1" fmla="*/ 989 w 989"/>
                  <a:gd name="connsiteY1" fmla="*/ 1378 h 1377"/>
                  <a:gd name="connsiteX2" fmla="*/ 353 w 989"/>
                  <a:gd name="connsiteY2" fmla="*/ 1025 h 1377"/>
                  <a:gd name="connsiteX3" fmla="*/ 141 w 989"/>
                  <a:gd name="connsiteY3" fmla="*/ 0 h 1377"/>
                  <a:gd name="connsiteX4" fmla="*/ 35 w 989"/>
                  <a:gd name="connsiteY4" fmla="*/ 106 h 1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 h="1377">
                    <a:moveTo>
                      <a:pt x="0" y="141"/>
                    </a:moveTo>
                    <a:lnTo>
                      <a:pt x="989" y="1378"/>
                    </a:lnTo>
                    <a:cubicBezTo>
                      <a:pt x="777" y="1272"/>
                      <a:pt x="424" y="1201"/>
                      <a:pt x="353" y="1025"/>
                    </a:cubicBezTo>
                    <a:cubicBezTo>
                      <a:pt x="212" y="742"/>
                      <a:pt x="176" y="353"/>
                      <a:pt x="141" y="0"/>
                    </a:cubicBezTo>
                    <a:lnTo>
                      <a:pt x="35" y="106"/>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6" name="Freeform: Shape 1035">
                <a:extLst>
                  <a:ext uri="{FF2B5EF4-FFF2-40B4-BE49-F238E27FC236}">
                    <a16:creationId xmlns:a16="http://schemas.microsoft.com/office/drawing/2014/main" id="{15B7A23B-9734-ABD8-5DCF-F6162BAFCF59}"/>
                  </a:ext>
                </a:extLst>
              </p:cNvPr>
              <p:cNvSpPr/>
              <p:nvPr/>
            </p:nvSpPr>
            <p:spPr>
              <a:xfrm>
                <a:off x="8847380" y="2831352"/>
                <a:ext cx="1377" cy="1059"/>
              </a:xfrm>
              <a:custGeom>
                <a:avLst/>
                <a:gdLst>
                  <a:gd name="connsiteX0" fmla="*/ 1378 w 1377"/>
                  <a:gd name="connsiteY0" fmla="*/ 919 h 1059"/>
                  <a:gd name="connsiteX1" fmla="*/ 0 w 1377"/>
                  <a:gd name="connsiteY1" fmla="*/ 0 h 1059"/>
                  <a:gd name="connsiteX2" fmla="*/ 706 w 1377"/>
                  <a:gd name="connsiteY2" fmla="*/ 141 h 1059"/>
                  <a:gd name="connsiteX3" fmla="*/ 1272 w 1377"/>
                  <a:gd name="connsiteY3" fmla="*/ 1060 h 1059"/>
                  <a:gd name="connsiteX4" fmla="*/ 1378 w 1377"/>
                  <a:gd name="connsiteY4" fmla="*/ 954 h 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 h="1059">
                    <a:moveTo>
                      <a:pt x="1378" y="919"/>
                    </a:moveTo>
                    <a:cubicBezTo>
                      <a:pt x="919" y="601"/>
                      <a:pt x="459" y="283"/>
                      <a:pt x="0" y="0"/>
                    </a:cubicBezTo>
                    <a:cubicBezTo>
                      <a:pt x="247" y="35"/>
                      <a:pt x="565" y="0"/>
                      <a:pt x="706" y="141"/>
                    </a:cubicBezTo>
                    <a:cubicBezTo>
                      <a:pt x="954" y="389"/>
                      <a:pt x="1095" y="742"/>
                      <a:pt x="1272" y="1060"/>
                    </a:cubicBezTo>
                    <a:cubicBezTo>
                      <a:pt x="1272" y="1060"/>
                      <a:pt x="1378" y="954"/>
                      <a:pt x="1378" y="95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7" name="Freeform: Shape 1036">
                <a:extLst>
                  <a:ext uri="{FF2B5EF4-FFF2-40B4-BE49-F238E27FC236}">
                    <a16:creationId xmlns:a16="http://schemas.microsoft.com/office/drawing/2014/main" id="{B819E5F4-218B-4D15-531D-84606FBE49B2}"/>
                  </a:ext>
                </a:extLst>
              </p:cNvPr>
              <p:cNvSpPr/>
              <p:nvPr/>
            </p:nvSpPr>
            <p:spPr>
              <a:xfrm>
                <a:off x="7921716" y="3753802"/>
                <a:ext cx="1271" cy="1130"/>
              </a:xfrm>
              <a:custGeom>
                <a:avLst/>
                <a:gdLst>
                  <a:gd name="connsiteX0" fmla="*/ 0 w 1271"/>
                  <a:gd name="connsiteY0" fmla="*/ 106 h 1130"/>
                  <a:gd name="connsiteX1" fmla="*/ 1272 w 1271"/>
                  <a:gd name="connsiteY1" fmla="*/ 1131 h 1130"/>
                  <a:gd name="connsiteX2" fmla="*/ 565 w 1271"/>
                  <a:gd name="connsiteY2" fmla="*/ 954 h 1130"/>
                  <a:gd name="connsiteX3" fmla="*/ 106 w 1271"/>
                  <a:gd name="connsiteY3" fmla="*/ 0 h 1130"/>
                  <a:gd name="connsiteX4" fmla="*/ 35 w 1271"/>
                  <a:gd name="connsiteY4" fmla="*/ 106 h 1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 h="1130">
                    <a:moveTo>
                      <a:pt x="0" y="106"/>
                    </a:moveTo>
                    <a:lnTo>
                      <a:pt x="1272" y="1131"/>
                    </a:lnTo>
                    <a:cubicBezTo>
                      <a:pt x="1024" y="1095"/>
                      <a:pt x="706" y="1131"/>
                      <a:pt x="565" y="954"/>
                    </a:cubicBezTo>
                    <a:cubicBezTo>
                      <a:pt x="353" y="707"/>
                      <a:pt x="247" y="318"/>
                      <a:pt x="106" y="0"/>
                    </a:cubicBezTo>
                    <a:cubicBezTo>
                      <a:pt x="106" y="0"/>
                      <a:pt x="35" y="106"/>
                      <a:pt x="35" y="10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8" name="Freeform: Shape 1037">
                <a:extLst>
                  <a:ext uri="{FF2B5EF4-FFF2-40B4-BE49-F238E27FC236}">
                    <a16:creationId xmlns:a16="http://schemas.microsoft.com/office/drawing/2014/main" id="{521B96DB-86E7-4180-0B46-7BEEACDDC0D5}"/>
                  </a:ext>
                </a:extLst>
              </p:cNvPr>
              <p:cNvSpPr/>
              <p:nvPr/>
            </p:nvSpPr>
            <p:spPr>
              <a:xfrm>
                <a:off x="7979444" y="3785033"/>
                <a:ext cx="918" cy="777"/>
              </a:xfrm>
              <a:custGeom>
                <a:avLst/>
                <a:gdLst>
                  <a:gd name="connsiteX0" fmla="*/ 919 w 918"/>
                  <a:gd name="connsiteY0" fmla="*/ 777 h 777"/>
                  <a:gd name="connsiteX1" fmla="*/ 0 w 918"/>
                  <a:gd name="connsiteY1" fmla="*/ 0 h 777"/>
                  <a:gd name="connsiteX2" fmla="*/ 919 w 918"/>
                  <a:gd name="connsiteY2" fmla="*/ 742 h 777"/>
                  <a:gd name="connsiteX3" fmla="*/ 919 w 918"/>
                  <a:gd name="connsiteY3" fmla="*/ 742 h 777"/>
                </a:gdLst>
                <a:ahLst/>
                <a:cxnLst>
                  <a:cxn ang="0">
                    <a:pos x="connsiteX0" y="connsiteY0"/>
                  </a:cxn>
                  <a:cxn ang="0">
                    <a:pos x="connsiteX1" y="connsiteY1"/>
                  </a:cxn>
                  <a:cxn ang="0">
                    <a:pos x="connsiteX2" y="connsiteY2"/>
                  </a:cxn>
                  <a:cxn ang="0">
                    <a:pos x="connsiteX3" y="connsiteY3"/>
                  </a:cxn>
                </a:cxnLst>
                <a:rect l="l" t="t" r="r" b="b"/>
                <a:pathLst>
                  <a:path w="918" h="777">
                    <a:moveTo>
                      <a:pt x="919" y="777"/>
                    </a:moveTo>
                    <a:cubicBezTo>
                      <a:pt x="601" y="530"/>
                      <a:pt x="318" y="283"/>
                      <a:pt x="0" y="0"/>
                    </a:cubicBezTo>
                    <a:cubicBezTo>
                      <a:pt x="318" y="247"/>
                      <a:pt x="636" y="495"/>
                      <a:pt x="919" y="742"/>
                    </a:cubicBezTo>
                    <a:cubicBezTo>
                      <a:pt x="919" y="742"/>
                      <a:pt x="919" y="742"/>
                      <a:pt x="919" y="742"/>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9" name="Freeform: Shape 1038">
                <a:extLst>
                  <a:ext uri="{FF2B5EF4-FFF2-40B4-BE49-F238E27FC236}">
                    <a16:creationId xmlns:a16="http://schemas.microsoft.com/office/drawing/2014/main" id="{28BAA802-3F8A-39B0-4A84-11C1F7559AC7}"/>
                  </a:ext>
                </a:extLst>
              </p:cNvPr>
              <p:cNvSpPr/>
              <p:nvPr/>
            </p:nvSpPr>
            <p:spPr>
              <a:xfrm>
                <a:off x="7900725" y="2838283"/>
                <a:ext cx="830972" cy="796660"/>
              </a:xfrm>
              <a:custGeom>
                <a:avLst/>
                <a:gdLst>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221450 w 830972"/>
                  <a:gd name="connsiteY29" fmla="*/ 191585 h 796660"/>
                  <a:gd name="connsiteX30" fmla="*/ 225230 w 830972"/>
                  <a:gd name="connsiteY30" fmla="*/ 179220 h 796660"/>
                  <a:gd name="connsiteX31" fmla="*/ 198238 w 830972"/>
                  <a:gd name="connsiteY31" fmla="*/ 152122 h 796660"/>
                  <a:gd name="connsiteX32" fmla="*/ 166796 w 830972"/>
                  <a:gd name="connsiteY32" fmla="*/ 166325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81881 w 830972"/>
                  <a:gd name="connsiteY47" fmla="*/ 20732 h 796660"/>
                  <a:gd name="connsiteX48" fmla="*/ 341111 w 830972"/>
                  <a:gd name="connsiteY48" fmla="*/ 24866 h 796660"/>
                  <a:gd name="connsiteX49" fmla="*/ 230176 w 830972"/>
                  <a:gd name="connsiteY49" fmla="*/ 74150 h 796660"/>
                  <a:gd name="connsiteX50" fmla="*/ 209261 w 830972"/>
                  <a:gd name="connsiteY50" fmla="*/ 92451 h 796660"/>
                  <a:gd name="connsiteX51" fmla="*/ 212052 w 830972"/>
                  <a:gd name="connsiteY51" fmla="*/ 110857 h 796660"/>
                  <a:gd name="connsiteX52" fmla="*/ 226078 w 830972"/>
                  <a:gd name="connsiteY52" fmla="*/ 114108 h 796660"/>
                  <a:gd name="connsiteX53" fmla="*/ 272678 w 830972"/>
                  <a:gd name="connsiteY53" fmla="*/ 102520 h 796660"/>
                  <a:gd name="connsiteX54" fmla="*/ 267484 w 830972"/>
                  <a:gd name="connsiteY54" fmla="*/ 112129 h 796660"/>
                  <a:gd name="connsiteX55" fmla="*/ 242754 w 830972"/>
                  <a:gd name="connsiteY55" fmla="*/ 161096 h 796660"/>
                  <a:gd name="connsiteX56" fmla="*/ 221415 w 830972"/>
                  <a:gd name="connsiteY56" fmla="*/ 191656 h 796660"/>
                  <a:gd name="connsiteX57" fmla="*/ 105358 w 830972"/>
                  <a:gd name="connsiteY57" fmla="*/ 191726 h 796660"/>
                  <a:gd name="connsiteX58" fmla="*/ 59041 w 830972"/>
                  <a:gd name="connsiteY58" fmla="*/ 237513 h 796660"/>
                  <a:gd name="connsiteX59" fmla="*/ 23888 w 830972"/>
                  <a:gd name="connsiteY59" fmla="*/ 356008 h 796660"/>
                  <a:gd name="connsiteX60" fmla="*/ 28834 w 830972"/>
                  <a:gd name="connsiteY60" fmla="*/ 363816 h 796660"/>
                  <a:gd name="connsiteX61" fmla="*/ 36466 w 830972"/>
                  <a:gd name="connsiteY61" fmla="*/ 358092 h 796660"/>
                  <a:gd name="connsiteX62" fmla="*/ 62892 w 830972"/>
                  <a:gd name="connsiteY62" fmla="*/ 292097 h 796660"/>
                  <a:gd name="connsiteX63" fmla="*/ 99988 w 830972"/>
                  <a:gd name="connsiteY63" fmla="*/ 216068 h 796660"/>
                  <a:gd name="connsiteX64" fmla="*/ 105358 w 830972"/>
                  <a:gd name="connsiteY64" fmla="*/ 191691 h 796660"/>
                  <a:gd name="connsiteX65" fmla="*/ 295182 w 830972"/>
                  <a:gd name="connsiteY65" fmla="*/ 327038 h 796660"/>
                  <a:gd name="connsiteX66" fmla="*/ 354394 w 830972"/>
                  <a:gd name="connsiteY66" fmla="*/ 281922 h 796660"/>
                  <a:gd name="connsiteX67" fmla="*/ 351956 w 830972"/>
                  <a:gd name="connsiteY67" fmla="*/ 253765 h 796660"/>
                  <a:gd name="connsiteX68" fmla="*/ 322492 w 830972"/>
                  <a:gd name="connsiteY68" fmla="*/ 247617 h 796660"/>
                  <a:gd name="connsiteX69" fmla="*/ 309137 w 830972"/>
                  <a:gd name="connsiteY69" fmla="*/ 271535 h 796660"/>
                  <a:gd name="connsiteX70" fmla="*/ 288187 w 830972"/>
                  <a:gd name="connsiteY70" fmla="*/ 297290 h 796660"/>
                  <a:gd name="connsiteX71" fmla="*/ 277165 w 830972"/>
                  <a:gd name="connsiteY71" fmla="*/ 315980 h 796660"/>
                  <a:gd name="connsiteX72" fmla="*/ 295147 w 830972"/>
                  <a:gd name="connsiteY72" fmla="*/ 327038 h 796660"/>
                  <a:gd name="connsiteX73" fmla="*/ 431624 w 830972"/>
                  <a:gd name="connsiteY73" fmla="*/ 76729 h 796660"/>
                  <a:gd name="connsiteX74" fmla="*/ 425760 w 830972"/>
                  <a:gd name="connsiteY74" fmla="*/ 78602 h 796660"/>
                  <a:gd name="connsiteX75" fmla="*/ 374073 w 830972"/>
                  <a:gd name="connsiteY75" fmla="*/ 101389 h 796660"/>
                  <a:gd name="connsiteX76" fmla="*/ 358174 w 830972"/>
                  <a:gd name="connsiteY76" fmla="*/ 110610 h 796660"/>
                  <a:gd name="connsiteX77" fmla="*/ 355596 w 830972"/>
                  <a:gd name="connsiteY77" fmla="*/ 140287 h 796660"/>
                  <a:gd name="connsiteX78" fmla="*/ 382729 w 830972"/>
                  <a:gd name="connsiteY78" fmla="*/ 137143 h 796660"/>
                  <a:gd name="connsiteX79" fmla="*/ 408448 w 830972"/>
                  <a:gd name="connsiteY79" fmla="*/ 123753 h 796660"/>
                  <a:gd name="connsiteX80" fmla="*/ 446462 w 830972"/>
                  <a:gd name="connsiteY80" fmla="*/ 93405 h 796660"/>
                  <a:gd name="connsiteX81" fmla="*/ 431624 w 830972"/>
                  <a:gd name="connsiteY81" fmla="*/ 76694 h 79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30972" h="796660">
                    <a:moveTo>
                      <a:pt x="157469" y="124883"/>
                    </a:moveTo>
                    <a:cubicBezTo>
                      <a:pt x="165983" y="119478"/>
                      <a:pt x="171954" y="111246"/>
                      <a:pt x="176476" y="102979"/>
                    </a:cubicBezTo>
                    <a:cubicBezTo>
                      <a:pt x="192162" y="74292"/>
                      <a:pt x="217316" y="57051"/>
                      <a:pt x="245015" y="42177"/>
                    </a:cubicBezTo>
                    <a:cubicBezTo>
                      <a:pt x="275928" y="25572"/>
                      <a:pt x="307230" y="10593"/>
                      <a:pt x="342171" y="3845"/>
                    </a:cubicBezTo>
                    <a:cubicBezTo>
                      <a:pt x="373331" y="-2161"/>
                      <a:pt x="403714" y="-1596"/>
                      <a:pt x="433638" y="8862"/>
                    </a:cubicBezTo>
                    <a:cubicBezTo>
                      <a:pt x="464799" y="19743"/>
                      <a:pt x="496737" y="25502"/>
                      <a:pt x="529734" y="25643"/>
                    </a:cubicBezTo>
                    <a:cubicBezTo>
                      <a:pt x="551850" y="25749"/>
                      <a:pt x="573825" y="25855"/>
                      <a:pt x="595870" y="30165"/>
                    </a:cubicBezTo>
                    <a:cubicBezTo>
                      <a:pt x="623498" y="35535"/>
                      <a:pt x="645438" y="49702"/>
                      <a:pt x="662890" y="70370"/>
                    </a:cubicBezTo>
                    <a:cubicBezTo>
                      <a:pt x="682816" y="93970"/>
                      <a:pt x="705180" y="114532"/>
                      <a:pt x="730864" y="131455"/>
                    </a:cubicBezTo>
                    <a:cubicBezTo>
                      <a:pt x="781950" y="165159"/>
                      <a:pt x="811097" y="213984"/>
                      <a:pt x="827914" y="271359"/>
                    </a:cubicBezTo>
                    <a:cubicBezTo>
                      <a:pt x="836640" y="301106"/>
                      <a:pt x="824875" y="328027"/>
                      <a:pt x="815372" y="355125"/>
                    </a:cubicBezTo>
                    <a:cubicBezTo>
                      <a:pt x="811556" y="365971"/>
                      <a:pt x="806928" y="376570"/>
                      <a:pt x="802052" y="386992"/>
                    </a:cubicBezTo>
                    <a:cubicBezTo>
                      <a:pt x="792408" y="407589"/>
                      <a:pt x="790641" y="428822"/>
                      <a:pt x="797142" y="450408"/>
                    </a:cubicBezTo>
                    <a:cubicBezTo>
                      <a:pt x="815266" y="510856"/>
                      <a:pt x="797566" y="562155"/>
                      <a:pt x="756584" y="606882"/>
                    </a:cubicBezTo>
                    <a:cubicBezTo>
                      <a:pt x="746586" y="617798"/>
                      <a:pt x="733655" y="626454"/>
                      <a:pt x="720972" y="634474"/>
                    </a:cubicBezTo>
                    <a:cubicBezTo>
                      <a:pt x="701788" y="646592"/>
                      <a:pt x="689564" y="662207"/>
                      <a:pt x="682392" y="684430"/>
                    </a:cubicBezTo>
                    <a:cubicBezTo>
                      <a:pt x="664480" y="739932"/>
                      <a:pt x="628338" y="777416"/>
                      <a:pt x="568526" y="786743"/>
                    </a:cubicBezTo>
                    <a:cubicBezTo>
                      <a:pt x="540686" y="791089"/>
                      <a:pt x="512564" y="788686"/>
                      <a:pt x="485431" y="781868"/>
                    </a:cubicBezTo>
                    <a:cubicBezTo>
                      <a:pt x="452963" y="773707"/>
                      <a:pt x="422262" y="776533"/>
                      <a:pt x="390536" y="786496"/>
                    </a:cubicBezTo>
                    <a:cubicBezTo>
                      <a:pt x="332455" y="804691"/>
                      <a:pt x="276952" y="799638"/>
                      <a:pt x="226714" y="761730"/>
                    </a:cubicBezTo>
                    <a:cubicBezTo>
                      <a:pt x="196755" y="739119"/>
                      <a:pt x="164923" y="720748"/>
                      <a:pt x="126273" y="716650"/>
                    </a:cubicBezTo>
                    <a:cubicBezTo>
                      <a:pt x="104157" y="714318"/>
                      <a:pt x="87375" y="699833"/>
                      <a:pt x="71265" y="686090"/>
                    </a:cubicBezTo>
                    <a:cubicBezTo>
                      <a:pt x="43461" y="662384"/>
                      <a:pt x="16928" y="637053"/>
                      <a:pt x="6082" y="600558"/>
                    </a:cubicBezTo>
                    <a:cubicBezTo>
                      <a:pt x="-383" y="578830"/>
                      <a:pt x="-948" y="556361"/>
                      <a:pt x="960" y="533573"/>
                    </a:cubicBezTo>
                    <a:cubicBezTo>
                      <a:pt x="3963" y="497502"/>
                      <a:pt x="5658" y="461501"/>
                      <a:pt x="3362" y="424971"/>
                    </a:cubicBezTo>
                    <a:cubicBezTo>
                      <a:pt x="748" y="383635"/>
                      <a:pt x="-2715" y="341311"/>
                      <a:pt x="7036" y="300505"/>
                    </a:cubicBezTo>
                    <a:cubicBezTo>
                      <a:pt x="20002" y="246346"/>
                      <a:pt x="51304" y="203703"/>
                      <a:pt x="97091" y="171765"/>
                    </a:cubicBezTo>
                    <a:cubicBezTo>
                      <a:pt x="107583" y="164452"/>
                      <a:pt x="117688" y="156574"/>
                      <a:pt x="127933" y="148978"/>
                    </a:cubicBezTo>
                    <a:cubicBezTo>
                      <a:pt x="143902" y="148413"/>
                      <a:pt x="154748" y="141594"/>
                      <a:pt x="157469" y="124848"/>
                    </a:cubicBezTo>
                    <a:close/>
                    <a:moveTo>
                      <a:pt x="221450" y="191585"/>
                    </a:moveTo>
                    <a:cubicBezTo>
                      <a:pt x="222722" y="187452"/>
                      <a:pt x="224206" y="183389"/>
                      <a:pt x="225230" y="179220"/>
                    </a:cubicBezTo>
                    <a:cubicBezTo>
                      <a:pt x="230282" y="158941"/>
                      <a:pt x="218412" y="146964"/>
                      <a:pt x="198238" y="152122"/>
                    </a:cubicBezTo>
                    <a:cubicBezTo>
                      <a:pt x="186969" y="155019"/>
                      <a:pt x="176971" y="160955"/>
                      <a:pt x="166796" y="166325"/>
                    </a:cubicBezTo>
                    <a:cubicBezTo>
                      <a:pt x="123552" y="189183"/>
                      <a:pt x="95395" y="222110"/>
                      <a:pt x="95572" y="273867"/>
                    </a:cubicBezTo>
                    <a:cubicBezTo>
                      <a:pt x="95572" y="283229"/>
                      <a:pt x="89884" y="290083"/>
                      <a:pt x="84372" y="297255"/>
                    </a:cubicBezTo>
                    <a:cubicBezTo>
                      <a:pt x="73915" y="310857"/>
                      <a:pt x="59394" y="321244"/>
                      <a:pt x="52823" y="337919"/>
                    </a:cubicBezTo>
                    <a:cubicBezTo>
                      <a:pt x="50668" y="343431"/>
                      <a:pt x="48725" y="348977"/>
                      <a:pt x="56427" y="350390"/>
                    </a:cubicBezTo>
                    <a:cubicBezTo>
                      <a:pt x="65648" y="352086"/>
                      <a:pt x="66990" y="359293"/>
                      <a:pt x="68509" y="365865"/>
                    </a:cubicBezTo>
                    <a:cubicBezTo>
                      <a:pt x="74515" y="391549"/>
                      <a:pt x="94971" y="404798"/>
                      <a:pt x="119737" y="395859"/>
                    </a:cubicBezTo>
                    <a:cubicBezTo>
                      <a:pt x="133763" y="390807"/>
                      <a:pt x="147576" y="385826"/>
                      <a:pt x="162132" y="382717"/>
                    </a:cubicBezTo>
                    <a:cubicBezTo>
                      <a:pt x="173508" y="380279"/>
                      <a:pt x="181387" y="370917"/>
                      <a:pt x="192303" y="366642"/>
                    </a:cubicBezTo>
                    <a:cubicBezTo>
                      <a:pt x="214137" y="358092"/>
                      <a:pt x="233603" y="346186"/>
                      <a:pt x="246534" y="324635"/>
                    </a:cubicBezTo>
                    <a:cubicBezTo>
                      <a:pt x="264305" y="294994"/>
                      <a:pt x="275610" y="262986"/>
                      <a:pt x="284230" y="230059"/>
                    </a:cubicBezTo>
                    <a:cubicBezTo>
                      <a:pt x="297974" y="177630"/>
                      <a:pt x="312741" y="125943"/>
                      <a:pt x="349908" y="84113"/>
                    </a:cubicBezTo>
                    <a:cubicBezTo>
                      <a:pt x="352169" y="81605"/>
                      <a:pt x="354854" y="77825"/>
                      <a:pt x="353370" y="74468"/>
                    </a:cubicBezTo>
                    <a:cubicBezTo>
                      <a:pt x="350084" y="67014"/>
                      <a:pt x="355242" y="65530"/>
                      <a:pt x="359906" y="62845"/>
                    </a:cubicBezTo>
                    <a:cubicBezTo>
                      <a:pt x="372872" y="55320"/>
                      <a:pt x="382905" y="45216"/>
                      <a:pt x="388805" y="31013"/>
                    </a:cubicBezTo>
                    <a:cubicBezTo>
                      <a:pt x="392197" y="22887"/>
                      <a:pt x="389865" y="21015"/>
                      <a:pt x="381881" y="20732"/>
                    </a:cubicBezTo>
                    <a:cubicBezTo>
                      <a:pt x="368032" y="20238"/>
                      <a:pt x="354536" y="22463"/>
                      <a:pt x="341111" y="24866"/>
                    </a:cubicBezTo>
                    <a:cubicBezTo>
                      <a:pt x="300164" y="32179"/>
                      <a:pt x="266036" y="55178"/>
                      <a:pt x="230176" y="74150"/>
                    </a:cubicBezTo>
                    <a:cubicBezTo>
                      <a:pt x="221768" y="78602"/>
                      <a:pt x="215762" y="85844"/>
                      <a:pt x="209261" y="92451"/>
                    </a:cubicBezTo>
                    <a:cubicBezTo>
                      <a:pt x="201984" y="99799"/>
                      <a:pt x="204174" y="105805"/>
                      <a:pt x="212052" y="110857"/>
                    </a:cubicBezTo>
                    <a:cubicBezTo>
                      <a:pt x="216327" y="113613"/>
                      <a:pt x="221168" y="113578"/>
                      <a:pt x="226078" y="114108"/>
                    </a:cubicBezTo>
                    <a:cubicBezTo>
                      <a:pt x="242612" y="115874"/>
                      <a:pt x="257874" y="111493"/>
                      <a:pt x="272678" y="102520"/>
                    </a:cubicBezTo>
                    <a:cubicBezTo>
                      <a:pt x="273278" y="109515"/>
                      <a:pt x="269604" y="110116"/>
                      <a:pt x="267484" y="112129"/>
                    </a:cubicBezTo>
                    <a:cubicBezTo>
                      <a:pt x="253353" y="125519"/>
                      <a:pt x="239857" y="140711"/>
                      <a:pt x="242754" y="161096"/>
                    </a:cubicBezTo>
                    <a:cubicBezTo>
                      <a:pt x="245333" y="179255"/>
                      <a:pt x="233851" y="184873"/>
                      <a:pt x="221415" y="191656"/>
                    </a:cubicBezTo>
                    <a:close/>
                    <a:moveTo>
                      <a:pt x="105358" y="191726"/>
                    </a:moveTo>
                    <a:cubicBezTo>
                      <a:pt x="86351" y="205187"/>
                      <a:pt x="71336" y="220131"/>
                      <a:pt x="59041" y="237513"/>
                    </a:cubicBezTo>
                    <a:cubicBezTo>
                      <a:pt x="33993" y="272949"/>
                      <a:pt x="21345" y="312270"/>
                      <a:pt x="23888" y="356008"/>
                    </a:cubicBezTo>
                    <a:cubicBezTo>
                      <a:pt x="24100" y="359576"/>
                      <a:pt x="23747" y="363498"/>
                      <a:pt x="28834" y="363816"/>
                    </a:cubicBezTo>
                    <a:cubicBezTo>
                      <a:pt x="32933" y="364098"/>
                      <a:pt x="36183" y="362155"/>
                      <a:pt x="36466" y="358092"/>
                    </a:cubicBezTo>
                    <a:cubicBezTo>
                      <a:pt x="38267" y="333291"/>
                      <a:pt x="53035" y="313577"/>
                      <a:pt x="62892" y="292097"/>
                    </a:cubicBezTo>
                    <a:cubicBezTo>
                      <a:pt x="74657" y="266519"/>
                      <a:pt x="81016" y="238326"/>
                      <a:pt x="99988" y="216068"/>
                    </a:cubicBezTo>
                    <a:cubicBezTo>
                      <a:pt x="104863" y="210310"/>
                      <a:pt x="107442" y="202043"/>
                      <a:pt x="105358" y="191691"/>
                    </a:cubicBezTo>
                    <a:close/>
                    <a:moveTo>
                      <a:pt x="295182" y="327038"/>
                    </a:moveTo>
                    <a:cubicBezTo>
                      <a:pt x="319241" y="327144"/>
                      <a:pt x="346233" y="305840"/>
                      <a:pt x="354394" y="281922"/>
                    </a:cubicBezTo>
                    <a:cubicBezTo>
                      <a:pt x="357857" y="271818"/>
                      <a:pt x="356337" y="262703"/>
                      <a:pt x="351956" y="253765"/>
                    </a:cubicBezTo>
                    <a:cubicBezTo>
                      <a:pt x="345491" y="240587"/>
                      <a:pt x="333833" y="238502"/>
                      <a:pt x="322492" y="247617"/>
                    </a:cubicBezTo>
                    <a:cubicBezTo>
                      <a:pt x="314684" y="253906"/>
                      <a:pt x="311716" y="262844"/>
                      <a:pt x="309137" y="271535"/>
                    </a:cubicBezTo>
                    <a:cubicBezTo>
                      <a:pt x="305604" y="283406"/>
                      <a:pt x="299245" y="291850"/>
                      <a:pt x="288187" y="297290"/>
                    </a:cubicBezTo>
                    <a:cubicBezTo>
                      <a:pt x="280697" y="300965"/>
                      <a:pt x="274126" y="306511"/>
                      <a:pt x="277165" y="315980"/>
                    </a:cubicBezTo>
                    <a:cubicBezTo>
                      <a:pt x="279885" y="324529"/>
                      <a:pt x="286774" y="328345"/>
                      <a:pt x="295147" y="327038"/>
                    </a:cubicBezTo>
                    <a:close/>
                    <a:moveTo>
                      <a:pt x="431624" y="76729"/>
                    </a:moveTo>
                    <a:cubicBezTo>
                      <a:pt x="430635" y="77012"/>
                      <a:pt x="427738" y="77153"/>
                      <a:pt x="425760" y="78602"/>
                    </a:cubicBezTo>
                    <a:cubicBezTo>
                      <a:pt x="410144" y="89907"/>
                      <a:pt x="392126" y="95595"/>
                      <a:pt x="374073" y="101389"/>
                    </a:cubicBezTo>
                    <a:cubicBezTo>
                      <a:pt x="368243" y="103262"/>
                      <a:pt x="362732" y="106123"/>
                      <a:pt x="358174" y="110610"/>
                    </a:cubicBezTo>
                    <a:cubicBezTo>
                      <a:pt x="349943" y="118736"/>
                      <a:pt x="348565" y="132444"/>
                      <a:pt x="355596" y="140287"/>
                    </a:cubicBezTo>
                    <a:cubicBezTo>
                      <a:pt x="363015" y="148554"/>
                      <a:pt x="372872" y="147671"/>
                      <a:pt x="382729" y="137143"/>
                    </a:cubicBezTo>
                    <a:cubicBezTo>
                      <a:pt x="389830" y="129511"/>
                      <a:pt x="396860" y="124565"/>
                      <a:pt x="408448" y="123753"/>
                    </a:cubicBezTo>
                    <a:cubicBezTo>
                      <a:pt x="430812" y="122234"/>
                      <a:pt x="443283" y="110822"/>
                      <a:pt x="446462" y="93405"/>
                    </a:cubicBezTo>
                    <a:cubicBezTo>
                      <a:pt x="448300" y="83336"/>
                      <a:pt x="442894" y="76517"/>
                      <a:pt x="431624" y="76694"/>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0" name="Freeform: Shape 1039">
                <a:extLst>
                  <a:ext uri="{FF2B5EF4-FFF2-40B4-BE49-F238E27FC236}">
                    <a16:creationId xmlns:a16="http://schemas.microsoft.com/office/drawing/2014/main" id="{9F025997-FC58-CB3F-CB17-507F2A2247CC}"/>
                  </a:ext>
                </a:extLst>
              </p:cNvPr>
              <p:cNvSpPr/>
              <p:nvPr/>
            </p:nvSpPr>
            <p:spPr>
              <a:xfrm>
                <a:off x="8495973" y="3534517"/>
                <a:ext cx="163666" cy="150089"/>
              </a:xfrm>
              <a:custGeom>
                <a:avLst/>
                <a:gdLst>
                  <a:gd name="connsiteX0" fmla="*/ 163455 w 163666"/>
                  <a:gd name="connsiteY0" fmla="*/ 30520 h 150089"/>
                  <a:gd name="connsiteX1" fmla="*/ 137983 w 163666"/>
                  <a:gd name="connsiteY1" fmla="*/ 79028 h 150089"/>
                  <a:gd name="connsiteX2" fmla="*/ 120353 w 163666"/>
                  <a:gd name="connsiteY2" fmla="*/ 104818 h 150089"/>
                  <a:gd name="connsiteX3" fmla="*/ 64392 w 163666"/>
                  <a:gd name="connsiteY3" fmla="*/ 144740 h 150089"/>
                  <a:gd name="connsiteX4" fmla="*/ 15814 w 163666"/>
                  <a:gd name="connsiteY4" fmla="*/ 149828 h 150089"/>
                  <a:gd name="connsiteX5" fmla="*/ 198 w 163666"/>
                  <a:gd name="connsiteY5" fmla="*/ 143256 h 150089"/>
                  <a:gd name="connsiteX6" fmla="*/ 12387 w 163666"/>
                  <a:gd name="connsiteY6" fmla="*/ 131527 h 150089"/>
                  <a:gd name="connsiteX7" fmla="*/ 46268 w 163666"/>
                  <a:gd name="connsiteY7" fmla="*/ 120010 h 150089"/>
                  <a:gd name="connsiteX8" fmla="*/ 74460 w 163666"/>
                  <a:gd name="connsiteY8" fmla="*/ 94043 h 150089"/>
                  <a:gd name="connsiteX9" fmla="*/ 104561 w 163666"/>
                  <a:gd name="connsiteY9" fmla="*/ 62069 h 150089"/>
                  <a:gd name="connsiteX10" fmla="*/ 139678 w 163666"/>
                  <a:gd name="connsiteY10" fmla="*/ 19886 h 150089"/>
                  <a:gd name="connsiteX11" fmla="*/ 144236 w 163666"/>
                  <a:gd name="connsiteY11" fmla="*/ 11796 h 150089"/>
                  <a:gd name="connsiteX12" fmla="*/ 155365 w 163666"/>
                  <a:gd name="connsiteY12" fmla="*/ 208 h 150089"/>
                  <a:gd name="connsiteX13" fmla="*/ 163526 w 163666"/>
                  <a:gd name="connsiteY13" fmla="*/ 18155 h 150089"/>
                  <a:gd name="connsiteX14" fmla="*/ 163526 w 163666"/>
                  <a:gd name="connsiteY14" fmla="*/ 30520 h 15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666" h="150089">
                    <a:moveTo>
                      <a:pt x="163455" y="30520"/>
                    </a:moveTo>
                    <a:cubicBezTo>
                      <a:pt x="165151" y="50693"/>
                      <a:pt x="156672" y="67263"/>
                      <a:pt x="137983" y="79028"/>
                    </a:cubicBezTo>
                    <a:cubicBezTo>
                      <a:pt x="128620" y="84928"/>
                      <a:pt x="123921" y="94467"/>
                      <a:pt x="120353" y="104818"/>
                    </a:cubicBezTo>
                    <a:cubicBezTo>
                      <a:pt x="111097" y="131845"/>
                      <a:pt x="93432" y="143610"/>
                      <a:pt x="64392" y="144740"/>
                    </a:cubicBezTo>
                    <a:cubicBezTo>
                      <a:pt x="48140" y="145376"/>
                      <a:pt x="32030" y="148202"/>
                      <a:pt x="15814" y="149828"/>
                    </a:cubicBezTo>
                    <a:cubicBezTo>
                      <a:pt x="9490" y="150464"/>
                      <a:pt x="1682" y="150499"/>
                      <a:pt x="198" y="143256"/>
                    </a:cubicBezTo>
                    <a:cubicBezTo>
                      <a:pt x="-1392" y="135590"/>
                      <a:pt x="6946" y="133682"/>
                      <a:pt x="12387" y="131527"/>
                    </a:cubicBezTo>
                    <a:cubicBezTo>
                      <a:pt x="23480" y="127146"/>
                      <a:pt x="34715" y="122942"/>
                      <a:pt x="46268" y="120010"/>
                    </a:cubicBezTo>
                    <a:cubicBezTo>
                      <a:pt x="60682" y="116335"/>
                      <a:pt x="68878" y="106408"/>
                      <a:pt x="74460" y="94043"/>
                    </a:cubicBezTo>
                    <a:cubicBezTo>
                      <a:pt x="80926" y="79770"/>
                      <a:pt x="90217" y="69453"/>
                      <a:pt x="104561" y="62069"/>
                    </a:cubicBezTo>
                    <a:cubicBezTo>
                      <a:pt x="121625" y="53272"/>
                      <a:pt x="130704" y="36279"/>
                      <a:pt x="139678" y="19886"/>
                    </a:cubicBezTo>
                    <a:cubicBezTo>
                      <a:pt x="141162" y="17166"/>
                      <a:pt x="142222" y="14092"/>
                      <a:pt x="144236" y="11796"/>
                    </a:cubicBezTo>
                    <a:cubicBezTo>
                      <a:pt x="147875" y="7627"/>
                      <a:pt x="149606" y="-1488"/>
                      <a:pt x="155365" y="208"/>
                    </a:cubicBezTo>
                    <a:cubicBezTo>
                      <a:pt x="162360" y="2257"/>
                      <a:pt x="163490" y="10842"/>
                      <a:pt x="163526" y="18155"/>
                    </a:cubicBezTo>
                    <a:cubicBezTo>
                      <a:pt x="163526" y="21688"/>
                      <a:pt x="163526" y="25256"/>
                      <a:pt x="163526" y="30520"/>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1" name="Freeform: Shape 1040">
                <a:extLst>
                  <a:ext uri="{FF2B5EF4-FFF2-40B4-BE49-F238E27FC236}">
                    <a16:creationId xmlns:a16="http://schemas.microsoft.com/office/drawing/2014/main" id="{28DDC246-55CD-4ABE-8958-F22877094B42}"/>
                  </a:ext>
                </a:extLst>
              </p:cNvPr>
              <p:cNvSpPr/>
              <p:nvPr/>
            </p:nvSpPr>
            <p:spPr>
              <a:xfrm>
                <a:off x="8197125" y="2618977"/>
                <a:ext cx="259018" cy="180014"/>
              </a:xfrm>
              <a:custGeom>
                <a:avLst/>
                <a:gdLst>
                  <a:gd name="connsiteX0" fmla="*/ 259018 w 259018"/>
                  <a:gd name="connsiteY0" fmla="*/ 60071 h 180014"/>
                  <a:gd name="connsiteX1" fmla="*/ 198216 w 259018"/>
                  <a:gd name="connsiteY1" fmla="*/ 70635 h 180014"/>
                  <a:gd name="connsiteX2" fmla="*/ 242342 w 259018"/>
                  <a:gd name="connsiteY2" fmla="*/ 80491 h 180014"/>
                  <a:gd name="connsiteX3" fmla="*/ 258488 w 259018"/>
                  <a:gd name="connsiteY3" fmla="*/ 86003 h 180014"/>
                  <a:gd name="connsiteX4" fmla="*/ 242766 w 259018"/>
                  <a:gd name="connsiteY4" fmla="*/ 90631 h 180014"/>
                  <a:gd name="connsiteX5" fmla="*/ 194577 w 259018"/>
                  <a:gd name="connsiteY5" fmla="*/ 83565 h 180014"/>
                  <a:gd name="connsiteX6" fmla="*/ 173768 w 259018"/>
                  <a:gd name="connsiteY6" fmla="*/ 59647 h 180014"/>
                  <a:gd name="connsiteX7" fmla="*/ 129818 w 259018"/>
                  <a:gd name="connsiteY7" fmla="*/ 17888 h 180014"/>
                  <a:gd name="connsiteX8" fmla="*/ 50327 w 259018"/>
                  <a:gd name="connsiteY8" fmla="*/ 48624 h 180014"/>
                  <a:gd name="connsiteX9" fmla="*/ 41778 w 259018"/>
                  <a:gd name="connsiteY9" fmla="*/ 77488 h 180014"/>
                  <a:gd name="connsiteX10" fmla="*/ 41354 w 259018"/>
                  <a:gd name="connsiteY10" fmla="*/ 112076 h 180014"/>
                  <a:gd name="connsiteX11" fmla="*/ 125 w 259018"/>
                  <a:gd name="connsiteY11" fmla="*/ 180014 h 180014"/>
                  <a:gd name="connsiteX12" fmla="*/ 11183 w 259018"/>
                  <a:gd name="connsiteY12" fmla="*/ 158216 h 180014"/>
                  <a:gd name="connsiteX13" fmla="*/ 28423 w 259018"/>
                  <a:gd name="connsiteY13" fmla="*/ 100876 h 180014"/>
                  <a:gd name="connsiteX14" fmla="*/ 79792 w 259018"/>
                  <a:gd name="connsiteY14" fmla="*/ 8490 h 180014"/>
                  <a:gd name="connsiteX15" fmla="*/ 184650 w 259018"/>
                  <a:gd name="connsiteY15" fmla="*/ 22693 h 180014"/>
                  <a:gd name="connsiteX16" fmla="*/ 233440 w 259018"/>
                  <a:gd name="connsiteY16" fmla="*/ 48306 h 180014"/>
                  <a:gd name="connsiteX17" fmla="*/ 259018 w 259018"/>
                  <a:gd name="connsiteY17" fmla="*/ 60142 h 1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018" h="180014">
                    <a:moveTo>
                      <a:pt x="259018" y="60071"/>
                    </a:moveTo>
                    <a:cubicBezTo>
                      <a:pt x="239375" y="70564"/>
                      <a:pt x="218636" y="69257"/>
                      <a:pt x="198216" y="70635"/>
                    </a:cubicBezTo>
                    <a:cubicBezTo>
                      <a:pt x="211853" y="79856"/>
                      <a:pt x="227045" y="80032"/>
                      <a:pt x="242342" y="80491"/>
                    </a:cubicBezTo>
                    <a:cubicBezTo>
                      <a:pt x="248136" y="80668"/>
                      <a:pt x="258559" y="76711"/>
                      <a:pt x="258488" y="86003"/>
                    </a:cubicBezTo>
                    <a:cubicBezTo>
                      <a:pt x="258453" y="93599"/>
                      <a:pt x="248384" y="90702"/>
                      <a:pt x="242766" y="90631"/>
                    </a:cubicBezTo>
                    <a:cubicBezTo>
                      <a:pt x="226444" y="90454"/>
                      <a:pt x="210087" y="89783"/>
                      <a:pt x="194577" y="83565"/>
                    </a:cubicBezTo>
                    <a:cubicBezTo>
                      <a:pt x="183484" y="79114"/>
                      <a:pt x="175711" y="71588"/>
                      <a:pt x="173768" y="59647"/>
                    </a:cubicBezTo>
                    <a:cubicBezTo>
                      <a:pt x="169599" y="34457"/>
                      <a:pt x="152288" y="23258"/>
                      <a:pt x="129818" y="17888"/>
                    </a:cubicBezTo>
                    <a:cubicBezTo>
                      <a:pt x="100778" y="10928"/>
                      <a:pt x="65943" y="24812"/>
                      <a:pt x="50327" y="48624"/>
                    </a:cubicBezTo>
                    <a:cubicBezTo>
                      <a:pt x="44498" y="57457"/>
                      <a:pt x="42096" y="67172"/>
                      <a:pt x="41778" y="77488"/>
                    </a:cubicBezTo>
                    <a:cubicBezTo>
                      <a:pt x="41424" y="89006"/>
                      <a:pt x="42237" y="100594"/>
                      <a:pt x="41354" y="112076"/>
                    </a:cubicBezTo>
                    <a:cubicBezTo>
                      <a:pt x="39163" y="140763"/>
                      <a:pt x="23689" y="161537"/>
                      <a:pt x="125" y="180014"/>
                    </a:cubicBezTo>
                    <a:cubicBezTo>
                      <a:pt x="-1077" y="168285"/>
                      <a:pt x="6696" y="163798"/>
                      <a:pt x="11183" y="158216"/>
                    </a:cubicBezTo>
                    <a:cubicBezTo>
                      <a:pt x="24784" y="141258"/>
                      <a:pt x="31779" y="123664"/>
                      <a:pt x="28423" y="100876"/>
                    </a:cubicBezTo>
                    <a:cubicBezTo>
                      <a:pt x="21817" y="56185"/>
                      <a:pt x="38598" y="23647"/>
                      <a:pt x="79792" y="8490"/>
                    </a:cubicBezTo>
                    <a:cubicBezTo>
                      <a:pt x="115687" y="-4688"/>
                      <a:pt x="152924" y="-4370"/>
                      <a:pt x="184650" y="22693"/>
                    </a:cubicBezTo>
                    <a:cubicBezTo>
                      <a:pt x="199099" y="35023"/>
                      <a:pt x="215210" y="43396"/>
                      <a:pt x="233440" y="48306"/>
                    </a:cubicBezTo>
                    <a:cubicBezTo>
                      <a:pt x="242237" y="50673"/>
                      <a:pt x="251245" y="53076"/>
                      <a:pt x="259018" y="60142"/>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2" name="Freeform: Shape 1041">
                <a:extLst>
                  <a:ext uri="{FF2B5EF4-FFF2-40B4-BE49-F238E27FC236}">
                    <a16:creationId xmlns:a16="http://schemas.microsoft.com/office/drawing/2014/main" id="{C25F555F-699B-ED83-5F66-87AF68FAF250}"/>
                  </a:ext>
                </a:extLst>
              </p:cNvPr>
              <p:cNvSpPr/>
              <p:nvPr/>
            </p:nvSpPr>
            <p:spPr>
              <a:xfrm>
                <a:off x="8277348" y="3721780"/>
                <a:ext cx="113296" cy="47143"/>
              </a:xfrm>
              <a:custGeom>
                <a:avLst/>
                <a:gdLst>
                  <a:gd name="connsiteX0" fmla="*/ 73302 w 113296"/>
                  <a:gd name="connsiteY0" fmla="*/ 42691 h 47143"/>
                  <a:gd name="connsiteX1" fmla="*/ 23699 w 113296"/>
                  <a:gd name="connsiteY1" fmla="*/ 45199 h 47143"/>
                  <a:gd name="connsiteX2" fmla="*/ 21085 w 113296"/>
                  <a:gd name="connsiteY2" fmla="*/ 44881 h 47143"/>
                  <a:gd name="connsiteX3" fmla="*/ 28 w 113296"/>
                  <a:gd name="connsiteY3" fmla="*/ 27711 h 47143"/>
                  <a:gd name="connsiteX4" fmla="*/ 23487 w 113296"/>
                  <a:gd name="connsiteY4" fmla="*/ 16194 h 47143"/>
                  <a:gd name="connsiteX5" fmla="*/ 81462 w 113296"/>
                  <a:gd name="connsiteY5" fmla="*/ 3934 h 47143"/>
                  <a:gd name="connsiteX6" fmla="*/ 100787 w 113296"/>
                  <a:gd name="connsiteY6" fmla="*/ 225 h 47143"/>
                  <a:gd name="connsiteX7" fmla="*/ 112376 w 113296"/>
                  <a:gd name="connsiteY7" fmla="*/ 3828 h 47143"/>
                  <a:gd name="connsiteX8" fmla="*/ 109231 w 113296"/>
                  <a:gd name="connsiteY8" fmla="*/ 18596 h 47143"/>
                  <a:gd name="connsiteX9" fmla="*/ 92627 w 113296"/>
                  <a:gd name="connsiteY9" fmla="*/ 31703 h 47143"/>
                  <a:gd name="connsiteX10" fmla="*/ 73195 w 113296"/>
                  <a:gd name="connsiteY10" fmla="*/ 42726 h 47143"/>
                  <a:gd name="connsiteX11" fmla="*/ 73266 w 113296"/>
                  <a:gd name="connsiteY11" fmla="*/ 42655 h 4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296" h="47143">
                    <a:moveTo>
                      <a:pt x="73302" y="42691"/>
                    </a:moveTo>
                    <a:cubicBezTo>
                      <a:pt x="56732" y="42761"/>
                      <a:pt x="40551" y="50710"/>
                      <a:pt x="23699" y="45199"/>
                    </a:cubicBezTo>
                    <a:cubicBezTo>
                      <a:pt x="22886" y="44916"/>
                      <a:pt x="21862" y="45199"/>
                      <a:pt x="21085" y="44881"/>
                    </a:cubicBezTo>
                    <a:cubicBezTo>
                      <a:pt x="12111" y="41278"/>
                      <a:pt x="-678" y="38381"/>
                      <a:pt x="28" y="27711"/>
                    </a:cubicBezTo>
                    <a:cubicBezTo>
                      <a:pt x="841" y="15805"/>
                      <a:pt x="13559" y="16264"/>
                      <a:pt x="23487" y="16194"/>
                    </a:cubicBezTo>
                    <a:cubicBezTo>
                      <a:pt x="43625" y="16052"/>
                      <a:pt x="62985" y="11813"/>
                      <a:pt x="81462" y="3934"/>
                    </a:cubicBezTo>
                    <a:cubicBezTo>
                      <a:pt x="87786" y="1249"/>
                      <a:pt x="94040" y="-340"/>
                      <a:pt x="100787" y="225"/>
                    </a:cubicBezTo>
                    <a:cubicBezTo>
                      <a:pt x="104886" y="578"/>
                      <a:pt x="110468" y="-1860"/>
                      <a:pt x="112376" y="3828"/>
                    </a:cubicBezTo>
                    <a:cubicBezTo>
                      <a:pt x="114107" y="8986"/>
                      <a:pt x="113577" y="14251"/>
                      <a:pt x="109231" y="18596"/>
                    </a:cubicBezTo>
                    <a:cubicBezTo>
                      <a:pt x="104179" y="23613"/>
                      <a:pt x="99127" y="28382"/>
                      <a:pt x="92627" y="31703"/>
                    </a:cubicBezTo>
                    <a:cubicBezTo>
                      <a:pt x="86020" y="35095"/>
                      <a:pt x="78424" y="36861"/>
                      <a:pt x="73195" y="42726"/>
                    </a:cubicBezTo>
                    <a:cubicBezTo>
                      <a:pt x="73195" y="42726"/>
                      <a:pt x="73266" y="42655"/>
                      <a:pt x="73266" y="42655"/>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3" name="Freeform: Shape 1042">
                <a:extLst>
                  <a:ext uri="{FF2B5EF4-FFF2-40B4-BE49-F238E27FC236}">
                    <a16:creationId xmlns:a16="http://schemas.microsoft.com/office/drawing/2014/main" id="{7D8E0EDD-ED36-D417-AC95-38E627E73FA9}"/>
                  </a:ext>
                </a:extLst>
              </p:cNvPr>
              <p:cNvSpPr/>
              <p:nvPr/>
            </p:nvSpPr>
            <p:spPr>
              <a:xfrm>
                <a:off x="7860694" y="2711784"/>
                <a:ext cx="83657" cy="93306"/>
              </a:xfrm>
              <a:custGeom>
                <a:avLst/>
                <a:gdLst>
                  <a:gd name="connsiteX0" fmla="*/ 8 w 83657"/>
                  <a:gd name="connsiteY0" fmla="*/ 65373 h 93306"/>
                  <a:gd name="connsiteX1" fmla="*/ 20040 w 83657"/>
                  <a:gd name="connsiteY1" fmla="*/ 33259 h 93306"/>
                  <a:gd name="connsiteX2" fmla="*/ 58513 w 83657"/>
                  <a:gd name="connsiteY2" fmla="*/ 5313 h 93306"/>
                  <a:gd name="connsiteX3" fmla="*/ 63142 w 83657"/>
                  <a:gd name="connsiteY3" fmla="*/ 2734 h 93306"/>
                  <a:gd name="connsiteX4" fmla="*/ 82820 w 83657"/>
                  <a:gd name="connsiteY4" fmla="*/ 3017 h 93306"/>
                  <a:gd name="connsiteX5" fmla="*/ 73917 w 83657"/>
                  <a:gd name="connsiteY5" fmla="*/ 15630 h 93306"/>
                  <a:gd name="connsiteX6" fmla="*/ 23325 w 83657"/>
                  <a:gd name="connsiteY6" fmla="*/ 84451 h 93306"/>
                  <a:gd name="connsiteX7" fmla="*/ 8134 w 83657"/>
                  <a:gd name="connsiteY7" fmla="*/ 84698 h 93306"/>
                  <a:gd name="connsiteX8" fmla="*/ 8 w 83657"/>
                  <a:gd name="connsiteY8" fmla="*/ 65373 h 93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657" h="93306">
                    <a:moveTo>
                      <a:pt x="8" y="65373"/>
                    </a:moveTo>
                    <a:cubicBezTo>
                      <a:pt x="-345" y="48239"/>
                      <a:pt x="10925" y="40996"/>
                      <a:pt x="20040" y="33259"/>
                    </a:cubicBezTo>
                    <a:cubicBezTo>
                      <a:pt x="32087" y="23013"/>
                      <a:pt x="45583" y="14499"/>
                      <a:pt x="58513" y="5313"/>
                    </a:cubicBezTo>
                    <a:cubicBezTo>
                      <a:pt x="59927" y="4289"/>
                      <a:pt x="61516" y="3370"/>
                      <a:pt x="63142" y="2734"/>
                    </a:cubicBezTo>
                    <a:cubicBezTo>
                      <a:pt x="69854" y="155"/>
                      <a:pt x="78899" y="-1964"/>
                      <a:pt x="82820" y="3017"/>
                    </a:cubicBezTo>
                    <a:cubicBezTo>
                      <a:pt x="86353" y="7468"/>
                      <a:pt x="77803" y="12061"/>
                      <a:pt x="73917" y="15630"/>
                    </a:cubicBezTo>
                    <a:cubicBezTo>
                      <a:pt x="52472" y="35273"/>
                      <a:pt x="37281" y="59403"/>
                      <a:pt x="23325" y="84451"/>
                    </a:cubicBezTo>
                    <a:cubicBezTo>
                      <a:pt x="16825" y="96145"/>
                      <a:pt x="15659" y="96286"/>
                      <a:pt x="8134" y="84698"/>
                    </a:cubicBezTo>
                    <a:cubicBezTo>
                      <a:pt x="1280" y="74100"/>
                      <a:pt x="-63" y="70531"/>
                      <a:pt x="8" y="65373"/>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4" name="Freeform: Shape 1043">
                <a:extLst>
                  <a:ext uri="{FF2B5EF4-FFF2-40B4-BE49-F238E27FC236}">
                    <a16:creationId xmlns:a16="http://schemas.microsoft.com/office/drawing/2014/main" id="{2FBCAB46-E06B-FC1E-184E-C803AAD79966}"/>
                  </a:ext>
                </a:extLst>
              </p:cNvPr>
              <p:cNvSpPr/>
              <p:nvPr/>
            </p:nvSpPr>
            <p:spPr>
              <a:xfrm>
                <a:off x="7972147" y="2750760"/>
                <a:ext cx="72185" cy="116204"/>
              </a:xfrm>
              <a:custGeom>
                <a:avLst/>
                <a:gdLst>
                  <a:gd name="connsiteX0" fmla="*/ 1150 w 72185"/>
                  <a:gd name="connsiteY0" fmla="*/ 116204 h 116204"/>
                  <a:gd name="connsiteX1" fmla="*/ 41320 w 72185"/>
                  <a:gd name="connsiteY1" fmla="*/ 18624 h 116204"/>
                  <a:gd name="connsiteX2" fmla="*/ 63083 w 72185"/>
                  <a:gd name="connsiteY2" fmla="*/ 3503 h 116204"/>
                  <a:gd name="connsiteX3" fmla="*/ 70961 w 72185"/>
                  <a:gd name="connsiteY3" fmla="*/ 1278 h 116204"/>
                  <a:gd name="connsiteX4" fmla="*/ 67746 w 72185"/>
                  <a:gd name="connsiteY4" fmla="*/ 10004 h 116204"/>
                  <a:gd name="connsiteX5" fmla="*/ 30050 w 72185"/>
                  <a:gd name="connsiteY5" fmla="*/ 51057 h 116204"/>
                  <a:gd name="connsiteX6" fmla="*/ 8110 w 72185"/>
                  <a:gd name="connsiteY6" fmla="*/ 104651 h 116204"/>
                  <a:gd name="connsiteX7" fmla="*/ 1150 w 72185"/>
                  <a:gd name="connsiteY7" fmla="*/ 116204 h 11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85" h="116204">
                    <a:moveTo>
                      <a:pt x="1150" y="116204"/>
                    </a:moveTo>
                    <a:cubicBezTo>
                      <a:pt x="-4750" y="74056"/>
                      <a:pt x="12561" y="43850"/>
                      <a:pt x="41320" y="18624"/>
                    </a:cubicBezTo>
                    <a:cubicBezTo>
                      <a:pt x="47926" y="12830"/>
                      <a:pt x="55699" y="8344"/>
                      <a:pt x="63083" y="3503"/>
                    </a:cubicBezTo>
                    <a:cubicBezTo>
                      <a:pt x="65379" y="1984"/>
                      <a:pt x="68029" y="-2043"/>
                      <a:pt x="70961" y="1278"/>
                    </a:cubicBezTo>
                    <a:cubicBezTo>
                      <a:pt x="74282" y="5058"/>
                      <a:pt x="70042" y="7637"/>
                      <a:pt x="67746" y="10004"/>
                    </a:cubicBezTo>
                    <a:cubicBezTo>
                      <a:pt x="54851" y="23394"/>
                      <a:pt x="40401" y="35265"/>
                      <a:pt x="30050" y="51057"/>
                    </a:cubicBezTo>
                    <a:cubicBezTo>
                      <a:pt x="19239" y="67556"/>
                      <a:pt x="10866" y="84938"/>
                      <a:pt x="8110" y="104651"/>
                    </a:cubicBezTo>
                    <a:cubicBezTo>
                      <a:pt x="7545" y="108573"/>
                      <a:pt x="6873" y="112318"/>
                      <a:pt x="1150" y="116204"/>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5" name="Freeform: Shape 1044">
                <a:extLst>
                  <a:ext uri="{FF2B5EF4-FFF2-40B4-BE49-F238E27FC236}">
                    <a16:creationId xmlns:a16="http://schemas.microsoft.com/office/drawing/2014/main" id="{BC4FA812-8066-4E65-7340-0B3F413F18AD}"/>
                  </a:ext>
                </a:extLst>
              </p:cNvPr>
              <p:cNvSpPr/>
              <p:nvPr/>
            </p:nvSpPr>
            <p:spPr>
              <a:xfrm>
                <a:off x="8312514" y="2699732"/>
                <a:ext cx="54458" cy="29082"/>
              </a:xfrm>
              <a:custGeom>
                <a:avLst/>
                <a:gdLst>
                  <a:gd name="connsiteX0" fmla="*/ 15701 w 54458"/>
                  <a:gd name="connsiteY0" fmla="*/ 29060 h 29082"/>
                  <a:gd name="connsiteX1" fmla="*/ 15 w 54458"/>
                  <a:gd name="connsiteY1" fmla="*/ 23796 h 29082"/>
                  <a:gd name="connsiteX2" fmla="*/ 15454 w 54458"/>
                  <a:gd name="connsiteY2" fmla="*/ 17542 h 29082"/>
                  <a:gd name="connsiteX3" fmla="*/ 45236 w 54458"/>
                  <a:gd name="connsiteY3" fmla="*/ 3729 h 29082"/>
                  <a:gd name="connsiteX4" fmla="*/ 52903 w 54458"/>
                  <a:gd name="connsiteY4" fmla="*/ 1079 h 29082"/>
                  <a:gd name="connsiteX5" fmla="*/ 53009 w 54458"/>
                  <a:gd name="connsiteY5" fmla="*/ 9699 h 29082"/>
                  <a:gd name="connsiteX6" fmla="*/ 15736 w 54458"/>
                  <a:gd name="connsiteY6" fmla="*/ 29060 h 2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58" h="29082">
                    <a:moveTo>
                      <a:pt x="15701" y="29060"/>
                    </a:moveTo>
                    <a:cubicBezTo>
                      <a:pt x="10790" y="27646"/>
                      <a:pt x="721" y="32275"/>
                      <a:pt x="15" y="23796"/>
                    </a:cubicBezTo>
                    <a:cubicBezTo>
                      <a:pt x="-444" y="17966"/>
                      <a:pt x="9695" y="18885"/>
                      <a:pt x="15454" y="17542"/>
                    </a:cubicBezTo>
                    <a:cubicBezTo>
                      <a:pt x="26265" y="14963"/>
                      <a:pt x="36475" y="10865"/>
                      <a:pt x="45236" y="3729"/>
                    </a:cubicBezTo>
                    <a:cubicBezTo>
                      <a:pt x="47427" y="1927"/>
                      <a:pt x="49476" y="-1854"/>
                      <a:pt x="52903" y="1079"/>
                    </a:cubicBezTo>
                    <a:cubicBezTo>
                      <a:pt x="55659" y="3446"/>
                      <a:pt x="54139" y="6767"/>
                      <a:pt x="53009" y="9699"/>
                    </a:cubicBezTo>
                    <a:cubicBezTo>
                      <a:pt x="48593" y="21146"/>
                      <a:pt x="33719" y="29095"/>
                      <a:pt x="15736" y="29060"/>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6" name="Freeform: Shape 1045">
                <a:extLst>
                  <a:ext uri="{FF2B5EF4-FFF2-40B4-BE49-F238E27FC236}">
                    <a16:creationId xmlns:a16="http://schemas.microsoft.com/office/drawing/2014/main" id="{4E666ACA-F4B8-CD1A-72CE-6AA1C90A1EAD}"/>
                  </a:ext>
                </a:extLst>
              </p:cNvPr>
              <p:cNvSpPr/>
              <p:nvPr/>
            </p:nvSpPr>
            <p:spPr>
              <a:xfrm>
                <a:off x="7951647" y="2858875"/>
                <a:ext cx="339427" cy="377968"/>
              </a:xfrm>
              <a:custGeom>
                <a:avLst/>
                <a:gdLst>
                  <a:gd name="connsiteX0" fmla="*/ 170528 w 339427"/>
                  <a:gd name="connsiteY0" fmla="*/ 170993 h 377968"/>
                  <a:gd name="connsiteX1" fmla="*/ 191867 w 339427"/>
                  <a:gd name="connsiteY1" fmla="*/ 140433 h 377968"/>
                  <a:gd name="connsiteX2" fmla="*/ 216597 w 339427"/>
                  <a:gd name="connsiteY2" fmla="*/ 91467 h 377968"/>
                  <a:gd name="connsiteX3" fmla="*/ 221790 w 339427"/>
                  <a:gd name="connsiteY3" fmla="*/ 81857 h 377968"/>
                  <a:gd name="connsiteX4" fmla="*/ 175191 w 339427"/>
                  <a:gd name="connsiteY4" fmla="*/ 93445 h 377968"/>
                  <a:gd name="connsiteX5" fmla="*/ 161165 w 339427"/>
                  <a:gd name="connsiteY5" fmla="*/ 90195 h 377968"/>
                  <a:gd name="connsiteX6" fmla="*/ 158374 w 339427"/>
                  <a:gd name="connsiteY6" fmla="*/ 71788 h 377968"/>
                  <a:gd name="connsiteX7" fmla="*/ 179289 w 339427"/>
                  <a:gd name="connsiteY7" fmla="*/ 53488 h 377968"/>
                  <a:gd name="connsiteX8" fmla="*/ 290223 w 339427"/>
                  <a:gd name="connsiteY8" fmla="*/ 4203 h 377968"/>
                  <a:gd name="connsiteX9" fmla="*/ 330994 w 339427"/>
                  <a:gd name="connsiteY9" fmla="*/ 69 h 377968"/>
                  <a:gd name="connsiteX10" fmla="*/ 337918 w 339427"/>
                  <a:gd name="connsiteY10" fmla="*/ 10350 h 377968"/>
                  <a:gd name="connsiteX11" fmla="*/ 309018 w 339427"/>
                  <a:gd name="connsiteY11" fmla="*/ 42182 h 377968"/>
                  <a:gd name="connsiteX12" fmla="*/ 302483 w 339427"/>
                  <a:gd name="connsiteY12" fmla="*/ 53805 h 377968"/>
                  <a:gd name="connsiteX13" fmla="*/ 299020 w 339427"/>
                  <a:gd name="connsiteY13" fmla="*/ 63450 h 377968"/>
                  <a:gd name="connsiteX14" fmla="*/ 233343 w 339427"/>
                  <a:gd name="connsiteY14" fmla="*/ 209396 h 377968"/>
                  <a:gd name="connsiteX15" fmla="*/ 195647 w 339427"/>
                  <a:gd name="connsiteY15" fmla="*/ 303973 h 377968"/>
                  <a:gd name="connsiteX16" fmla="*/ 141416 w 339427"/>
                  <a:gd name="connsiteY16" fmla="*/ 345979 h 377968"/>
                  <a:gd name="connsiteX17" fmla="*/ 111245 w 339427"/>
                  <a:gd name="connsiteY17" fmla="*/ 362054 h 377968"/>
                  <a:gd name="connsiteX18" fmla="*/ 68850 w 339427"/>
                  <a:gd name="connsiteY18" fmla="*/ 375197 h 377968"/>
                  <a:gd name="connsiteX19" fmla="*/ 17622 w 339427"/>
                  <a:gd name="connsiteY19" fmla="*/ 345202 h 377968"/>
                  <a:gd name="connsiteX20" fmla="*/ 5539 w 339427"/>
                  <a:gd name="connsiteY20" fmla="*/ 329728 h 377968"/>
                  <a:gd name="connsiteX21" fmla="*/ 1936 w 339427"/>
                  <a:gd name="connsiteY21" fmla="*/ 317256 h 377968"/>
                  <a:gd name="connsiteX22" fmla="*/ 33485 w 339427"/>
                  <a:gd name="connsiteY22" fmla="*/ 276592 h 377968"/>
                  <a:gd name="connsiteX23" fmla="*/ 44684 w 339427"/>
                  <a:gd name="connsiteY23" fmla="*/ 253204 h 377968"/>
                  <a:gd name="connsiteX24" fmla="*/ 115908 w 339427"/>
                  <a:gd name="connsiteY24" fmla="*/ 145662 h 377968"/>
                  <a:gd name="connsiteX25" fmla="*/ 147351 w 339427"/>
                  <a:gd name="connsiteY25" fmla="*/ 131459 h 377968"/>
                  <a:gd name="connsiteX26" fmla="*/ 174343 w 339427"/>
                  <a:gd name="connsiteY26" fmla="*/ 158557 h 377968"/>
                  <a:gd name="connsiteX27" fmla="*/ 170563 w 339427"/>
                  <a:gd name="connsiteY27" fmla="*/ 170922 h 377968"/>
                  <a:gd name="connsiteX28" fmla="*/ 99657 w 339427"/>
                  <a:gd name="connsiteY28" fmla="*/ 311568 h 377968"/>
                  <a:gd name="connsiteX29" fmla="*/ 107429 w 339427"/>
                  <a:gd name="connsiteY29" fmla="*/ 306764 h 377968"/>
                  <a:gd name="connsiteX30" fmla="*/ 110962 w 339427"/>
                  <a:gd name="connsiteY30" fmla="*/ 280938 h 377968"/>
                  <a:gd name="connsiteX31" fmla="*/ 107535 w 339427"/>
                  <a:gd name="connsiteY31" fmla="*/ 272070 h 377968"/>
                  <a:gd name="connsiteX32" fmla="*/ 64363 w 339427"/>
                  <a:gd name="connsiteY32" fmla="*/ 272777 h 377968"/>
                  <a:gd name="connsiteX33" fmla="*/ 58957 w 339427"/>
                  <a:gd name="connsiteY33" fmla="*/ 279737 h 377968"/>
                  <a:gd name="connsiteX34" fmla="*/ 64221 w 339427"/>
                  <a:gd name="connsiteY34" fmla="*/ 284789 h 377968"/>
                  <a:gd name="connsiteX35" fmla="*/ 87115 w 339427"/>
                  <a:gd name="connsiteY35" fmla="*/ 305456 h 377968"/>
                  <a:gd name="connsiteX36" fmla="*/ 99621 w 339427"/>
                  <a:gd name="connsiteY36" fmla="*/ 311533 h 377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9427" h="377968">
                    <a:moveTo>
                      <a:pt x="170528" y="170993"/>
                    </a:moveTo>
                    <a:cubicBezTo>
                      <a:pt x="182964" y="164210"/>
                      <a:pt x="194446" y="158592"/>
                      <a:pt x="191867" y="140433"/>
                    </a:cubicBezTo>
                    <a:cubicBezTo>
                      <a:pt x="188969" y="120048"/>
                      <a:pt x="202465" y="104856"/>
                      <a:pt x="216597" y="91467"/>
                    </a:cubicBezTo>
                    <a:cubicBezTo>
                      <a:pt x="218752" y="89453"/>
                      <a:pt x="222426" y="88852"/>
                      <a:pt x="221790" y="81857"/>
                    </a:cubicBezTo>
                    <a:cubicBezTo>
                      <a:pt x="206987" y="90831"/>
                      <a:pt x="191725" y="95211"/>
                      <a:pt x="175191" y="93445"/>
                    </a:cubicBezTo>
                    <a:cubicBezTo>
                      <a:pt x="170315" y="92915"/>
                      <a:pt x="165440" y="92950"/>
                      <a:pt x="161165" y="90195"/>
                    </a:cubicBezTo>
                    <a:cubicBezTo>
                      <a:pt x="153287" y="85143"/>
                      <a:pt x="151132" y="79137"/>
                      <a:pt x="158374" y="71788"/>
                    </a:cubicBezTo>
                    <a:cubicBezTo>
                      <a:pt x="164910" y="65182"/>
                      <a:pt x="170916" y="57939"/>
                      <a:pt x="179289" y="53488"/>
                    </a:cubicBezTo>
                    <a:cubicBezTo>
                      <a:pt x="215148" y="34551"/>
                      <a:pt x="249277" y="11552"/>
                      <a:pt x="290223" y="4203"/>
                    </a:cubicBezTo>
                    <a:cubicBezTo>
                      <a:pt x="303648" y="1801"/>
                      <a:pt x="317180" y="-425"/>
                      <a:pt x="330994" y="69"/>
                    </a:cubicBezTo>
                    <a:cubicBezTo>
                      <a:pt x="338978" y="352"/>
                      <a:pt x="341309" y="2225"/>
                      <a:pt x="337918" y="10350"/>
                    </a:cubicBezTo>
                    <a:cubicBezTo>
                      <a:pt x="331982" y="24553"/>
                      <a:pt x="321949" y="34657"/>
                      <a:pt x="309018" y="42182"/>
                    </a:cubicBezTo>
                    <a:cubicBezTo>
                      <a:pt x="304355" y="44902"/>
                      <a:pt x="299197" y="46386"/>
                      <a:pt x="302483" y="53805"/>
                    </a:cubicBezTo>
                    <a:cubicBezTo>
                      <a:pt x="303967" y="57162"/>
                      <a:pt x="301246" y="60942"/>
                      <a:pt x="299020" y="63450"/>
                    </a:cubicBezTo>
                    <a:cubicBezTo>
                      <a:pt x="261854" y="105280"/>
                      <a:pt x="247086" y="156967"/>
                      <a:pt x="233343" y="209396"/>
                    </a:cubicBezTo>
                    <a:cubicBezTo>
                      <a:pt x="224723" y="242323"/>
                      <a:pt x="213417" y="274331"/>
                      <a:pt x="195647" y="303973"/>
                    </a:cubicBezTo>
                    <a:cubicBezTo>
                      <a:pt x="182751" y="325523"/>
                      <a:pt x="163249" y="337394"/>
                      <a:pt x="141416" y="345979"/>
                    </a:cubicBezTo>
                    <a:cubicBezTo>
                      <a:pt x="130500" y="350254"/>
                      <a:pt x="122621" y="359616"/>
                      <a:pt x="111245" y="362054"/>
                    </a:cubicBezTo>
                    <a:cubicBezTo>
                      <a:pt x="96654" y="365198"/>
                      <a:pt x="82840" y="370180"/>
                      <a:pt x="68850" y="375197"/>
                    </a:cubicBezTo>
                    <a:cubicBezTo>
                      <a:pt x="44084" y="384099"/>
                      <a:pt x="23593" y="370886"/>
                      <a:pt x="17622" y="345202"/>
                    </a:cubicBezTo>
                    <a:cubicBezTo>
                      <a:pt x="16103" y="338631"/>
                      <a:pt x="14760" y="331459"/>
                      <a:pt x="5539" y="329728"/>
                    </a:cubicBezTo>
                    <a:cubicBezTo>
                      <a:pt x="-2162" y="328314"/>
                      <a:pt x="-255" y="322768"/>
                      <a:pt x="1936" y="317256"/>
                    </a:cubicBezTo>
                    <a:cubicBezTo>
                      <a:pt x="8507" y="300581"/>
                      <a:pt x="23028" y="290194"/>
                      <a:pt x="33485" y="276592"/>
                    </a:cubicBezTo>
                    <a:cubicBezTo>
                      <a:pt x="38996" y="269420"/>
                      <a:pt x="44720" y="262567"/>
                      <a:pt x="44684" y="253204"/>
                    </a:cubicBezTo>
                    <a:cubicBezTo>
                      <a:pt x="44508" y="201447"/>
                      <a:pt x="72630" y="168520"/>
                      <a:pt x="115908" y="145662"/>
                    </a:cubicBezTo>
                    <a:cubicBezTo>
                      <a:pt x="126083" y="140292"/>
                      <a:pt x="136081" y="134356"/>
                      <a:pt x="147351" y="131459"/>
                    </a:cubicBezTo>
                    <a:cubicBezTo>
                      <a:pt x="167525" y="126266"/>
                      <a:pt x="179431" y="138243"/>
                      <a:pt x="174343" y="158557"/>
                    </a:cubicBezTo>
                    <a:cubicBezTo>
                      <a:pt x="173283" y="162726"/>
                      <a:pt x="171835" y="166824"/>
                      <a:pt x="170563" y="170922"/>
                    </a:cubicBezTo>
                    <a:close/>
                    <a:moveTo>
                      <a:pt x="99657" y="311568"/>
                    </a:moveTo>
                    <a:cubicBezTo>
                      <a:pt x="102271" y="310756"/>
                      <a:pt x="107571" y="313935"/>
                      <a:pt x="107429" y="306764"/>
                    </a:cubicBezTo>
                    <a:cubicBezTo>
                      <a:pt x="107253" y="298002"/>
                      <a:pt x="108878" y="289452"/>
                      <a:pt x="110962" y="280938"/>
                    </a:cubicBezTo>
                    <a:cubicBezTo>
                      <a:pt x="111739" y="277723"/>
                      <a:pt x="112057" y="273943"/>
                      <a:pt x="107535" y="272070"/>
                    </a:cubicBezTo>
                    <a:cubicBezTo>
                      <a:pt x="92980" y="266099"/>
                      <a:pt x="78565" y="262743"/>
                      <a:pt x="64363" y="272777"/>
                    </a:cubicBezTo>
                    <a:cubicBezTo>
                      <a:pt x="61854" y="274543"/>
                      <a:pt x="58922" y="276239"/>
                      <a:pt x="58957" y="279737"/>
                    </a:cubicBezTo>
                    <a:cubicBezTo>
                      <a:pt x="58993" y="282881"/>
                      <a:pt x="61748" y="283764"/>
                      <a:pt x="64221" y="284789"/>
                    </a:cubicBezTo>
                    <a:cubicBezTo>
                      <a:pt x="74290" y="288958"/>
                      <a:pt x="82628" y="295140"/>
                      <a:pt x="87115" y="305456"/>
                    </a:cubicBezTo>
                    <a:cubicBezTo>
                      <a:pt x="89482" y="310932"/>
                      <a:pt x="93898" y="311851"/>
                      <a:pt x="99621" y="31153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7" name="Freeform: Shape 1046">
                <a:extLst>
                  <a:ext uri="{FF2B5EF4-FFF2-40B4-BE49-F238E27FC236}">
                    <a16:creationId xmlns:a16="http://schemas.microsoft.com/office/drawing/2014/main" id="{24A0BB70-7FEC-7A94-35FB-BB7CB60F493B}"/>
                  </a:ext>
                </a:extLst>
              </p:cNvPr>
              <p:cNvSpPr/>
              <p:nvPr/>
            </p:nvSpPr>
            <p:spPr>
              <a:xfrm>
                <a:off x="7924292" y="3030009"/>
                <a:ext cx="82518" cy="172151"/>
              </a:xfrm>
              <a:custGeom>
                <a:avLst/>
                <a:gdLst>
                  <a:gd name="connsiteX0" fmla="*/ 81791 w 82518"/>
                  <a:gd name="connsiteY0" fmla="*/ 0 h 172151"/>
                  <a:gd name="connsiteX1" fmla="*/ 76421 w 82518"/>
                  <a:gd name="connsiteY1" fmla="*/ 24377 h 172151"/>
                  <a:gd name="connsiteX2" fmla="*/ 39325 w 82518"/>
                  <a:gd name="connsiteY2" fmla="*/ 100406 h 172151"/>
                  <a:gd name="connsiteX3" fmla="*/ 12899 w 82518"/>
                  <a:gd name="connsiteY3" fmla="*/ 166401 h 172151"/>
                  <a:gd name="connsiteX4" fmla="*/ 5267 w 82518"/>
                  <a:gd name="connsiteY4" fmla="*/ 172125 h 172151"/>
                  <a:gd name="connsiteX5" fmla="*/ 321 w 82518"/>
                  <a:gd name="connsiteY5" fmla="*/ 164317 h 172151"/>
                  <a:gd name="connsiteX6" fmla="*/ 35474 w 82518"/>
                  <a:gd name="connsiteY6" fmla="*/ 45822 h 172151"/>
                  <a:gd name="connsiteX7" fmla="*/ 81791 w 82518"/>
                  <a:gd name="connsiteY7" fmla="*/ 35 h 17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518" h="172151">
                    <a:moveTo>
                      <a:pt x="81791" y="0"/>
                    </a:moveTo>
                    <a:cubicBezTo>
                      <a:pt x="83875" y="10316"/>
                      <a:pt x="81296" y="18619"/>
                      <a:pt x="76421" y="24377"/>
                    </a:cubicBezTo>
                    <a:cubicBezTo>
                      <a:pt x="57449" y="46635"/>
                      <a:pt x="51125" y="74828"/>
                      <a:pt x="39325" y="100406"/>
                    </a:cubicBezTo>
                    <a:cubicBezTo>
                      <a:pt x="29433" y="121886"/>
                      <a:pt x="14665" y="141565"/>
                      <a:pt x="12899" y="166401"/>
                    </a:cubicBezTo>
                    <a:cubicBezTo>
                      <a:pt x="12616" y="170464"/>
                      <a:pt x="9366" y="172407"/>
                      <a:pt x="5267" y="172125"/>
                    </a:cubicBezTo>
                    <a:cubicBezTo>
                      <a:pt x="180" y="171771"/>
                      <a:pt x="533" y="167850"/>
                      <a:pt x="321" y="164317"/>
                    </a:cubicBezTo>
                    <a:cubicBezTo>
                      <a:pt x="-2223" y="120579"/>
                      <a:pt x="10425" y="81222"/>
                      <a:pt x="35474" y="45822"/>
                    </a:cubicBezTo>
                    <a:cubicBezTo>
                      <a:pt x="47769" y="28440"/>
                      <a:pt x="62819" y="13496"/>
                      <a:pt x="81791" y="3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8" name="Freeform: Shape 1047">
                <a:extLst>
                  <a:ext uri="{FF2B5EF4-FFF2-40B4-BE49-F238E27FC236}">
                    <a16:creationId xmlns:a16="http://schemas.microsoft.com/office/drawing/2014/main" id="{3ED870D8-DD42-2AEA-870A-3FE52B52AEF3}"/>
                  </a:ext>
                </a:extLst>
              </p:cNvPr>
              <p:cNvSpPr/>
              <p:nvPr/>
            </p:nvSpPr>
            <p:spPr>
              <a:xfrm>
                <a:off x="8177166" y="3080344"/>
                <a:ext cx="79878" cy="85227"/>
              </a:xfrm>
              <a:custGeom>
                <a:avLst/>
                <a:gdLst>
                  <a:gd name="connsiteX0" fmla="*/ 18742 w 79878"/>
                  <a:gd name="connsiteY0" fmla="*/ 84976 h 85227"/>
                  <a:gd name="connsiteX1" fmla="*/ 759 w 79878"/>
                  <a:gd name="connsiteY1" fmla="*/ 73918 h 85227"/>
                  <a:gd name="connsiteX2" fmla="*/ 11782 w 79878"/>
                  <a:gd name="connsiteY2" fmla="*/ 55229 h 85227"/>
                  <a:gd name="connsiteX3" fmla="*/ 32732 w 79878"/>
                  <a:gd name="connsiteY3" fmla="*/ 29474 h 85227"/>
                  <a:gd name="connsiteX4" fmla="*/ 46087 w 79878"/>
                  <a:gd name="connsiteY4" fmla="*/ 5556 h 85227"/>
                  <a:gd name="connsiteX5" fmla="*/ 75551 w 79878"/>
                  <a:gd name="connsiteY5" fmla="*/ 11703 h 85227"/>
                  <a:gd name="connsiteX6" fmla="*/ 77989 w 79878"/>
                  <a:gd name="connsiteY6" fmla="*/ 39861 h 85227"/>
                  <a:gd name="connsiteX7" fmla="*/ 18777 w 79878"/>
                  <a:gd name="connsiteY7" fmla="*/ 84976 h 8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78" h="85227">
                    <a:moveTo>
                      <a:pt x="18742" y="84976"/>
                    </a:moveTo>
                    <a:cubicBezTo>
                      <a:pt x="10333" y="86283"/>
                      <a:pt x="3479" y="82468"/>
                      <a:pt x="759" y="73918"/>
                    </a:cubicBezTo>
                    <a:cubicBezTo>
                      <a:pt x="-2279" y="64450"/>
                      <a:pt x="4292" y="58903"/>
                      <a:pt x="11782" y="55229"/>
                    </a:cubicBezTo>
                    <a:cubicBezTo>
                      <a:pt x="22875" y="49788"/>
                      <a:pt x="29234" y="41345"/>
                      <a:pt x="32732" y="29474"/>
                    </a:cubicBezTo>
                    <a:cubicBezTo>
                      <a:pt x="35311" y="20783"/>
                      <a:pt x="38279" y="11845"/>
                      <a:pt x="46087" y="5556"/>
                    </a:cubicBezTo>
                    <a:cubicBezTo>
                      <a:pt x="57392" y="-3524"/>
                      <a:pt x="69086" y="-1475"/>
                      <a:pt x="75551" y="11703"/>
                    </a:cubicBezTo>
                    <a:cubicBezTo>
                      <a:pt x="79932" y="20642"/>
                      <a:pt x="81416" y="29757"/>
                      <a:pt x="77989" y="39861"/>
                    </a:cubicBezTo>
                    <a:cubicBezTo>
                      <a:pt x="69828" y="63779"/>
                      <a:pt x="42836" y="85082"/>
                      <a:pt x="18777" y="8497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9" name="Freeform: Shape 1048">
                <a:extLst>
                  <a:ext uri="{FF2B5EF4-FFF2-40B4-BE49-F238E27FC236}">
                    <a16:creationId xmlns:a16="http://schemas.microsoft.com/office/drawing/2014/main" id="{4C25BF58-DAAC-2BA3-C987-6BF64C036686}"/>
                  </a:ext>
                </a:extLst>
              </p:cNvPr>
              <p:cNvSpPr/>
              <p:nvPr/>
            </p:nvSpPr>
            <p:spPr>
              <a:xfrm>
                <a:off x="8251791" y="2915008"/>
                <a:ext cx="95748" cy="69166"/>
              </a:xfrm>
              <a:custGeom>
                <a:avLst/>
                <a:gdLst>
                  <a:gd name="connsiteX0" fmla="*/ 80558 w 95748"/>
                  <a:gd name="connsiteY0" fmla="*/ 5 h 69166"/>
                  <a:gd name="connsiteX1" fmla="*/ 95397 w 95748"/>
                  <a:gd name="connsiteY1" fmla="*/ 16716 h 69166"/>
                  <a:gd name="connsiteX2" fmla="*/ 57382 w 95748"/>
                  <a:gd name="connsiteY2" fmla="*/ 47063 h 69166"/>
                  <a:gd name="connsiteX3" fmla="*/ 31663 w 95748"/>
                  <a:gd name="connsiteY3" fmla="*/ 60453 h 69166"/>
                  <a:gd name="connsiteX4" fmla="*/ 4530 w 95748"/>
                  <a:gd name="connsiteY4" fmla="*/ 63598 h 69166"/>
                  <a:gd name="connsiteX5" fmla="*/ 7109 w 95748"/>
                  <a:gd name="connsiteY5" fmla="*/ 33921 h 69166"/>
                  <a:gd name="connsiteX6" fmla="*/ 23007 w 95748"/>
                  <a:gd name="connsiteY6" fmla="*/ 24700 h 69166"/>
                  <a:gd name="connsiteX7" fmla="*/ 74694 w 95748"/>
                  <a:gd name="connsiteY7" fmla="*/ 1913 h 69166"/>
                  <a:gd name="connsiteX8" fmla="*/ 80558 w 95748"/>
                  <a:gd name="connsiteY8" fmla="*/ 40 h 6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748" h="69166">
                    <a:moveTo>
                      <a:pt x="80558" y="5"/>
                    </a:moveTo>
                    <a:cubicBezTo>
                      <a:pt x="91828" y="-207"/>
                      <a:pt x="97234" y="6647"/>
                      <a:pt x="95397" y="16716"/>
                    </a:cubicBezTo>
                    <a:cubicBezTo>
                      <a:pt x="92217" y="34098"/>
                      <a:pt x="79746" y="45509"/>
                      <a:pt x="57382" y="47063"/>
                    </a:cubicBezTo>
                    <a:cubicBezTo>
                      <a:pt x="45794" y="47841"/>
                      <a:pt x="38764" y="52822"/>
                      <a:pt x="31663" y="60453"/>
                    </a:cubicBezTo>
                    <a:cubicBezTo>
                      <a:pt x="21806" y="71017"/>
                      <a:pt x="11949" y="71865"/>
                      <a:pt x="4530" y="63598"/>
                    </a:cubicBezTo>
                    <a:cubicBezTo>
                      <a:pt x="-2501" y="55754"/>
                      <a:pt x="-1123" y="42011"/>
                      <a:pt x="7109" y="33921"/>
                    </a:cubicBezTo>
                    <a:cubicBezTo>
                      <a:pt x="11666" y="29434"/>
                      <a:pt x="17177" y="26537"/>
                      <a:pt x="23007" y="24700"/>
                    </a:cubicBezTo>
                    <a:cubicBezTo>
                      <a:pt x="41060" y="18941"/>
                      <a:pt x="59078" y="13218"/>
                      <a:pt x="74694" y="1913"/>
                    </a:cubicBezTo>
                    <a:cubicBezTo>
                      <a:pt x="76672" y="464"/>
                      <a:pt x="79569" y="323"/>
                      <a:pt x="80558" y="4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0" name="Freeform: Shape 1049">
                <a:extLst>
                  <a:ext uri="{FF2B5EF4-FFF2-40B4-BE49-F238E27FC236}">
                    <a16:creationId xmlns:a16="http://schemas.microsoft.com/office/drawing/2014/main" id="{566B8D2A-42D1-3B71-F516-BF12584283BC}"/>
                  </a:ext>
                </a:extLst>
              </p:cNvPr>
              <p:cNvSpPr/>
              <p:nvPr/>
            </p:nvSpPr>
            <p:spPr>
              <a:xfrm>
                <a:off x="8010640" y="3125292"/>
                <a:ext cx="52467" cy="45216"/>
              </a:xfrm>
              <a:custGeom>
                <a:avLst/>
                <a:gdLst>
                  <a:gd name="connsiteX0" fmla="*/ 40664 w 52467"/>
                  <a:gd name="connsiteY0" fmla="*/ 45152 h 45216"/>
                  <a:gd name="connsiteX1" fmla="*/ 28158 w 52467"/>
                  <a:gd name="connsiteY1" fmla="*/ 39075 h 45216"/>
                  <a:gd name="connsiteX2" fmla="*/ 5264 w 52467"/>
                  <a:gd name="connsiteY2" fmla="*/ 18407 h 45216"/>
                  <a:gd name="connsiteX3" fmla="*/ 0 w 52467"/>
                  <a:gd name="connsiteY3" fmla="*/ 13355 h 45216"/>
                  <a:gd name="connsiteX4" fmla="*/ 5406 w 52467"/>
                  <a:gd name="connsiteY4" fmla="*/ 6395 h 45216"/>
                  <a:gd name="connsiteX5" fmla="*/ 48578 w 52467"/>
                  <a:gd name="connsiteY5" fmla="*/ 5689 h 45216"/>
                  <a:gd name="connsiteX6" fmla="*/ 52005 w 52467"/>
                  <a:gd name="connsiteY6" fmla="*/ 14556 h 45216"/>
                  <a:gd name="connsiteX7" fmla="*/ 48472 w 52467"/>
                  <a:gd name="connsiteY7" fmla="*/ 40382 h 45216"/>
                  <a:gd name="connsiteX8" fmla="*/ 40700 w 52467"/>
                  <a:gd name="connsiteY8" fmla="*/ 45187 h 4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67" h="45216">
                    <a:moveTo>
                      <a:pt x="40664" y="45152"/>
                    </a:moveTo>
                    <a:cubicBezTo>
                      <a:pt x="34941" y="45505"/>
                      <a:pt x="30525" y="44551"/>
                      <a:pt x="28158" y="39075"/>
                    </a:cubicBezTo>
                    <a:cubicBezTo>
                      <a:pt x="23706" y="28759"/>
                      <a:pt x="15333" y="22576"/>
                      <a:pt x="5264" y="18407"/>
                    </a:cubicBezTo>
                    <a:cubicBezTo>
                      <a:pt x="2756" y="17383"/>
                      <a:pt x="36" y="16499"/>
                      <a:pt x="0" y="13355"/>
                    </a:cubicBezTo>
                    <a:cubicBezTo>
                      <a:pt x="-35" y="9858"/>
                      <a:pt x="2897" y="8162"/>
                      <a:pt x="5406" y="6395"/>
                    </a:cubicBezTo>
                    <a:cubicBezTo>
                      <a:pt x="19643" y="-3638"/>
                      <a:pt x="34058" y="-282"/>
                      <a:pt x="48578" y="5689"/>
                    </a:cubicBezTo>
                    <a:cubicBezTo>
                      <a:pt x="53100" y="7526"/>
                      <a:pt x="52782" y="11341"/>
                      <a:pt x="52005" y="14556"/>
                    </a:cubicBezTo>
                    <a:cubicBezTo>
                      <a:pt x="49921" y="23071"/>
                      <a:pt x="48295" y="31620"/>
                      <a:pt x="48472" y="40382"/>
                    </a:cubicBezTo>
                    <a:cubicBezTo>
                      <a:pt x="48614" y="47554"/>
                      <a:pt x="43314" y="44374"/>
                      <a:pt x="40700" y="45187"/>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874" name="Rectangle 873">
              <a:extLst>
                <a:ext uri="{FF2B5EF4-FFF2-40B4-BE49-F238E27FC236}">
                  <a16:creationId xmlns:a16="http://schemas.microsoft.com/office/drawing/2014/main" id="{A753451A-499E-E8BA-B02C-51304AE82074}"/>
                </a:ext>
              </a:extLst>
            </p:cNvPr>
            <p:cNvSpPr/>
            <p:nvPr/>
          </p:nvSpPr>
          <p:spPr>
            <a:xfrm>
              <a:off x="9928870" y="3355490"/>
              <a:ext cx="1211699" cy="313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rogocytosis</a:t>
              </a:r>
            </a:p>
          </p:txBody>
        </p:sp>
      </p:grpSp>
      <p:grpSp>
        <p:nvGrpSpPr>
          <p:cNvPr id="1051" name="Group 1050">
            <a:extLst>
              <a:ext uri="{FF2B5EF4-FFF2-40B4-BE49-F238E27FC236}">
                <a16:creationId xmlns:a16="http://schemas.microsoft.com/office/drawing/2014/main" id="{6855460F-6292-6D99-9974-C872D7CEB69F}"/>
              </a:ext>
            </a:extLst>
          </p:cNvPr>
          <p:cNvGrpSpPr/>
          <p:nvPr/>
        </p:nvGrpSpPr>
        <p:grpSpPr>
          <a:xfrm>
            <a:off x="8193190" y="4070588"/>
            <a:ext cx="823037" cy="1031613"/>
            <a:chOff x="8123239" y="3867663"/>
            <a:chExt cx="823037" cy="1031613"/>
          </a:xfrm>
        </p:grpSpPr>
        <p:grpSp>
          <p:nvGrpSpPr>
            <p:cNvPr id="1052" name="Group 1051">
              <a:extLst>
                <a:ext uri="{FF2B5EF4-FFF2-40B4-BE49-F238E27FC236}">
                  <a16:creationId xmlns:a16="http://schemas.microsoft.com/office/drawing/2014/main" id="{CC1A3F5C-59F5-5F6A-1980-F436601CD3EA}"/>
                </a:ext>
              </a:extLst>
            </p:cNvPr>
            <p:cNvGrpSpPr/>
            <p:nvPr/>
          </p:nvGrpSpPr>
          <p:grpSpPr>
            <a:xfrm>
              <a:off x="8232002" y="3867663"/>
              <a:ext cx="714274" cy="731410"/>
              <a:chOff x="4678071" y="2488759"/>
              <a:chExt cx="1362949" cy="1395646"/>
            </a:xfrm>
          </p:grpSpPr>
          <p:sp>
            <p:nvSpPr>
              <p:cNvPr id="1054" name="Freeform: Shape 1053">
                <a:extLst>
                  <a:ext uri="{FF2B5EF4-FFF2-40B4-BE49-F238E27FC236}">
                    <a16:creationId xmlns:a16="http://schemas.microsoft.com/office/drawing/2014/main" id="{82711AC1-8356-72CE-11F8-6275967B57D1}"/>
                  </a:ext>
                </a:extLst>
              </p:cNvPr>
              <p:cNvSpPr/>
              <p:nvPr/>
            </p:nvSpPr>
            <p:spPr>
              <a:xfrm>
                <a:off x="5266658" y="2488759"/>
                <a:ext cx="753690" cy="789217"/>
              </a:xfrm>
              <a:custGeom>
                <a:avLst/>
                <a:gdLst>
                  <a:gd name="connsiteX0" fmla="*/ 24153 w 753690"/>
                  <a:gd name="connsiteY0" fmla="*/ 355948 h 789217"/>
                  <a:gd name="connsiteX1" fmla="*/ 129 w 753690"/>
                  <a:gd name="connsiteY1" fmla="*/ 259993 h 789217"/>
                  <a:gd name="connsiteX2" fmla="*/ 39168 w 753690"/>
                  <a:gd name="connsiteY2" fmla="*/ 191596 h 789217"/>
                  <a:gd name="connsiteX3" fmla="*/ 82411 w 753690"/>
                  <a:gd name="connsiteY3" fmla="*/ 112034 h 789217"/>
                  <a:gd name="connsiteX4" fmla="*/ 175999 w 753690"/>
                  <a:gd name="connsiteY4" fmla="*/ 1771 h 789217"/>
                  <a:gd name="connsiteX5" fmla="*/ 306046 w 753690"/>
                  <a:gd name="connsiteY5" fmla="*/ 37489 h 789217"/>
                  <a:gd name="connsiteX6" fmla="*/ 353281 w 753690"/>
                  <a:gd name="connsiteY6" fmla="*/ 76316 h 789217"/>
                  <a:gd name="connsiteX7" fmla="*/ 363315 w 753690"/>
                  <a:gd name="connsiteY7" fmla="*/ 105569 h 789217"/>
                  <a:gd name="connsiteX8" fmla="*/ 387833 w 753690"/>
                  <a:gd name="connsiteY8" fmla="*/ 89812 h 789217"/>
                  <a:gd name="connsiteX9" fmla="*/ 490430 w 753690"/>
                  <a:gd name="connsiteY9" fmla="*/ 122032 h 789217"/>
                  <a:gd name="connsiteX10" fmla="*/ 538760 w 753690"/>
                  <a:gd name="connsiteY10" fmla="*/ 203926 h 789217"/>
                  <a:gd name="connsiteX11" fmla="*/ 543777 w 753690"/>
                  <a:gd name="connsiteY11" fmla="*/ 252821 h 789217"/>
                  <a:gd name="connsiteX12" fmla="*/ 641851 w 753690"/>
                  <a:gd name="connsiteY12" fmla="*/ 345702 h 789217"/>
                  <a:gd name="connsiteX13" fmla="*/ 751019 w 753690"/>
                  <a:gd name="connsiteY13" fmla="*/ 464303 h 789217"/>
                  <a:gd name="connsiteX14" fmla="*/ 726077 w 753690"/>
                  <a:gd name="connsiteY14" fmla="*/ 543688 h 789217"/>
                  <a:gd name="connsiteX15" fmla="*/ 685200 w 753690"/>
                  <a:gd name="connsiteY15" fmla="*/ 587037 h 789217"/>
                  <a:gd name="connsiteX16" fmla="*/ 662696 w 753690"/>
                  <a:gd name="connsiteY16" fmla="*/ 671580 h 789217"/>
                  <a:gd name="connsiteX17" fmla="*/ 666299 w 753690"/>
                  <a:gd name="connsiteY17" fmla="*/ 732205 h 789217"/>
                  <a:gd name="connsiteX18" fmla="*/ 577587 w 753690"/>
                  <a:gd name="connsiteY18" fmla="*/ 787637 h 789217"/>
                  <a:gd name="connsiteX19" fmla="*/ 499615 w 753690"/>
                  <a:gd name="connsiteY19" fmla="*/ 745560 h 789217"/>
                  <a:gd name="connsiteX20" fmla="*/ 479760 w 753690"/>
                  <a:gd name="connsiteY20" fmla="*/ 730474 h 789217"/>
                  <a:gd name="connsiteX21" fmla="*/ 464533 w 753690"/>
                  <a:gd name="connsiteY21" fmla="*/ 704366 h 789217"/>
                  <a:gd name="connsiteX22" fmla="*/ 399845 w 753690"/>
                  <a:gd name="connsiteY22" fmla="*/ 669213 h 789217"/>
                  <a:gd name="connsiteX23" fmla="*/ 445456 w 753690"/>
                  <a:gd name="connsiteY23" fmla="*/ 673912 h 789217"/>
                  <a:gd name="connsiteX24" fmla="*/ 535828 w 753690"/>
                  <a:gd name="connsiteY24" fmla="*/ 714187 h 789217"/>
                  <a:gd name="connsiteX25" fmla="*/ 615142 w 753690"/>
                  <a:gd name="connsiteY25" fmla="*/ 671757 h 789217"/>
                  <a:gd name="connsiteX26" fmla="*/ 598785 w 753690"/>
                  <a:gd name="connsiteY26" fmla="*/ 621907 h 789217"/>
                  <a:gd name="connsiteX27" fmla="*/ 614507 w 753690"/>
                  <a:gd name="connsiteY27" fmla="*/ 550118 h 789217"/>
                  <a:gd name="connsiteX28" fmla="*/ 655701 w 753690"/>
                  <a:gd name="connsiteY28" fmla="*/ 529274 h 789217"/>
                  <a:gd name="connsiteX29" fmla="*/ 682127 w 753690"/>
                  <a:gd name="connsiteY29" fmla="*/ 486454 h 789217"/>
                  <a:gd name="connsiteX30" fmla="*/ 632772 w 753690"/>
                  <a:gd name="connsiteY30" fmla="*/ 415266 h 789217"/>
                  <a:gd name="connsiteX31" fmla="*/ 509790 w 753690"/>
                  <a:gd name="connsiteY31" fmla="*/ 374602 h 789217"/>
                  <a:gd name="connsiteX32" fmla="*/ 457927 w 753690"/>
                  <a:gd name="connsiteY32" fmla="*/ 285890 h 789217"/>
                  <a:gd name="connsiteX33" fmla="*/ 466265 w 753690"/>
                  <a:gd name="connsiteY33" fmla="*/ 213288 h 789217"/>
                  <a:gd name="connsiteX34" fmla="*/ 438072 w 753690"/>
                  <a:gd name="connsiteY34" fmla="*/ 165523 h 789217"/>
                  <a:gd name="connsiteX35" fmla="*/ 392038 w 753690"/>
                  <a:gd name="connsiteY35" fmla="*/ 173401 h 789217"/>
                  <a:gd name="connsiteX36" fmla="*/ 329187 w 753690"/>
                  <a:gd name="connsiteY36" fmla="*/ 166795 h 789217"/>
                  <a:gd name="connsiteX37" fmla="*/ 285202 w 753690"/>
                  <a:gd name="connsiteY37" fmla="*/ 114754 h 789217"/>
                  <a:gd name="connsiteX38" fmla="*/ 195112 w 753690"/>
                  <a:gd name="connsiteY38" fmla="*/ 72924 h 789217"/>
                  <a:gd name="connsiteX39" fmla="*/ 142295 w 753690"/>
                  <a:gd name="connsiteY39" fmla="*/ 108678 h 789217"/>
                  <a:gd name="connsiteX40" fmla="*/ 140493 w 753690"/>
                  <a:gd name="connsiteY40" fmla="*/ 144360 h 789217"/>
                  <a:gd name="connsiteX41" fmla="*/ 127315 w 753690"/>
                  <a:gd name="connsiteY41" fmla="*/ 212263 h 789217"/>
                  <a:gd name="connsiteX42" fmla="*/ 92727 w 753690"/>
                  <a:gd name="connsiteY42" fmla="*/ 226890 h 789217"/>
                  <a:gd name="connsiteX43" fmla="*/ 44997 w 753690"/>
                  <a:gd name="connsiteY43" fmla="*/ 258298 h 789217"/>
                  <a:gd name="connsiteX44" fmla="*/ 54112 w 753690"/>
                  <a:gd name="connsiteY44" fmla="*/ 311327 h 789217"/>
                  <a:gd name="connsiteX45" fmla="*/ 84955 w 753690"/>
                  <a:gd name="connsiteY45" fmla="*/ 358280 h 789217"/>
                  <a:gd name="connsiteX46" fmla="*/ 106435 w 753690"/>
                  <a:gd name="connsiteY46" fmla="*/ 453316 h 789217"/>
                  <a:gd name="connsiteX47" fmla="*/ 95836 w 753690"/>
                  <a:gd name="connsiteY47" fmla="*/ 446426 h 789217"/>
                  <a:gd name="connsiteX48" fmla="*/ 62627 w 753690"/>
                  <a:gd name="connsiteY48" fmla="*/ 402053 h 789217"/>
                  <a:gd name="connsiteX49" fmla="*/ 24012 w 753690"/>
                  <a:gd name="connsiteY49" fmla="*/ 355948 h 789217"/>
                  <a:gd name="connsiteX50" fmla="*/ 710920 w 753690"/>
                  <a:gd name="connsiteY50" fmla="*/ 478117 h 789217"/>
                  <a:gd name="connsiteX51" fmla="*/ 700604 w 753690"/>
                  <a:gd name="connsiteY51" fmla="*/ 487302 h 789217"/>
                  <a:gd name="connsiteX52" fmla="*/ 709507 w 753690"/>
                  <a:gd name="connsiteY52" fmla="*/ 496983 h 789217"/>
                  <a:gd name="connsiteX53" fmla="*/ 718763 w 753690"/>
                  <a:gd name="connsiteY53" fmla="*/ 489069 h 789217"/>
                  <a:gd name="connsiteX54" fmla="*/ 710920 w 753690"/>
                  <a:gd name="connsiteY54" fmla="*/ 478081 h 789217"/>
                  <a:gd name="connsiteX55" fmla="*/ 522438 w 753690"/>
                  <a:gd name="connsiteY55" fmla="*/ 321643 h 789217"/>
                  <a:gd name="connsiteX56" fmla="*/ 530988 w 753690"/>
                  <a:gd name="connsiteY56" fmla="*/ 312740 h 789217"/>
                  <a:gd name="connsiteX57" fmla="*/ 523533 w 753690"/>
                  <a:gd name="connsiteY57" fmla="*/ 303130 h 789217"/>
                  <a:gd name="connsiteX58" fmla="*/ 514136 w 753690"/>
                  <a:gd name="connsiteY58" fmla="*/ 312563 h 789217"/>
                  <a:gd name="connsiteX59" fmla="*/ 522474 w 753690"/>
                  <a:gd name="connsiteY59" fmla="*/ 321643 h 78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53690" h="789217">
                    <a:moveTo>
                      <a:pt x="24153" y="355948"/>
                    </a:moveTo>
                    <a:cubicBezTo>
                      <a:pt x="6983" y="326236"/>
                      <a:pt x="-1143" y="294581"/>
                      <a:pt x="129" y="259993"/>
                    </a:cubicBezTo>
                    <a:cubicBezTo>
                      <a:pt x="1260" y="229716"/>
                      <a:pt x="10516" y="202654"/>
                      <a:pt x="39168" y="191596"/>
                    </a:cubicBezTo>
                    <a:cubicBezTo>
                      <a:pt x="78313" y="176475"/>
                      <a:pt x="83153" y="146339"/>
                      <a:pt x="82411" y="112034"/>
                    </a:cubicBezTo>
                    <a:cubicBezTo>
                      <a:pt x="81175" y="54412"/>
                      <a:pt x="128516" y="9049"/>
                      <a:pt x="175999" y="1771"/>
                    </a:cubicBezTo>
                    <a:cubicBezTo>
                      <a:pt x="223799" y="-5577"/>
                      <a:pt x="266618" y="10639"/>
                      <a:pt x="306046" y="37489"/>
                    </a:cubicBezTo>
                    <a:cubicBezTo>
                      <a:pt x="323039" y="49077"/>
                      <a:pt x="334098" y="67590"/>
                      <a:pt x="353281" y="76316"/>
                    </a:cubicBezTo>
                    <a:cubicBezTo>
                      <a:pt x="347629" y="89176"/>
                      <a:pt x="349996" y="100587"/>
                      <a:pt x="363315" y="105569"/>
                    </a:cubicBezTo>
                    <a:cubicBezTo>
                      <a:pt x="376422" y="110444"/>
                      <a:pt x="384477" y="102601"/>
                      <a:pt x="387833" y="89812"/>
                    </a:cubicBezTo>
                    <a:cubicBezTo>
                      <a:pt x="423021" y="97372"/>
                      <a:pt x="459764" y="98927"/>
                      <a:pt x="490430" y="122032"/>
                    </a:cubicBezTo>
                    <a:cubicBezTo>
                      <a:pt x="518199" y="142947"/>
                      <a:pt x="536605" y="167395"/>
                      <a:pt x="538760" y="203926"/>
                    </a:cubicBezTo>
                    <a:cubicBezTo>
                      <a:pt x="539714" y="220036"/>
                      <a:pt x="539467" y="236711"/>
                      <a:pt x="543777" y="252821"/>
                    </a:cubicBezTo>
                    <a:cubicBezTo>
                      <a:pt x="557485" y="304049"/>
                      <a:pt x="594333" y="330193"/>
                      <a:pt x="641851" y="345702"/>
                    </a:cubicBezTo>
                    <a:cubicBezTo>
                      <a:pt x="700286" y="364745"/>
                      <a:pt x="734662" y="406469"/>
                      <a:pt x="751019" y="464303"/>
                    </a:cubicBezTo>
                    <a:cubicBezTo>
                      <a:pt x="759957" y="495887"/>
                      <a:pt x="745154" y="520936"/>
                      <a:pt x="726077" y="543688"/>
                    </a:cubicBezTo>
                    <a:cubicBezTo>
                      <a:pt x="713323" y="558915"/>
                      <a:pt x="699968" y="574354"/>
                      <a:pt x="685200" y="587037"/>
                    </a:cubicBezTo>
                    <a:cubicBezTo>
                      <a:pt x="657149" y="611132"/>
                      <a:pt x="659516" y="640632"/>
                      <a:pt x="662696" y="671580"/>
                    </a:cubicBezTo>
                    <a:cubicBezTo>
                      <a:pt x="664780" y="691718"/>
                      <a:pt x="669302" y="711184"/>
                      <a:pt x="666299" y="732205"/>
                    </a:cubicBezTo>
                    <a:cubicBezTo>
                      <a:pt x="660117" y="775237"/>
                      <a:pt x="618958" y="795233"/>
                      <a:pt x="577587" y="787637"/>
                    </a:cubicBezTo>
                    <a:cubicBezTo>
                      <a:pt x="547063" y="782055"/>
                      <a:pt x="520601" y="769125"/>
                      <a:pt x="499615" y="745560"/>
                    </a:cubicBezTo>
                    <a:cubicBezTo>
                      <a:pt x="494175" y="739448"/>
                      <a:pt x="489511" y="731322"/>
                      <a:pt x="479760" y="730474"/>
                    </a:cubicBezTo>
                    <a:cubicBezTo>
                      <a:pt x="477959" y="719805"/>
                      <a:pt x="476581" y="707757"/>
                      <a:pt x="464533" y="704366"/>
                    </a:cubicBezTo>
                    <a:cubicBezTo>
                      <a:pt x="440121" y="697512"/>
                      <a:pt x="421750" y="680271"/>
                      <a:pt x="399845" y="669213"/>
                    </a:cubicBezTo>
                    <a:cubicBezTo>
                      <a:pt x="416062" y="660911"/>
                      <a:pt x="430865" y="666881"/>
                      <a:pt x="445456" y="673912"/>
                    </a:cubicBezTo>
                    <a:cubicBezTo>
                      <a:pt x="475168" y="688291"/>
                      <a:pt x="503855" y="704896"/>
                      <a:pt x="535828" y="714187"/>
                    </a:cubicBezTo>
                    <a:cubicBezTo>
                      <a:pt x="575114" y="725634"/>
                      <a:pt x="605144" y="709736"/>
                      <a:pt x="615142" y="671757"/>
                    </a:cubicBezTo>
                    <a:cubicBezTo>
                      <a:pt x="620442" y="651654"/>
                      <a:pt x="609843" y="636534"/>
                      <a:pt x="598785" y="621907"/>
                    </a:cubicBezTo>
                    <a:cubicBezTo>
                      <a:pt x="577305" y="593467"/>
                      <a:pt x="582957" y="566581"/>
                      <a:pt x="614507" y="550118"/>
                    </a:cubicBezTo>
                    <a:cubicBezTo>
                      <a:pt x="628144" y="542981"/>
                      <a:pt x="642275" y="536763"/>
                      <a:pt x="655701" y="529274"/>
                    </a:cubicBezTo>
                    <a:cubicBezTo>
                      <a:pt x="672235" y="520053"/>
                      <a:pt x="680572" y="506027"/>
                      <a:pt x="682127" y="486454"/>
                    </a:cubicBezTo>
                    <a:cubicBezTo>
                      <a:pt x="684988" y="449959"/>
                      <a:pt x="662413" y="427172"/>
                      <a:pt x="632772" y="415266"/>
                    </a:cubicBezTo>
                    <a:cubicBezTo>
                      <a:pt x="592567" y="399156"/>
                      <a:pt x="550313" y="389546"/>
                      <a:pt x="509790" y="374602"/>
                    </a:cubicBezTo>
                    <a:cubicBezTo>
                      <a:pt x="471564" y="360505"/>
                      <a:pt x="452062" y="325600"/>
                      <a:pt x="457927" y="285890"/>
                    </a:cubicBezTo>
                    <a:cubicBezTo>
                      <a:pt x="461460" y="261866"/>
                      <a:pt x="467642" y="238054"/>
                      <a:pt x="466265" y="213288"/>
                    </a:cubicBezTo>
                    <a:cubicBezTo>
                      <a:pt x="465063" y="192090"/>
                      <a:pt x="455701" y="175733"/>
                      <a:pt x="438072" y="165523"/>
                    </a:cubicBezTo>
                    <a:cubicBezTo>
                      <a:pt x="421679" y="156019"/>
                      <a:pt x="406311" y="163862"/>
                      <a:pt x="392038" y="173401"/>
                    </a:cubicBezTo>
                    <a:cubicBezTo>
                      <a:pt x="367978" y="189511"/>
                      <a:pt x="349536" y="188204"/>
                      <a:pt x="329187" y="166795"/>
                    </a:cubicBezTo>
                    <a:cubicBezTo>
                      <a:pt x="313571" y="150366"/>
                      <a:pt x="298839" y="132878"/>
                      <a:pt x="285202" y="114754"/>
                    </a:cubicBezTo>
                    <a:cubicBezTo>
                      <a:pt x="262414" y="84477"/>
                      <a:pt x="232490" y="70840"/>
                      <a:pt x="195112" y="72924"/>
                    </a:cubicBezTo>
                    <a:cubicBezTo>
                      <a:pt x="168191" y="74444"/>
                      <a:pt x="147170" y="87833"/>
                      <a:pt x="142295" y="108678"/>
                    </a:cubicBezTo>
                    <a:cubicBezTo>
                      <a:pt x="139609" y="120089"/>
                      <a:pt x="141765" y="132525"/>
                      <a:pt x="140493" y="144360"/>
                    </a:cubicBezTo>
                    <a:cubicBezTo>
                      <a:pt x="138020" y="167324"/>
                      <a:pt x="139256" y="191207"/>
                      <a:pt x="127315" y="212263"/>
                    </a:cubicBezTo>
                    <a:cubicBezTo>
                      <a:pt x="119719" y="225689"/>
                      <a:pt x="110498" y="233779"/>
                      <a:pt x="92727" y="226890"/>
                    </a:cubicBezTo>
                    <a:cubicBezTo>
                      <a:pt x="70364" y="218199"/>
                      <a:pt x="47259" y="233991"/>
                      <a:pt x="44997" y="258298"/>
                    </a:cubicBezTo>
                    <a:cubicBezTo>
                      <a:pt x="43302" y="276598"/>
                      <a:pt x="45103" y="294298"/>
                      <a:pt x="54112" y="311327"/>
                    </a:cubicBezTo>
                    <a:cubicBezTo>
                      <a:pt x="62980" y="328073"/>
                      <a:pt x="75239" y="342311"/>
                      <a:pt x="84955" y="358280"/>
                    </a:cubicBezTo>
                    <a:cubicBezTo>
                      <a:pt x="102655" y="387356"/>
                      <a:pt x="116751" y="417704"/>
                      <a:pt x="106435" y="453316"/>
                    </a:cubicBezTo>
                    <a:cubicBezTo>
                      <a:pt x="102902" y="451019"/>
                      <a:pt x="99369" y="448723"/>
                      <a:pt x="95836" y="446426"/>
                    </a:cubicBezTo>
                    <a:cubicBezTo>
                      <a:pt x="74074" y="439678"/>
                      <a:pt x="63369" y="423674"/>
                      <a:pt x="62627" y="402053"/>
                    </a:cubicBezTo>
                    <a:cubicBezTo>
                      <a:pt x="61708" y="375838"/>
                      <a:pt x="49025" y="361177"/>
                      <a:pt x="24012" y="355948"/>
                    </a:cubicBezTo>
                    <a:close/>
                    <a:moveTo>
                      <a:pt x="710920" y="478117"/>
                    </a:moveTo>
                    <a:cubicBezTo>
                      <a:pt x="705232" y="478717"/>
                      <a:pt x="701099" y="481438"/>
                      <a:pt x="700604" y="487302"/>
                    </a:cubicBezTo>
                    <a:cubicBezTo>
                      <a:pt x="700109" y="493273"/>
                      <a:pt x="703324" y="496947"/>
                      <a:pt x="709507" y="496983"/>
                    </a:cubicBezTo>
                    <a:cubicBezTo>
                      <a:pt x="714665" y="497018"/>
                      <a:pt x="718163" y="494192"/>
                      <a:pt x="718763" y="489069"/>
                    </a:cubicBezTo>
                    <a:cubicBezTo>
                      <a:pt x="719435" y="483345"/>
                      <a:pt x="716926" y="479318"/>
                      <a:pt x="710920" y="478081"/>
                    </a:cubicBezTo>
                    <a:close/>
                    <a:moveTo>
                      <a:pt x="522438" y="321643"/>
                    </a:moveTo>
                    <a:cubicBezTo>
                      <a:pt x="527420" y="320724"/>
                      <a:pt x="530847" y="318181"/>
                      <a:pt x="530988" y="312740"/>
                    </a:cubicBezTo>
                    <a:cubicBezTo>
                      <a:pt x="531129" y="307617"/>
                      <a:pt x="528903" y="303519"/>
                      <a:pt x="523533" y="303130"/>
                    </a:cubicBezTo>
                    <a:cubicBezTo>
                      <a:pt x="517421" y="302707"/>
                      <a:pt x="514136" y="306416"/>
                      <a:pt x="514136" y="312563"/>
                    </a:cubicBezTo>
                    <a:cubicBezTo>
                      <a:pt x="514136" y="317969"/>
                      <a:pt x="517421" y="320689"/>
                      <a:pt x="522474" y="321643"/>
                    </a:cubicBezTo>
                    <a:close/>
                  </a:path>
                </a:pathLst>
              </a:custGeom>
              <a:solidFill>
                <a:srgbClr val="FCE4E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5" name="Freeform: Shape 1054">
                <a:extLst>
                  <a:ext uri="{FF2B5EF4-FFF2-40B4-BE49-F238E27FC236}">
                    <a16:creationId xmlns:a16="http://schemas.microsoft.com/office/drawing/2014/main" id="{83942D16-B528-B062-100F-1FD2828AE723}"/>
                  </a:ext>
                </a:extLst>
              </p:cNvPr>
              <p:cNvSpPr/>
              <p:nvPr/>
            </p:nvSpPr>
            <p:spPr>
              <a:xfrm>
                <a:off x="4678071" y="2843201"/>
                <a:ext cx="1068488" cy="1041204"/>
              </a:xfrm>
              <a:custGeom>
                <a:avLst/>
                <a:gdLst>
                  <a:gd name="connsiteX0" fmla="*/ 988538 w 1068488"/>
                  <a:gd name="connsiteY0" fmla="*/ 314700 h 1041204"/>
                  <a:gd name="connsiteX1" fmla="*/ 1053261 w 1068488"/>
                  <a:gd name="connsiteY1" fmla="*/ 349853 h 1041204"/>
                  <a:gd name="connsiteX2" fmla="*/ 1068488 w 1068488"/>
                  <a:gd name="connsiteY2" fmla="*/ 375961 h 1041204"/>
                  <a:gd name="connsiteX3" fmla="*/ 1025740 w 1068488"/>
                  <a:gd name="connsiteY3" fmla="*/ 406309 h 1041204"/>
                  <a:gd name="connsiteX4" fmla="*/ 993272 w 1068488"/>
                  <a:gd name="connsiteY4" fmla="*/ 406451 h 1041204"/>
                  <a:gd name="connsiteX5" fmla="*/ 970979 w 1068488"/>
                  <a:gd name="connsiteY5" fmla="*/ 433619 h 1041204"/>
                  <a:gd name="connsiteX6" fmla="*/ 983451 w 1068488"/>
                  <a:gd name="connsiteY6" fmla="*/ 500780 h 1041204"/>
                  <a:gd name="connsiteX7" fmla="*/ 962960 w 1068488"/>
                  <a:gd name="connsiteY7" fmla="*/ 572569 h 1041204"/>
                  <a:gd name="connsiteX8" fmla="*/ 979670 w 1068488"/>
                  <a:gd name="connsiteY8" fmla="*/ 671703 h 1041204"/>
                  <a:gd name="connsiteX9" fmla="*/ 1000727 w 1068488"/>
                  <a:gd name="connsiteY9" fmla="*/ 688944 h 1041204"/>
                  <a:gd name="connsiteX10" fmla="*/ 989563 w 1068488"/>
                  <a:gd name="connsiteY10" fmla="*/ 723355 h 1041204"/>
                  <a:gd name="connsiteX11" fmla="*/ 969142 w 1068488"/>
                  <a:gd name="connsiteY11" fmla="*/ 724980 h 1041204"/>
                  <a:gd name="connsiteX12" fmla="*/ 903536 w 1068488"/>
                  <a:gd name="connsiteY12" fmla="*/ 772392 h 1041204"/>
                  <a:gd name="connsiteX13" fmla="*/ 884882 w 1068488"/>
                  <a:gd name="connsiteY13" fmla="*/ 823761 h 1041204"/>
                  <a:gd name="connsiteX14" fmla="*/ 836162 w 1068488"/>
                  <a:gd name="connsiteY14" fmla="*/ 873787 h 1041204"/>
                  <a:gd name="connsiteX15" fmla="*/ 826906 w 1068488"/>
                  <a:gd name="connsiteY15" fmla="*/ 878239 h 1041204"/>
                  <a:gd name="connsiteX16" fmla="*/ 793061 w 1068488"/>
                  <a:gd name="connsiteY16" fmla="*/ 947837 h 1041204"/>
                  <a:gd name="connsiteX17" fmla="*/ 794368 w 1068488"/>
                  <a:gd name="connsiteY17" fmla="*/ 976772 h 1041204"/>
                  <a:gd name="connsiteX18" fmla="*/ 738548 w 1068488"/>
                  <a:gd name="connsiteY18" fmla="*/ 1002633 h 1041204"/>
                  <a:gd name="connsiteX19" fmla="*/ 666582 w 1068488"/>
                  <a:gd name="connsiteY19" fmla="*/ 992317 h 1041204"/>
                  <a:gd name="connsiteX20" fmla="*/ 602459 w 1068488"/>
                  <a:gd name="connsiteY20" fmla="*/ 996698 h 1041204"/>
                  <a:gd name="connsiteX21" fmla="*/ 537064 w 1068488"/>
                  <a:gd name="connsiteY21" fmla="*/ 1009558 h 1041204"/>
                  <a:gd name="connsiteX22" fmla="*/ 439626 w 1068488"/>
                  <a:gd name="connsiteY22" fmla="*/ 1018002 h 1041204"/>
                  <a:gd name="connsiteX23" fmla="*/ 411539 w 1068488"/>
                  <a:gd name="connsiteY23" fmla="*/ 1010618 h 1041204"/>
                  <a:gd name="connsiteX24" fmla="*/ 364586 w 1068488"/>
                  <a:gd name="connsiteY24" fmla="*/ 1022170 h 1041204"/>
                  <a:gd name="connsiteX25" fmla="*/ 317775 w 1068488"/>
                  <a:gd name="connsiteY25" fmla="*/ 1039340 h 1041204"/>
                  <a:gd name="connsiteX26" fmla="*/ 288593 w 1068488"/>
                  <a:gd name="connsiteY26" fmla="*/ 998288 h 1041204"/>
                  <a:gd name="connsiteX27" fmla="*/ 258280 w 1068488"/>
                  <a:gd name="connsiteY27" fmla="*/ 940595 h 1041204"/>
                  <a:gd name="connsiteX28" fmla="*/ 205746 w 1068488"/>
                  <a:gd name="connsiteY28" fmla="*/ 942185 h 1041204"/>
                  <a:gd name="connsiteX29" fmla="*/ 168155 w 1068488"/>
                  <a:gd name="connsiteY29" fmla="*/ 955751 h 1041204"/>
                  <a:gd name="connsiteX30" fmla="*/ 166424 w 1068488"/>
                  <a:gd name="connsiteY30" fmla="*/ 914275 h 1041204"/>
                  <a:gd name="connsiteX31" fmla="*/ 156709 w 1068488"/>
                  <a:gd name="connsiteY31" fmla="*/ 878521 h 1041204"/>
                  <a:gd name="connsiteX32" fmla="*/ 93045 w 1068488"/>
                  <a:gd name="connsiteY32" fmla="*/ 806873 h 1041204"/>
                  <a:gd name="connsiteX33" fmla="*/ 65312 w 1068488"/>
                  <a:gd name="connsiteY33" fmla="*/ 796169 h 1041204"/>
                  <a:gd name="connsiteX34" fmla="*/ 6241 w 1068488"/>
                  <a:gd name="connsiteY34" fmla="*/ 778186 h 1041204"/>
                  <a:gd name="connsiteX35" fmla="*/ 19807 w 1068488"/>
                  <a:gd name="connsiteY35" fmla="*/ 713569 h 1041204"/>
                  <a:gd name="connsiteX36" fmla="*/ 21185 w 1068488"/>
                  <a:gd name="connsiteY36" fmla="*/ 712544 h 1041204"/>
                  <a:gd name="connsiteX37" fmla="*/ 39451 w 1068488"/>
                  <a:gd name="connsiteY37" fmla="*/ 632841 h 1041204"/>
                  <a:gd name="connsiteX38" fmla="*/ 36730 w 1068488"/>
                  <a:gd name="connsiteY38" fmla="*/ 516113 h 1041204"/>
                  <a:gd name="connsiteX39" fmla="*/ 49166 w 1068488"/>
                  <a:gd name="connsiteY39" fmla="*/ 429803 h 1041204"/>
                  <a:gd name="connsiteX40" fmla="*/ 70858 w 1068488"/>
                  <a:gd name="connsiteY40" fmla="*/ 339819 h 1041204"/>
                  <a:gd name="connsiteX41" fmla="*/ 85979 w 1068488"/>
                  <a:gd name="connsiteY41" fmla="*/ 315089 h 1041204"/>
                  <a:gd name="connsiteX42" fmla="*/ 81280 w 1068488"/>
                  <a:gd name="connsiteY42" fmla="*/ 277357 h 1041204"/>
                  <a:gd name="connsiteX43" fmla="*/ 67290 w 1068488"/>
                  <a:gd name="connsiteY43" fmla="*/ 255983 h 1041204"/>
                  <a:gd name="connsiteX44" fmla="*/ 95871 w 1068488"/>
                  <a:gd name="connsiteY44" fmla="*/ 193733 h 1041204"/>
                  <a:gd name="connsiteX45" fmla="*/ 134557 w 1068488"/>
                  <a:gd name="connsiteY45" fmla="*/ 187055 h 1041204"/>
                  <a:gd name="connsiteX46" fmla="*/ 181333 w 1068488"/>
                  <a:gd name="connsiteY46" fmla="*/ 156531 h 1041204"/>
                  <a:gd name="connsiteX47" fmla="*/ 250791 w 1068488"/>
                  <a:gd name="connsiteY47" fmla="*/ 112334 h 1041204"/>
                  <a:gd name="connsiteX48" fmla="*/ 301736 w 1068488"/>
                  <a:gd name="connsiteY48" fmla="*/ 65169 h 1041204"/>
                  <a:gd name="connsiteX49" fmla="*/ 317810 w 1068488"/>
                  <a:gd name="connsiteY49" fmla="*/ 31995 h 1041204"/>
                  <a:gd name="connsiteX50" fmla="*/ 348123 w 1068488"/>
                  <a:gd name="connsiteY50" fmla="*/ 26872 h 1041204"/>
                  <a:gd name="connsiteX51" fmla="*/ 359852 w 1068488"/>
                  <a:gd name="connsiteY51" fmla="*/ 49765 h 1041204"/>
                  <a:gd name="connsiteX52" fmla="*/ 394440 w 1068488"/>
                  <a:gd name="connsiteY52" fmla="*/ 76015 h 1041204"/>
                  <a:gd name="connsiteX53" fmla="*/ 421078 w 1068488"/>
                  <a:gd name="connsiteY53" fmla="*/ 69939 h 1041204"/>
                  <a:gd name="connsiteX54" fmla="*/ 522332 w 1068488"/>
                  <a:gd name="connsiteY54" fmla="*/ 73683 h 1041204"/>
                  <a:gd name="connsiteX55" fmla="*/ 559534 w 1068488"/>
                  <a:gd name="connsiteY55" fmla="*/ 86261 h 1041204"/>
                  <a:gd name="connsiteX56" fmla="*/ 576033 w 1068488"/>
                  <a:gd name="connsiteY56" fmla="*/ 74284 h 1041204"/>
                  <a:gd name="connsiteX57" fmla="*/ 570097 w 1068488"/>
                  <a:gd name="connsiteY57" fmla="*/ 49659 h 1041204"/>
                  <a:gd name="connsiteX58" fmla="*/ 605886 w 1068488"/>
                  <a:gd name="connsiteY58" fmla="*/ 481 h 1041204"/>
                  <a:gd name="connsiteX59" fmla="*/ 612669 w 1068488"/>
                  <a:gd name="connsiteY59" fmla="*/ 1364 h 1041204"/>
                  <a:gd name="connsiteX60" fmla="*/ 651284 w 1068488"/>
                  <a:gd name="connsiteY60" fmla="*/ 47469 h 1041204"/>
                  <a:gd name="connsiteX61" fmla="*/ 684494 w 1068488"/>
                  <a:gd name="connsiteY61" fmla="*/ 91843 h 1041204"/>
                  <a:gd name="connsiteX62" fmla="*/ 652662 w 1068488"/>
                  <a:gd name="connsiteY62" fmla="*/ 78029 h 1041204"/>
                  <a:gd name="connsiteX63" fmla="*/ 640791 w 1068488"/>
                  <a:gd name="connsiteY63" fmla="*/ 42523 h 1041204"/>
                  <a:gd name="connsiteX64" fmla="*/ 594227 w 1068488"/>
                  <a:gd name="connsiteY64" fmla="*/ 13624 h 1041204"/>
                  <a:gd name="connsiteX65" fmla="*/ 580661 w 1068488"/>
                  <a:gd name="connsiteY65" fmla="*/ 39414 h 1041204"/>
                  <a:gd name="connsiteX66" fmla="*/ 590906 w 1068488"/>
                  <a:gd name="connsiteY66" fmla="*/ 62767 h 1041204"/>
                  <a:gd name="connsiteX67" fmla="*/ 555259 w 1068488"/>
                  <a:gd name="connsiteY67" fmla="*/ 98873 h 1041204"/>
                  <a:gd name="connsiteX68" fmla="*/ 491843 w 1068488"/>
                  <a:gd name="connsiteY68" fmla="*/ 78700 h 1041204"/>
                  <a:gd name="connsiteX69" fmla="*/ 449977 w 1068488"/>
                  <a:gd name="connsiteY69" fmla="*/ 77110 h 1041204"/>
                  <a:gd name="connsiteX70" fmla="*/ 374903 w 1068488"/>
                  <a:gd name="connsiteY70" fmla="*/ 91843 h 1041204"/>
                  <a:gd name="connsiteX71" fmla="*/ 345473 w 1068488"/>
                  <a:gd name="connsiteY71" fmla="*/ 62979 h 1041204"/>
                  <a:gd name="connsiteX72" fmla="*/ 337242 w 1068488"/>
                  <a:gd name="connsiteY72" fmla="*/ 40544 h 1041204"/>
                  <a:gd name="connsiteX73" fmla="*/ 317881 w 1068488"/>
                  <a:gd name="connsiteY73" fmla="*/ 60400 h 1041204"/>
                  <a:gd name="connsiteX74" fmla="*/ 315019 w 1068488"/>
                  <a:gd name="connsiteY74" fmla="*/ 71952 h 1041204"/>
                  <a:gd name="connsiteX75" fmla="*/ 257609 w 1068488"/>
                  <a:gd name="connsiteY75" fmla="*/ 125794 h 1041204"/>
                  <a:gd name="connsiteX76" fmla="*/ 191508 w 1068488"/>
                  <a:gd name="connsiteY76" fmla="*/ 167730 h 1041204"/>
                  <a:gd name="connsiteX77" fmla="*/ 148512 w 1068488"/>
                  <a:gd name="connsiteY77" fmla="*/ 198431 h 1041204"/>
                  <a:gd name="connsiteX78" fmla="*/ 103432 w 1068488"/>
                  <a:gd name="connsiteY78" fmla="*/ 207087 h 1041204"/>
                  <a:gd name="connsiteX79" fmla="*/ 81563 w 1068488"/>
                  <a:gd name="connsiteY79" fmla="*/ 251637 h 1041204"/>
                  <a:gd name="connsiteX80" fmla="*/ 92868 w 1068488"/>
                  <a:gd name="connsiteY80" fmla="*/ 268560 h 1041204"/>
                  <a:gd name="connsiteX81" fmla="*/ 98274 w 1068488"/>
                  <a:gd name="connsiteY81" fmla="*/ 323497 h 1041204"/>
                  <a:gd name="connsiteX82" fmla="*/ 78595 w 1068488"/>
                  <a:gd name="connsiteY82" fmla="*/ 353421 h 1041204"/>
                  <a:gd name="connsiteX83" fmla="*/ 62627 w 1068488"/>
                  <a:gd name="connsiteY83" fmla="*/ 422914 h 1041204"/>
                  <a:gd name="connsiteX84" fmla="*/ 53971 w 1068488"/>
                  <a:gd name="connsiteY84" fmla="*/ 511414 h 1041204"/>
                  <a:gd name="connsiteX85" fmla="*/ 40758 w 1068488"/>
                  <a:gd name="connsiteY85" fmla="*/ 595533 h 1041204"/>
                  <a:gd name="connsiteX86" fmla="*/ 60401 w 1068488"/>
                  <a:gd name="connsiteY86" fmla="*/ 644606 h 1041204"/>
                  <a:gd name="connsiteX87" fmla="*/ 46764 w 1068488"/>
                  <a:gd name="connsiteY87" fmla="*/ 713286 h 1041204"/>
                  <a:gd name="connsiteX88" fmla="*/ 32420 w 1068488"/>
                  <a:gd name="connsiteY88" fmla="*/ 722578 h 1041204"/>
                  <a:gd name="connsiteX89" fmla="*/ 17723 w 1068488"/>
                  <a:gd name="connsiteY89" fmla="*/ 770519 h 1041204"/>
                  <a:gd name="connsiteX90" fmla="*/ 61779 w 1068488"/>
                  <a:gd name="connsiteY90" fmla="*/ 782107 h 1041204"/>
                  <a:gd name="connsiteX91" fmla="*/ 104633 w 1068488"/>
                  <a:gd name="connsiteY91" fmla="*/ 798359 h 1041204"/>
                  <a:gd name="connsiteX92" fmla="*/ 164304 w 1068488"/>
                  <a:gd name="connsiteY92" fmla="*/ 866368 h 1041204"/>
                  <a:gd name="connsiteX93" fmla="*/ 180061 w 1068488"/>
                  <a:gd name="connsiteY93" fmla="*/ 918479 h 1041204"/>
                  <a:gd name="connsiteX94" fmla="*/ 176740 w 1068488"/>
                  <a:gd name="connsiteY94" fmla="*/ 941902 h 1041204"/>
                  <a:gd name="connsiteX95" fmla="*/ 196595 w 1068488"/>
                  <a:gd name="connsiteY95" fmla="*/ 930915 h 1041204"/>
                  <a:gd name="connsiteX96" fmla="*/ 269763 w 1068488"/>
                  <a:gd name="connsiteY96" fmla="*/ 931586 h 1041204"/>
                  <a:gd name="connsiteX97" fmla="*/ 303537 w 1068488"/>
                  <a:gd name="connsiteY97" fmla="*/ 997087 h 1041204"/>
                  <a:gd name="connsiteX98" fmla="*/ 353493 w 1068488"/>
                  <a:gd name="connsiteY98" fmla="*/ 1012879 h 1041204"/>
                  <a:gd name="connsiteX99" fmla="*/ 411186 w 1068488"/>
                  <a:gd name="connsiteY99" fmla="*/ 996769 h 1041204"/>
                  <a:gd name="connsiteX100" fmla="*/ 440969 w 1068488"/>
                  <a:gd name="connsiteY100" fmla="*/ 1004011 h 1041204"/>
                  <a:gd name="connsiteX101" fmla="*/ 525476 w 1068488"/>
                  <a:gd name="connsiteY101" fmla="*/ 999383 h 1041204"/>
                  <a:gd name="connsiteX102" fmla="*/ 602070 w 1068488"/>
                  <a:gd name="connsiteY102" fmla="*/ 982107 h 1041204"/>
                  <a:gd name="connsiteX103" fmla="*/ 674107 w 1068488"/>
                  <a:gd name="connsiteY103" fmla="*/ 975677 h 1041204"/>
                  <a:gd name="connsiteX104" fmla="*/ 738653 w 1068488"/>
                  <a:gd name="connsiteY104" fmla="*/ 985958 h 1041204"/>
                  <a:gd name="connsiteX105" fmla="*/ 752361 w 1068488"/>
                  <a:gd name="connsiteY105" fmla="*/ 992635 h 1041204"/>
                  <a:gd name="connsiteX106" fmla="*/ 778116 w 1068488"/>
                  <a:gd name="connsiteY106" fmla="*/ 981400 h 1041204"/>
                  <a:gd name="connsiteX107" fmla="*/ 776668 w 1068488"/>
                  <a:gd name="connsiteY107" fmla="*/ 941266 h 1041204"/>
                  <a:gd name="connsiteX108" fmla="*/ 812315 w 1068488"/>
                  <a:gd name="connsiteY108" fmla="*/ 869548 h 1041204"/>
                  <a:gd name="connsiteX109" fmla="*/ 883469 w 1068488"/>
                  <a:gd name="connsiteY109" fmla="*/ 786630 h 1041204"/>
                  <a:gd name="connsiteX110" fmla="*/ 892336 w 1068488"/>
                  <a:gd name="connsiteY110" fmla="*/ 762641 h 1041204"/>
                  <a:gd name="connsiteX111" fmla="*/ 968930 w 1068488"/>
                  <a:gd name="connsiteY111" fmla="*/ 711025 h 1041204"/>
                  <a:gd name="connsiteX112" fmla="*/ 991718 w 1068488"/>
                  <a:gd name="connsiteY112" fmla="*/ 704065 h 1041204"/>
                  <a:gd name="connsiteX113" fmla="*/ 976243 w 1068488"/>
                  <a:gd name="connsiteY113" fmla="*/ 686365 h 1041204"/>
                  <a:gd name="connsiteX114" fmla="*/ 938971 w 1068488"/>
                  <a:gd name="connsiteY114" fmla="*/ 645842 h 1041204"/>
                  <a:gd name="connsiteX115" fmla="*/ 953668 w 1068488"/>
                  <a:gd name="connsiteY115" fmla="*/ 560734 h 1041204"/>
                  <a:gd name="connsiteX116" fmla="*/ 969566 w 1068488"/>
                  <a:gd name="connsiteY116" fmla="*/ 514947 h 1041204"/>
                  <a:gd name="connsiteX117" fmla="*/ 956883 w 1068488"/>
                  <a:gd name="connsiteY117" fmla="*/ 439448 h 1041204"/>
                  <a:gd name="connsiteX118" fmla="*/ 986630 w 1068488"/>
                  <a:gd name="connsiteY118" fmla="*/ 392637 h 1041204"/>
                  <a:gd name="connsiteX119" fmla="*/ 1030827 w 1068488"/>
                  <a:gd name="connsiteY119" fmla="*/ 389952 h 1041204"/>
                  <a:gd name="connsiteX120" fmla="*/ 1053297 w 1068488"/>
                  <a:gd name="connsiteY120" fmla="*/ 376633 h 1041204"/>
                  <a:gd name="connsiteX121" fmla="*/ 1034254 w 1068488"/>
                  <a:gd name="connsiteY121" fmla="*/ 355930 h 1041204"/>
                  <a:gd name="connsiteX122" fmla="*/ 1006980 w 1068488"/>
                  <a:gd name="connsiteY122" fmla="*/ 342469 h 1041204"/>
                  <a:gd name="connsiteX123" fmla="*/ 951901 w 1068488"/>
                  <a:gd name="connsiteY123" fmla="*/ 341551 h 1041204"/>
                  <a:gd name="connsiteX124" fmla="*/ 988538 w 1068488"/>
                  <a:gd name="connsiteY124" fmla="*/ 314488 h 104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068488" h="1041204">
                    <a:moveTo>
                      <a:pt x="988538" y="314700"/>
                    </a:moveTo>
                    <a:cubicBezTo>
                      <a:pt x="1010442" y="325723"/>
                      <a:pt x="1028849" y="342999"/>
                      <a:pt x="1053261" y="349853"/>
                    </a:cubicBezTo>
                    <a:cubicBezTo>
                      <a:pt x="1065309" y="353245"/>
                      <a:pt x="1066686" y="365292"/>
                      <a:pt x="1068488" y="375961"/>
                    </a:cubicBezTo>
                    <a:cubicBezTo>
                      <a:pt x="1060469" y="400021"/>
                      <a:pt x="1050788" y="406804"/>
                      <a:pt x="1025740" y="406309"/>
                    </a:cubicBezTo>
                    <a:cubicBezTo>
                      <a:pt x="1014929" y="406097"/>
                      <a:pt x="1004012" y="405426"/>
                      <a:pt x="993272" y="406451"/>
                    </a:cubicBezTo>
                    <a:cubicBezTo>
                      <a:pt x="974936" y="408182"/>
                      <a:pt x="969601" y="415248"/>
                      <a:pt x="970979" y="433619"/>
                    </a:cubicBezTo>
                    <a:cubicBezTo>
                      <a:pt x="972675" y="456442"/>
                      <a:pt x="982143" y="477745"/>
                      <a:pt x="983451" y="500780"/>
                    </a:cubicBezTo>
                    <a:cubicBezTo>
                      <a:pt x="984934" y="527383"/>
                      <a:pt x="981931" y="552537"/>
                      <a:pt x="962960" y="572569"/>
                    </a:cubicBezTo>
                    <a:cubicBezTo>
                      <a:pt x="937346" y="599667"/>
                      <a:pt x="945577" y="656406"/>
                      <a:pt x="979670" y="671703"/>
                    </a:cubicBezTo>
                    <a:cubicBezTo>
                      <a:pt x="987690" y="675307"/>
                      <a:pt x="994473" y="682373"/>
                      <a:pt x="1000727" y="688944"/>
                    </a:cubicBezTo>
                    <a:cubicBezTo>
                      <a:pt x="1015353" y="704348"/>
                      <a:pt x="1010548" y="719009"/>
                      <a:pt x="989563" y="723355"/>
                    </a:cubicBezTo>
                    <a:cubicBezTo>
                      <a:pt x="982921" y="724733"/>
                      <a:pt x="975961" y="724980"/>
                      <a:pt x="969142" y="724980"/>
                    </a:cubicBezTo>
                    <a:cubicBezTo>
                      <a:pt x="935756" y="724980"/>
                      <a:pt x="914770" y="741903"/>
                      <a:pt x="903536" y="772392"/>
                    </a:cubicBezTo>
                    <a:cubicBezTo>
                      <a:pt x="897247" y="789491"/>
                      <a:pt x="891312" y="806732"/>
                      <a:pt x="884882" y="823761"/>
                    </a:cubicBezTo>
                    <a:cubicBezTo>
                      <a:pt x="875908" y="847432"/>
                      <a:pt x="859303" y="863824"/>
                      <a:pt x="836162" y="873787"/>
                    </a:cubicBezTo>
                    <a:cubicBezTo>
                      <a:pt x="833018" y="875130"/>
                      <a:pt x="829980" y="876719"/>
                      <a:pt x="826906" y="878239"/>
                    </a:cubicBezTo>
                    <a:cubicBezTo>
                      <a:pt x="784122" y="899260"/>
                      <a:pt x="782957" y="901627"/>
                      <a:pt x="793061" y="947837"/>
                    </a:cubicBezTo>
                    <a:cubicBezTo>
                      <a:pt x="795145" y="957412"/>
                      <a:pt x="795746" y="967127"/>
                      <a:pt x="794368" y="976772"/>
                    </a:cubicBezTo>
                    <a:cubicBezTo>
                      <a:pt x="790199" y="1005389"/>
                      <a:pt x="761088" y="1020333"/>
                      <a:pt x="738548" y="1002633"/>
                    </a:cubicBezTo>
                    <a:cubicBezTo>
                      <a:pt x="715230" y="984333"/>
                      <a:pt x="692301" y="984050"/>
                      <a:pt x="666582" y="992317"/>
                    </a:cubicBezTo>
                    <a:cubicBezTo>
                      <a:pt x="645596" y="999100"/>
                      <a:pt x="624434" y="1000266"/>
                      <a:pt x="602459" y="996698"/>
                    </a:cubicBezTo>
                    <a:cubicBezTo>
                      <a:pt x="579460" y="992953"/>
                      <a:pt x="557343" y="995744"/>
                      <a:pt x="537064" y="1009558"/>
                    </a:cubicBezTo>
                    <a:cubicBezTo>
                      <a:pt x="506469" y="1030367"/>
                      <a:pt x="472977" y="1025562"/>
                      <a:pt x="439626" y="1018002"/>
                    </a:cubicBezTo>
                    <a:cubicBezTo>
                      <a:pt x="430193" y="1015846"/>
                      <a:pt x="420972" y="1012702"/>
                      <a:pt x="411539" y="1010618"/>
                    </a:cubicBezTo>
                    <a:cubicBezTo>
                      <a:pt x="394122" y="1006802"/>
                      <a:pt x="377623" y="1006767"/>
                      <a:pt x="364586" y="1022170"/>
                    </a:cubicBezTo>
                    <a:cubicBezTo>
                      <a:pt x="352363" y="1036620"/>
                      <a:pt x="336853" y="1045205"/>
                      <a:pt x="317775" y="1039340"/>
                    </a:cubicBezTo>
                    <a:cubicBezTo>
                      <a:pt x="298485" y="1033405"/>
                      <a:pt x="291561" y="1016129"/>
                      <a:pt x="288593" y="998288"/>
                    </a:cubicBezTo>
                    <a:cubicBezTo>
                      <a:pt x="284777" y="975394"/>
                      <a:pt x="275980" y="955857"/>
                      <a:pt x="258280" y="940595"/>
                    </a:cubicBezTo>
                    <a:cubicBezTo>
                      <a:pt x="236694" y="921941"/>
                      <a:pt x="225742" y="922365"/>
                      <a:pt x="205746" y="942185"/>
                    </a:cubicBezTo>
                    <a:cubicBezTo>
                      <a:pt x="195324" y="952501"/>
                      <a:pt x="184336" y="967163"/>
                      <a:pt x="168155" y="955751"/>
                    </a:cubicBezTo>
                    <a:cubicBezTo>
                      <a:pt x="152151" y="944481"/>
                      <a:pt x="158722" y="928159"/>
                      <a:pt x="166424" y="914275"/>
                    </a:cubicBezTo>
                    <a:cubicBezTo>
                      <a:pt x="175080" y="898694"/>
                      <a:pt x="171794" y="887177"/>
                      <a:pt x="156709" y="878521"/>
                    </a:cubicBezTo>
                    <a:cubicBezTo>
                      <a:pt x="127527" y="861704"/>
                      <a:pt x="106576" y="837645"/>
                      <a:pt x="93045" y="806873"/>
                    </a:cubicBezTo>
                    <a:cubicBezTo>
                      <a:pt x="87428" y="794119"/>
                      <a:pt x="78701" y="791011"/>
                      <a:pt x="65312" y="796169"/>
                    </a:cubicBezTo>
                    <a:cubicBezTo>
                      <a:pt x="39168" y="806273"/>
                      <a:pt x="18324" y="799454"/>
                      <a:pt x="6241" y="778186"/>
                    </a:cubicBezTo>
                    <a:cubicBezTo>
                      <a:pt x="-5771" y="757024"/>
                      <a:pt x="-12" y="729679"/>
                      <a:pt x="19807" y="713569"/>
                    </a:cubicBezTo>
                    <a:cubicBezTo>
                      <a:pt x="20267" y="713215"/>
                      <a:pt x="20655" y="712791"/>
                      <a:pt x="21185" y="712544"/>
                    </a:cubicBezTo>
                    <a:cubicBezTo>
                      <a:pt x="59836" y="694491"/>
                      <a:pt x="58069" y="669336"/>
                      <a:pt x="39451" y="632841"/>
                    </a:cubicBezTo>
                    <a:cubicBezTo>
                      <a:pt x="19878" y="594473"/>
                      <a:pt x="17476" y="555328"/>
                      <a:pt x="36730" y="516113"/>
                    </a:cubicBezTo>
                    <a:cubicBezTo>
                      <a:pt x="50297" y="488556"/>
                      <a:pt x="54571" y="460328"/>
                      <a:pt x="49166" y="429803"/>
                    </a:cubicBezTo>
                    <a:cubicBezTo>
                      <a:pt x="43372" y="397124"/>
                      <a:pt x="48212" y="366281"/>
                      <a:pt x="70858" y="339819"/>
                    </a:cubicBezTo>
                    <a:cubicBezTo>
                      <a:pt x="77076" y="332577"/>
                      <a:pt x="81492" y="323639"/>
                      <a:pt x="85979" y="315089"/>
                    </a:cubicBezTo>
                    <a:cubicBezTo>
                      <a:pt x="93010" y="301628"/>
                      <a:pt x="92339" y="288768"/>
                      <a:pt x="81280" y="277357"/>
                    </a:cubicBezTo>
                    <a:cubicBezTo>
                      <a:pt x="75274" y="271139"/>
                      <a:pt x="70964" y="263755"/>
                      <a:pt x="67290" y="255983"/>
                    </a:cubicBezTo>
                    <a:cubicBezTo>
                      <a:pt x="53724" y="226977"/>
                      <a:pt x="64923" y="201858"/>
                      <a:pt x="95871" y="193733"/>
                    </a:cubicBezTo>
                    <a:cubicBezTo>
                      <a:pt x="108484" y="190412"/>
                      <a:pt x="121733" y="189599"/>
                      <a:pt x="134557" y="187055"/>
                    </a:cubicBezTo>
                    <a:cubicBezTo>
                      <a:pt x="154200" y="183204"/>
                      <a:pt x="172819" y="176245"/>
                      <a:pt x="181333" y="156531"/>
                    </a:cubicBezTo>
                    <a:cubicBezTo>
                      <a:pt x="194723" y="125547"/>
                      <a:pt x="220125" y="115478"/>
                      <a:pt x="250791" y="112334"/>
                    </a:cubicBezTo>
                    <a:cubicBezTo>
                      <a:pt x="288134" y="108518"/>
                      <a:pt x="293928" y="102830"/>
                      <a:pt x="301736" y="65169"/>
                    </a:cubicBezTo>
                    <a:cubicBezTo>
                      <a:pt x="304315" y="52804"/>
                      <a:pt x="307388" y="40439"/>
                      <a:pt x="317810" y="31995"/>
                    </a:cubicBezTo>
                    <a:cubicBezTo>
                      <a:pt x="326784" y="24717"/>
                      <a:pt x="337206" y="21820"/>
                      <a:pt x="348123" y="26872"/>
                    </a:cubicBezTo>
                    <a:cubicBezTo>
                      <a:pt x="357521" y="31253"/>
                      <a:pt x="359782" y="39979"/>
                      <a:pt x="359852" y="49765"/>
                    </a:cubicBezTo>
                    <a:cubicBezTo>
                      <a:pt x="360064" y="78806"/>
                      <a:pt x="365116" y="82516"/>
                      <a:pt x="394440" y="76015"/>
                    </a:cubicBezTo>
                    <a:cubicBezTo>
                      <a:pt x="403343" y="74037"/>
                      <a:pt x="412599" y="73012"/>
                      <a:pt x="421078" y="69939"/>
                    </a:cubicBezTo>
                    <a:cubicBezTo>
                      <a:pt x="455454" y="57432"/>
                      <a:pt x="488910" y="58103"/>
                      <a:pt x="522332" y="73683"/>
                    </a:cubicBezTo>
                    <a:cubicBezTo>
                      <a:pt x="534132" y="79195"/>
                      <a:pt x="547204" y="81880"/>
                      <a:pt x="559534" y="86261"/>
                    </a:cubicBezTo>
                    <a:cubicBezTo>
                      <a:pt x="571263" y="90430"/>
                      <a:pt x="575220" y="84954"/>
                      <a:pt x="576033" y="74284"/>
                    </a:cubicBezTo>
                    <a:cubicBezTo>
                      <a:pt x="576739" y="65381"/>
                      <a:pt x="573630" y="57503"/>
                      <a:pt x="570097" y="49659"/>
                    </a:cubicBezTo>
                    <a:cubicBezTo>
                      <a:pt x="554870" y="15779"/>
                      <a:pt x="568825" y="-3335"/>
                      <a:pt x="605886" y="481"/>
                    </a:cubicBezTo>
                    <a:cubicBezTo>
                      <a:pt x="608147" y="728"/>
                      <a:pt x="610408" y="1082"/>
                      <a:pt x="612669" y="1364"/>
                    </a:cubicBezTo>
                    <a:cubicBezTo>
                      <a:pt x="637647" y="6593"/>
                      <a:pt x="650365" y="21255"/>
                      <a:pt x="651284" y="47469"/>
                    </a:cubicBezTo>
                    <a:cubicBezTo>
                      <a:pt x="652026" y="69055"/>
                      <a:pt x="662731" y="85059"/>
                      <a:pt x="684494" y="91843"/>
                    </a:cubicBezTo>
                    <a:cubicBezTo>
                      <a:pt x="669090" y="98308"/>
                      <a:pt x="660046" y="89299"/>
                      <a:pt x="652662" y="78029"/>
                    </a:cubicBezTo>
                    <a:cubicBezTo>
                      <a:pt x="645667" y="67359"/>
                      <a:pt x="644819" y="54358"/>
                      <a:pt x="640791" y="42523"/>
                    </a:cubicBezTo>
                    <a:cubicBezTo>
                      <a:pt x="633937" y="22421"/>
                      <a:pt x="614824" y="10515"/>
                      <a:pt x="594227" y="13624"/>
                    </a:cubicBezTo>
                    <a:cubicBezTo>
                      <a:pt x="579566" y="15814"/>
                      <a:pt x="573701" y="26024"/>
                      <a:pt x="580661" y="39414"/>
                    </a:cubicBezTo>
                    <a:cubicBezTo>
                      <a:pt x="584618" y="47045"/>
                      <a:pt x="588857" y="54464"/>
                      <a:pt x="590906" y="62767"/>
                    </a:cubicBezTo>
                    <a:cubicBezTo>
                      <a:pt x="597018" y="87815"/>
                      <a:pt x="579777" y="105657"/>
                      <a:pt x="555259" y="98873"/>
                    </a:cubicBezTo>
                    <a:cubicBezTo>
                      <a:pt x="533885" y="92973"/>
                      <a:pt x="512864" y="85801"/>
                      <a:pt x="491843" y="78700"/>
                    </a:cubicBezTo>
                    <a:cubicBezTo>
                      <a:pt x="477923" y="74001"/>
                      <a:pt x="464463" y="73789"/>
                      <a:pt x="449977" y="77110"/>
                    </a:cubicBezTo>
                    <a:cubicBezTo>
                      <a:pt x="425141" y="82763"/>
                      <a:pt x="401117" y="92832"/>
                      <a:pt x="374903" y="91843"/>
                    </a:cubicBezTo>
                    <a:cubicBezTo>
                      <a:pt x="353776" y="91030"/>
                      <a:pt x="346286" y="83646"/>
                      <a:pt x="345473" y="62979"/>
                    </a:cubicBezTo>
                    <a:cubicBezTo>
                      <a:pt x="345155" y="54853"/>
                      <a:pt x="350985" y="42417"/>
                      <a:pt x="337242" y="40544"/>
                    </a:cubicBezTo>
                    <a:cubicBezTo>
                      <a:pt x="323993" y="38707"/>
                      <a:pt x="321025" y="50543"/>
                      <a:pt x="317881" y="60400"/>
                    </a:cubicBezTo>
                    <a:cubicBezTo>
                      <a:pt x="316680" y="64180"/>
                      <a:pt x="315726" y="68066"/>
                      <a:pt x="315019" y="71952"/>
                    </a:cubicBezTo>
                    <a:cubicBezTo>
                      <a:pt x="308378" y="108518"/>
                      <a:pt x="295235" y="121131"/>
                      <a:pt x="257609" y="125794"/>
                    </a:cubicBezTo>
                    <a:cubicBezTo>
                      <a:pt x="228886" y="129362"/>
                      <a:pt x="203414" y="136216"/>
                      <a:pt x="191508" y="167730"/>
                    </a:cubicBezTo>
                    <a:cubicBezTo>
                      <a:pt x="184583" y="186066"/>
                      <a:pt x="166636" y="193874"/>
                      <a:pt x="148512" y="198431"/>
                    </a:cubicBezTo>
                    <a:cubicBezTo>
                      <a:pt x="133709" y="202141"/>
                      <a:pt x="118341" y="203695"/>
                      <a:pt x="103432" y="207087"/>
                    </a:cubicBezTo>
                    <a:cubicBezTo>
                      <a:pt x="76264" y="213234"/>
                      <a:pt x="69622" y="226871"/>
                      <a:pt x="81563" y="251637"/>
                    </a:cubicBezTo>
                    <a:cubicBezTo>
                      <a:pt x="84495" y="257714"/>
                      <a:pt x="88594" y="263331"/>
                      <a:pt x="92868" y="268560"/>
                    </a:cubicBezTo>
                    <a:cubicBezTo>
                      <a:pt x="108131" y="287143"/>
                      <a:pt x="110109" y="302900"/>
                      <a:pt x="98274" y="323497"/>
                    </a:cubicBezTo>
                    <a:cubicBezTo>
                      <a:pt x="92339" y="333849"/>
                      <a:pt x="85803" y="343953"/>
                      <a:pt x="78595" y="353421"/>
                    </a:cubicBezTo>
                    <a:cubicBezTo>
                      <a:pt x="62662" y="374301"/>
                      <a:pt x="58988" y="397548"/>
                      <a:pt x="62627" y="422914"/>
                    </a:cubicBezTo>
                    <a:cubicBezTo>
                      <a:pt x="66901" y="453015"/>
                      <a:pt x="68103" y="482656"/>
                      <a:pt x="53971" y="511414"/>
                    </a:cubicBezTo>
                    <a:cubicBezTo>
                      <a:pt x="41005" y="537770"/>
                      <a:pt x="32985" y="565468"/>
                      <a:pt x="40758" y="595533"/>
                    </a:cubicBezTo>
                    <a:cubicBezTo>
                      <a:pt x="45209" y="612809"/>
                      <a:pt x="52911" y="628602"/>
                      <a:pt x="60401" y="644606"/>
                    </a:cubicBezTo>
                    <a:cubicBezTo>
                      <a:pt x="73720" y="673081"/>
                      <a:pt x="68809" y="696893"/>
                      <a:pt x="46764" y="713286"/>
                    </a:cubicBezTo>
                    <a:cubicBezTo>
                      <a:pt x="42206" y="716678"/>
                      <a:pt x="37083" y="719292"/>
                      <a:pt x="32420" y="722578"/>
                    </a:cubicBezTo>
                    <a:cubicBezTo>
                      <a:pt x="15921" y="734166"/>
                      <a:pt x="9703" y="754692"/>
                      <a:pt x="17723" y="770519"/>
                    </a:cubicBezTo>
                    <a:cubicBezTo>
                      <a:pt x="25637" y="786170"/>
                      <a:pt x="39733" y="789880"/>
                      <a:pt x="61779" y="782107"/>
                    </a:cubicBezTo>
                    <a:cubicBezTo>
                      <a:pt x="81210" y="775254"/>
                      <a:pt x="96295" y="780094"/>
                      <a:pt x="104633" y="798359"/>
                    </a:cubicBezTo>
                    <a:cubicBezTo>
                      <a:pt x="117776" y="827223"/>
                      <a:pt x="136182" y="850187"/>
                      <a:pt x="164304" y="866368"/>
                    </a:cubicBezTo>
                    <a:cubicBezTo>
                      <a:pt x="187233" y="879546"/>
                      <a:pt x="190130" y="894031"/>
                      <a:pt x="180061" y="918479"/>
                    </a:cubicBezTo>
                    <a:cubicBezTo>
                      <a:pt x="176882" y="926251"/>
                      <a:pt x="169251" y="936249"/>
                      <a:pt x="176740" y="941902"/>
                    </a:cubicBezTo>
                    <a:cubicBezTo>
                      <a:pt x="185643" y="948650"/>
                      <a:pt x="190907" y="936143"/>
                      <a:pt x="196595" y="930915"/>
                    </a:cubicBezTo>
                    <a:cubicBezTo>
                      <a:pt x="222457" y="907103"/>
                      <a:pt x="244219" y="907279"/>
                      <a:pt x="269763" y="931586"/>
                    </a:cubicBezTo>
                    <a:cubicBezTo>
                      <a:pt x="288699" y="949639"/>
                      <a:pt x="298344" y="971685"/>
                      <a:pt x="303537" y="997087"/>
                    </a:cubicBezTo>
                    <a:cubicBezTo>
                      <a:pt x="310285" y="1030084"/>
                      <a:pt x="331024" y="1036938"/>
                      <a:pt x="353493" y="1012879"/>
                    </a:cubicBezTo>
                    <a:cubicBezTo>
                      <a:pt x="370486" y="994684"/>
                      <a:pt x="389776" y="993518"/>
                      <a:pt x="411186" y="996769"/>
                    </a:cubicBezTo>
                    <a:cubicBezTo>
                      <a:pt x="421255" y="998288"/>
                      <a:pt x="430970" y="1001927"/>
                      <a:pt x="440969" y="1004011"/>
                    </a:cubicBezTo>
                    <a:cubicBezTo>
                      <a:pt x="469585" y="1010052"/>
                      <a:pt x="499297" y="1016588"/>
                      <a:pt x="525476" y="999383"/>
                    </a:cubicBezTo>
                    <a:cubicBezTo>
                      <a:pt x="549571" y="983555"/>
                      <a:pt x="574831" y="980235"/>
                      <a:pt x="602070" y="982107"/>
                    </a:cubicBezTo>
                    <a:cubicBezTo>
                      <a:pt x="626412" y="983767"/>
                      <a:pt x="650436" y="984474"/>
                      <a:pt x="674107" y="975677"/>
                    </a:cubicBezTo>
                    <a:cubicBezTo>
                      <a:pt x="697036" y="967163"/>
                      <a:pt x="718869" y="971084"/>
                      <a:pt x="738653" y="985958"/>
                    </a:cubicBezTo>
                    <a:cubicBezTo>
                      <a:pt x="742646" y="988961"/>
                      <a:pt x="747769" y="990480"/>
                      <a:pt x="752361" y="992635"/>
                    </a:cubicBezTo>
                    <a:cubicBezTo>
                      <a:pt x="765150" y="998570"/>
                      <a:pt x="772676" y="992953"/>
                      <a:pt x="778116" y="981400"/>
                    </a:cubicBezTo>
                    <a:cubicBezTo>
                      <a:pt x="784617" y="967657"/>
                      <a:pt x="779176" y="954373"/>
                      <a:pt x="776668" y="941266"/>
                    </a:cubicBezTo>
                    <a:cubicBezTo>
                      <a:pt x="768825" y="900673"/>
                      <a:pt x="774089" y="885198"/>
                      <a:pt x="812315" y="869548"/>
                    </a:cubicBezTo>
                    <a:cubicBezTo>
                      <a:pt x="851354" y="853543"/>
                      <a:pt x="873824" y="826516"/>
                      <a:pt x="883469" y="786630"/>
                    </a:cubicBezTo>
                    <a:cubicBezTo>
                      <a:pt x="885447" y="778398"/>
                      <a:pt x="889015" y="770484"/>
                      <a:pt x="892336" y="762641"/>
                    </a:cubicBezTo>
                    <a:cubicBezTo>
                      <a:pt x="906715" y="728972"/>
                      <a:pt x="930845" y="709930"/>
                      <a:pt x="968930" y="711025"/>
                    </a:cubicBezTo>
                    <a:cubicBezTo>
                      <a:pt x="977127" y="711272"/>
                      <a:pt x="989033" y="711767"/>
                      <a:pt x="991718" y="704065"/>
                    </a:cubicBezTo>
                    <a:cubicBezTo>
                      <a:pt x="995074" y="694420"/>
                      <a:pt x="982673" y="691170"/>
                      <a:pt x="976243" y="686365"/>
                    </a:cubicBezTo>
                    <a:cubicBezTo>
                      <a:pt x="961193" y="675166"/>
                      <a:pt x="944058" y="665839"/>
                      <a:pt x="938971" y="645842"/>
                    </a:cubicBezTo>
                    <a:cubicBezTo>
                      <a:pt x="931198" y="615424"/>
                      <a:pt x="930810" y="586277"/>
                      <a:pt x="953668" y="560734"/>
                    </a:cubicBezTo>
                    <a:cubicBezTo>
                      <a:pt x="965079" y="548015"/>
                      <a:pt x="969071" y="532223"/>
                      <a:pt x="969566" y="514947"/>
                    </a:cubicBezTo>
                    <a:cubicBezTo>
                      <a:pt x="970273" y="488803"/>
                      <a:pt x="961405" y="464567"/>
                      <a:pt x="956883" y="439448"/>
                    </a:cubicBezTo>
                    <a:cubicBezTo>
                      <a:pt x="952290" y="413870"/>
                      <a:pt x="961652" y="399314"/>
                      <a:pt x="986630" y="392637"/>
                    </a:cubicBezTo>
                    <a:cubicBezTo>
                      <a:pt x="1001327" y="388715"/>
                      <a:pt x="1016060" y="390376"/>
                      <a:pt x="1030827" y="389952"/>
                    </a:cubicBezTo>
                    <a:cubicBezTo>
                      <a:pt x="1040967" y="389669"/>
                      <a:pt x="1052131" y="388821"/>
                      <a:pt x="1053297" y="376633"/>
                    </a:cubicBezTo>
                    <a:cubicBezTo>
                      <a:pt x="1054427" y="364797"/>
                      <a:pt x="1045065" y="357943"/>
                      <a:pt x="1034254" y="355930"/>
                    </a:cubicBezTo>
                    <a:cubicBezTo>
                      <a:pt x="1023620" y="353951"/>
                      <a:pt x="1015000" y="348793"/>
                      <a:pt x="1006980" y="342469"/>
                    </a:cubicBezTo>
                    <a:cubicBezTo>
                      <a:pt x="978080" y="319611"/>
                      <a:pt x="978186" y="319470"/>
                      <a:pt x="951901" y="341551"/>
                    </a:cubicBezTo>
                    <a:cubicBezTo>
                      <a:pt x="956424" y="320424"/>
                      <a:pt x="965185" y="313958"/>
                      <a:pt x="988538" y="314488"/>
                    </a:cubicBezTo>
                    <a:close/>
                  </a:path>
                </a:pathLst>
              </a:custGeom>
              <a:solidFill>
                <a:srgbClr val="BF6B6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6" name="Freeform: Shape 1055">
                <a:extLst>
                  <a:ext uri="{FF2B5EF4-FFF2-40B4-BE49-F238E27FC236}">
                    <a16:creationId xmlns:a16="http://schemas.microsoft.com/office/drawing/2014/main" id="{AF2E8FCF-EC8F-2ED9-B10E-96C84F8F95A9}"/>
                  </a:ext>
                </a:extLst>
              </p:cNvPr>
              <p:cNvSpPr/>
              <p:nvPr/>
            </p:nvSpPr>
            <p:spPr>
              <a:xfrm>
                <a:off x="5828074" y="2569034"/>
                <a:ext cx="79309" cy="148927"/>
              </a:xfrm>
              <a:custGeom>
                <a:avLst/>
                <a:gdLst>
                  <a:gd name="connsiteX0" fmla="*/ 79305 w 79309"/>
                  <a:gd name="connsiteY0" fmla="*/ 51932 h 148927"/>
                  <a:gd name="connsiteX1" fmla="*/ 65562 w 79309"/>
                  <a:gd name="connsiteY1" fmla="*/ 87791 h 148927"/>
                  <a:gd name="connsiteX2" fmla="*/ 46025 w 79309"/>
                  <a:gd name="connsiteY2" fmla="*/ 130893 h 148927"/>
                  <a:gd name="connsiteX3" fmla="*/ 27229 w 79309"/>
                  <a:gd name="connsiteY3" fmla="*/ 148416 h 148927"/>
                  <a:gd name="connsiteX4" fmla="*/ 15641 w 79309"/>
                  <a:gd name="connsiteY4" fmla="*/ 122025 h 148927"/>
                  <a:gd name="connsiteX5" fmla="*/ 7410 w 79309"/>
                  <a:gd name="connsiteY5" fmla="*/ 64191 h 148927"/>
                  <a:gd name="connsiteX6" fmla="*/ 3064 w 79309"/>
                  <a:gd name="connsiteY6" fmla="*/ 23386 h 148927"/>
                  <a:gd name="connsiteX7" fmla="*/ 31963 w 79309"/>
                  <a:gd name="connsiteY7" fmla="*/ 33 h 148927"/>
                  <a:gd name="connsiteX8" fmla="*/ 70826 w 79309"/>
                  <a:gd name="connsiteY8" fmla="*/ 20736 h 148927"/>
                  <a:gd name="connsiteX9" fmla="*/ 79305 w 79309"/>
                  <a:gd name="connsiteY9" fmla="*/ 51897 h 14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309" h="148927">
                    <a:moveTo>
                      <a:pt x="79305" y="51932"/>
                    </a:moveTo>
                    <a:cubicBezTo>
                      <a:pt x="78775" y="63909"/>
                      <a:pt x="72769" y="76274"/>
                      <a:pt x="65562" y="87791"/>
                    </a:cubicBezTo>
                    <a:cubicBezTo>
                      <a:pt x="57083" y="101358"/>
                      <a:pt x="49805" y="115207"/>
                      <a:pt x="46025" y="130893"/>
                    </a:cubicBezTo>
                    <a:cubicBezTo>
                      <a:pt x="43693" y="140609"/>
                      <a:pt x="38711" y="151419"/>
                      <a:pt x="27229" y="148416"/>
                    </a:cubicBezTo>
                    <a:cubicBezTo>
                      <a:pt x="15217" y="145307"/>
                      <a:pt x="10907" y="133119"/>
                      <a:pt x="15641" y="122025"/>
                    </a:cubicBezTo>
                    <a:cubicBezTo>
                      <a:pt x="24792" y="100510"/>
                      <a:pt x="18362" y="82245"/>
                      <a:pt x="7410" y="64191"/>
                    </a:cubicBezTo>
                    <a:cubicBezTo>
                      <a:pt x="-469" y="51225"/>
                      <a:pt x="-2306" y="37235"/>
                      <a:pt x="3064" y="23386"/>
                    </a:cubicBezTo>
                    <a:cubicBezTo>
                      <a:pt x="8010" y="10667"/>
                      <a:pt x="17620" y="563"/>
                      <a:pt x="31963" y="33"/>
                    </a:cubicBezTo>
                    <a:cubicBezTo>
                      <a:pt x="48144" y="-567"/>
                      <a:pt x="61817" y="7028"/>
                      <a:pt x="70826" y="20736"/>
                    </a:cubicBezTo>
                    <a:cubicBezTo>
                      <a:pt x="76443" y="29321"/>
                      <a:pt x="79446" y="39213"/>
                      <a:pt x="79305" y="51897"/>
                    </a:cubicBezTo>
                    <a:close/>
                  </a:path>
                </a:pathLst>
              </a:custGeom>
              <a:solidFill>
                <a:srgbClr val="F9BFB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7" name="Freeform: Shape 1056">
                <a:extLst>
                  <a:ext uri="{FF2B5EF4-FFF2-40B4-BE49-F238E27FC236}">
                    <a16:creationId xmlns:a16="http://schemas.microsoft.com/office/drawing/2014/main" id="{A31728B3-C0F9-3C21-96E4-5F454A95D0A4}"/>
                  </a:ext>
                </a:extLst>
              </p:cNvPr>
              <p:cNvSpPr/>
              <p:nvPr/>
            </p:nvSpPr>
            <p:spPr>
              <a:xfrm>
                <a:off x="5958897" y="3101407"/>
                <a:ext cx="82123" cy="89191"/>
              </a:xfrm>
              <a:custGeom>
                <a:avLst/>
                <a:gdLst>
                  <a:gd name="connsiteX0" fmla="*/ 82027 w 82123"/>
                  <a:gd name="connsiteY0" fmla="*/ 57130 h 89191"/>
                  <a:gd name="connsiteX1" fmla="*/ 73795 w 82123"/>
                  <a:gd name="connsiteY1" fmla="*/ 79882 h 89191"/>
                  <a:gd name="connsiteX2" fmla="*/ 43906 w 82123"/>
                  <a:gd name="connsiteY2" fmla="*/ 80448 h 89191"/>
                  <a:gd name="connsiteX3" fmla="*/ 6987 w 82123"/>
                  <a:gd name="connsiteY3" fmla="*/ 33813 h 89191"/>
                  <a:gd name="connsiteX4" fmla="*/ 2430 w 82123"/>
                  <a:gd name="connsiteY4" fmla="*/ 8552 h 89191"/>
                  <a:gd name="connsiteX5" fmla="*/ 27867 w 82123"/>
                  <a:gd name="connsiteY5" fmla="*/ 1098 h 89191"/>
                  <a:gd name="connsiteX6" fmla="*/ 82027 w 82123"/>
                  <a:gd name="connsiteY6" fmla="*/ 57130 h 8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23" h="89191">
                    <a:moveTo>
                      <a:pt x="82027" y="57130"/>
                    </a:moveTo>
                    <a:cubicBezTo>
                      <a:pt x="82698" y="65433"/>
                      <a:pt x="79872" y="73241"/>
                      <a:pt x="73795" y="79882"/>
                    </a:cubicBezTo>
                    <a:cubicBezTo>
                      <a:pt x="63302" y="91400"/>
                      <a:pt x="52103" y="92954"/>
                      <a:pt x="43906" y="80448"/>
                    </a:cubicBezTo>
                    <a:cubicBezTo>
                      <a:pt x="32884" y="63666"/>
                      <a:pt x="18187" y="50206"/>
                      <a:pt x="6987" y="33813"/>
                    </a:cubicBezTo>
                    <a:cubicBezTo>
                      <a:pt x="1723" y="26076"/>
                      <a:pt x="-3046" y="17879"/>
                      <a:pt x="2430" y="8552"/>
                    </a:cubicBezTo>
                    <a:cubicBezTo>
                      <a:pt x="8365" y="-1481"/>
                      <a:pt x="17586" y="-704"/>
                      <a:pt x="27867" y="1098"/>
                    </a:cubicBezTo>
                    <a:cubicBezTo>
                      <a:pt x="62525" y="7104"/>
                      <a:pt x="82274" y="26782"/>
                      <a:pt x="82027" y="57130"/>
                    </a:cubicBezTo>
                    <a:close/>
                  </a:path>
                </a:pathLst>
              </a:custGeom>
              <a:solidFill>
                <a:srgbClr val="F9BFB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8" name="Freeform: Shape 1057">
                <a:extLst>
                  <a:ext uri="{FF2B5EF4-FFF2-40B4-BE49-F238E27FC236}">
                    <a16:creationId xmlns:a16="http://schemas.microsoft.com/office/drawing/2014/main" id="{D16B6EBF-33B3-BB35-AF48-3DF43DA14E52}"/>
                  </a:ext>
                </a:extLst>
              </p:cNvPr>
              <p:cNvSpPr/>
              <p:nvPr/>
            </p:nvSpPr>
            <p:spPr>
              <a:xfrm>
                <a:off x="5943377" y="2753392"/>
                <a:ext cx="55751" cy="54740"/>
              </a:xfrm>
              <a:custGeom>
                <a:avLst/>
                <a:gdLst>
                  <a:gd name="connsiteX0" fmla="*/ 55716 w 55751"/>
                  <a:gd name="connsiteY0" fmla="*/ 26981 h 54740"/>
                  <a:gd name="connsiteX1" fmla="*/ 28477 w 55751"/>
                  <a:gd name="connsiteY1" fmla="*/ 54714 h 54740"/>
                  <a:gd name="connsiteX2" fmla="*/ 2 w 55751"/>
                  <a:gd name="connsiteY2" fmla="*/ 26875 h 54740"/>
                  <a:gd name="connsiteX3" fmla="*/ 25969 w 55751"/>
                  <a:gd name="connsiteY3" fmla="*/ 24 h 54740"/>
                  <a:gd name="connsiteX4" fmla="*/ 55751 w 55751"/>
                  <a:gd name="connsiteY4" fmla="*/ 26981 h 54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51" h="54740">
                    <a:moveTo>
                      <a:pt x="55716" y="26981"/>
                    </a:moveTo>
                    <a:cubicBezTo>
                      <a:pt x="56140" y="40229"/>
                      <a:pt x="42574" y="54078"/>
                      <a:pt x="28477" y="54714"/>
                    </a:cubicBezTo>
                    <a:cubicBezTo>
                      <a:pt x="13851" y="55421"/>
                      <a:pt x="178" y="42066"/>
                      <a:pt x="2" y="26875"/>
                    </a:cubicBezTo>
                    <a:cubicBezTo>
                      <a:pt x="-175" y="14050"/>
                      <a:pt x="12791" y="589"/>
                      <a:pt x="25969" y="24"/>
                    </a:cubicBezTo>
                    <a:cubicBezTo>
                      <a:pt x="40525" y="-647"/>
                      <a:pt x="55328" y="12743"/>
                      <a:pt x="55751" y="26981"/>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9" name="Freeform: Shape 1058">
                <a:extLst>
                  <a:ext uri="{FF2B5EF4-FFF2-40B4-BE49-F238E27FC236}">
                    <a16:creationId xmlns:a16="http://schemas.microsoft.com/office/drawing/2014/main" id="{216AF8F9-6727-5A32-8E04-264DE25D2980}"/>
                  </a:ext>
                </a:extLst>
              </p:cNvPr>
              <p:cNvSpPr/>
              <p:nvPr/>
            </p:nvSpPr>
            <p:spPr>
              <a:xfrm>
                <a:off x="5260637" y="2601358"/>
                <a:ext cx="54551" cy="54867"/>
              </a:xfrm>
              <a:custGeom>
                <a:avLst/>
                <a:gdLst>
                  <a:gd name="connsiteX0" fmla="*/ 28019 w 54551"/>
                  <a:gd name="connsiteY0" fmla="*/ 54867 h 54867"/>
                  <a:gd name="connsiteX1" fmla="*/ 2 w 54551"/>
                  <a:gd name="connsiteY1" fmla="*/ 27698 h 54867"/>
                  <a:gd name="connsiteX2" fmla="*/ 27135 w 54551"/>
                  <a:gd name="connsiteY2" fmla="*/ 0 h 54867"/>
                  <a:gd name="connsiteX3" fmla="*/ 54551 w 54551"/>
                  <a:gd name="connsiteY3" fmla="*/ 26956 h 54867"/>
                  <a:gd name="connsiteX4" fmla="*/ 28019 w 54551"/>
                  <a:gd name="connsiteY4" fmla="*/ 54867 h 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51" h="54867">
                    <a:moveTo>
                      <a:pt x="28019" y="54867"/>
                    </a:moveTo>
                    <a:cubicBezTo>
                      <a:pt x="14240" y="54725"/>
                      <a:pt x="214" y="41123"/>
                      <a:pt x="2" y="27698"/>
                    </a:cubicBezTo>
                    <a:cubicBezTo>
                      <a:pt x="-210" y="13814"/>
                      <a:pt x="13392" y="-35"/>
                      <a:pt x="27135" y="0"/>
                    </a:cubicBezTo>
                    <a:cubicBezTo>
                      <a:pt x="41797" y="0"/>
                      <a:pt x="54480" y="12507"/>
                      <a:pt x="54551" y="26956"/>
                    </a:cubicBezTo>
                    <a:cubicBezTo>
                      <a:pt x="54622" y="41865"/>
                      <a:pt x="42150" y="55008"/>
                      <a:pt x="28019" y="54867"/>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0" name="Freeform: Shape 1059">
                <a:extLst>
                  <a:ext uri="{FF2B5EF4-FFF2-40B4-BE49-F238E27FC236}">
                    <a16:creationId xmlns:a16="http://schemas.microsoft.com/office/drawing/2014/main" id="{74B8F67A-4C99-2896-39BF-F8A440E8FEAB}"/>
                  </a:ext>
                </a:extLst>
              </p:cNvPr>
              <p:cNvSpPr/>
              <p:nvPr/>
            </p:nvSpPr>
            <p:spPr>
              <a:xfrm>
                <a:off x="5617166" y="2557720"/>
                <a:ext cx="37466" cy="38082"/>
              </a:xfrm>
              <a:custGeom>
                <a:avLst/>
                <a:gdLst>
                  <a:gd name="connsiteX0" fmla="*/ 37431 w 37466"/>
                  <a:gd name="connsiteY0" fmla="*/ 20850 h 38082"/>
                  <a:gd name="connsiteX1" fmla="*/ 12912 w 37466"/>
                  <a:gd name="connsiteY1" fmla="*/ 36607 h 38082"/>
                  <a:gd name="connsiteX2" fmla="*/ 2879 w 37466"/>
                  <a:gd name="connsiteY2" fmla="*/ 7355 h 38082"/>
                  <a:gd name="connsiteX3" fmla="*/ 37466 w 37466"/>
                  <a:gd name="connsiteY3" fmla="*/ 20815 h 38082"/>
                </a:gdLst>
                <a:ahLst/>
                <a:cxnLst>
                  <a:cxn ang="0">
                    <a:pos x="connsiteX0" y="connsiteY0"/>
                  </a:cxn>
                  <a:cxn ang="0">
                    <a:pos x="connsiteX1" y="connsiteY1"/>
                  </a:cxn>
                  <a:cxn ang="0">
                    <a:pos x="connsiteX2" y="connsiteY2"/>
                  </a:cxn>
                  <a:cxn ang="0">
                    <a:pos x="connsiteX3" y="connsiteY3"/>
                  </a:cxn>
                </a:cxnLst>
                <a:rect l="l" t="t" r="r" b="b"/>
                <a:pathLst>
                  <a:path w="37466" h="38082">
                    <a:moveTo>
                      <a:pt x="37431" y="20850"/>
                    </a:moveTo>
                    <a:cubicBezTo>
                      <a:pt x="34074" y="33640"/>
                      <a:pt x="25984" y="41518"/>
                      <a:pt x="12912" y="36607"/>
                    </a:cubicBezTo>
                    <a:cubicBezTo>
                      <a:pt x="-442" y="31626"/>
                      <a:pt x="-2774" y="20215"/>
                      <a:pt x="2879" y="7355"/>
                    </a:cubicBezTo>
                    <a:cubicBezTo>
                      <a:pt x="22628" y="-5505"/>
                      <a:pt x="32202" y="-1796"/>
                      <a:pt x="37466" y="2081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1" name="Freeform: Shape 1060">
                <a:extLst>
                  <a:ext uri="{FF2B5EF4-FFF2-40B4-BE49-F238E27FC236}">
                    <a16:creationId xmlns:a16="http://schemas.microsoft.com/office/drawing/2014/main" id="{4DB9B87B-DC7B-0C49-597B-B3915E1FBCBE}"/>
                  </a:ext>
                </a:extLst>
              </p:cNvPr>
              <p:cNvSpPr/>
              <p:nvPr/>
            </p:nvSpPr>
            <p:spPr>
              <a:xfrm>
                <a:off x="5722889" y="2508334"/>
                <a:ext cx="17700" cy="18374"/>
              </a:xfrm>
              <a:custGeom>
                <a:avLst/>
                <a:gdLst>
                  <a:gd name="connsiteX0" fmla="*/ 17700 w 17700"/>
                  <a:gd name="connsiteY0" fmla="*/ 9824 h 18374"/>
                  <a:gd name="connsiteX1" fmla="*/ 9115 w 17700"/>
                  <a:gd name="connsiteY1" fmla="*/ 18373 h 18374"/>
                  <a:gd name="connsiteX2" fmla="*/ 0 w 17700"/>
                  <a:gd name="connsiteY2" fmla="*/ 8552 h 18374"/>
                  <a:gd name="connsiteX3" fmla="*/ 8550 w 17700"/>
                  <a:gd name="connsiteY3" fmla="*/ 2 h 18374"/>
                  <a:gd name="connsiteX4" fmla="*/ 17700 w 17700"/>
                  <a:gd name="connsiteY4" fmla="*/ 9824 h 1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00" h="18374">
                    <a:moveTo>
                      <a:pt x="17700" y="9824"/>
                    </a:moveTo>
                    <a:cubicBezTo>
                      <a:pt x="17205" y="15052"/>
                      <a:pt x="14556" y="18444"/>
                      <a:pt x="9115" y="18373"/>
                    </a:cubicBezTo>
                    <a:cubicBezTo>
                      <a:pt x="2862" y="18338"/>
                      <a:pt x="0" y="14487"/>
                      <a:pt x="0" y="8552"/>
                    </a:cubicBezTo>
                    <a:cubicBezTo>
                      <a:pt x="0" y="3040"/>
                      <a:pt x="3498" y="73"/>
                      <a:pt x="8550" y="2"/>
                    </a:cubicBezTo>
                    <a:cubicBezTo>
                      <a:pt x="14732" y="-104"/>
                      <a:pt x="17488" y="3924"/>
                      <a:pt x="17700" y="9824"/>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2" name="Freeform: Shape 1061">
                <a:extLst>
                  <a:ext uri="{FF2B5EF4-FFF2-40B4-BE49-F238E27FC236}">
                    <a16:creationId xmlns:a16="http://schemas.microsoft.com/office/drawing/2014/main" id="{0E01B2DF-F509-CFD8-6267-19B1FD8FAEAE}"/>
                  </a:ext>
                </a:extLst>
              </p:cNvPr>
              <p:cNvSpPr/>
              <p:nvPr/>
            </p:nvSpPr>
            <p:spPr>
              <a:xfrm>
                <a:off x="4692369" y="2856556"/>
                <a:ext cx="1039126" cy="1014074"/>
              </a:xfrm>
              <a:custGeom>
                <a:avLst/>
                <a:gdLst>
                  <a:gd name="connsiteX0" fmla="*/ 937639 w 1039126"/>
                  <a:gd name="connsiteY0" fmla="*/ 328408 h 1014074"/>
                  <a:gd name="connsiteX1" fmla="*/ 992717 w 1039126"/>
                  <a:gd name="connsiteY1" fmla="*/ 329326 h 1014074"/>
                  <a:gd name="connsiteX2" fmla="*/ 1019991 w 1039126"/>
                  <a:gd name="connsiteY2" fmla="*/ 342787 h 1014074"/>
                  <a:gd name="connsiteX3" fmla="*/ 1039034 w 1039126"/>
                  <a:gd name="connsiteY3" fmla="*/ 363490 h 1014074"/>
                  <a:gd name="connsiteX4" fmla="*/ 1016564 w 1039126"/>
                  <a:gd name="connsiteY4" fmla="*/ 376809 h 1014074"/>
                  <a:gd name="connsiteX5" fmla="*/ 972367 w 1039126"/>
                  <a:gd name="connsiteY5" fmla="*/ 379494 h 1014074"/>
                  <a:gd name="connsiteX6" fmla="*/ 942620 w 1039126"/>
                  <a:gd name="connsiteY6" fmla="*/ 426305 h 1014074"/>
                  <a:gd name="connsiteX7" fmla="*/ 955303 w 1039126"/>
                  <a:gd name="connsiteY7" fmla="*/ 501804 h 1014074"/>
                  <a:gd name="connsiteX8" fmla="*/ 939405 w 1039126"/>
                  <a:gd name="connsiteY8" fmla="*/ 547591 h 1014074"/>
                  <a:gd name="connsiteX9" fmla="*/ 924708 w 1039126"/>
                  <a:gd name="connsiteY9" fmla="*/ 632699 h 1014074"/>
                  <a:gd name="connsiteX10" fmla="*/ 961980 w 1039126"/>
                  <a:gd name="connsiteY10" fmla="*/ 673222 h 1014074"/>
                  <a:gd name="connsiteX11" fmla="*/ 977455 w 1039126"/>
                  <a:gd name="connsiteY11" fmla="*/ 690922 h 1014074"/>
                  <a:gd name="connsiteX12" fmla="*/ 954667 w 1039126"/>
                  <a:gd name="connsiteY12" fmla="*/ 697882 h 1014074"/>
                  <a:gd name="connsiteX13" fmla="*/ 878073 w 1039126"/>
                  <a:gd name="connsiteY13" fmla="*/ 749498 h 1014074"/>
                  <a:gd name="connsiteX14" fmla="*/ 869206 w 1039126"/>
                  <a:gd name="connsiteY14" fmla="*/ 773487 h 1014074"/>
                  <a:gd name="connsiteX15" fmla="*/ 798052 w 1039126"/>
                  <a:gd name="connsiteY15" fmla="*/ 856405 h 1014074"/>
                  <a:gd name="connsiteX16" fmla="*/ 762405 w 1039126"/>
                  <a:gd name="connsiteY16" fmla="*/ 928123 h 1014074"/>
                  <a:gd name="connsiteX17" fmla="*/ 763854 w 1039126"/>
                  <a:gd name="connsiteY17" fmla="*/ 968257 h 1014074"/>
                  <a:gd name="connsiteX18" fmla="*/ 738098 w 1039126"/>
                  <a:gd name="connsiteY18" fmla="*/ 979492 h 1014074"/>
                  <a:gd name="connsiteX19" fmla="*/ 724391 w 1039126"/>
                  <a:gd name="connsiteY19" fmla="*/ 972815 h 1014074"/>
                  <a:gd name="connsiteX20" fmla="*/ 659844 w 1039126"/>
                  <a:gd name="connsiteY20" fmla="*/ 962534 h 1014074"/>
                  <a:gd name="connsiteX21" fmla="*/ 587807 w 1039126"/>
                  <a:gd name="connsiteY21" fmla="*/ 968964 h 1014074"/>
                  <a:gd name="connsiteX22" fmla="*/ 511213 w 1039126"/>
                  <a:gd name="connsiteY22" fmla="*/ 986240 h 1014074"/>
                  <a:gd name="connsiteX23" fmla="*/ 426706 w 1039126"/>
                  <a:gd name="connsiteY23" fmla="*/ 990868 h 1014074"/>
                  <a:gd name="connsiteX24" fmla="*/ 396923 w 1039126"/>
                  <a:gd name="connsiteY24" fmla="*/ 983626 h 1014074"/>
                  <a:gd name="connsiteX25" fmla="*/ 339230 w 1039126"/>
                  <a:gd name="connsiteY25" fmla="*/ 999736 h 1014074"/>
                  <a:gd name="connsiteX26" fmla="*/ 289274 w 1039126"/>
                  <a:gd name="connsiteY26" fmla="*/ 983944 h 1014074"/>
                  <a:gd name="connsiteX27" fmla="*/ 255500 w 1039126"/>
                  <a:gd name="connsiteY27" fmla="*/ 918443 h 1014074"/>
                  <a:gd name="connsiteX28" fmla="*/ 182333 w 1039126"/>
                  <a:gd name="connsiteY28" fmla="*/ 917772 h 1014074"/>
                  <a:gd name="connsiteX29" fmla="*/ 162477 w 1039126"/>
                  <a:gd name="connsiteY29" fmla="*/ 928759 h 1014074"/>
                  <a:gd name="connsiteX30" fmla="*/ 165798 w 1039126"/>
                  <a:gd name="connsiteY30" fmla="*/ 905336 h 1014074"/>
                  <a:gd name="connsiteX31" fmla="*/ 150042 w 1039126"/>
                  <a:gd name="connsiteY31" fmla="*/ 853225 h 1014074"/>
                  <a:gd name="connsiteX32" fmla="*/ 90370 w 1039126"/>
                  <a:gd name="connsiteY32" fmla="*/ 785216 h 1014074"/>
                  <a:gd name="connsiteX33" fmla="*/ 47516 w 1039126"/>
                  <a:gd name="connsiteY33" fmla="*/ 768965 h 1014074"/>
                  <a:gd name="connsiteX34" fmla="*/ 3460 w 1039126"/>
                  <a:gd name="connsiteY34" fmla="*/ 757377 h 1014074"/>
                  <a:gd name="connsiteX35" fmla="*/ 18157 w 1039126"/>
                  <a:gd name="connsiteY35" fmla="*/ 709435 h 1014074"/>
                  <a:gd name="connsiteX36" fmla="*/ 32501 w 1039126"/>
                  <a:gd name="connsiteY36" fmla="*/ 700143 h 1014074"/>
                  <a:gd name="connsiteX37" fmla="*/ 46138 w 1039126"/>
                  <a:gd name="connsiteY37" fmla="*/ 631463 h 1014074"/>
                  <a:gd name="connsiteX38" fmla="*/ 26495 w 1039126"/>
                  <a:gd name="connsiteY38" fmla="*/ 582390 h 1014074"/>
                  <a:gd name="connsiteX39" fmla="*/ 39708 w 1039126"/>
                  <a:gd name="connsiteY39" fmla="*/ 498271 h 1014074"/>
                  <a:gd name="connsiteX40" fmla="*/ 48364 w 1039126"/>
                  <a:gd name="connsiteY40" fmla="*/ 409771 h 1014074"/>
                  <a:gd name="connsiteX41" fmla="*/ 64333 w 1039126"/>
                  <a:gd name="connsiteY41" fmla="*/ 340278 h 1014074"/>
                  <a:gd name="connsiteX42" fmla="*/ 84011 w 1039126"/>
                  <a:gd name="connsiteY42" fmla="*/ 310354 h 1014074"/>
                  <a:gd name="connsiteX43" fmla="*/ 78606 w 1039126"/>
                  <a:gd name="connsiteY43" fmla="*/ 255417 h 1014074"/>
                  <a:gd name="connsiteX44" fmla="*/ 67300 w 1039126"/>
                  <a:gd name="connsiteY44" fmla="*/ 238494 h 1014074"/>
                  <a:gd name="connsiteX45" fmla="*/ 89169 w 1039126"/>
                  <a:gd name="connsiteY45" fmla="*/ 193944 h 1014074"/>
                  <a:gd name="connsiteX46" fmla="*/ 134249 w 1039126"/>
                  <a:gd name="connsiteY46" fmla="*/ 185288 h 1014074"/>
                  <a:gd name="connsiteX47" fmla="*/ 177245 w 1039126"/>
                  <a:gd name="connsiteY47" fmla="*/ 154587 h 1014074"/>
                  <a:gd name="connsiteX48" fmla="*/ 243346 w 1039126"/>
                  <a:gd name="connsiteY48" fmla="*/ 112651 h 1014074"/>
                  <a:gd name="connsiteX49" fmla="*/ 300757 w 1039126"/>
                  <a:gd name="connsiteY49" fmla="*/ 58809 h 1014074"/>
                  <a:gd name="connsiteX50" fmla="*/ 303618 w 1039126"/>
                  <a:gd name="connsiteY50" fmla="*/ 47257 h 1014074"/>
                  <a:gd name="connsiteX51" fmla="*/ 322979 w 1039126"/>
                  <a:gd name="connsiteY51" fmla="*/ 27402 h 1014074"/>
                  <a:gd name="connsiteX52" fmla="*/ 331210 w 1039126"/>
                  <a:gd name="connsiteY52" fmla="*/ 49836 h 1014074"/>
                  <a:gd name="connsiteX53" fmla="*/ 360640 w 1039126"/>
                  <a:gd name="connsiteY53" fmla="*/ 78700 h 1014074"/>
                  <a:gd name="connsiteX54" fmla="*/ 435715 w 1039126"/>
                  <a:gd name="connsiteY54" fmla="*/ 63967 h 1014074"/>
                  <a:gd name="connsiteX55" fmla="*/ 477580 w 1039126"/>
                  <a:gd name="connsiteY55" fmla="*/ 65557 h 1014074"/>
                  <a:gd name="connsiteX56" fmla="*/ 540996 w 1039126"/>
                  <a:gd name="connsiteY56" fmla="*/ 85730 h 1014074"/>
                  <a:gd name="connsiteX57" fmla="*/ 576643 w 1039126"/>
                  <a:gd name="connsiteY57" fmla="*/ 49624 h 1014074"/>
                  <a:gd name="connsiteX58" fmla="*/ 566398 w 1039126"/>
                  <a:gd name="connsiteY58" fmla="*/ 26271 h 1014074"/>
                  <a:gd name="connsiteX59" fmla="*/ 579964 w 1039126"/>
                  <a:gd name="connsiteY59" fmla="*/ 481 h 1014074"/>
                  <a:gd name="connsiteX60" fmla="*/ 626528 w 1039126"/>
                  <a:gd name="connsiteY60" fmla="*/ 29380 h 1014074"/>
                  <a:gd name="connsiteX61" fmla="*/ 638399 w 1039126"/>
                  <a:gd name="connsiteY61" fmla="*/ 64886 h 1014074"/>
                  <a:gd name="connsiteX62" fmla="*/ 670231 w 1039126"/>
                  <a:gd name="connsiteY62" fmla="*/ 78700 h 1014074"/>
                  <a:gd name="connsiteX63" fmla="*/ 680830 w 1039126"/>
                  <a:gd name="connsiteY63" fmla="*/ 85589 h 1014074"/>
                  <a:gd name="connsiteX64" fmla="*/ 662352 w 1039126"/>
                  <a:gd name="connsiteY64" fmla="*/ 128726 h 1014074"/>
                  <a:gd name="connsiteX65" fmla="*/ 653732 w 1039126"/>
                  <a:gd name="connsiteY65" fmla="*/ 162960 h 1014074"/>
                  <a:gd name="connsiteX66" fmla="*/ 657759 w 1039126"/>
                  <a:gd name="connsiteY66" fmla="*/ 218887 h 1014074"/>
                  <a:gd name="connsiteX67" fmla="*/ 704500 w 1039126"/>
                  <a:gd name="connsiteY67" fmla="*/ 295905 h 1014074"/>
                  <a:gd name="connsiteX68" fmla="*/ 732976 w 1039126"/>
                  <a:gd name="connsiteY68" fmla="*/ 313569 h 1014074"/>
                  <a:gd name="connsiteX69" fmla="*/ 800561 w 1039126"/>
                  <a:gd name="connsiteY69" fmla="*/ 322967 h 1014074"/>
                  <a:gd name="connsiteX70" fmla="*/ 849562 w 1039126"/>
                  <a:gd name="connsiteY70" fmla="*/ 327489 h 1014074"/>
                  <a:gd name="connsiteX71" fmla="*/ 933752 w 1039126"/>
                  <a:gd name="connsiteY71" fmla="*/ 331905 h 1014074"/>
                  <a:gd name="connsiteX72" fmla="*/ 937745 w 1039126"/>
                  <a:gd name="connsiteY72" fmla="*/ 328231 h 1014074"/>
                  <a:gd name="connsiteX73" fmla="*/ 937568 w 1039126"/>
                  <a:gd name="connsiteY73" fmla="*/ 328408 h 1014074"/>
                  <a:gd name="connsiteX74" fmla="*/ 508564 w 1039126"/>
                  <a:gd name="connsiteY74" fmla="*/ 383027 h 1014074"/>
                  <a:gd name="connsiteX75" fmla="*/ 498283 w 1039126"/>
                  <a:gd name="connsiteY75" fmla="*/ 383027 h 1014074"/>
                  <a:gd name="connsiteX76" fmla="*/ 364809 w 1039126"/>
                  <a:gd name="connsiteY76" fmla="*/ 493996 h 1014074"/>
                  <a:gd name="connsiteX77" fmla="*/ 349617 w 1039126"/>
                  <a:gd name="connsiteY77" fmla="*/ 567269 h 1014074"/>
                  <a:gd name="connsiteX78" fmla="*/ 360958 w 1039126"/>
                  <a:gd name="connsiteY78" fmla="*/ 644853 h 1014074"/>
                  <a:gd name="connsiteX79" fmla="*/ 371168 w 1039126"/>
                  <a:gd name="connsiteY79" fmla="*/ 690074 h 1014074"/>
                  <a:gd name="connsiteX80" fmla="*/ 446737 w 1039126"/>
                  <a:gd name="connsiteY80" fmla="*/ 777514 h 1014074"/>
                  <a:gd name="connsiteX81" fmla="*/ 537675 w 1039126"/>
                  <a:gd name="connsiteY81" fmla="*/ 797475 h 1014074"/>
                  <a:gd name="connsiteX82" fmla="*/ 606885 w 1039126"/>
                  <a:gd name="connsiteY82" fmla="*/ 793130 h 1014074"/>
                  <a:gd name="connsiteX83" fmla="*/ 656700 w 1039126"/>
                  <a:gd name="connsiteY83" fmla="*/ 773345 h 1014074"/>
                  <a:gd name="connsiteX84" fmla="*/ 745977 w 1039126"/>
                  <a:gd name="connsiteY84" fmla="*/ 669477 h 1014074"/>
                  <a:gd name="connsiteX85" fmla="*/ 761698 w 1039126"/>
                  <a:gd name="connsiteY85" fmla="*/ 604153 h 1014074"/>
                  <a:gd name="connsiteX86" fmla="*/ 719904 w 1039126"/>
                  <a:gd name="connsiteY86" fmla="*/ 450647 h 1014074"/>
                  <a:gd name="connsiteX87" fmla="*/ 675601 w 1039126"/>
                  <a:gd name="connsiteY87" fmla="*/ 411184 h 1014074"/>
                  <a:gd name="connsiteX88" fmla="*/ 634866 w 1039126"/>
                  <a:gd name="connsiteY88" fmla="*/ 386489 h 1014074"/>
                  <a:gd name="connsiteX89" fmla="*/ 508564 w 1039126"/>
                  <a:gd name="connsiteY89" fmla="*/ 383097 h 1014074"/>
                  <a:gd name="connsiteX90" fmla="*/ 444476 w 1039126"/>
                  <a:gd name="connsiteY90" fmla="*/ 341903 h 1014074"/>
                  <a:gd name="connsiteX91" fmla="*/ 430627 w 1039126"/>
                  <a:gd name="connsiteY91" fmla="*/ 328938 h 1014074"/>
                  <a:gd name="connsiteX92" fmla="*/ 415365 w 1039126"/>
                  <a:gd name="connsiteY92" fmla="*/ 346037 h 1014074"/>
                  <a:gd name="connsiteX93" fmla="*/ 428225 w 1039126"/>
                  <a:gd name="connsiteY93" fmla="*/ 358720 h 1014074"/>
                  <a:gd name="connsiteX94" fmla="*/ 444441 w 1039126"/>
                  <a:gd name="connsiteY94" fmla="*/ 341939 h 1014074"/>
                  <a:gd name="connsiteX95" fmla="*/ 649634 w 1039126"/>
                  <a:gd name="connsiteY95" fmla="*/ 333530 h 1014074"/>
                  <a:gd name="connsiteX96" fmla="*/ 636774 w 1039126"/>
                  <a:gd name="connsiteY96" fmla="*/ 318657 h 1014074"/>
                  <a:gd name="connsiteX97" fmla="*/ 620240 w 1039126"/>
                  <a:gd name="connsiteY97" fmla="*/ 334272 h 1014074"/>
                  <a:gd name="connsiteX98" fmla="*/ 633559 w 1039126"/>
                  <a:gd name="connsiteY98" fmla="*/ 348545 h 1014074"/>
                  <a:gd name="connsiteX99" fmla="*/ 649634 w 1039126"/>
                  <a:gd name="connsiteY99" fmla="*/ 333530 h 1014074"/>
                  <a:gd name="connsiteX100" fmla="*/ 602045 w 1039126"/>
                  <a:gd name="connsiteY100" fmla="*/ 914239 h 1014074"/>
                  <a:gd name="connsiteX101" fmla="*/ 589750 w 1039126"/>
                  <a:gd name="connsiteY101" fmla="*/ 900425 h 1014074"/>
                  <a:gd name="connsiteX102" fmla="*/ 575619 w 1039126"/>
                  <a:gd name="connsiteY102" fmla="*/ 911978 h 1014074"/>
                  <a:gd name="connsiteX103" fmla="*/ 588726 w 1039126"/>
                  <a:gd name="connsiteY103" fmla="*/ 926745 h 1014074"/>
                  <a:gd name="connsiteX104" fmla="*/ 602045 w 1039126"/>
                  <a:gd name="connsiteY104" fmla="*/ 914204 h 1014074"/>
                  <a:gd name="connsiteX105" fmla="*/ 532729 w 1039126"/>
                  <a:gd name="connsiteY105" fmla="*/ 215495 h 1014074"/>
                  <a:gd name="connsiteX106" fmla="*/ 520081 w 1039126"/>
                  <a:gd name="connsiteY106" fmla="*/ 228567 h 1014074"/>
                  <a:gd name="connsiteX107" fmla="*/ 532234 w 1039126"/>
                  <a:gd name="connsiteY107" fmla="*/ 241921 h 1014074"/>
                  <a:gd name="connsiteX108" fmla="*/ 543928 w 1039126"/>
                  <a:gd name="connsiteY108" fmla="*/ 227825 h 1014074"/>
                  <a:gd name="connsiteX109" fmla="*/ 532694 w 1039126"/>
                  <a:gd name="connsiteY109" fmla="*/ 215495 h 1014074"/>
                  <a:gd name="connsiteX110" fmla="*/ 173606 w 1039126"/>
                  <a:gd name="connsiteY110" fmla="*/ 747308 h 1014074"/>
                  <a:gd name="connsiteX111" fmla="*/ 160252 w 1039126"/>
                  <a:gd name="connsiteY111" fmla="*/ 760627 h 1014074"/>
                  <a:gd name="connsiteX112" fmla="*/ 170462 w 1039126"/>
                  <a:gd name="connsiteY112" fmla="*/ 773275 h 1014074"/>
                  <a:gd name="connsiteX113" fmla="*/ 183852 w 1039126"/>
                  <a:gd name="connsiteY113" fmla="*/ 760662 h 1014074"/>
                  <a:gd name="connsiteX114" fmla="*/ 173606 w 1039126"/>
                  <a:gd name="connsiteY114" fmla="*/ 747308 h 1014074"/>
                  <a:gd name="connsiteX115" fmla="*/ 626387 w 1039126"/>
                  <a:gd name="connsiteY115" fmla="*/ 188327 h 1014074"/>
                  <a:gd name="connsiteX116" fmla="*/ 616177 w 1039126"/>
                  <a:gd name="connsiteY116" fmla="*/ 203130 h 1014074"/>
                  <a:gd name="connsiteX117" fmla="*/ 628471 w 1039126"/>
                  <a:gd name="connsiteY117" fmla="*/ 214364 h 1014074"/>
                  <a:gd name="connsiteX118" fmla="*/ 639388 w 1039126"/>
                  <a:gd name="connsiteY118" fmla="*/ 200091 h 1014074"/>
                  <a:gd name="connsiteX119" fmla="*/ 626352 w 1039126"/>
                  <a:gd name="connsiteY119" fmla="*/ 188362 h 1014074"/>
                  <a:gd name="connsiteX120" fmla="*/ 326441 w 1039126"/>
                  <a:gd name="connsiteY120" fmla="*/ 523214 h 1014074"/>
                  <a:gd name="connsiteX121" fmla="*/ 337923 w 1039126"/>
                  <a:gd name="connsiteY121" fmla="*/ 508905 h 1014074"/>
                  <a:gd name="connsiteX122" fmla="*/ 326158 w 1039126"/>
                  <a:gd name="connsiteY122" fmla="*/ 497070 h 1014074"/>
                  <a:gd name="connsiteX123" fmla="*/ 314570 w 1039126"/>
                  <a:gd name="connsiteY123" fmla="*/ 510884 h 1014074"/>
                  <a:gd name="connsiteX124" fmla="*/ 326476 w 1039126"/>
                  <a:gd name="connsiteY124" fmla="*/ 523214 h 1014074"/>
                  <a:gd name="connsiteX125" fmla="*/ 822783 w 1039126"/>
                  <a:gd name="connsiteY125" fmla="*/ 653756 h 1014074"/>
                  <a:gd name="connsiteX126" fmla="*/ 810983 w 1039126"/>
                  <a:gd name="connsiteY126" fmla="*/ 665026 h 1014074"/>
                  <a:gd name="connsiteX127" fmla="*/ 821405 w 1039126"/>
                  <a:gd name="connsiteY127" fmla="*/ 677426 h 1014074"/>
                  <a:gd name="connsiteX128" fmla="*/ 834583 w 1039126"/>
                  <a:gd name="connsiteY128" fmla="*/ 664743 h 1014074"/>
                  <a:gd name="connsiteX129" fmla="*/ 822747 w 1039126"/>
                  <a:gd name="connsiteY129" fmla="*/ 653756 h 1014074"/>
                  <a:gd name="connsiteX130" fmla="*/ 710860 w 1039126"/>
                  <a:gd name="connsiteY130" fmla="*/ 317809 h 1014074"/>
                  <a:gd name="connsiteX131" fmla="*/ 697434 w 1039126"/>
                  <a:gd name="connsiteY131" fmla="*/ 307952 h 1014074"/>
                  <a:gd name="connsiteX132" fmla="*/ 685069 w 1039126"/>
                  <a:gd name="connsiteY132" fmla="*/ 319611 h 1014074"/>
                  <a:gd name="connsiteX133" fmla="*/ 697152 w 1039126"/>
                  <a:gd name="connsiteY133" fmla="*/ 331481 h 1014074"/>
                  <a:gd name="connsiteX134" fmla="*/ 710824 w 1039126"/>
                  <a:gd name="connsiteY134" fmla="*/ 317774 h 1014074"/>
                  <a:gd name="connsiteX135" fmla="*/ 735449 w 1039126"/>
                  <a:gd name="connsiteY135" fmla="*/ 424397 h 1014074"/>
                  <a:gd name="connsiteX136" fmla="*/ 722589 w 1039126"/>
                  <a:gd name="connsiteY136" fmla="*/ 414081 h 1014074"/>
                  <a:gd name="connsiteX137" fmla="*/ 711955 w 1039126"/>
                  <a:gd name="connsiteY137" fmla="*/ 424468 h 1014074"/>
                  <a:gd name="connsiteX138" fmla="*/ 724567 w 1039126"/>
                  <a:gd name="connsiteY138" fmla="*/ 437116 h 1014074"/>
                  <a:gd name="connsiteX139" fmla="*/ 735449 w 1039126"/>
                  <a:gd name="connsiteY139" fmla="*/ 424433 h 1014074"/>
                  <a:gd name="connsiteX140" fmla="*/ 365833 w 1039126"/>
                  <a:gd name="connsiteY140" fmla="*/ 885021 h 1014074"/>
                  <a:gd name="connsiteX141" fmla="*/ 355022 w 1039126"/>
                  <a:gd name="connsiteY141" fmla="*/ 873186 h 1014074"/>
                  <a:gd name="connsiteX142" fmla="*/ 342692 w 1039126"/>
                  <a:gd name="connsiteY142" fmla="*/ 884668 h 1014074"/>
                  <a:gd name="connsiteX143" fmla="*/ 354492 w 1039126"/>
                  <a:gd name="connsiteY143" fmla="*/ 896539 h 1014074"/>
                  <a:gd name="connsiteX144" fmla="*/ 365798 w 1039126"/>
                  <a:gd name="connsiteY144" fmla="*/ 885057 h 1014074"/>
                  <a:gd name="connsiteX145" fmla="*/ 314040 w 1039126"/>
                  <a:gd name="connsiteY145" fmla="*/ 684669 h 1014074"/>
                  <a:gd name="connsiteX146" fmla="*/ 324356 w 1039126"/>
                  <a:gd name="connsiteY146" fmla="*/ 672657 h 1014074"/>
                  <a:gd name="connsiteX147" fmla="*/ 313228 w 1039126"/>
                  <a:gd name="connsiteY147" fmla="*/ 662164 h 1014074"/>
                  <a:gd name="connsiteX148" fmla="*/ 301074 w 1039126"/>
                  <a:gd name="connsiteY148" fmla="*/ 674105 h 1014074"/>
                  <a:gd name="connsiteX149" fmla="*/ 314040 w 1039126"/>
                  <a:gd name="connsiteY149" fmla="*/ 684669 h 1014074"/>
                  <a:gd name="connsiteX150" fmla="*/ 269172 w 1039126"/>
                  <a:gd name="connsiteY150" fmla="*/ 387090 h 1014074"/>
                  <a:gd name="connsiteX151" fmla="*/ 257195 w 1039126"/>
                  <a:gd name="connsiteY151" fmla="*/ 397406 h 1014074"/>
                  <a:gd name="connsiteX152" fmla="*/ 268359 w 1039126"/>
                  <a:gd name="connsiteY152" fmla="*/ 409700 h 1014074"/>
                  <a:gd name="connsiteX153" fmla="*/ 279453 w 1039126"/>
                  <a:gd name="connsiteY153" fmla="*/ 398819 h 1014074"/>
                  <a:gd name="connsiteX154" fmla="*/ 269172 w 1039126"/>
                  <a:gd name="connsiteY154" fmla="*/ 387054 h 1014074"/>
                  <a:gd name="connsiteX155" fmla="*/ 696798 w 1039126"/>
                  <a:gd name="connsiteY155" fmla="*/ 795356 h 1014074"/>
                  <a:gd name="connsiteX156" fmla="*/ 687825 w 1039126"/>
                  <a:gd name="connsiteY156" fmla="*/ 807756 h 1014074"/>
                  <a:gd name="connsiteX157" fmla="*/ 696834 w 1039126"/>
                  <a:gd name="connsiteY157" fmla="*/ 817295 h 1014074"/>
                  <a:gd name="connsiteX158" fmla="*/ 707468 w 1039126"/>
                  <a:gd name="connsiteY158" fmla="*/ 804895 h 1014074"/>
                  <a:gd name="connsiteX159" fmla="*/ 696763 w 1039126"/>
                  <a:gd name="connsiteY159" fmla="*/ 795356 h 1014074"/>
                  <a:gd name="connsiteX160" fmla="*/ 358767 w 1039126"/>
                  <a:gd name="connsiteY160" fmla="*/ 277357 h 1014074"/>
                  <a:gd name="connsiteX161" fmla="*/ 349970 w 1039126"/>
                  <a:gd name="connsiteY161" fmla="*/ 267535 h 1014074"/>
                  <a:gd name="connsiteX162" fmla="*/ 339195 w 1039126"/>
                  <a:gd name="connsiteY162" fmla="*/ 278381 h 1014074"/>
                  <a:gd name="connsiteX163" fmla="*/ 347603 w 1039126"/>
                  <a:gd name="connsiteY163" fmla="*/ 286931 h 1014074"/>
                  <a:gd name="connsiteX164" fmla="*/ 358767 w 1039126"/>
                  <a:gd name="connsiteY164" fmla="*/ 277357 h 1014074"/>
                  <a:gd name="connsiteX165" fmla="*/ 697611 w 1039126"/>
                  <a:gd name="connsiteY165" fmla="*/ 372145 h 1014074"/>
                  <a:gd name="connsiteX166" fmla="*/ 688319 w 1039126"/>
                  <a:gd name="connsiteY166" fmla="*/ 362889 h 1014074"/>
                  <a:gd name="connsiteX167" fmla="*/ 677791 w 1039126"/>
                  <a:gd name="connsiteY167" fmla="*/ 371333 h 1014074"/>
                  <a:gd name="connsiteX168" fmla="*/ 685316 w 1039126"/>
                  <a:gd name="connsiteY168" fmla="*/ 382320 h 1014074"/>
                  <a:gd name="connsiteX169" fmla="*/ 697576 w 1039126"/>
                  <a:gd name="connsiteY169" fmla="*/ 372145 h 1014074"/>
                  <a:gd name="connsiteX170" fmla="*/ 204237 w 1039126"/>
                  <a:gd name="connsiteY170" fmla="*/ 622242 h 1014074"/>
                  <a:gd name="connsiteX171" fmla="*/ 194344 w 1039126"/>
                  <a:gd name="connsiteY171" fmla="*/ 612986 h 1014074"/>
                  <a:gd name="connsiteX172" fmla="*/ 184558 w 1039126"/>
                  <a:gd name="connsiteY172" fmla="*/ 622242 h 1014074"/>
                  <a:gd name="connsiteX173" fmla="*/ 192931 w 1039126"/>
                  <a:gd name="connsiteY173" fmla="*/ 632558 h 1014074"/>
                  <a:gd name="connsiteX174" fmla="*/ 204237 w 1039126"/>
                  <a:gd name="connsiteY174" fmla="*/ 622207 h 1014074"/>
                  <a:gd name="connsiteX175" fmla="*/ 136016 w 1039126"/>
                  <a:gd name="connsiteY175" fmla="*/ 455346 h 1014074"/>
                  <a:gd name="connsiteX176" fmla="*/ 126336 w 1039126"/>
                  <a:gd name="connsiteY176" fmla="*/ 464885 h 1014074"/>
                  <a:gd name="connsiteX177" fmla="*/ 135062 w 1039126"/>
                  <a:gd name="connsiteY177" fmla="*/ 474848 h 1014074"/>
                  <a:gd name="connsiteX178" fmla="*/ 145166 w 1039126"/>
                  <a:gd name="connsiteY178" fmla="*/ 465344 h 1014074"/>
                  <a:gd name="connsiteX179" fmla="*/ 136016 w 1039126"/>
                  <a:gd name="connsiteY179" fmla="*/ 455346 h 1014074"/>
                  <a:gd name="connsiteX180" fmla="*/ 827517 w 1039126"/>
                  <a:gd name="connsiteY180" fmla="*/ 532117 h 1014074"/>
                  <a:gd name="connsiteX181" fmla="*/ 816706 w 1039126"/>
                  <a:gd name="connsiteY181" fmla="*/ 523814 h 1014074"/>
                  <a:gd name="connsiteX182" fmla="*/ 808086 w 1039126"/>
                  <a:gd name="connsiteY182" fmla="*/ 532329 h 1014074"/>
                  <a:gd name="connsiteX183" fmla="*/ 816918 w 1039126"/>
                  <a:gd name="connsiteY183" fmla="*/ 540666 h 1014074"/>
                  <a:gd name="connsiteX184" fmla="*/ 827517 w 1039126"/>
                  <a:gd name="connsiteY184" fmla="*/ 532152 h 1014074"/>
                  <a:gd name="connsiteX185" fmla="*/ 485564 w 1039126"/>
                  <a:gd name="connsiteY185" fmla="*/ 843404 h 1014074"/>
                  <a:gd name="connsiteX186" fmla="*/ 477050 w 1039126"/>
                  <a:gd name="connsiteY186" fmla="*/ 835242 h 1014074"/>
                  <a:gd name="connsiteX187" fmla="*/ 468500 w 1039126"/>
                  <a:gd name="connsiteY187" fmla="*/ 843474 h 1014074"/>
                  <a:gd name="connsiteX188" fmla="*/ 477933 w 1039126"/>
                  <a:gd name="connsiteY188" fmla="*/ 852412 h 1014074"/>
                  <a:gd name="connsiteX189" fmla="*/ 485564 w 1039126"/>
                  <a:gd name="connsiteY189" fmla="*/ 843404 h 1014074"/>
                  <a:gd name="connsiteX190" fmla="*/ 823207 w 1039126"/>
                  <a:gd name="connsiteY190" fmla="*/ 362642 h 1014074"/>
                  <a:gd name="connsiteX191" fmla="*/ 831297 w 1039126"/>
                  <a:gd name="connsiteY191" fmla="*/ 354375 h 1014074"/>
                  <a:gd name="connsiteX192" fmla="*/ 822641 w 1039126"/>
                  <a:gd name="connsiteY192" fmla="*/ 346002 h 1014074"/>
                  <a:gd name="connsiteX193" fmla="*/ 814551 w 1039126"/>
                  <a:gd name="connsiteY193" fmla="*/ 355011 h 1014074"/>
                  <a:gd name="connsiteX194" fmla="*/ 823207 w 1039126"/>
                  <a:gd name="connsiteY194" fmla="*/ 362642 h 101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039126" h="1014074">
                    <a:moveTo>
                      <a:pt x="937639" y="328408"/>
                    </a:moveTo>
                    <a:cubicBezTo>
                      <a:pt x="963924" y="306327"/>
                      <a:pt x="963818" y="306433"/>
                      <a:pt x="992717" y="329326"/>
                    </a:cubicBezTo>
                    <a:cubicBezTo>
                      <a:pt x="1000737" y="335686"/>
                      <a:pt x="1009357" y="340808"/>
                      <a:pt x="1019991" y="342787"/>
                    </a:cubicBezTo>
                    <a:cubicBezTo>
                      <a:pt x="1030802" y="344800"/>
                      <a:pt x="1040164" y="351654"/>
                      <a:pt x="1039034" y="363490"/>
                    </a:cubicBezTo>
                    <a:cubicBezTo>
                      <a:pt x="1037868" y="375678"/>
                      <a:pt x="1026704" y="376526"/>
                      <a:pt x="1016564" y="376809"/>
                    </a:cubicBezTo>
                    <a:cubicBezTo>
                      <a:pt x="1001832" y="377233"/>
                      <a:pt x="987064" y="375572"/>
                      <a:pt x="972367" y="379494"/>
                    </a:cubicBezTo>
                    <a:cubicBezTo>
                      <a:pt x="947354" y="386171"/>
                      <a:pt x="938027" y="400727"/>
                      <a:pt x="942620" y="426305"/>
                    </a:cubicBezTo>
                    <a:cubicBezTo>
                      <a:pt x="947107" y="451389"/>
                      <a:pt x="955975" y="475660"/>
                      <a:pt x="955303" y="501804"/>
                    </a:cubicBezTo>
                    <a:cubicBezTo>
                      <a:pt x="954844" y="519080"/>
                      <a:pt x="950816" y="534872"/>
                      <a:pt x="939405" y="547591"/>
                    </a:cubicBezTo>
                    <a:cubicBezTo>
                      <a:pt x="916512" y="573134"/>
                      <a:pt x="916936" y="602281"/>
                      <a:pt x="924708" y="632699"/>
                    </a:cubicBezTo>
                    <a:cubicBezTo>
                      <a:pt x="929831" y="652731"/>
                      <a:pt x="946930" y="662023"/>
                      <a:pt x="961980" y="673222"/>
                    </a:cubicBezTo>
                    <a:cubicBezTo>
                      <a:pt x="968410" y="677992"/>
                      <a:pt x="980811" y="681242"/>
                      <a:pt x="977455" y="690922"/>
                    </a:cubicBezTo>
                    <a:cubicBezTo>
                      <a:pt x="974770" y="698624"/>
                      <a:pt x="962864" y="698129"/>
                      <a:pt x="954667" y="697882"/>
                    </a:cubicBezTo>
                    <a:cubicBezTo>
                      <a:pt x="916582" y="696787"/>
                      <a:pt x="892452" y="715829"/>
                      <a:pt x="878073" y="749498"/>
                    </a:cubicBezTo>
                    <a:cubicBezTo>
                      <a:pt x="874717" y="757341"/>
                      <a:pt x="871184" y="765255"/>
                      <a:pt x="869206" y="773487"/>
                    </a:cubicBezTo>
                    <a:cubicBezTo>
                      <a:pt x="859561" y="813338"/>
                      <a:pt x="837091" y="840401"/>
                      <a:pt x="798052" y="856405"/>
                    </a:cubicBezTo>
                    <a:cubicBezTo>
                      <a:pt x="759826" y="872091"/>
                      <a:pt x="754562" y="887530"/>
                      <a:pt x="762405" y="928123"/>
                    </a:cubicBezTo>
                    <a:cubicBezTo>
                      <a:pt x="764949" y="941266"/>
                      <a:pt x="770354" y="954514"/>
                      <a:pt x="763854" y="968257"/>
                    </a:cubicBezTo>
                    <a:cubicBezTo>
                      <a:pt x="758413" y="979810"/>
                      <a:pt x="750888" y="985428"/>
                      <a:pt x="738098" y="979492"/>
                    </a:cubicBezTo>
                    <a:cubicBezTo>
                      <a:pt x="733470" y="977337"/>
                      <a:pt x="728383" y="975818"/>
                      <a:pt x="724391" y="972815"/>
                    </a:cubicBezTo>
                    <a:cubicBezTo>
                      <a:pt x="704606" y="957941"/>
                      <a:pt x="682737" y="954020"/>
                      <a:pt x="659844" y="962534"/>
                    </a:cubicBezTo>
                    <a:cubicBezTo>
                      <a:pt x="636173" y="971331"/>
                      <a:pt x="612149" y="970625"/>
                      <a:pt x="587807" y="968964"/>
                    </a:cubicBezTo>
                    <a:cubicBezTo>
                      <a:pt x="560568" y="967092"/>
                      <a:pt x="535308" y="970413"/>
                      <a:pt x="511213" y="986240"/>
                    </a:cubicBezTo>
                    <a:cubicBezTo>
                      <a:pt x="484999" y="1003445"/>
                      <a:pt x="455287" y="996910"/>
                      <a:pt x="426706" y="990868"/>
                    </a:cubicBezTo>
                    <a:cubicBezTo>
                      <a:pt x="416707" y="988749"/>
                      <a:pt x="406992" y="985145"/>
                      <a:pt x="396923" y="983626"/>
                    </a:cubicBezTo>
                    <a:cubicBezTo>
                      <a:pt x="375513" y="980375"/>
                      <a:pt x="356224" y="981541"/>
                      <a:pt x="339230" y="999736"/>
                    </a:cubicBezTo>
                    <a:cubicBezTo>
                      <a:pt x="316761" y="1023795"/>
                      <a:pt x="296022" y="1016941"/>
                      <a:pt x="289274" y="983944"/>
                    </a:cubicBezTo>
                    <a:cubicBezTo>
                      <a:pt x="284081" y="958542"/>
                      <a:pt x="274401" y="936496"/>
                      <a:pt x="255500" y="918443"/>
                    </a:cubicBezTo>
                    <a:cubicBezTo>
                      <a:pt x="229992" y="894137"/>
                      <a:pt x="208229" y="893924"/>
                      <a:pt x="182333" y="917772"/>
                    </a:cubicBezTo>
                    <a:cubicBezTo>
                      <a:pt x="176645" y="923001"/>
                      <a:pt x="171380" y="935507"/>
                      <a:pt x="162477" y="928759"/>
                    </a:cubicBezTo>
                    <a:cubicBezTo>
                      <a:pt x="155023" y="923107"/>
                      <a:pt x="162619" y="913108"/>
                      <a:pt x="165798" y="905336"/>
                    </a:cubicBezTo>
                    <a:cubicBezTo>
                      <a:pt x="175832" y="880888"/>
                      <a:pt x="172935" y="866368"/>
                      <a:pt x="150042" y="853225"/>
                    </a:cubicBezTo>
                    <a:cubicBezTo>
                      <a:pt x="121884" y="837044"/>
                      <a:pt x="103513" y="814115"/>
                      <a:pt x="90370" y="785216"/>
                    </a:cubicBezTo>
                    <a:cubicBezTo>
                      <a:pt x="82068" y="766951"/>
                      <a:pt x="66947" y="762111"/>
                      <a:pt x="47516" y="768965"/>
                    </a:cubicBezTo>
                    <a:cubicBezTo>
                      <a:pt x="25470" y="776737"/>
                      <a:pt x="11374" y="773028"/>
                      <a:pt x="3460" y="757377"/>
                    </a:cubicBezTo>
                    <a:cubicBezTo>
                      <a:pt x="-4524" y="741549"/>
                      <a:pt x="1694" y="721023"/>
                      <a:pt x="18157" y="709435"/>
                    </a:cubicBezTo>
                    <a:cubicBezTo>
                      <a:pt x="22821" y="706149"/>
                      <a:pt x="27943" y="703535"/>
                      <a:pt x="32501" y="700143"/>
                    </a:cubicBezTo>
                    <a:cubicBezTo>
                      <a:pt x="54546" y="683750"/>
                      <a:pt x="59457" y="659938"/>
                      <a:pt x="46138" y="631463"/>
                    </a:cubicBezTo>
                    <a:cubicBezTo>
                      <a:pt x="38648" y="615459"/>
                      <a:pt x="30982" y="599666"/>
                      <a:pt x="26495" y="582390"/>
                    </a:cubicBezTo>
                    <a:cubicBezTo>
                      <a:pt x="18722" y="552290"/>
                      <a:pt x="26742" y="524627"/>
                      <a:pt x="39708" y="498271"/>
                    </a:cubicBezTo>
                    <a:cubicBezTo>
                      <a:pt x="53840" y="469513"/>
                      <a:pt x="52674" y="439872"/>
                      <a:pt x="48364" y="409771"/>
                    </a:cubicBezTo>
                    <a:cubicBezTo>
                      <a:pt x="44760" y="384405"/>
                      <a:pt x="48434" y="361158"/>
                      <a:pt x="64333" y="340278"/>
                    </a:cubicBezTo>
                    <a:cubicBezTo>
                      <a:pt x="71575" y="330810"/>
                      <a:pt x="78076" y="320706"/>
                      <a:pt x="84011" y="310354"/>
                    </a:cubicBezTo>
                    <a:cubicBezTo>
                      <a:pt x="95811" y="289757"/>
                      <a:pt x="93833" y="274000"/>
                      <a:pt x="78606" y="255417"/>
                    </a:cubicBezTo>
                    <a:cubicBezTo>
                      <a:pt x="74295" y="250188"/>
                      <a:pt x="70197" y="244536"/>
                      <a:pt x="67300" y="238494"/>
                    </a:cubicBezTo>
                    <a:cubicBezTo>
                      <a:pt x="55359" y="213729"/>
                      <a:pt x="62001" y="200091"/>
                      <a:pt x="89169" y="193944"/>
                    </a:cubicBezTo>
                    <a:cubicBezTo>
                      <a:pt x="104078" y="190553"/>
                      <a:pt x="119411" y="189033"/>
                      <a:pt x="134249" y="185288"/>
                    </a:cubicBezTo>
                    <a:cubicBezTo>
                      <a:pt x="152373" y="180731"/>
                      <a:pt x="170285" y="172923"/>
                      <a:pt x="177245" y="154587"/>
                    </a:cubicBezTo>
                    <a:cubicBezTo>
                      <a:pt x="189151" y="123073"/>
                      <a:pt x="214588" y="116220"/>
                      <a:pt x="243346" y="112651"/>
                    </a:cubicBezTo>
                    <a:cubicBezTo>
                      <a:pt x="280937" y="107988"/>
                      <a:pt x="294079" y="95375"/>
                      <a:pt x="300757" y="58809"/>
                    </a:cubicBezTo>
                    <a:cubicBezTo>
                      <a:pt x="301463" y="54923"/>
                      <a:pt x="302417" y="51037"/>
                      <a:pt x="303618" y="47257"/>
                    </a:cubicBezTo>
                    <a:cubicBezTo>
                      <a:pt x="306798" y="37400"/>
                      <a:pt x="309730" y="25564"/>
                      <a:pt x="322979" y="27402"/>
                    </a:cubicBezTo>
                    <a:cubicBezTo>
                      <a:pt x="336722" y="29309"/>
                      <a:pt x="330892" y="41710"/>
                      <a:pt x="331210" y="49836"/>
                    </a:cubicBezTo>
                    <a:cubicBezTo>
                      <a:pt x="332023" y="70503"/>
                      <a:pt x="339513" y="77887"/>
                      <a:pt x="360640" y="78700"/>
                    </a:cubicBezTo>
                    <a:cubicBezTo>
                      <a:pt x="386889" y="79689"/>
                      <a:pt x="410878" y="69620"/>
                      <a:pt x="435715" y="63967"/>
                    </a:cubicBezTo>
                    <a:cubicBezTo>
                      <a:pt x="450200" y="60682"/>
                      <a:pt x="463660" y="60894"/>
                      <a:pt x="477580" y="65557"/>
                    </a:cubicBezTo>
                    <a:cubicBezTo>
                      <a:pt x="498601" y="72658"/>
                      <a:pt x="519622" y="79830"/>
                      <a:pt x="540996" y="85730"/>
                    </a:cubicBezTo>
                    <a:cubicBezTo>
                      <a:pt x="565515" y="92514"/>
                      <a:pt x="582755" y="74672"/>
                      <a:pt x="576643" y="49624"/>
                    </a:cubicBezTo>
                    <a:cubicBezTo>
                      <a:pt x="574630" y="41286"/>
                      <a:pt x="570390" y="33867"/>
                      <a:pt x="566398" y="26271"/>
                    </a:cubicBezTo>
                    <a:cubicBezTo>
                      <a:pt x="559438" y="12846"/>
                      <a:pt x="565303" y="2671"/>
                      <a:pt x="579964" y="481"/>
                    </a:cubicBezTo>
                    <a:cubicBezTo>
                      <a:pt x="600561" y="-2593"/>
                      <a:pt x="619674" y="9313"/>
                      <a:pt x="626528" y="29380"/>
                    </a:cubicBezTo>
                    <a:cubicBezTo>
                      <a:pt x="630556" y="41215"/>
                      <a:pt x="631404" y="54217"/>
                      <a:pt x="638399" y="64886"/>
                    </a:cubicBezTo>
                    <a:cubicBezTo>
                      <a:pt x="645818" y="76156"/>
                      <a:pt x="654827" y="85200"/>
                      <a:pt x="670231" y="78700"/>
                    </a:cubicBezTo>
                    <a:cubicBezTo>
                      <a:pt x="673764" y="80996"/>
                      <a:pt x="677297" y="83293"/>
                      <a:pt x="680830" y="85589"/>
                    </a:cubicBezTo>
                    <a:cubicBezTo>
                      <a:pt x="682278" y="103218"/>
                      <a:pt x="677615" y="118127"/>
                      <a:pt x="662352" y="128726"/>
                    </a:cubicBezTo>
                    <a:cubicBezTo>
                      <a:pt x="649669" y="137523"/>
                      <a:pt x="646737" y="149429"/>
                      <a:pt x="653732" y="162960"/>
                    </a:cubicBezTo>
                    <a:cubicBezTo>
                      <a:pt x="663165" y="181190"/>
                      <a:pt x="662070" y="199314"/>
                      <a:pt x="657759" y="218887"/>
                    </a:cubicBezTo>
                    <a:cubicBezTo>
                      <a:pt x="649916" y="254675"/>
                      <a:pt x="671008" y="290747"/>
                      <a:pt x="704500" y="295905"/>
                    </a:cubicBezTo>
                    <a:cubicBezTo>
                      <a:pt x="716230" y="297706"/>
                      <a:pt x="724779" y="305267"/>
                      <a:pt x="732976" y="313569"/>
                    </a:cubicBezTo>
                    <a:cubicBezTo>
                      <a:pt x="760427" y="341480"/>
                      <a:pt x="767846" y="342327"/>
                      <a:pt x="800561" y="322967"/>
                    </a:cubicBezTo>
                    <a:cubicBezTo>
                      <a:pt x="820946" y="310920"/>
                      <a:pt x="830343" y="311803"/>
                      <a:pt x="849562" y="327489"/>
                    </a:cubicBezTo>
                    <a:cubicBezTo>
                      <a:pt x="876872" y="349817"/>
                      <a:pt x="909375" y="351513"/>
                      <a:pt x="933752" y="331905"/>
                    </a:cubicBezTo>
                    <a:cubicBezTo>
                      <a:pt x="935095" y="330669"/>
                      <a:pt x="936437" y="329468"/>
                      <a:pt x="937745" y="328231"/>
                    </a:cubicBezTo>
                    <a:lnTo>
                      <a:pt x="937568" y="328408"/>
                    </a:lnTo>
                    <a:close/>
                    <a:moveTo>
                      <a:pt x="508564" y="383027"/>
                    </a:moveTo>
                    <a:cubicBezTo>
                      <a:pt x="505137" y="383027"/>
                      <a:pt x="501710" y="383097"/>
                      <a:pt x="498283" y="383027"/>
                    </a:cubicBezTo>
                    <a:cubicBezTo>
                      <a:pt x="442745" y="381720"/>
                      <a:pt x="371874" y="424256"/>
                      <a:pt x="364809" y="493996"/>
                    </a:cubicBezTo>
                    <a:cubicBezTo>
                      <a:pt x="362300" y="518868"/>
                      <a:pt x="357319" y="543316"/>
                      <a:pt x="349617" y="567269"/>
                    </a:cubicBezTo>
                    <a:cubicBezTo>
                      <a:pt x="340820" y="594720"/>
                      <a:pt x="342198" y="620935"/>
                      <a:pt x="360958" y="644853"/>
                    </a:cubicBezTo>
                    <a:cubicBezTo>
                      <a:pt x="371274" y="657960"/>
                      <a:pt x="374383" y="673999"/>
                      <a:pt x="371168" y="690074"/>
                    </a:cubicBezTo>
                    <a:cubicBezTo>
                      <a:pt x="362088" y="735472"/>
                      <a:pt x="391730" y="784792"/>
                      <a:pt x="446737" y="777514"/>
                    </a:cubicBezTo>
                    <a:cubicBezTo>
                      <a:pt x="478922" y="773239"/>
                      <a:pt x="509694" y="777267"/>
                      <a:pt x="537675" y="797475"/>
                    </a:cubicBezTo>
                    <a:cubicBezTo>
                      <a:pt x="560639" y="814080"/>
                      <a:pt x="585087" y="811642"/>
                      <a:pt x="606885" y="793130"/>
                    </a:cubicBezTo>
                    <a:cubicBezTo>
                      <a:pt x="621406" y="780800"/>
                      <a:pt x="638046" y="775183"/>
                      <a:pt x="656700" y="773345"/>
                    </a:cubicBezTo>
                    <a:cubicBezTo>
                      <a:pt x="716159" y="767445"/>
                      <a:pt x="752901" y="737557"/>
                      <a:pt x="745977" y="669477"/>
                    </a:cubicBezTo>
                    <a:cubicBezTo>
                      <a:pt x="743574" y="645701"/>
                      <a:pt x="751382" y="625068"/>
                      <a:pt x="761698" y="604153"/>
                    </a:cubicBezTo>
                    <a:cubicBezTo>
                      <a:pt x="788125" y="550594"/>
                      <a:pt x="769330" y="483009"/>
                      <a:pt x="719904" y="450647"/>
                    </a:cubicBezTo>
                    <a:cubicBezTo>
                      <a:pt x="703122" y="439660"/>
                      <a:pt x="687648" y="427824"/>
                      <a:pt x="675601" y="411184"/>
                    </a:cubicBezTo>
                    <a:cubicBezTo>
                      <a:pt x="665885" y="397759"/>
                      <a:pt x="653732" y="386489"/>
                      <a:pt x="634866" y="386489"/>
                    </a:cubicBezTo>
                    <a:cubicBezTo>
                      <a:pt x="592754" y="386454"/>
                      <a:pt x="550535" y="389280"/>
                      <a:pt x="508564" y="383097"/>
                    </a:cubicBezTo>
                    <a:close/>
                    <a:moveTo>
                      <a:pt x="444476" y="341903"/>
                    </a:moveTo>
                    <a:cubicBezTo>
                      <a:pt x="443487" y="334661"/>
                      <a:pt x="439353" y="328584"/>
                      <a:pt x="430627" y="328938"/>
                    </a:cubicBezTo>
                    <a:cubicBezTo>
                      <a:pt x="420452" y="329326"/>
                      <a:pt x="415365" y="337028"/>
                      <a:pt x="415365" y="346037"/>
                    </a:cubicBezTo>
                    <a:cubicBezTo>
                      <a:pt x="415365" y="352750"/>
                      <a:pt x="419569" y="359674"/>
                      <a:pt x="428225" y="358720"/>
                    </a:cubicBezTo>
                    <a:cubicBezTo>
                      <a:pt x="437198" y="357731"/>
                      <a:pt x="444724" y="354092"/>
                      <a:pt x="444441" y="341939"/>
                    </a:cubicBezTo>
                    <a:close/>
                    <a:moveTo>
                      <a:pt x="649634" y="333530"/>
                    </a:moveTo>
                    <a:cubicBezTo>
                      <a:pt x="647726" y="326712"/>
                      <a:pt x="646065" y="318586"/>
                      <a:pt x="636774" y="318657"/>
                    </a:cubicBezTo>
                    <a:cubicBezTo>
                      <a:pt x="627270" y="318763"/>
                      <a:pt x="620416" y="325016"/>
                      <a:pt x="620240" y="334272"/>
                    </a:cubicBezTo>
                    <a:cubicBezTo>
                      <a:pt x="620098" y="341480"/>
                      <a:pt x="624161" y="349005"/>
                      <a:pt x="633559" y="348545"/>
                    </a:cubicBezTo>
                    <a:cubicBezTo>
                      <a:pt x="642427" y="348086"/>
                      <a:pt x="647832" y="342751"/>
                      <a:pt x="649634" y="333530"/>
                    </a:cubicBezTo>
                    <a:close/>
                    <a:moveTo>
                      <a:pt x="602045" y="914239"/>
                    </a:moveTo>
                    <a:cubicBezTo>
                      <a:pt x="602151" y="904488"/>
                      <a:pt x="598124" y="900284"/>
                      <a:pt x="589750" y="900425"/>
                    </a:cubicBezTo>
                    <a:cubicBezTo>
                      <a:pt x="581978" y="900566"/>
                      <a:pt x="576149" y="904453"/>
                      <a:pt x="575619" y="911978"/>
                    </a:cubicBezTo>
                    <a:cubicBezTo>
                      <a:pt x="575018" y="920245"/>
                      <a:pt x="580636" y="926145"/>
                      <a:pt x="588726" y="926745"/>
                    </a:cubicBezTo>
                    <a:cubicBezTo>
                      <a:pt x="597594" y="927417"/>
                      <a:pt x="601268" y="920951"/>
                      <a:pt x="602045" y="914204"/>
                    </a:cubicBezTo>
                    <a:close/>
                    <a:moveTo>
                      <a:pt x="532729" y="215495"/>
                    </a:moveTo>
                    <a:cubicBezTo>
                      <a:pt x="525628" y="216696"/>
                      <a:pt x="520364" y="220618"/>
                      <a:pt x="520081" y="228567"/>
                    </a:cubicBezTo>
                    <a:cubicBezTo>
                      <a:pt x="519798" y="236481"/>
                      <a:pt x="524462" y="242169"/>
                      <a:pt x="532234" y="241921"/>
                    </a:cubicBezTo>
                    <a:cubicBezTo>
                      <a:pt x="540007" y="241674"/>
                      <a:pt x="543752" y="235633"/>
                      <a:pt x="543928" y="227825"/>
                    </a:cubicBezTo>
                    <a:cubicBezTo>
                      <a:pt x="544105" y="220477"/>
                      <a:pt x="541031" y="215884"/>
                      <a:pt x="532694" y="215495"/>
                    </a:cubicBezTo>
                    <a:close/>
                    <a:moveTo>
                      <a:pt x="173606" y="747308"/>
                    </a:moveTo>
                    <a:cubicBezTo>
                      <a:pt x="166505" y="749392"/>
                      <a:pt x="160358" y="751971"/>
                      <a:pt x="160252" y="760627"/>
                    </a:cubicBezTo>
                    <a:cubicBezTo>
                      <a:pt x="160146" y="767728"/>
                      <a:pt x="162371" y="773345"/>
                      <a:pt x="170462" y="773275"/>
                    </a:cubicBezTo>
                    <a:cubicBezTo>
                      <a:pt x="178376" y="773204"/>
                      <a:pt x="183216" y="768364"/>
                      <a:pt x="183852" y="760662"/>
                    </a:cubicBezTo>
                    <a:cubicBezTo>
                      <a:pt x="184452" y="753561"/>
                      <a:pt x="180213" y="749215"/>
                      <a:pt x="173606" y="747308"/>
                    </a:cubicBezTo>
                    <a:close/>
                    <a:moveTo>
                      <a:pt x="626387" y="188327"/>
                    </a:moveTo>
                    <a:cubicBezTo>
                      <a:pt x="620558" y="191224"/>
                      <a:pt x="615046" y="195110"/>
                      <a:pt x="616177" y="203130"/>
                    </a:cubicBezTo>
                    <a:cubicBezTo>
                      <a:pt x="617131" y="209772"/>
                      <a:pt x="621476" y="215071"/>
                      <a:pt x="628471" y="214364"/>
                    </a:cubicBezTo>
                    <a:cubicBezTo>
                      <a:pt x="636032" y="213587"/>
                      <a:pt x="640201" y="207864"/>
                      <a:pt x="639388" y="200091"/>
                    </a:cubicBezTo>
                    <a:cubicBezTo>
                      <a:pt x="638646" y="193238"/>
                      <a:pt x="634124" y="189351"/>
                      <a:pt x="626352" y="188362"/>
                    </a:cubicBezTo>
                    <a:close/>
                    <a:moveTo>
                      <a:pt x="326441" y="523214"/>
                    </a:moveTo>
                    <a:cubicBezTo>
                      <a:pt x="333683" y="521129"/>
                      <a:pt x="338488" y="516713"/>
                      <a:pt x="337923" y="508905"/>
                    </a:cubicBezTo>
                    <a:cubicBezTo>
                      <a:pt x="337428" y="502087"/>
                      <a:pt x="333083" y="496681"/>
                      <a:pt x="326158" y="497070"/>
                    </a:cubicBezTo>
                    <a:cubicBezTo>
                      <a:pt x="318668" y="497494"/>
                      <a:pt x="314076" y="503005"/>
                      <a:pt x="314570" y="510884"/>
                    </a:cubicBezTo>
                    <a:cubicBezTo>
                      <a:pt x="314994" y="517950"/>
                      <a:pt x="319764" y="521624"/>
                      <a:pt x="326476" y="523214"/>
                    </a:cubicBezTo>
                    <a:close/>
                    <a:moveTo>
                      <a:pt x="822783" y="653756"/>
                    </a:moveTo>
                    <a:cubicBezTo>
                      <a:pt x="815328" y="653826"/>
                      <a:pt x="811124" y="657324"/>
                      <a:pt x="810983" y="665026"/>
                    </a:cubicBezTo>
                    <a:cubicBezTo>
                      <a:pt x="810842" y="672198"/>
                      <a:pt x="813421" y="677532"/>
                      <a:pt x="821405" y="677426"/>
                    </a:cubicBezTo>
                    <a:cubicBezTo>
                      <a:pt x="829389" y="677320"/>
                      <a:pt x="834053" y="672445"/>
                      <a:pt x="834583" y="664743"/>
                    </a:cubicBezTo>
                    <a:cubicBezTo>
                      <a:pt x="835148" y="656865"/>
                      <a:pt x="830061" y="653826"/>
                      <a:pt x="822747" y="653756"/>
                    </a:cubicBezTo>
                    <a:close/>
                    <a:moveTo>
                      <a:pt x="710860" y="317809"/>
                    </a:moveTo>
                    <a:cubicBezTo>
                      <a:pt x="708316" y="312509"/>
                      <a:pt x="704995" y="307422"/>
                      <a:pt x="697434" y="307952"/>
                    </a:cubicBezTo>
                    <a:cubicBezTo>
                      <a:pt x="690298" y="308447"/>
                      <a:pt x="685175" y="312686"/>
                      <a:pt x="685069" y="319611"/>
                    </a:cubicBezTo>
                    <a:cubicBezTo>
                      <a:pt x="684928" y="326606"/>
                      <a:pt x="690121" y="330951"/>
                      <a:pt x="697152" y="331481"/>
                    </a:cubicBezTo>
                    <a:cubicBezTo>
                      <a:pt x="705984" y="332188"/>
                      <a:pt x="708351" y="325440"/>
                      <a:pt x="710824" y="317774"/>
                    </a:cubicBezTo>
                    <a:close/>
                    <a:moveTo>
                      <a:pt x="735449" y="424397"/>
                    </a:moveTo>
                    <a:cubicBezTo>
                      <a:pt x="734671" y="416201"/>
                      <a:pt x="729690" y="413763"/>
                      <a:pt x="722589" y="414081"/>
                    </a:cubicBezTo>
                    <a:cubicBezTo>
                      <a:pt x="715947" y="414364"/>
                      <a:pt x="711707" y="417579"/>
                      <a:pt x="711955" y="424468"/>
                    </a:cubicBezTo>
                    <a:cubicBezTo>
                      <a:pt x="712237" y="432276"/>
                      <a:pt x="716689" y="437681"/>
                      <a:pt x="724567" y="437116"/>
                    </a:cubicBezTo>
                    <a:cubicBezTo>
                      <a:pt x="731456" y="436621"/>
                      <a:pt x="734883" y="431110"/>
                      <a:pt x="735449" y="424433"/>
                    </a:cubicBezTo>
                    <a:close/>
                    <a:moveTo>
                      <a:pt x="365833" y="885021"/>
                    </a:moveTo>
                    <a:cubicBezTo>
                      <a:pt x="365868" y="877744"/>
                      <a:pt x="362936" y="872833"/>
                      <a:pt x="355022" y="873186"/>
                    </a:cubicBezTo>
                    <a:cubicBezTo>
                      <a:pt x="347957" y="873469"/>
                      <a:pt x="342940" y="877850"/>
                      <a:pt x="342692" y="884668"/>
                    </a:cubicBezTo>
                    <a:cubicBezTo>
                      <a:pt x="342445" y="891628"/>
                      <a:pt x="347568" y="896009"/>
                      <a:pt x="354492" y="896539"/>
                    </a:cubicBezTo>
                    <a:cubicBezTo>
                      <a:pt x="362230" y="897139"/>
                      <a:pt x="365551" y="892370"/>
                      <a:pt x="365798" y="885057"/>
                    </a:cubicBezTo>
                    <a:close/>
                    <a:moveTo>
                      <a:pt x="314040" y="684669"/>
                    </a:moveTo>
                    <a:cubicBezTo>
                      <a:pt x="321106" y="684245"/>
                      <a:pt x="325240" y="680359"/>
                      <a:pt x="324356" y="672657"/>
                    </a:cubicBezTo>
                    <a:cubicBezTo>
                      <a:pt x="323650" y="666368"/>
                      <a:pt x="319622" y="661457"/>
                      <a:pt x="313228" y="662164"/>
                    </a:cubicBezTo>
                    <a:cubicBezTo>
                      <a:pt x="307045" y="662871"/>
                      <a:pt x="300968" y="666121"/>
                      <a:pt x="301074" y="674105"/>
                    </a:cubicBezTo>
                    <a:cubicBezTo>
                      <a:pt x="301180" y="682125"/>
                      <a:pt x="306233" y="684810"/>
                      <a:pt x="314040" y="684669"/>
                    </a:cubicBezTo>
                    <a:close/>
                    <a:moveTo>
                      <a:pt x="269172" y="387090"/>
                    </a:moveTo>
                    <a:cubicBezTo>
                      <a:pt x="262565" y="387690"/>
                      <a:pt x="257937" y="391364"/>
                      <a:pt x="257195" y="397406"/>
                    </a:cubicBezTo>
                    <a:cubicBezTo>
                      <a:pt x="256312" y="404790"/>
                      <a:pt x="261576" y="409488"/>
                      <a:pt x="268359" y="409700"/>
                    </a:cubicBezTo>
                    <a:cubicBezTo>
                      <a:pt x="274577" y="409912"/>
                      <a:pt x="279100" y="405037"/>
                      <a:pt x="279453" y="398819"/>
                    </a:cubicBezTo>
                    <a:cubicBezTo>
                      <a:pt x="279841" y="392283"/>
                      <a:pt x="274931" y="388927"/>
                      <a:pt x="269172" y="387054"/>
                    </a:cubicBezTo>
                    <a:close/>
                    <a:moveTo>
                      <a:pt x="696798" y="795356"/>
                    </a:moveTo>
                    <a:cubicBezTo>
                      <a:pt x="691994" y="797970"/>
                      <a:pt x="687613" y="801150"/>
                      <a:pt x="687825" y="807756"/>
                    </a:cubicBezTo>
                    <a:cubicBezTo>
                      <a:pt x="688001" y="813550"/>
                      <a:pt x="690757" y="818037"/>
                      <a:pt x="696834" y="817295"/>
                    </a:cubicBezTo>
                    <a:cubicBezTo>
                      <a:pt x="703405" y="816483"/>
                      <a:pt x="708422" y="812243"/>
                      <a:pt x="707468" y="804895"/>
                    </a:cubicBezTo>
                    <a:cubicBezTo>
                      <a:pt x="706797" y="799666"/>
                      <a:pt x="702910" y="796204"/>
                      <a:pt x="696763" y="795356"/>
                    </a:cubicBezTo>
                    <a:close/>
                    <a:moveTo>
                      <a:pt x="358767" y="277357"/>
                    </a:moveTo>
                    <a:cubicBezTo>
                      <a:pt x="358485" y="271704"/>
                      <a:pt x="356153" y="267147"/>
                      <a:pt x="349970" y="267535"/>
                    </a:cubicBezTo>
                    <a:cubicBezTo>
                      <a:pt x="343823" y="267924"/>
                      <a:pt x="339654" y="272163"/>
                      <a:pt x="339195" y="278381"/>
                    </a:cubicBezTo>
                    <a:cubicBezTo>
                      <a:pt x="338806" y="283645"/>
                      <a:pt x="342657" y="286542"/>
                      <a:pt x="347603" y="286931"/>
                    </a:cubicBezTo>
                    <a:cubicBezTo>
                      <a:pt x="354174" y="287461"/>
                      <a:pt x="358096" y="284175"/>
                      <a:pt x="358767" y="277357"/>
                    </a:cubicBezTo>
                    <a:close/>
                    <a:moveTo>
                      <a:pt x="697611" y="372145"/>
                    </a:moveTo>
                    <a:cubicBezTo>
                      <a:pt x="697152" y="366775"/>
                      <a:pt x="694361" y="363172"/>
                      <a:pt x="688319" y="362889"/>
                    </a:cubicBezTo>
                    <a:cubicBezTo>
                      <a:pt x="682490" y="362606"/>
                      <a:pt x="678533" y="365398"/>
                      <a:pt x="677791" y="371333"/>
                    </a:cubicBezTo>
                    <a:cubicBezTo>
                      <a:pt x="677085" y="376950"/>
                      <a:pt x="679204" y="381755"/>
                      <a:pt x="685316" y="382320"/>
                    </a:cubicBezTo>
                    <a:cubicBezTo>
                      <a:pt x="691817" y="382921"/>
                      <a:pt x="695173" y="378257"/>
                      <a:pt x="697576" y="372145"/>
                    </a:cubicBezTo>
                    <a:close/>
                    <a:moveTo>
                      <a:pt x="204237" y="622242"/>
                    </a:moveTo>
                    <a:cubicBezTo>
                      <a:pt x="203813" y="615812"/>
                      <a:pt x="200174" y="612950"/>
                      <a:pt x="194344" y="612986"/>
                    </a:cubicBezTo>
                    <a:cubicBezTo>
                      <a:pt x="188409" y="613021"/>
                      <a:pt x="184912" y="616306"/>
                      <a:pt x="184558" y="622242"/>
                    </a:cubicBezTo>
                    <a:cubicBezTo>
                      <a:pt x="184205" y="628036"/>
                      <a:pt x="186819" y="632593"/>
                      <a:pt x="192931" y="632558"/>
                    </a:cubicBezTo>
                    <a:cubicBezTo>
                      <a:pt x="199255" y="632558"/>
                      <a:pt x="202647" y="627895"/>
                      <a:pt x="204237" y="622207"/>
                    </a:cubicBezTo>
                    <a:close/>
                    <a:moveTo>
                      <a:pt x="136016" y="455346"/>
                    </a:moveTo>
                    <a:cubicBezTo>
                      <a:pt x="130010" y="455770"/>
                      <a:pt x="126547" y="458879"/>
                      <a:pt x="126336" y="464885"/>
                    </a:cubicBezTo>
                    <a:cubicBezTo>
                      <a:pt x="126124" y="470750"/>
                      <a:pt x="128773" y="475130"/>
                      <a:pt x="135062" y="474848"/>
                    </a:cubicBezTo>
                    <a:cubicBezTo>
                      <a:pt x="140573" y="474601"/>
                      <a:pt x="144954" y="470891"/>
                      <a:pt x="145166" y="465344"/>
                    </a:cubicBezTo>
                    <a:cubicBezTo>
                      <a:pt x="145343" y="460009"/>
                      <a:pt x="142304" y="455735"/>
                      <a:pt x="136016" y="455346"/>
                    </a:cubicBezTo>
                    <a:close/>
                    <a:moveTo>
                      <a:pt x="827517" y="532117"/>
                    </a:moveTo>
                    <a:cubicBezTo>
                      <a:pt x="826492" y="525934"/>
                      <a:pt x="822571" y="523461"/>
                      <a:pt x="816706" y="523814"/>
                    </a:cubicBezTo>
                    <a:cubicBezTo>
                      <a:pt x="811513" y="524132"/>
                      <a:pt x="808015" y="526923"/>
                      <a:pt x="808086" y="532329"/>
                    </a:cubicBezTo>
                    <a:cubicBezTo>
                      <a:pt x="808156" y="537734"/>
                      <a:pt x="811760" y="540419"/>
                      <a:pt x="816918" y="540666"/>
                    </a:cubicBezTo>
                    <a:cubicBezTo>
                      <a:pt x="822818" y="540914"/>
                      <a:pt x="826634" y="538299"/>
                      <a:pt x="827517" y="532152"/>
                    </a:cubicBezTo>
                    <a:close/>
                    <a:moveTo>
                      <a:pt x="485564" y="843404"/>
                    </a:moveTo>
                    <a:cubicBezTo>
                      <a:pt x="485670" y="837574"/>
                      <a:pt x="482455" y="835242"/>
                      <a:pt x="477050" y="835242"/>
                    </a:cubicBezTo>
                    <a:cubicBezTo>
                      <a:pt x="471609" y="835242"/>
                      <a:pt x="468606" y="837786"/>
                      <a:pt x="468500" y="843474"/>
                    </a:cubicBezTo>
                    <a:cubicBezTo>
                      <a:pt x="468359" y="850010"/>
                      <a:pt x="471539" y="852766"/>
                      <a:pt x="477933" y="852412"/>
                    </a:cubicBezTo>
                    <a:cubicBezTo>
                      <a:pt x="483798" y="852095"/>
                      <a:pt x="485741" y="848668"/>
                      <a:pt x="485564" y="843404"/>
                    </a:cubicBezTo>
                    <a:close/>
                    <a:moveTo>
                      <a:pt x="823207" y="362642"/>
                    </a:moveTo>
                    <a:cubicBezTo>
                      <a:pt x="828789" y="362677"/>
                      <a:pt x="831757" y="360027"/>
                      <a:pt x="831297" y="354375"/>
                    </a:cubicBezTo>
                    <a:cubicBezTo>
                      <a:pt x="830873" y="349181"/>
                      <a:pt x="828012" y="345790"/>
                      <a:pt x="822641" y="346002"/>
                    </a:cubicBezTo>
                    <a:cubicBezTo>
                      <a:pt x="817271" y="346214"/>
                      <a:pt x="814728" y="349888"/>
                      <a:pt x="814551" y="355011"/>
                    </a:cubicBezTo>
                    <a:cubicBezTo>
                      <a:pt x="814339" y="360946"/>
                      <a:pt x="817978" y="362818"/>
                      <a:pt x="823207" y="362642"/>
                    </a:cubicBezTo>
                    <a:close/>
                  </a:path>
                </a:pathLst>
              </a:custGeom>
              <a:solidFill>
                <a:srgbClr val="F6A6A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3" name="Freeform: Shape 1062">
                <a:extLst>
                  <a:ext uri="{FF2B5EF4-FFF2-40B4-BE49-F238E27FC236}">
                    <a16:creationId xmlns:a16="http://schemas.microsoft.com/office/drawing/2014/main" id="{5D400627-A6E2-FBCE-39CE-1BDA50B983A1}"/>
                  </a:ext>
                </a:extLst>
              </p:cNvPr>
              <p:cNvSpPr/>
              <p:nvPr/>
            </p:nvSpPr>
            <p:spPr>
              <a:xfrm>
                <a:off x="5311260" y="2561547"/>
                <a:ext cx="637940" cy="645113"/>
              </a:xfrm>
              <a:custGeom>
                <a:avLst/>
                <a:gdLst>
                  <a:gd name="connsiteX0" fmla="*/ 314932 w 637940"/>
                  <a:gd name="connsiteY0" fmla="*/ 626915 h 645113"/>
                  <a:gd name="connsiteX1" fmla="*/ 230743 w 637940"/>
                  <a:gd name="connsiteY1" fmla="*/ 622499 h 645113"/>
                  <a:gd name="connsiteX2" fmla="*/ 181741 w 637940"/>
                  <a:gd name="connsiteY2" fmla="*/ 617976 h 645113"/>
                  <a:gd name="connsiteX3" fmla="*/ 114156 w 637940"/>
                  <a:gd name="connsiteY3" fmla="*/ 608579 h 645113"/>
                  <a:gd name="connsiteX4" fmla="*/ 85680 w 637940"/>
                  <a:gd name="connsiteY4" fmla="*/ 590914 h 645113"/>
                  <a:gd name="connsiteX5" fmla="*/ 38940 w 637940"/>
                  <a:gd name="connsiteY5" fmla="*/ 513896 h 645113"/>
                  <a:gd name="connsiteX6" fmla="*/ 34912 w 637940"/>
                  <a:gd name="connsiteY6" fmla="*/ 457970 h 645113"/>
                  <a:gd name="connsiteX7" fmla="*/ 43532 w 637940"/>
                  <a:gd name="connsiteY7" fmla="*/ 423736 h 645113"/>
                  <a:gd name="connsiteX8" fmla="*/ 62010 w 637940"/>
                  <a:gd name="connsiteY8" fmla="*/ 380599 h 645113"/>
                  <a:gd name="connsiteX9" fmla="*/ 40529 w 637940"/>
                  <a:gd name="connsiteY9" fmla="*/ 285563 h 645113"/>
                  <a:gd name="connsiteX10" fmla="*/ 9687 w 637940"/>
                  <a:gd name="connsiteY10" fmla="*/ 238610 h 645113"/>
                  <a:gd name="connsiteX11" fmla="*/ 572 w 637940"/>
                  <a:gd name="connsiteY11" fmla="*/ 185581 h 645113"/>
                  <a:gd name="connsiteX12" fmla="*/ 48302 w 637940"/>
                  <a:gd name="connsiteY12" fmla="*/ 154173 h 645113"/>
                  <a:gd name="connsiteX13" fmla="*/ 82889 w 637940"/>
                  <a:gd name="connsiteY13" fmla="*/ 139546 h 645113"/>
                  <a:gd name="connsiteX14" fmla="*/ 96067 w 637940"/>
                  <a:gd name="connsiteY14" fmla="*/ 71643 h 645113"/>
                  <a:gd name="connsiteX15" fmla="*/ 97869 w 637940"/>
                  <a:gd name="connsiteY15" fmla="*/ 35961 h 645113"/>
                  <a:gd name="connsiteX16" fmla="*/ 150686 w 637940"/>
                  <a:gd name="connsiteY16" fmla="*/ 207 h 645113"/>
                  <a:gd name="connsiteX17" fmla="*/ 240776 w 637940"/>
                  <a:gd name="connsiteY17" fmla="*/ 42037 h 645113"/>
                  <a:gd name="connsiteX18" fmla="*/ 284761 w 637940"/>
                  <a:gd name="connsiteY18" fmla="*/ 94078 h 645113"/>
                  <a:gd name="connsiteX19" fmla="*/ 347612 w 637940"/>
                  <a:gd name="connsiteY19" fmla="*/ 100684 h 645113"/>
                  <a:gd name="connsiteX20" fmla="*/ 393646 w 637940"/>
                  <a:gd name="connsiteY20" fmla="*/ 92806 h 645113"/>
                  <a:gd name="connsiteX21" fmla="*/ 421839 w 637940"/>
                  <a:gd name="connsiteY21" fmla="*/ 140571 h 645113"/>
                  <a:gd name="connsiteX22" fmla="*/ 413501 w 637940"/>
                  <a:gd name="connsiteY22" fmla="*/ 213173 h 645113"/>
                  <a:gd name="connsiteX23" fmla="*/ 465365 w 637940"/>
                  <a:gd name="connsiteY23" fmla="*/ 301885 h 645113"/>
                  <a:gd name="connsiteX24" fmla="*/ 588346 w 637940"/>
                  <a:gd name="connsiteY24" fmla="*/ 342549 h 645113"/>
                  <a:gd name="connsiteX25" fmla="*/ 637701 w 637940"/>
                  <a:gd name="connsiteY25" fmla="*/ 413737 h 645113"/>
                  <a:gd name="connsiteX26" fmla="*/ 611275 w 637940"/>
                  <a:gd name="connsiteY26" fmla="*/ 456557 h 645113"/>
                  <a:gd name="connsiteX27" fmla="*/ 570081 w 637940"/>
                  <a:gd name="connsiteY27" fmla="*/ 477401 h 645113"/>
                  <a:gd name="connsiteX28" fmla="*/ 554359 w 637940"/>
                  <a:gd name="connsiteY28" fmla="*/ 549190 h 645113"/>
                  <a:gd name="connsiteX29" fmla="*/ 570717 w 637940"/>
                  <a:gd name="connsiteY29" fmla="*/ 599040 h 645113"/>
                  <a:gd name="connsiteX30" fmla="*/ 491403 w 637940"/>
                  <a:gd name="connsiteY30" fmla="*/ 641470 h 645113"/>
                  <a:gd name="connsiteX31" fmla="*/ 401030 w 637940"/>
                  <a:gd name="connsiteY31" fmla="*/ 601195 h 645113"/>
                  <a:gd name="connsiteX32" fmla="*/ 355420 w 637940"/>
                  <a:gd name="connsiteY32" fmla="*/ 596496 h 645113"/>
                  <a:gd name="connsiteX33" fmla="*/ 318783 w 637940"/>
                  <a:gd name="connsiteY33" fmla="*/ 623558 h 645113"/>
                  <a:gd name="connsiteX34" fmla="*/ 318960 w 637940"/>
                  <a:gd name="connsiteY34" fmla="*/ 623382 h 645113"/>
                  <a:gd name="connsiteX35" fmla="*/ 314968 w 637940"/>
                  <a:gd name="connsiteY35" fmla="*/ 627056 h 645113"/>
                  <a:gd name="connsiteX36" fmla="*/ 277872 w 637940"/>
                  <a:gd name="connsiteY36" fmla="*/ 419284 h 645113"/>
                  <a:gd name="connsiteX37" fmla="*/ 251022 w 637940"/>
                  <a:gd name="connsiteY37" fmla="*/ 391869 h 645113"/>
                  <a:gd name="connsiteX38" fmla="*/ 223359 w 637940"/>
                  <a:gd name="connsiteY38" fmla="*/ 421192 h 645113"/>
                  <a:gd name="connsiteX39" fmla="*/ 252152 w 637940"/>
                  <a:gd name="connsiteY39" fmla="*/ 447336 h 645113"/>
                  <a:gd name="connsiteX40" fmla="*/ 277872 w 637940"/>
                  <a:gd name="connsiteY40" fmla="*/ 419284 h 645113"/>
                  <a:gd name="connsiteX41" fmla="*/ 161215 w 637940"/>
                  <a:gd name="connsiteY41" fmla="*/ 313543 h 645113"/>
                  <a:gd name="connsiteX42" fmla="*/ 142773 w 637940"/>
                  <a:gd name="connsiteY42" fmla="*/ 294996 h 645113"/>
                  <a:gd name="connsiteX43" fmla="*/ 124896 w 637940"/>
                  <a:gd name="connsiteY43" fmla="*/ 313685 h 645113"/>
                  <a:gd name="connsiteX44" fmla="*/ 143868 w 637940"/>
                  <a:gd name="connsiteY44" fmla="*/ 331526 h 645113"/>
                  <a:gd name="connsiteX45" fmla="*/ 161250 w 637940"/>
                  <a:gd name="connsiteY45" fmla="*/ 313508 h 645113"/>
                  <a:gd name="connsiteX46" fmla="*/ 181564 w 637940"/>
                  <a:gd name="connsiteY46" fmla="*/ 553571 h 645113"/>
                  <a:gd name="connsiteX47" fmla="*/ 162734 w 637940"/>
                  <a:gd name="connsiteY47" fmla="*/ 534811 h 645113"/>
                  <a:gd name="connsiteX48" fmla="*/ 145387 w 637940"/>
                  <a:gd name="connsiteY48" fmla="*/ 554030 h 645113"/>
                  <a:gd name="connsiteX49" fmla="*/ 164359 w 637940"/>
                  <a:gd name="connsiteY49" fmla="*/ 571589 h 645113"/>
                  <a:gd name="connsiteX50" fmla="*/ 181529 w 637940"/>
                  <a:gd name="connsiteY50" fmla="*/ 553571 h 645113"/>
                  <a:gd name="connsiteX51" fmla="*/ 397603 w 637940"/>
                  <a:gd name="connsiteY51" fmla="*/ 389572 h 645113"/>
                  <a:gd name="connsiteX52" fmla="*/ 380044 w 637940"/>
                  <a:gd name="connsiteY52" fmla="*/ 370600 h 645113"/>
                  <a:gd name="connsiteX53" fmla="*/ 361779 w 637940"/>
                  <a:gd name="connsiteY53" fmla="*/ 388972 h 645113"/>
                  <a:gd name="connsiteX54" fmla="*/ 378207 w 637940"/>
                  <a:gd name="connsiteY54" fmla="*/ 407131 h 645113"/>
                  <a:gd name="connsiteX55" fmla="*/ 397638 w 637940"/>
                  <a:gd name="connsiteY55" fmla="*/ 389572 h 645113"/>
                  <a:gd name="connsiteX56" fmla="*/ 495960 w 637940"/>
                  <a:gd name="connsiteY56" fmla="*/ 626102 h 645113"/>
                  <a:gd name="connsiteX57" fmla="*/ 512989 w 637940"/>
                  <a:gd name="connsiteY57" fmla="*/ 607802 h 645113"/>
                  <a:gd name="connsiteX58" fmla="*/ 494935 w 637940"/>
                  <a:gd name="connsiteY58" fmla="*/ 589289 h 645113"/>
                  <a:gd name="connsiteX59" fmla="*/ 477200 w 637940"/>
                  <a:gd name="connsiteY59" fmla="*/ 607625 h 645113"/>
                  <a:gd name="connsiteX60" fmla="*/ 495995 w 637940"/>
                  <a:gd name="connsiteY60" fmla="*/ 626067 h 645113"/>
                  <a:gd name="connsiteX61" fmla="*/ 136484 w 637940"/>
                  <a:gd name="connsiteY61" fmla="*/ 445110 h 645113"/>
                  <a:gd name="connsiteX62" fmla="*/ 118501 w 637940"/>
                  <a:gd name="connsiteY62" fmla="*/ 462139 h 645113"/>
                  <a:gd name="connsiteX63" fmla="*/ 135919 w 637940"/>
                  <a:gd name="connsiteY63" fmla="*/ 481181 h 645113"/>
                  <a:gd name="connsiteX64" fmla="*/ 153760 w 637940"/>
                  <a:gd name="connsiteY64" fmla="*/ 462775 h 645113"/>
                  <a:gd name="connsiteX65" fmla="*/ 136449 w 637940"/>
                  <a:gd name="connsiteY65" fmla="*/ 445110 h 645113"/>
                  <a:gd name="connsiteX66" fmla="*/ 223006 w 637940"/>
                  <a:gd name="connsiteY66" fmla="*/ 160744 h 645113"/>
                  <a:gd name="connsiteX67" fmla="*/ 204988 w 637940"/>
                  <a:gd name="connsiteY67" fmla="*/ 142302 h 645113"/>
                  <a:gd name="connsiteX68" fmla="*/ 188595 w 637940"/>
                  <a:gd name="connsiteY68" fmla="*/ 160532 h 645113"/>
                  <a:gd name="connsiteX69" fmla="*/ 206577 w 637940"/>
                  <a:gd name="connsiteY69" fmla="*/ 178197 h 645113"/>
                  <a:gd name="connsiteX70" fmla="*/ 223041 w 637940"/>
                  <a:gd name="connsiteY70" fmla="*/ 160779 h 645113"/>
                  <a:gd name="connsiteX71" fmla="*/ 384037 w 637940"/>
                  <a:gd name="connsiteY71" fmla="*/ 157741 h 645113"/>
                  <a:gd name="connsiteX72" fmla="*/ 367043 w 637940"/>
                  <a:gd name="connsiteY72" fmla="*/ 140960 h 645113"/>
                  <a:gd name="connsiteX73" fmla="*/ 349520 w 637940"/>
                  <a:gd name="connsiteY73" fmla="*/ 159190 h 645113"/>
                  <a:gd name="connsiteX74" fmla="*/ 367573 w 637940"/>
                  <a:gd name="connsiteY74" fmla="*/ 177278 h 645113"/>
                  <a:gd name="connsiteX75" fmla="*/ 384037 w 637940"/>
                  <a:gd name="connsiteY75" fmla="*/ 157741 h 645113"/>
                  <a:gd name="connsiteX76" fmla="*/ 357151 w 637940"/>
                  <a:gd name="connsiteY76" fmla="*/ 510399 h 645113"/>
                  <a:gd name="connsiteX77" fmla="*/ 366407 w 637940"/>
                  <a:gd name="connsiteY77" fmla="*/ 520008 h 645113"/>
                  <a:gd name="connsiteX78" fmla="*/ 376370 w 637940"/>
                  <a:gd name="connsiteY78" fmla="*/ 509551 h 645113"/>
                  <a:gd name="connsiteX79" fmla="*/ 366407 w 637940"/>
                  <a:gd name="connsiteY79" fmla="*/ 500683 h 645113"/>
                  <a:gd name="connsiteX80" fmla="*/ 357151 w 637940"/>
                  <a:gd name="connsiteY80" fmla="*/ 510399 h 645113"/>
                  <a:gd name="connsiteX81" fmla="*/ 68581 w 637940"/>
                  <a:gd name="connsiteY81" fmla="*/ 551275 h 645113"/>
                  <a:gd name="connsiteX82" fmla="*/ 78650 w 637940"/>
                  <a:gd name="connsiteY82" fmla="*/ 542018 h 645113"/>
                  <a:gd name="connsiteX83" fmla="*/ 70065 w 637940"/>
                  <a:gd name="connsiteY83" fmla="*/ 531737 h 645113"/>
                  <a:gd name="connsiteX84" fmla="*/ 59784 w 637940"/>
                  <a:gd name="connsiteY84" fmla="*/ 541276 h 645113"/>
                  <a:gd name="connsiteX85" fmla="*/ 68581 w 637940"/>
                  <a:gd name="connsiteY85" fmla="*/ 551275 h 645113"/>
                  <a:gd name="connsiteX86" fmla="*/ 266531 w 637940"/>
                  <a:gd name="connsiteY86" fmla="*/ 584237 h 645113"/>
                  <a:gd name="connsiteX87" fmla="*/ 257452 w 637940"/>
                  <a:gd name="connsiteY87" fmla="*/ 575793 h 645113"/>
                  <a:gd name="connsiteX88" fmla="*/ 247489 w 637940"/>
                  <a:gd name="connsiteY88" fmla="*/ 584908 h 645113"/>
                  <a:gd name="connsiteX89" fmla="*/ 257098 w 637940"/>
                  <a:gd name="connsiteY89" fmla="*/ 594235 h 645113"/>
                  <a:gd name="connsiteX90" fmla="*/ 266531 w 637940"/>
                  <a:gd name="connsiteY90" fmla="*/ 584237 h 645113"/>
                  <a:gd name="connsiteX91" fmla="*/ 40635 w 637940"/>
                  <a:gd name="connsiteY91" fmla="*/ 190491 h 645113"/>
                  <a:gd name="connsiteX92" fmla="*/ 30107 w 637940"/>
                  <a:gd name="connsiteY92" fmla="*/ 182083 h 645113"/>
                  <a:gd name="connsiteX93" fmla="*/ 21840 w 637940"/>
                  <a:gd name="connsiteY93" fmla="*/ 190739 h 645113"/>
                  <a:gd name="connsiteX94" fmla="*/ 31308 w 637940"/>
                  <a:gd name="connsiteY94" fmla="*/ 200454 h 645113"/>
                  <a:gd name="connsiteX95" fmla="*/ 40635 w 637940"/>
                  <a:gd name="connsiteY95" fmla="*/ 190491 h 645113"/>
                  <a:gd name="connsiteX96" fmla="*/ 325531 w 637940"/>
                  <a:gd name="connsiteY96" fmla="*/ 243627 h 645113"/>
                  <a:gd name="connsiteX97" fmla="*/ 317971 w 637940"/>
                  <a:gd name="connsiteY97" fmla="*/ 234017 h 645113"/>
                  <a:gd name="connsiteX98" fmla="*/ 308750 w 637940"/>
                  <a:gd name="connsiteY98" fmla="*/ 243273 h 645113"/>
                  <a:gd name="connsiteX99" fmla="*/ 316134 w 637940"/>
                  <a:gd name="connsiteY99" fmla="*/ 252600 h 645113"/>
                  <a:gd name="connsiteX100" fmla="*/ 325496 w 637940"/>
                  <a:gd name="connsiteY100" fmla="*/ 243627 h 645113"/>
                  <a:gd name="connsiteX101" fmla="*/ 112001 w 637940"/>
                  <a:gd name="connsiteY101" fmla="*/ 537108 h 645113"/>
                  <a:gd name="connsiteX102" fmla="*/ 120127 w 637940"/>
                  <a:gd name="connsiteY102" fmla="*/ 526509 h 645113"/>
                  <a:gd name="connsiteX103" fmla="*/ 111718 w 637940"/>
                  <a:gd name="connsiteY103" fmla="*/ 517959 h 645113"/>
                  <a:gd name="connsiteX104" fmla="*/ 103345 w 637940"/>
                  <a:gd name="connsiteY104" fmla="*/ 526650 h 645113"/>
                  <a:gd name="connsiteX105" fmla="*/ 112001 w 637940"/>
                  <a:gd name="connsiteY105" fmla="*/ 537072 h 645113"/>
                  <a:gd name="connsiteX106" fmla="*/ 440069 w 637940"/>
                  <a:gd name="connsiteY106" fmla="*/ 483866 h 645113"/>
                  <a:gd name="connsiteX107" fmla="*/ 432120 w 637940"/>
                  <a:gd name="connsiteY107" fmla="*/ 494606 h 645113"/>
                  <a:gd name="connsiteX108" fmla="*/ 440776 w 637940"/>
                  <a:gd name="connsiteY108" fmla="*/ 502803 h 645113"/>
                  <a:gd name="connsiteX109" fmla="*/ 448831 w 637940"/>
                  <a:gd name="connsiteY109" fmla="*/ 492239 h 645113"/>
                  <a:gd name="connsiteX110" fmla="*/ 440069 w 637940"/>
                  <a:gd name="connsiteY110" fmla="*/ 483831 h 645113"/>
                  <a:gd name="connsiteX111" fmla="*/ 254943 w 637940"/>
                  <a:gd name="connsiteY111" fmla="*/ 363005 h 645113"/>
                  <a:gd name="connsiteX112" fmla="*/ 264023 w 637940"/>
                  <a:gd name="connsiteY112" fmla="*/ 355585 h 645113"/>
                  <a:gd name="connsiteX113" fmla="*/ 257169 w 637940"/>
                  <a:gd name="connsiteY113" fmla="*/ 346046 h 645113"/>
                  <a:gd name="connsiteX114" fmla="*/ 247135 w 637940"/>
                  <a:gd name="connsiteY114" fmla="*/ 354207 h 645113"/>
                  <a:gd name="connsiteX115" fmla="*/ 254979 w 637940"/>
                  <a:gd name="connsiteY115" fmla="*/ 363005 h 645113"/>
                  <a:gd name="connsiteX116" fmla="*/ 551639 w 637940"/>
                  <a:gd name="connsiteY116" fmla="*/ 409639 h 645113"/>
                  <a:gd name="connsiteX117" fmla="*/ 543796 w 637940"/>
                  <a:gd name="connsiteY117" fmla="*/ 400913 h 645113"/>
                  <a:gd name="connsiteX118" fmla="*/ 534716 w 637940"/>
                  <a:gd name="connsiteY118" fmla="*/ 410099 h 645113"/>
                  <a:gd name="connsiteX119" fmla="*/ 543407 w 637940"/>
                  <a:gd name="connsiteY119" fmla="*/ 417977 h 645113"/>
                  <a:gd name="connsiteX120" fmla="*/ 551639 w 637940"/>
                  <a:gd name="connsiteY120" fmla="*/ 409639 h 645113"/>
                  <a:gd name="connsiteX121" fmla="*/ 145740 w 637940"/>
                  <a:gd name="connsiteY121" fmla="*/ 72244 h 645113"/>
                  <a:gd name="connsiteX122" fmla="*/ 137402 w 637940"/>
                  <a:gd name="connsiteY122" fmla="*/ 80158 h 645113"/>
                  <a:gd name="connsiteX123" fmla="*/ 144716 w 637940"/>
                  <a:gd name="connsiteY123" fmla="*/ 89131 h 645113"/>
                  <a:gd name="connsiteX124" fmla="*/ 154149 w 637940"/>
                  <a:gd name="connsiteY124" fmla="*/ 82489 h 645113"/>
                  <a:gd name="connsiteX125" fmla="*/ 145776 w 637940"/>
                  <a:gd name="connsiteY125" fmla="*/ 72279 h 645113"/>
                  <a:gd name="connsiteX126" fmla="*/ 227280 w 637940"/>
                  <a:gd name="connsiteY126" fmla="*/ 503615 h 645113"/>
                  <a:gd name="connsiteX127" fmla="*/ 236254 w 637940"/>
                  <a:gd name="connsiteY127" fmla="*/ 496196 h 645113"/>
                  <a:gd name="connsiteX128" fmla="*/ 228552 w 637940"/>
                  <a:gd name="connsiteY128" fmla="*/ 486940 h 645113"/>
                  <a:gd name="connsiteX129" fmla="*/ 219685 w 637940"/>
                  <a:gd name="connsiteY129" fmla="*/ 494924 h 645113"/>
                  <a:gd name="connsiteX130" fmla="*/ 227316 w 637940"/>
                  <a:gd name="connsiteY130" fmla="*/ 503615 h 645113"/>
                  <a:gd name="connsiteX131" fmla="*/ 195413 w 637940"/>
                  <a:gd name="connsiteY131" fmla="*/ 404234 h 645113"/>
                  <a:gd name="connsiteX132" fmla="*/ 188030 w 637940"/>
                  <a:gd name="connsiteY132" fmla="*/ 394589 h 645113"/>
                  <a:gd name="connsiteX133" fmla="*/ 178879 w 637940"/>
                  <a:gd name="connsiteY133" fmla="*/ 402220 h 645113"/>
                  <a:gd name="connsiteX134" fmla="*/ 186122 w 637940"/>
                  <a:gd name="connsiteY134" fmla="*/ 411123 h 645113"/>
                  <a:gd name="connsiteX135" fmla="*/ 195413 w 637940"/>
                  <a:gd name="connsiteY135" fmla="*/ 404234 h 645113"/>
                  <a:gd name="connsiteX136" fmla="*/ 486492 w 637940"/>
                  <a:gd name="connsiteY136" fmla="*/ 364842 h 645113"/>
                  <a:gd name="connsiteX137" fmla="*/ 478861 w 637940"/>
                  <a:gd name="connsiteY137" fmla="*/ 356398 h 645113"/>
                  <a:gd name="connsiteX138" fmla="*/ 470028 w 637940"/>
                  <a:gd name="connsiteY138" fmla="*/ 364347 h 645113"/>
                  <a:gd name="connsiteX139" fmla="*/ 477907 w 637940"/>
                  <a:gd name="connsiteY139" fmla="*/ 373003 h 645113"/>
                  <a:gd name="connsiteX140" fmla="*/ 486492 w 637940"/>
                  <a:gd name="connsiteY140" fmla="*/ 364806 h 64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637940" h="645113">
                    <a:moveTo>
                      <a:pt x="314932" y="626915"/>
                    </a:moveTo>
                    <a:cubicBezTo>
                      <a:pt x="290555" y="646523"/>
                      <a:pt x="258017" y="644827"/>
                      <a:pt x="230743" y="622499"/>
                    </a:cubicBezTo>
                    <a:cubicBezTo>
                      <a:pt x="211523" y="606777"/>
                      <a:pt x="202126" y="605929"/>
                      <a:pt x="181741" y="617976"/>
                    </a:cubicBezTo>
                    <a:cubicBezTo>
                      <a:pt x="149026" y="637337"/>
                      <a:pt x="141607" y="636489"/>
                      <a:pt x="114156" y="608579"/>
                    </a:cubicBezTo>
                    <a:cubicBezTo>
                      <a:pt x="105959" y="600241"/>
                      <a:pt x="97445" y="592716"/>
                      <a:pt x="85680" y="590914"/>
                    </a:cubicBezTo>
                    <a:cubicBezTo>
                      <a:pt x="52188" y="585756"/>
                      <a:pt x="31097" y="549649"/>
                      <a:pt x="38940" y="513896"/>
                    </a:cubicBezTo>
                    <a:cubicBezTo>
                      <a:pt x="43215" y="494324"/>
                      <a:pt x="44345" y="476200"/>
                      <a:pt x="34912" y="457970"/>
                    </a:cubicBezTo>
                    <a:cubicBezTo>
                      <a:pt x="27917" y="444439"/>
                      <a:pt x="30849" y="432533"/>
                      <a:pt x="43532" y="423736"/>
                    </a:cubicBezTo>
                    <a:cubicBezTo>
                      <a:pt x="58795" y="413137"/>
                      <a:pt x="63458" y="398228"/>
                      <a:pt x="62010" y="380599"/>
                    </a:cubicBezTo>
                    <a:cubicBezTo>
                      <a:pt x="72326" y="344987"/>
                      <a:pt x="58229" y="314639"/>
                      <a:pt x="40529" y="285563"/>
                    </a:cubicBezTo>
                    <a:cubicBezTo>
                      <a:pt x="30814" y="269594"/>
                      <a:pt x="18555" y="255356"/>
                      <a:pt x="9687" y="238610"/>
                    </a:cubicBezTo>
                    <a:cubicBezTo>
                      <a:pt x="678" y="221581"/>
                      <a:pt x="-1124" y="203881"/>
                      <a:pt x="572" y="185581"/>
                    </a:cubicBezTo>
                    <a:cubicBezTo>
                      <a:pt x="2833" y="161274"/>
                      <a:pt x="25938" y="145482"/>
                      <a:pt x="48302" y="154173"/>
                    </a:cubicBezTo>
                    <a:cubicBezTo>
                      <a:pt x="66073" y="161062"/>
                      <a:pt x="75294" y="152936"/>
                      <a:pt x="82889" y="139546"/>
                    </a:cubicBezTo>
                    <a:cubicBezTo>
                      <a:pt x="94795" y="118490"/>
                      <a:pt x="93594" y="94607"/>
                      <a:pt x="96067" y="71643"/>
                    </a:cubicBezTo>
                    <a:cubicBezTo>
                      <a:pt x="97339" y="59808"/>
                      <a:pt x="95184" y="47337"/>
                      <a:pt x="97869" y="35961"/>
                    </a:cubicBezTo>
                    <a:cubicBezTo>
                      <a:pt x="102780" y="15116"/>
                      <a:pt x="123765" y="1727"/>
                      <a:pt x="150686" y="207"/>
                    </a:cubicBezTo>
                    <a:cubicBezTo>
                      <a:pt x="188065" y="-1877"/>
                      <a:pt x="217989" y="11725"/>
                      <a:pt x="240776" y="42037"/>
                    </a:cubicBezTo>
                    <a:cubicBezTo>
                      <a:pt x="254413" y="60161"/>
                      <a:pt x="269146" y="77614"/>
                      <a:pt x="284761" y="94078"/>
                    </a:cubicBezTo>
                    <a:cubicBezTo>
                      <a:pt x="305111" y="115487"/>
                      <a:pt x="323553" y="116794"/>
                      <a:pt x="347612" y="100684"/>
                    </a:cubicBezTo>
                    <a:cubicBezTo>
                      <a:pt x="361850" y="91145"/>
                      <a:pt x="377253" y="83302"/>
                      <a:pt x="393646" y="92806"/>
                    </a:cubicBezTo>
                    <a:cubicBezTo>
                      <a:pt x="411276" y="103016"/>
                      <a:pt x="420638" y="119373"/>
                      <a:pt x="421839" y="140571"/>
                    </a:cubicBezTo>
                    <a:cubicBezTo>
                      <a:pt x="423252" y="165337"/>
                      <a:pt x="417070" y="189184"/>
                      <a:pt x="413501" y="213173"/>
                    </a:cubicBezTo>
                    <a:cubicBezTo>
                      <a:pt x="407637" y="252883"/>
                      <a:pt x="427138" y="287788"/>
                      <a:pt x="465365" y="301885"/>
                    </a:cubicBezTo>
                    <a:cubicBezTo>
                      <a:pt x="505923" y="316829"/>
                      <a:pt x="548141" y="326439"/>
                      <a:pt x="588346" y="342549"/>
                    </a:cubicBezTo>
                    <a:cubicBezTo>
                      <a:pt x="617988" y="354419"/>
                      <a:pt x="640528" y="377242"/>
                      <a:pt x="637701" y="413737"/>
                    </a:cubicBezTo>
                    <a:cubicBezTo>
                      <a:pt x="636182" y="433310"/>
                      <a:pt x="627809" y="447336"/>
                      <a:pt x="611275" y="456557"/>
                    </a:cubicBezTo>
                    <a:cubicBezTo>
                      <a:pt x="597850" y="464046"/>
                      <a:pt x="583718" y="470300"/>
                      <a:pt x="570081" y="477401"/>
                    </a:cubicBezTo>
                    <a:cubicBezTo>
                      <a:pt x="538567" y="493900"/>
                      <a:pt x="532879" y="520750"/>
                      <a:pt x="554359" y="549190"/>
                    </a:cubicBezTo>
                    <a:cubicBezTo>
                      <a:pt x="565417" y="563852"/>
                      <a:pt x="576016" y="578937"/>
                      <a:pt x="570717" y="599040"/>
                    </a:cubicBezTo>
                    <a:cubicBezTo>
                      <a:pt x="560719" y="637019"/>
                      <a:pt x="530689" y="652917"/>
                      <a:pt x="491403" y="641470"/>
                    </a:cubicBezTo>
                    <a:cubicBezTo>
                      <a:pt x="459394" y="632143"/>
                      <a:pt x="430742" y="615539"/>
                      <a:pt x="401030" y="601195"/>
                    </a:cubicBezTo>
                    <a:cubicBezTo>
                      <a:pt x="386439" y="594129"/>
                      <a:pt x="371636" y="588158"/>
                      <a:pt x="355420" y="596496"/>
                    </a:cubicBezTo>
                    <a:cubicBezTo>
                      <a:pt x="332067" y="595966"/>
                      <a:pt x="323341" y="602396"/>
                      <a:pt x="318783" y="623558"/>
                    </a:cubicBezTo>
                    <a:cubicBezTo>
                      <a:pt x="318783" y="623558"/>
                      <a:pt x="318960" y="623382"/>
                      <a:pt x="318960" y="623382"/>
                    </a:cubicBezTo>
                    <a:cubicBezTo>
                      <a:pt x="317618" y="624618"/>
                      <a:pt x="316275" y="625820"/>
                      <a:pt x="314968" y="627056"/>
                    </a:cubicBezTo>
                    <a:close/>
                    <a:moveTo>
                      <a:pt x="277872" y="419284"/>
                    </a:moveTo>
                    <a:cubicBezTo>
                      <a:pt x="277731" y="404834"/>
                      <a:pt x="265189" y="392010"/>
                      <a:pt x="251022" y="391869"/>
                    </a:cubicBezTo>
                    <a:cubicBezTo>
                      <a:pt x="238056" y="391727"/>
                      <a:pt x="223041" y="407625"/>
                      <a:pt x="223359" y="421192"/>
                    </a:cubicBezTo>
                    <a:cubicBezTo>
                      <a:pt x="223677" y="434087"/>
                      <a:pt x="237950" y="447053"/>
                      <a:pt x="252152" y="447336"/>
                    </a:cubicBezTo>
                    <a:cubicBezTo>
                      <a:pt x="266319" y="447618"/>
                      <a:pt x="278013" y="434900"/>
                      <a:pt x="277872" y="419284"/>
                    </a:cubicBezTo>
                    <a:close/>
                    <a:moveTo>
                      <a:pt x="161215" y="313543"/>
                    </a:moveTo>
                    <a:cubicBezTo>
                      <a:pt x="159695" y="302768"/>
                      <a:pt x="154149" y="295278"/>
                      <a:pt x="142773" y="294996"/>
                    </a:cubicBezTo>
                    <a:cubicBezTo>
                      <a:pt x="130831" y="294713"/>
                      <a:pt x="124825" y="303369"/>
                      <a:pt x="124896" y="313685"/>
                    </a:cubicBezTo>
                    <a:cubicBezTo>
                      <a:pt x="124967" y="324531"/>
                      <a:pt x="132810" y="331809"/>
                      <a:pt x="143868" y="331526"/>
                    </a:cubicBezTo>
                    <a:cubicBezTo>
                      <a:pt x="154255" y="331279"/>
                      <a:pt x="159660" y="323860"/>
                      <a:pt x="161250" y="313508"/>
                    </a:cubicBezTo>
                    <a:close/>
                    <a:moveTo>
                      <a:pt x="181564" y="553571"/>
                    </a:moveTo>
                    <a:cubicBezTo>
                      <a:pt x="178773" y="543608"/>
                      <a:pt x="174887" y="534458"/>
                      <a:pt x="162734" y="534811"/>
                    </a:cubicBezTo>
                    <a:cubicBezTo>
                      <a:pt x="150934" y="535164"/>
                      <a:pt x="144822" y="543608"/>
                      <a:pt x="145387" y="554030"/>
                    </a:cubicBezTo>
                    <a:cubicBezTo>
                      <a:pt x="145952" y="564276"/>
                      <a:pt x="152276" y="572614"/>
                      <a:pt x="164359" y="571589"/>
                    </a:cubicBezTo>
                    <a:cubicBezTo>
                      <a:pt x="174781" y="570670"/>
                      <a:pt x="180186" y="563781"/>
                      <a:pt x="181529" y="553571"/>
                    </a:cubicBezTo>
                    <a:close/>
                    <a:moveTo>
                      <a:pt x="397603" y="389572"/>
                    </a:moveTo>
                    <a:cubicBezTo>
                      <a:pt x="396720" y="378903"/>
                      <a:pt x="391350" y="370989"/>
                      <a:pt x="380044" y="370600"/>
                    </a:cubicBezTo>
                    <a:cubicBezTo>
                      <a:pt x="368562" y="370212"/>
                      <a:pt x="361991" y="378267"/>
                      <a:pt x="361779" y="388972"/>
                    </a:cubicBezTo>
                    <a:cubicBezTo>
                      <a:pt x="361567" y="398864"/>
                      <a:pt x="367220" y="406672"/>
                      <a:pt x="378207" y="407131"/>
                    </a:cubicBezTo>
                    <a:cubicBezTo>
                      <a:pt x="389654" y="407625"/>
                      <a:pt x="396013" y="401231"/>
                      <a:pt x="397638" y="389572"/>
                    </a:cubicBezTo>
                    <a:close/>
                    <a:moveTo>
                      <a:pt x="495960" y="626102"/>
                    </a:moveTo>
                    <a:cubicBezTo>
                      <a:pt x="505958" y="623912"/>
                      <a:pt x="513413" y="618047"/>
                      <a:pt x="512989" y="607802"/>
                    </a:cubicBezTo>
                    <a:cubicBezTo>
                      <a:pt x="512565" y="597591"/>
                      <a:pt x="507018" y="589006"/>
                      <a:pt x="494935" y="589289"/>
                    </a:cubicBezTo>
                    <a:cubicBezTo>
                      <a:pt x="483524" y="589572"/>
                      <a:pt x="476529" y="596214"/>
                      <a:pt x="477200" y="607625"/>
                    </a:cubicBezTo>
                    <a:cubicBezTo>
                      <a:pt x="477871" y="618400"/>
                      <a:pt x="484867" y="624830"/>
                      <a:pt x="495995" y="626067"/>
                    </a:cubicBezTo>
                    <a:close/>
                    <a:moveTo>
                      <a:pt x="136484" y="445110"/>
                    </a:moveTo>
                    <a:cubicBezTo>
                      <a:pt x="125779" y="444721"/>
                      <a:pt x="118890" y="451540"/>
                      <a:pt x="118501" y="462139"/>
                    </a:cubicBezTo>
                    <a:cubicBezTo>
                      <a:pt x="118148" y="472561"/>
                      <a:pt x="124649" y="480934"/>
                      <a:pt x="135919" y="481181"/>
                    </a:cubicBezTo>
                    <a:cubicBezTo>
                      <a:pt x="147259" y="481429"/>
                      <a:pt x="153725" y="473515"/>
                      <a:pt x="153760" y="462775"/>
                    </a:cubicBezTo>
                    <a:cubicBezTo>
                      <a:pt x="153831" y="453094"/>
                      <a:pt x="149238" y="445287"/>
                      <a:pt x="136449" y="445110"/>
                    </a:cubicBezTo>
                    <a:close/>
                    <a:moveTo>
                      <a:pt x="223006" y="160744"/>
                    </a:moveTo>
                    <a:cubicBezTo>
                      <a:pt x="222758" y="148838"/>
                      <a:pt x="215692" y="141878"/>
                      <a:pt x="204988" y="142302"/>
                    </a:cubicBezTo>
                    <a:cubicBezTo>
                      <a:pt x="195343" y="142691"/>
                      <a:pt x="188418" y="149227"/>
                      <a:pt x="188595" y="160532"/>
                    </a:cubicBezTo>
                    <a:cubicBezTo>
                      <a:pt x="188771" y="172438"/>
                      <a:pt x="194671" y="178479"/>
                      <a:pt x="206577" y="178197"/>
                    </a:cubicBezTo>
                    <a:cubicBezTo>
                      <a:pt x="217777" y="177914"/>
                      <a:pt x="222829" y="171519"/>
                      <a:pt x="223041" y="160779"/>
                    </a:cubicBezTo>
                    <a:close/>
                    <a:moveTo>
                      <a:pt x="384037" y="157741"/>
                    </a:moveTo>
                    <a:cubicBezTo>
                      <a:pt x="382729" y="148520"/>
                      <a:pt x="377889" y="140783"/>
                      <a:pt x="367043" y="140960"/>
                    </a:cubicBezTo>
                    <a:cubicBezTo>
                      <a:pt x="356126" y="141101"/>
                      <a:pt x="348813" y="146718"/>
                      <a:pt x="349520" y="159190"/>
                    </a:cubicBezTo>
                    <a:cubicBezTo>
                      <a:pt x="350156" y="170742"/>
                      <a:pt x="356162" y="178091"/>
                      <a:pt x="367573" y="177278"/>
                    </a:cubicBezTo>
                    <a:cubicBezTo>
                      <a:pt x="377607" y="176572"/>
                      <a:pt x="383507" y="169364"/>
                      <a:pt x="384037" y="157741"/>
                    </a:cubicBezTo>
                    <a:close/>
                    <a:moveTo>
                      <a:pt x="357151" y="510399"/>
                    </a:moveTo>
                    <a:cubicBezTo>
                      <a:pt x="357610" y="516087"/>
                      <a:pt x="360331" y="519902"/>
                      <a:pt x="366407" y="520008"/>
                    </a:cubicBezTo>
                    <a:cubicBezTo>
                      <a:pt x="373261" y="520114"/>
                      <a:pt x="376794" y="516228"/>
                      <a:pt x="376370" y="509551"/>
                    </a:cubicBezTo>
                    <a:cubicBezTo>
                      <a:pt x="376017" y="503686"/>
                      <a:pt x="372378" y="500436"/>
                      <a:pt x="366407" y="500683"/>
                    </a:cubicBezTo>
                    <a:cubicBezTo>
                      <a:pt x="360437" y="500930"/>
                      <a:pt x="357469" y="504428"/>
                      <a:pt x="357151" y="510399"/>
                    </a:cubicBezTo>
                    <a:close/>
                    <a:moveTo>
                      <a:pt x="68581" y="551275"/>
                    </a:moveTo>
                    <a:cubicBezTo>
                      <a:pt x="74552" y="550957"/>
                      <a:pt x="78332" y="548060"/>
                      <a:pt x="78650" y="542018"/>
                    </a:cubicBezTo>
                    <a:cubicBezTo>
                      <a:pt x="78968" y="536189"/>
                      <a:pt x="76318" y="531737"/>
                      <a:pt x="70065" y="531737"/>
                    </a:cubicBezTo>
                    <a:cubicBezTo>
                      <a:pt x="64306" y="531737"/>
                      <a:pt x="60597" y="535871"/>
                      <a:pt x="59784" y="541276"/>
                    </a:cubicBezTo>
                    <a:cubicBezTo>
                      <a:pt x="58865" y="547424"/>
                      <a:pt x="62681" y="550533"/>
                      <a:pt x="68581" y="551275"/>
                    </a:cubicBezTo>
                    <a:close/>
                    <a:moveTo>
                      <a:pt x="266531" y="584237"/>
                    </a:moveTo>
                    <a:cubicBezTo>
                      <a:pt x="265683" y="578867"/>
                      <a:pt x="262786" y="575793"/>
                      <a:pt x="257452" y="575793"/>
                    </a:cubicBezTo>
                    <a:cubicBezTo>
                      <a:pt x="251516" y="575793"/>
                      <a:pt x="247736" y="578796"/>
                      <a:pt x="247489" y="584908"/>
                    </a:cubicBezTo>
                    <a:cubicBezTo>
                      <a:pt x="247206" y="591338"/>
                      <a:pt x="251622" y="594412"/>
                      <a:pt x="257098" y="594235"/>
                    </a:cubicBezTo>
                    <a:cubicBezTo>
                      <a:pt x="262822" y="594058"/>
                      <a:pt x="265613" y="589536"/>
                      <a:pt x="266531" y="584237"/>
                    </a:cubicBezTo>
                    <a:close/>
                    <a:moveTo>
                      <a:pt x="40635" y="190491"/>
                    </a:moveTo>
                    <a:cubicBezTo>
                      <a:pt x="39682" y="184309"/>
                      <a:pt x="35866" y="181588"/>
                      <a:pt x="30107" y="182083"/>
                    </a:cubicBezTo>
                    <a:cubicBezTo>
                      <a:pt x="25161" y="182507"/>
                      <a:pt x="21487" y="185369"/>
                      <a:pt x="21840" y="190739"/>
                    </a:cubicBezTo>
                    <a:cubicBezTo>
                      <a:pt x="22229" y="196285"/>
                      <a:pt x="25585" y="200596"/>
                      <a:pt x="31308" y="200454"/>
                    </a:cubicBezTo>
                    <a:cubicBezTo>
                      <a:pt x="36997" y="200313"/>
                      <a:pt x="39752" y="195826"/>
                      <a:pt x="40635" y="190491"/>
                    </a:cubicBezTo>
                    <a:close/>
                    <a:moveTo>
                      <a:pt x="325531" y="243627"/>
                    </a:moveTo>
                    <a:cubicBezTo>
                      <a:pt x="325390" y="238327"/>
                      <a:pt x="323164" y="234441"/>
                      <a:pt x="317971" y="234017"/>
                    </a:cubicBezTo>
                    <a:cubicBezTo>
                      <a:pt x="311859" y="233522"/>
                      <a:pt x="308891" y="237409"/>
                      <a:pt x="308750" y="243273"/>
                    </a:cubicBezTo>
                    <a:cubicBezTo>
                      <a:pt x="308644" y="248290"/>
                      <a:pt x="310834" y="252247"/>
                      <a:pt x="316134" y="252600"/>
                    </a:cubicBezTo>
                    <a:cubicBezTo>
                      <a:pt x="322246" y="253024"/>
                      <a:pt x="325037" y="249138"/>
                      <a:pt x="325496" y="243627"/>
                    </a:cubicBezTo>
                    <a:close/>
                    <a:moveTo>
                      <a:pt x="112001" y="537108"/>
                    </a:moveTo>
                    <a:cubicBezTo>
                      <a:pt x="117795" y="536048"/>
                      <a:pt x="120550" y="532444"/>
                      <a:pt x="120127" y="526509"/>
                    </a:cubicBezTo>
                    <a:cubicBezTo>
                      <a:pt x="119738" y="521386"/>
                      <a:pt x="117018" y="517853"/>
                      <a:pt x="111718" y="517959"/>
                    </a:cubicBezTo>
                    <a:cubicBezTo>
                      <a:pt x="106595" y="518100"/>
                      <a:pt x="103557" y="521457"/>
                      <a:pt x="103345" y="526650"/>
                    </a:cubicBezTo>
                    <a:cubicBezTo>
                      <a:pt x="103098" y="532479"/>
                      <a:pt x="105783" y="536224"/>
                      <a:pt x="112001" y="537072"/>
                    </a:cubicBezTo>
                    <a:close/>
                    <a:moveTo>
                      <a:pt x="440069" y="483866"/>
                    </a:moveTo>
                    <a:cubicBezTo>
                      <a:pt x="434134" y="484997"/>
                      <a:pt x="431519" y="488812"/>
                      <a:pt x="432120" y="494606"/>
                    </a:cubicBezTo>
                    <a:cubicBezTo>
                      <a:pt x="432650" y="499588"/>
                      <a:pt x="435476" y="503227"/>
                      <a:pt x="440776" y="502803"/>
                    </a:cubicBezTo>
                    <a:cubicBezTo>
                      <a:pt x="446888" y="502343"/>
                      <a:pt x="449325" y="498033"/>
                      <a:pt x="448831" y="492239"/>
                    </a:cubicBezTo>
                    <a:cubicBezTo>
                      <a:pt x="448371" y="487117"/>
                      <a:pt x="445262" y="484325"/>
                      <a:pt x="440069" y="483831"/>
                    </a:cubicBezTo>
                    <a:close/>
                    <a:moveTo>
                      <a:pt x="254943" y="363005"/>
                    </a:moveTo>
                    <a:cubicBezTo>
                      <a:pt x="260101" y="363181"/>
                      <a:pt x="263776" y="361485"/>
                      <a:pt x="264023" y="355585"/>
                    </a:cubicBezTo>
                    <a:cubicBezTo>
                      <a:pt x="264235" y="350604"/>
                      <a:pt x="263175" y="346506"/>
                      <a:pt x="257169" y="346046"/>
                    </a:cubicBezTo>
                    <a:cubicBezTo>
                      <a:pt x="251269" y="345587"/>
                      <a:pt x="247135" y="347389"/>
                      <a:pt x="247135" y="354207"/>
                    </a:cubicBezTo>
                    <a:cubicBezTo>
                      <a:pt x="247135" y="359436"/>
                      <a:pt x="249185" y="362899"/>
                      <a:pt x="254979" y="363005"/>
                    </a:cubicBezTo>
                    <a:close/>
                    <a:moveTo>
                      <a:pt x="551639" y="409639"/>
                    </a:moveTo>
                    <a:cubicBezTo>
                      <a:pt x="551674" y="404340"/>
                      <a:pt x="549590" y="401054"/>
                      <a:pt x="543796" y="400913"/>
                    </a:cubicBezTo>
                    <a:cubicBezTo>
                      <a:pt x="537401" y="400736"/>
                      <a:pt x="534504" y="403704"/>
                      <a:pt x="534716" y="410099"/>
                    </a:cubicBezTo>
                    <a:cubicBezTo>
                      <a:pt x="534928" y="415822"/>
                      <a:pt x="538073" y="418048"/>
                      <a:pt x="543407" y="417977"/>
                    </a:cubicBezTo>
                    <a:cubicBezTo>
                      <a:pt x="548883" y="417906"/>
                      <a:pt x="551745" y="415221"/>
                      <a:pt x="551639" y="409639"/>
                    </a:cubicBezTo>
                    <a:close/>
                    <a:moveTo>
                      <a:pt x="145740" y="72244"/>
                    </a:moveTo>
                    <a:cubicBezTo>
                      <a:pt x="140335" y="72103"/>
                      <a:pt x="137473" y="74611"/>
                      <a:pt x="137402" y="80158"/>
                    </a:cubicBezTo>
                    <a:cubicBezTo>
                      <a:pt x="137332" y="85245"/>
                      <a:pt x="138922" y="88884"/>
                      <a:pt x="144716" y="89131"/>
                    </a:cubicBezTo>
                    <a:cubicBezTo>
                      <a:pt x="149556" y="89343"/>
                      <a:pt x="153795" y="88460"/>
                      <a:pt x="154149" y="82489"/>
                    </a:cubicBezTo>
                    <a:cubicBezTo>
                      <a:pt x="154502" y="76625"/>
                      <a:pt x="151817" y="72986"/>
                      <a:pt x="145776" y="72279"/>
                    </a:cubicBezTo>
                    <a:close/>
                    <a:moveTo>
                      <a:pt x="227280" y="503615"/>
                    </a:moveTo>
                    <a:cubicBezTo>
                      <a:pt x="232368" y="503686"/>
                      <a:pt x="236219" y="502096"/>
                      <a:pt x="236254" y="496196"/>
                    </a:cubicBezTo>
                    <a:cubicBezTo>
                      <a:pt x="236254" y="491109"/>
                      <a:pt x="233887" y="487328"/>
                      <a:pt x="228552" y="486940"/>
                    </a:cubicBezTo>
                    <a:cubicBezTo>
                      <a:pt x="223323" y="486587"/>
                      <a:pt x="220179" y="489660"/>
                      <a:pt x="219685" y="494924"/>
                    </a:cubicBezTo>
                    <a:cubicBezTo>
                      <a:pt x="219119" y="500400"/>
                      <a:pt x="221698" y="503368"/>
                      <a:pt x="227316" y="503615"/>
                    </a:cubicBezTo>
                    <a:close/>
                    <a:moveTo>
                      <a:pt x="195413" y="404234"/>
                    </a:moveTo>
                    <a:cubicBezTo>
                      <a:pt x="195343" y="399040"/>
                      <a:pt x="193329" y="395190"/>
                      <a:pt x="188030" y="394589"/>
                    </a:cubicBezTo>
                    <a:cubicBezTo>
                      <a:pt x="182695" y="393988"/>
                      <a:pt x="179656" y="397168"/>
                      <a:pt x="178879" y="402220"/>
                    </a:cubicBezTo>
                    <a:cubicBezTo>
                      <a:pt x="178102" y="407590"/>
                      <a:pt x="180504" y="410805"/>
                      <a:pt x="186122" y="411123"/>
                    </a:cubicBezTo>
                    <a:cubicBezTo>
                      <a:pt x="191138" y="411370"/>
                      <a:pt x="194989" y="410028"/>
                      <a:pt x="195413" y="404234"/>
                    </a:cubicBezTo>
                    <a:close/>
                    <a:moveTo>
                      <a:pt x="486492" y="364842"/>
                    </a:moveTo>
                    <a:cubicBezTo>
                      <a:pt x="486704" y="359542"/>
                      <a:pt x="484478" y="356257"/>
                      <a:pt x="478861" y="356398"/>
                    </a:cubicBezTo>
                    <a:cubicBezTo>
                      <a:pt x="473808" y="356539"/>
                      <a:pt x="470240" y="359083"/>
                      <a:pt x="470028" y="364347"/>
                    </a:cubicBezTo>
                    <a:cubicBezTo>
                      <a:pt x="469816" y="369470"/>
                      <a:pt x="472572" y="372897"/>
                      <a:pt x="477907" y="373003"/>
                    </a:cubicBezTo>
                    <a:cubicBezTo>
                      <a:pt x="483171" y="373109"/>
                      <a:pt x="485891" y="369929"/>
                      <a:pt x="486492" y="364806"/>
                    </a:cubicBezTo>
                    <a:close/>
                  </a:path>
                </a:pathLst>
              </a:custGeom>
              <a:solidFill>
                <a:srgbClr val="F9BFB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4" name="Freeform: Shape 1063">
                <a:extLst>
                  <a:ext uri="{FF2B5EF4-FFF2-40B4-BE49-F238E27FC236}">
                    <a16:creationId xmlns:a16="http://schemas.microsoft.com/office/drawing/2014/main" id="{DED81E6A-69EE-D89B-958A-2B6BD3E2E9AB}"/>
                  </a:ext>
                </a:extLst>
              </p:cNvPr>
              <p:cNvSpPr/>
              <p:nvPr/>
            </p:nvSpPr>
            <p:spPr>
              <a:xfrm>
                <a:off x="5967206" y="2966876"/>
                <a:ext cx="18321" cy="18901"/>
              </a:xfrm>
              <a:custGeom>
                <a:avLst/>
                <a:gdLst>
                  <a:gd name="connsiteX0" fmla="*/ 10372 w 18321"/>
                  <a:gd name="connsiteY0" fmla="*/ 0 h 18901"/>
                  <a:gd name="connsiteX1" fmla="*/ 18215 w 18321"/>
                  <a:gd name="connsiteY1" fmla="*/ 10987 h 18901"/>
                  <a:gd name="connsiteX2" fmla="*/ 8959 w 18321"/>
                  <a:gd name="connsiteY2" fmla="*/ 18901 h 18901"/>
                  <a:gd name="connsiteX3" fmla="*/ 56 w 18321"/>
                  <a:gd name="connsiteY3" fmla="*/ 9221 h 18901"/>
                  <a:gd name="connsiteX4" fmla="*/ 10372 w 18321"/>
                  <a:gd name="connsiteY4" fmla="*/ 35 h 18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1" h="18901">
                    <a:moveTo>
                      <a:pt x="10372" y="0"/>
                    </a:moveTo>
                    <a:cubicBezTo>
                      <a:pt x="16378" y="1237"/>
                      <a:pt x="18887" y="5264"/>
                      <a:pt x="18215" y="10987"/>
                    </a:cubicBezTo>
                    <a:cubicBezTo>
                      <a:pt x="17615" y="16110"/>
                      <a:pt x="14117" y="18937"/>
                      <a:pt x="8959" y="18901"/>
                    </a:cubicBezTo>
                    <a:cubicBezTo>
                      <a:pt x="2776" y="18831"/>
                      <a:pt x="-474" y="15192"/>
                      <a:pt x="56" y="9221"/>
                    </a:cubicBezTo>
                    <a:cubicBezTo>
                      <a:pt x="551" y="3356"/>
                      <a:pt x="4684" y="601"/>
                      <a:pt x="10372" y="3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5" name="Freeform: Shape 1064">
                <a:extLst>
                  <a:ext uri="{FF2B5EF4-FFF2-40B4-BE49-F238E27FC236}">
                    <a16:creationId xmlns:a16="http://schemas.microsoft.com/office/drawing/2014/main" id="{B7A5002C-F7FF-2FAE-1CD8-1AA95E4B9D90}"/>
                  </a:ext>
                </a:extLst>
              </p:cNvPr>
              <p:cNvSpPr/>
              <p:nvPr/>
            </p:nvSpPr>
            <p:spPr>
              <a:xfrm>
                <a:off x="5780758" y="2791857"/>
                <a:ext cx="16858" cy="18545"/>
              </a:xfrm>
              <a:custGeom>
                <a:avLst/>
                <a:gdLst>
                  <a:gd name="connsiteX0" fmla="*/ 8338 w 16858"/>
                  <a:gd name="connsiteY0" fmla="*/ 18545 h 18545"/>
                  <a:gd name="connsiteX1" fmla="*/ 0 w 16858"/>
                  <a:gd name="connsiteY1" fmla="*/ 9466 h 18545"/>
                  <a:gd name="connsiteX2" fmla="*/ 9398 w 16858"/>
                  <a:gd name="connsiteY2" fmla="*/ 33 h 18545"/>
                  <a:gd name="connsiteX3" fmla="*/ 16852 w 16858"/>
                  <a:gd name="connsiteY3" fmla="*/ 9642 h 18545"/>
                  <a:gd name="connsiteX4" fmla="*/ 8302 w 16858"/>
                  <a:gd name="connsiteY4" fmla="*/ 18545 h 1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8" h="18545">
                    <a:moveTo>
                      <a:pt x="8338" y="18545"/>
                    </a:moveTo>
                    <a:cubicBezTo>
                      <a:pt x="3286" y="17591"/>
                      <a:pt x="0" y="14906"/>
                      <a:pt x="0" y="9466"/>
                    </a:cubicBezTo>
                    <a:cubicBezTo>
                      <a:pt x="0" y="3354"/>
                      <a:pt x="3286" y="-391"/>
                      <a:pt x="9398" y="33"/>
                    </a:cubicBezTo>
                    <a:cubicBezTo>
                      <a:pt x="14768" y="386"/>
                      <a:pt x="16993" y="4519"/>
                      <a:pt x="16852" y="9642"/>
                    </a:cubicBezTo>
                    <a:cubicBezTo>
                      <a:pt x="16711" y="15048"/>
                      <a:pt x="13284" y="17627"/>
                      <a:pt x="8302" y="1854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6" name="Freeform: Shape 1065">
                <a:extLst>
                  <a:ext uri="{FF2B5EF4-FFF2-40B4-BE49-F238E27FC236}">
                    <a16:creationId xmlns:a16="http://schemas.microsoft.com/office/drawing/2014/main" id="{001BC50E-D290-F4D9-09D5-E1A3D33C63EF}"/>
                  </a:ext>
                </a:extLst>
              </p:cNvPr>
              <p:cNvSpPr/>
              <p:nvPr/>
            </p:nvSpPr>
            <p:spPr>
              <a:xfrm>
                <a:off x="5036745" y="3239483"/>
                <a:ext cx="429296" cy="425596"/>
              </a:xfrm>
              <a:custGeom>
                <a:avLst/>
                <a:gdLst>
                  <a:gd name="connsiteX0" fmla="*/ 164188 w 429296"/>
                  <a:gd name="connsiteY0" fmla="*/ 100 h 425596"/>
                  <a:gd name="connsiteX1" fmla="*/ 290490 w 429296"/>
                  <a:gd name="connsiteY1" fmla="*/ 3491 h 425596"/>
                  <a:gd name="connsiteX2" fmla="*/ 331225 w 429296"/>
                  <a:gd name="connsiteY2" fmla="*/ 28187 h 425596"/>
                  <a:gd name="connsiteX3" fmla="*/ 375528 w 429296"/>
                  <a:gd name="connsiteY3" fmla="*/ 67650 h 425596"/>
                  <a:gd name="connsiteX4" fmla="*/ 417322 w 429296"/>
                  <a:gd name="connsiteY4" fmla="*/ 221156 h 425596"/>
                  <a:gd name="connsiteX5" fmla="*/ 401601 w 429296"/>
                  <a:gd name="connsiteY5" fmla="*/ 286480 h 425596"/>
                  <a:gd name="connsiteX6" fmla="*/ 312324 w 429296"/>
                  <a:gd name="connsiteY6" fmla="*/ 390348 h 425596"/>
                  <a:gd name="connsiteX7" fmla="*/ 262509 w 429296"/>
                  <a:gd name="connsiteY7" fmla="*/ 410132 h 425596"/>
                  <a:gd name="connsiteX8" fmla="*/ 193299 w 429296"/>
                  <a:gd name="connsiteY8" fmla="*/ 414478 h 425596"/>
                  <a:gd name="connsiteX9" fmla="*/ 102361 w 429296"/>
                  <a:gd name="connsiteY9" fmla="*/ 394517 h 425596"/>
                  <a:gd name="connsiteX10" fmla="*/ 26792 w 429296"/>
                  <a:gd name="connsiteY10" fmla="*/ 307077 h 425596"/>
                  <a:gd name="connsiteX11" fmla="*/ 16582 w 429296"/>
                  <a:gd name="connsiteY11" fmla="*/ 261855 h 425596"/>
                  <a:gd name="connsiteX12" fmla="*/ 5241 w 429296"/>
                  <a:gd name="connsiteY12" fmla="*/ 184272 h 425596"/>
                  <a:gd name="connsiteX13" fmla="*/ 20432 w 429296"/>
                  <a:gd name="connsiteY13" fmla="*/ 110999 h 425596"/>
                  <a:gd name="connsiteX14" fmla="*/ 153907 w 429296"/>
                  <a:gd name="connsiteY14" fmla="*/ 29 h 425596"/>
                  <a:gd name="connsiteX15" fmla="*/ 164188 w 429296"/>
                  <a:gd name="connsiteY15" fmla="*/ 29 h 425596"/>
                  <a:gd name="connsiteX16" fmla="*/ 38521 w 429296"/>
                  <a:gd name="connsiteY16" fmla="*/ 306229 h 425596"/>
                  <a:gd name="connsiteX17" fmla="*/ 38521 w 429296"/>
                  <a:gd name="connsiteY17" fmla="*/ 313718 h 425596"/>
                  <a:gd name="connsiteX18" fmla="*/ 109604 w 429296"/>
                  <a:gd name="connsiteY18" fmla="*/ 384413 h 425596"/>
                  <a:gd name="connsiteX19" fmla="*/ 144898 w 429296"/>
                  <a:gd name="connsiteY19" fmla="*/ 381833 h 425596"/>
                  <a:gd name="connsiteX20" fmla="*/ 192910 w 429296"/>
                  <a:gd name="connsiteY20" fmla="*/ 402289 h 425596"/>
                  <a:gd name="connsiteX21" fmla="*/ 249261 w 429296"/>
                  <a:gd name="connsiteY21" fmla="*/ 405080 h 425596"/>
                  <a:gd name="connsiteX22" fmla="*/ 316457 w 429296"/>
                  <a:gd name="connsiteY22" fmla="*/ 378866 h 425596"/>
                  <a:gd name="connsiteX23" fmla="*/ 391214 w 429296"/>
                  <a:gd name="connsiteY23" fmla="*/ 284890 h 425596"/>
                  <a:gd name="connsiteX24" fmla="*/ 406935 w 429296"/>
                  <a:gd name="connsiteY24" fmla="*/ 216139 h 425596"/>
                  <a:gd name="connsiteX25" fmla="*/ 407041 w 429296"/>
                  <a:gd name="connsiteY25" fmla="*/ 121032 h 425596"/>
                  <a:gd name="connsiteX26" fmla="*/ 364823 w 429296"/>
                  <a:gd name="connsiteY26" fmla="*/ 73726 h 425596"/>
                  <a:gd name="connsiteX27" fmla="*/ 331719 w 429296"/>
                  <a:gd name="connsiteY27" fmla="*/ 45180 h 425596"/>
                  <a:gd name="connsiteX28" fmla="*/ 262262 w 429296"/>
                  <a:gd name="connsiteY28" fmla="*/ 13419 h 425596"/>
                  <a:gd name="connsiteX29" fmla="*/ 227074 w 429296"/>
                  <a:gd name="connsiteY29" fmla="*/ 15397 h 425596"/>
                  <a:gd name="connsiteX30" fmla="*/ 128788 w 429296"/>
                  <a:gd name="connsiteY30" fmla="*/ 13914 h 425596"/>
                  <a:gd name="connsiteX31" fmla="*/ 33045 w 429296"/>
                  <a:gd name="connsiteY31" fmla="*/ 104745 h 425596"/>
                  <a:gd name="connsiteX32" fmla="*/ 15168 w 429296"/>
                  <a:gd name="connsiteY32" fmla="*/ 191161 h 425596"/>
                  <a:gd name="connsiteX33" fmla="*/ 20079 w 429296"/>
                  <a:gd name="connsiteY33" fmla="*/ 246663 h 425596"/>
                  <a:gd name="connsiteX34" fmla="*/ 38521 w 429296"/>
                  <a:gd name="connsiteY34" fmla="*/ 306264 h 42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9296" h="425596">
                    <a:moveTo>
                      <a:pt x="164188" y="100"/>
                    </a:moveTo>
                    <a:cubicBezTo>
                      <a:pt x="206159" y="6283"/>
                      <a:pt x="248377" y="3456"/>
                      <a:pt x="290490" y="3491"/>
                    </a:cubicBezTo>
                    <a:cubicBezTo>
                      <a:pt x="309356" y="3491"/>
                      <a:pt x="321509" y="14797"/>
                      <a:pt x="331225" y="28187"/>
                    </a:cubicBezTo>
                    <a:cubicBezTo>
                      <a:pt x="343272" y="44827"/>
                      <a:pt x="358746" y="56662"/>
                      <a:pt x="375528" y="67650"/>
                    </a:cubicBezTo>
                    <a:cubicBezTo>
                      <a:pt x="424953" y="100011"/>
                      <a:pt x="443749" y="167596"/>
                      <a:pt x="417322" y="221156"/>
                    </a:cubicBezTo>
                    <a:cubicBezTo>
                      <a:pt x="407006" y="242035"/>
                      <a:pt x="399198" y="262668"/>
                      <a:pt x="401601" y="286480"/>
                    </a:cubicBezTo>
                    <a:cubicBezTo>
                      <a:pt x="408525" y="354559"/>
                      <a:pt x="371747" y="384448"/>
                      <a:pt x="312324" y="390348"/>
                    </a:cubicBezTo>
                    <a:cubicBezTo>
                      <a:pt x="293634" y="392185"/>
                      <a:pt x="277030" y="397838"/>
                      <a:pt x="262509" y="410132"/>
                    </a:cubicBezTo>
                    <a:cubicBezTo>
                      <a:pt x="240711" y="428645"/>
                      <a:pt x="216263" y="431083"/>
                      <a:pt x="193299" y="414478"/>
                    </a:cubicBezTo>
                    <a:cubicBezTo>
                      <a:pt x="165318" y="394269"/>
                      <a:pt x="134546" y="390242"/>
                      <a:pt x="102361" y="394517"/>
                    </a:cubicBezTo>
                    <a:cubicBezTo>
                      <a:pt x="47353" y="401795"/>
                      <a:pt x="17747" y="352475"/>
                      <a:pt x="26792" y="307077"/>
                    </a:cubicBezTo>
                    <a:cubicBezTo>
                      <a:pt x="30007" y="290966"/>
                      <a:pt x="26898" y="274962"/>
                      <a:pt x="16582" y="261855"/>
                    </a:cubicBezTo>
                    <a:cubicBezTo>
                      <a:pt x="-2178" y="237937"/>
                      <a:pt x="-3591" y="211723"/>
                      <a:pt x="5241" y="184272"/>
                    </a:cubicBezTo>
                    <a:cubicBezTo>
                      <a:pt x="12907" y="160319"/>
                      <a:pt x="17889" y="135871"/>
                      <a:pt x="20432" y="110999"/>
                    </a:cubicBezTo>
                    <a:cubicBezTo>
                      <a:pt x="27498" y="41259"/>
                      <a:pt x="98369" y="-1278"/>
                      <a:pt x="153907" y="29"/>
                    </a:cubicBezTo>
                    <a:cubicBezTo>
                      <a:pt x="157334" y="100"/>
                      <a:pt x="160761" y="29"/>
                      <a:pt x="164188" y="29"/>
                    </a:cubicBezTo>
                    <a:close/>
                    <a:moveTo>
                      <a:pt x="38521" y="306229"/>
                    </a:moveTo>
                    <a:cubicBezTo>
                      <a:pt x="38521" y="311422"/>
                      <a:pt x="38627" y="312588"/>
                      <a:pt x="38521" y="313718"/>
                    </a:cubicBezTo>
                    <a:cubicBezTo>
                      <a:pt x="33716" y="362155"/>
                      <a:pt x="57917" y="388157"/>
                      <a:pt x="109604" y="384413"/>
                    </a:cubicBezTo>
                    <a:cubicBezTo>
                      <a:pt x="121262" y="383565"/>
                      <a:pt x="132603" y="379855"/>
                      <a:pt x="144898" y="381833"/>
                    </a:cubicBezTo>
                    <a:cubicBezTo>
                      <a:pt x="162880" y="384731"/>
                      <a:pt x="177860" y="392892"/>
                      <a:pt x="192910" y="402289"/>
                    </a:cubicBezTo>
                    <a:cubicBezTo>
                      <a:pt x="210822" y="413453"/>
                      <a:pt x="229794" y="421968"/>
                      <a:pt x="249261" y="405080"/>
                    </a:cubicBezTo>
                    <a:cubicBezTo>
                      <a:pt x="268621" y="388299"/>
                      <a:pt x="292080" y="381445"/>
                      <a:pt x="316457" y="378866"/>
                    </a:cubicBezTo>
                    <a:cubicBezTo>
                      <a:pt x="369557" y="373213"/>
                      <a:pt x="396973" y="338590"/>
                      <a:pt x="391214" y="284890"/>
                    </a:cubicBezTo>
                    <a:cubicBezTo>
                      <a:pt x="388529" y="260053"/>
                      <a:pt x="395100" y="237230"/>
                      <a:pt x="406935" y="216139"/>
                    </a:cubicBezTo>
                    <a:cubicBezTo>
                      <a:pt x="424953" y="184130"/>
                      <a:pt x="419301" y="152617"/>
                      <a:pt x="407041" y="121032"/>
                    </a:cubicBezTo>
                    <a:cubicBezTo>
                      <a:pt x="398951" y="100188"/>
                      <a:pt x="384961" y="84643"/>
                      <a:pt x="364823" y="73726"/>
                    </a:cubicBezTo>
                    <a:cubicBezTo>
                      <a:pt x="352069" y="66802"/>
                      <a:pt x="339315" y="58464"/>
                      <a:pt x="331719" y="45180"/>
                    </a:cubicBezTo>
                    <a:cubicBezTo>
                      <a:pt x="316104" y="17800"/>
                      <a:pt x="292080" y="11017"/>
                      <a:pt x="262262" y="13419"/>
                    </a:cubicBezTo>
                    <a:cubicBezTo>
                      <a:pt x="250780" y="14338"/>
                      <a:pt x="239121" y="15963"/>
                      <a:pt x="227074" y="15397"/>
                    </a:cubicBezTo>
                    <a:cubicBezTo>
                      <a:pt x="194394" y="13878"/>
                      <a:pt x="161750" y="5611"/>
                      <a:pt x="128788" y="13914"/>
                    </a:cubicBezTo>
                    <a:cubicBezTo>
                      <a:pt x="85756" y="24760"/>
                      <a:pt x="42160" y="54366"/>
                      <a:pt x="33045" y="104745"/>
                    </a:cubicBezTo>
                    <a:cubicBezTo>
                      <a:pt x="27816" y="133716"/>
                      <a:pt x="24142" y="162827"/>
                      <a:pt x="15168" y="191161"/>
                    </a:cubicBezTo>
                    <a:cubicBezTo>
                      <a:pt x="9374" y="209532"/>
                      <a:pt x="6265" y="229564"/>
                      <a:pt x="20079" y="246663"/>
                    </a:cubicBezTo>
                    <a:cubicBezTo>
                      <a:pt x="35235" y="265459"/>
                      <a:pt x="41807" y="286374"/>
                      <a:pt x="38521" y="306264"/>
                    </a:cubicBezTo>
                    <a:close/>
                  </a:path>
                </a:pathLst>
              </a:custGeom>
              <a:solidFill>
                <a:srgbClr val="BF6B6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7" name="Freeform: Shape 1066">
                <a:extLst>
                  <a:ext uri="{FF2B5EF4-FFF2-40B4-BE49-F238E27FC236}">
                    <a16:creationId xmlns:a16="http://schemas.microsoft.com/office/drawing/2014/main" id="{B97E8C85-6EDE-FFFF-1D0A-BBD1ACF4F98C}"/>
                  </a:ext>
                </a:extLst>
              </p:cNvPr>
              <p:cNvSpPr/>
              <p:nvPr/>
            </p:nvSpPr>
            <p:spPr>
              <a:xfrm>
                <a:off x="5107770" y="3185444"/>
                <a:ext cx="29111" cy="29886"/>
              </a:xfrm>
              <a:custGeom>
                <a:avLst/>
                <a:gdLst>
                  <a:gd name="connsiteX0" fmla="*/ 29076 w 29111"/>
                  <a:gd name="connsiteY0" fmla="*/ 13016 h 29886"/>
                  <a:gd name="connsiteX1" fmla="*/ 12860 w 29111"/>
                  <a:gd name="connsiteY1" fmla="*/ 29797 h 29886"/>
                  <a:gd name="connsiteX2" fmla="*/ 0 w 29111"/>
                  <a:gd name="connsiteY2" fmla="*/ 17114 h 29886"/>
                  <a:gd name="connsiteX3" fmla="*/ 15262 w 29111"/>
                  <a:gd name="connsiteY3" fmla="*/ 15 h 29886"/>
                  <a:gd name="connsiteX4" fmla="*/ 29111 w 29111"/>
                  <a:gd name="connsiteY4" fmla="*/ 12981 h 29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11" h="29886">
                    <a:moveTo>
                      <a:pt x="29076" y="13016"/>
                    </a:moveTo>
                    <a:cubicBezTo>
                      <a:pt x="29359" y="25204"/>
                      <a:pt x="21834" y="28808"/>
                      <a:pt x="12860" y="29797"/>
                    </a:cubicBezTo>
                    <a:cubicBezTo>
                      <a:pt x="4169" y="30751"/>
                      <a:pt x="0" y="23862"/>
                      <a:pt x="0" y="17114"/>
                    </a:cubicBezTo>
                    <a:cubicBezTo>
                      <a:pt x="0" y="8105"/>
                      <a:pt x="5087" y="403"/>
                      <a:pt x="15262" y="15"/>
                    </a:cubicBezTo>
                    <a:cubicBezTo>
                      <a:pt x="23989" y="-339"/>
                      <a:pt x="28122" y="5773"/>
                      <a:pt x="29111" y="12981"/>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8" name="Freeform: Shape 1067">
                <a:extLst>
                  <a:ext uri="{FF2B5EF4-FFF2-40B4-BE49-F238E27FC236}">
                    <a16:creationId xmlns:a16="http://schemas.microsoft.com/office/drawing/2014/main" id="{9226FA62-2E1C-95A5-56EC-E23BF9655BAE}"/>
                  </a:ext>
                </a:extLst>
              </p:cNvPr>
              <p:cNvSpPr/>
              <p:nvPr/>
            </p:nvSpPr>
            <p:spPr>
              <a:xfrm>
                <a:off x="5312604" y="3175212"/>
                <a:ext cx="29399" cy="29909"/>
              </a:xfrm>
              <a:custGeom>
                <a:avLst/>
                <a:gdLst>
                  <a:gd name="connsiteX0" fmla="*/ 29400 w 29399"/>
                  <a:gd name="connsiteY0" fmla="*/ 14875 h 29909"/>
                  <a:gd name="connsiteX1" fmla="*/ 13325 w 29399"/>
                  <a:gd name="connsiteY1" fmla="*/ 29890 h 29909"/>
                  <a:gd name="connsiteX2" fmla="*/ 5 w 29399"/>
                  <a:gd name="connsiteY2" fmla="*/ 15617 h 29909"/>
                  <a:gd name="connsiteX3" fmla="*/ 16540 w 29399"/>
                  <a:gd name="connsiteY3" fmla="*/ 1 h 29909"/>
                  <a:gd name="connsiteX4" fmla="*/ 29400 w 29399"/>
                  <a:gd name="connsiteY4" fmla="*/ 14875 h 2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9" h="29909">
                    <a:moveTo>
                      <a:pt x="29400" y="14875"/>
                    </a:moveTo>
                    <a:cubicBezTo>
                      <a:pt x="27598" y="24131"/>
                      <a:pt x="22192" y="29466"/>
                      <a:pt x="13325" y="29890"/>
                    </a:cubicBezTo>
                    <a:cubicBezTo>
                      <a:pt x="3927" y="30349"/>
                      <a:pt x="-171" y="22824"/>
                      <a:pt x="5" y="15617"/>
                    </a:cubicBezTo>
                    <a:cubicBezTo>
                      <a:pt x="217" y="6360"/>
                      <a:pt x="7071" y="107"/>
                      <a:pt x="16540" y="1"/>
                    </a:cubicBezTo>
                    <a:cubicBezTo>
                      <a:pt x="25796" y="-105"/>
                      <a:pt x="27492" y="8021"/>
                      <a:pt x="29400" y="1487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9" name="Freeform: Shape 1068">
                <a:extLst>
                  <a:ext uri="{FF2B5EF4-FFF2-40B4-BE49-F238E27FC236}">
                    <a16:creationId xmlns:a16="http://schemas.microsoft.com/office/drawing/2014/main" id="{7870E26D-34CF-A985-4633-050250D3CD94}"/>
                  </a:ext>
                </a:extLst>
              </p:cNvPr>
              <p:cNvSpPr/>
              <p:nvPr/>
            </p:nvSpPr>
            <p:spPr>
              <a:xfrm>
                <a:off x="5267944" y="3757013"/>
                <a:ext cx="26472" cy="26371"/>
              </a:xfrm>
              <a:custGeom>
                <a:avLst/>
                <a:gdLst>
                  <a:gd name="connsiteX0" fmla="*/ 26470 w 26472"/>
                  <a:gd name="connsiteY0" fmla="*/ 13782 h 26371"/>
                  <a:gd name="connsiteX1" fmla="*/ 13151 w 26472"/>
                  <a:gd name="connsiteY1" fmla="*/ 26324 h 26371"/>
                  <a:gd name="connsiteX2" fmla="*/ 44 w 26472"/>
                  <a:gd name="connsiteY2" fmla="*/ 11556 h 26371"/>
                  <a:gd name="connsiteX3" fmla="*/ 14176 w 26472"/>
                  <a:gd name="connsiteY3" fmla="*/ 3 h 26371"/>
                  <a:gd name="connsiteX4" fmla="*/ 26470 w 26472"/>
                  <a:gd name="connsiteY4" fmla="*/ 13817 h 2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2" h="26371">
                    <a:moveTo>
                      <a:pt x="26470" y="13782"/>
                    </a:moveTo>
                    <a:cubicBezTo>
                      <a:pt x="25693" y="20530"/>
                      <a:pt x="21983" y="26995"/>
                      <a:pt x="13151" y="26324"/>
                    </a:cubicBezTo>
                    <a:cubicBezTo>
                      <a:pt x="5061" y="25723"/>
                      <a:pt x="-557" y="19788"/>
                      <a:pt x="44" y="11556"/>
                    </a:cubicBezTo>
                    <a:cubicBezTo>
                      <a:pt x="574" y="4031"/>
                      <a:pt x="6439" y="109"/>
                      <a:pt x="14176" y="3"/>
                    </a:cubicBezTo>
                    <a:cubicBezTo>
                      <a:pt x="22549" y="-138"/>
                      <a:pt x="26576" y="4066"/>
                      <a:pt x="26470" y="13817"/>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0" name="Freeform: Shape 1069">
                <a:extLst>
                  <a:ext uri="{FF2B5EF4-FFF2-40B4-BE49-F238E27FC236}">
                    <a16:creationId xmlns:a16="http://schemas.microsoft.com/office/drawing/2014/main" id="{BDF091E8-29C5-1DF9-A400-B94C43F083D8}"/>
                  </a:ext>
                </a:extLst>
              </p:cNvPr>
              <p:cNvSpPr/>
              <p:nvPr/>
            </p:nvSpPr>
            <p:spPr>
              <a:xfrm>
                <a:off x="5212474" y="3072051"/>
                <a:ext cx="23864" cy="26434"/>
              </a:xfrm>
              <a:custGeom>
                <a:avLst/>
                <a:gdLst>
                  <a:gd name="connsiteX0" fmla="*/ 12625 w 23864"/>
                  <a:gd name="connsiteY0" fmla="*/ 0 h 26434"/>
                  <a:gd name="connsiteX1" fmla="*/ 23859 w 23864"/>
                  <a:gd name="connsiteY1" fmla="*/ 12330 h 26434"/>
                  <a:gd name="connsiteX2" fmla="*/ 12165 w 23864"/>
                  <a:gd name="connsiteY2" fmla="*/ 26426 h 26434"/>
                  <a:gd name="connsiteX3" fmla="*/ 12 w 23864"/>
                  <a:gd name="connsiteY3" fmla="*/ 13072 h 26434"/>
                  <a:gd name="connsiteX4" fmla="*/ 12660 w 23864"/>
                  <a:gd name="connsiteY4" fmla="*/ 0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4" h="26434">
                    <a:moveTo>
                      <a:pt x="12625" y="0"/>
                    </a:moveTo>
                    <a:cubicBezTo>
                      <a:pt x="20962" y="424"/>
                      <a:pt x="24001" y="4981"/>
                      <a:pt x="23859" y="12330"/>
                    </a:cubicBezTo>
                    <a:cubicBezTo>
                      <a:pt x="23683" y="20138"/>
                      <a:pt x="19938" y="26179"/>
                      <a:pt x="12165" y="26426"/>
                    </a:cubicBezTo>
                    <a:cubicBezTo>
                      <a:pt x="4393" y="26674"/>
                      <a:pt x="-270" y="20986"/>
                      <a:pt x="12" y="13072"/>
                    </a:cubicBezTo>
                    <a:cubicBezTo>
                      <a:pt x="295" y="5123"/>
                      <a:pt x="5559" y="1201"/>
                      <a:pt x="12660" y="0"/>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1" name="Freeform: Shape 1070">
                <a:extLst>
                  <a:ext uri="{FF2B5EF4-FFF2-40B4-BE49-F238E27FC236}">
                    <a16:creationId xmlns:a16="http://schemas.microsoft.com/office/drawing/2014/main" id="{2F06A53C-7403-859C-70AB-C121F94A42B0}"/>
                  </a:ext>
                </a:extLst>
              </p:cNvPr>
              <p:cNvSpPr/>
              <p:nvPr/>
            </p:nvSpPr>
            <p:spPr>
              <a:xfrm>
                <a:off x="4852617" y="3603864"/>
                <a:ext cx="23654" cy="25967"/>
              </a:xfrm>
              <a:custGeom>
                <a:avLst/>
                <a:gdLst>
                  <a:gd name="connsiteX0" fmla="*/ 13358 w 23654"/>
                  <a:gd name="connsiteY0" fmla="*/ 0 h 25967"/>
                  <a:gd name="connsiteX1" fmla="*/ 23604 w 23654"/>
                  <a:gd name="connsiteY1" fmla="*/ 13355 h 25967"/>
                  <a:gd name="connsiteX2" fmla="*/ 10214 w 23654"/>
                  <a:gd name="connsiteY2" fmla="*/ 25967 h 25967"/>
                  <a:gd name="connsiteX3" fmla="*/ 4 w 23654"/>
                  <a:gd name="connsiteY3" fmla="*/ 13319 h 25967"/>
                  <a:gd name="connsiteX4" fmla="*/ 13358 w 23654"/>
                  <a:gd name="connsiteY4" fmla="*/ 0 h 25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4" h="25967">
                    <a:moveTo>
                      <a:pt x="13358" y="0"/>
                    </a:moveTo>
                    <a:cubicBezTo>
                      <a:pt x="19965" y="1908"/>
                      <a:pt x="24169" y="6253"/>
                      <a:pt x="23604" y="13355"/>
                    </a:cubicBezTo>
                    <a:cubicBezTo>
                      <a:pt x="22968" y="21056"/>
                      <a:pt x="18128" y="25896"/>
                      <a:pt x="10214" y="25967"/>
                    </a:cubicBezTo>
                    <a:cubicBezTo>
                      <a:pt x="2123" y="26038"/>
                      <a:pt x="-102" y="20420"/>
                      <a:pt x="4" y="13319"/>
                    </a:cubicBezTo>
                    <a:cubicBezTo>
                      <a:pt x="110" y="4663"/>
                      <a:pt x="6257" y="2085"/>
                      <a:pt x="13358" y="0"/>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2" name="Freeform: Shape 1071">
                <a:extLst>
                  <a:ext uri="{FF2B5EF4-FFF2-40B4-BE49-F238E27FC236}">
                    <a16:creationId xmlns:a16="http://schemas.microsoft.com/office/drawing/2014/main" id="{99E0BDFD-6639-7997-53A4-A4EE8B2445B8}"/>
                  </a:ext>
                </a:extLst>
              </p:cNvPr>
              <p:cNvSpPr/>
              <p:nvPr/>
            </p:nvSpPr>
            <p:spPr>
              <a:xfrm>
                <a:off x="5308433" y="3044848"/>
                <a:ext cx="23460" cy="26107"/>
              </a:xfrm>
              <a:custGeom>
                <a:avLst/>
                <a:gdLst>
                  <a:gd name="connsiteX0" fmla="*/ 10323 w 23460"/>
                  <a:gd name="connsiteY0" fmla="*/ 35 h 26107"/>
                  <a:gd name="connsiteX1" fmla="*/ 23360 w 23460"/>
                  <a:gd name="connsiteY1" fmla="*/ 11765 h 26107"/>
                  <a:gd name="connsiteX2" fmla="*/ 12443 w 23460"/>
                  <a:gd name="connsiteY2" fmla="*/ 26038 h 26107"/>
                  <a:gd name="connsiteX3" fmla="*/ 148 w 23460"/>
                  <a:gd name="connsiteY3" fmla="*/ 14803 h 26107"/>
                  <a:gd name="connsiteX4" fmla="*/ 10359 w 23460"/>
                  <a:gd name="connsiteY4" fmla="*/ 0 h 26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0" h="26107">
                    <a:moveTo>
                      <a:pt x="10323" y="35"/>
                    </a:moveTo>
                    <a:cubicBezTo>
                      <a:pt x="18096" y="1060"/>
                      <a:pt x="22618" y="4911"/>
                      <a:pt x="23360" y="11765"/>
                    </a:cubicBezTo>
                    <a:cubicBezTo>
                      <a:pt x="24172" y="19537"/>
                      <a:pt x="20004" y="25260"/>
                      <a:pt x="12443" y="26038"/>
                    </a:cubicBezTo>
                    <a:cubicBezTo>
                      <a:pt x="5413" y="26780"/>
                      <a:pt x="1067" y="21480"/>
                      <a:pt x="148" y="14803"/>
                    </a:cubicBezTo>
                    <a:cubicBezTo>
                      <a:pt x="-982" y="6819"/>
                      <a:pt x="4529" y="2897"/>
                      <a:pt x="10359" y="0"/>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3" name="Freeform: Shape 1072">
                <a:extLst>
                  <a:ext uri="{FF2B5EF4-FFF2-40B4-BE49-F238E27FC236}">
                    <a16:creationId xmlns:a16="http://schemas.microsoft.com/office/drawing/2014/main" id="{ECA4A971-A7C0-4B6A-1D31-B7E19658EEF4}"/>
                  </a:ext>
                </a:extLst>
              </p:cNvPr>
              <p:cNvSpPr/>
              <p:nvPr/>
            </p:nvSpPr>
            <p:spPr>
              <a:xfrm>
                <a:off x="5006873" y="3353606"/>
                <a:ext cx="23429" cy="26163"/>
              </a:xfrm>
              <a:custGeom>
                <a:avLst/>
                <a:gdLst>
                  <a:gd name="connsiteX0" fmla="*/ 11938 w 23429"/>
                  <a:gd name="connsiteY0" fmla="*/ 26163 h 26163"/>
                  <a:gd name="connsiteX1" fmla="*/ 32 w 23429"/>
                  <a:gd name="connsiteY1" fmla="*/ 13834 h 26163"/>
                  <a:gd name="connsiteX2" fmla="*/ 11620 w 23429"/>
                  <a:gd name="connsiteY2" fmla="*/ 20 h 26163"/>
                  <a:gd name="connsiteX3" fmla="*/ 23384 w 23429"/>
                  <a:gd name="connsiteY3" fmla="*/ 11855 h 26163"/>
                  <a:gd name="connsiteX4" fmla="*/ 11902 w 23429"/>
                  <a:gd name="connsiteY4" fmla="*/ 26163 h 26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29" h="26163">
                    <a:moveTo>
                      <a:pt x="11938" y="26163"/>
                    </a:moveTo>
                    <a:cubicBezTo>
                      <a:pt x="5260" y="24538"/>
                      <a:pt x="456" y="20864"/>
                      <a:pt x="32" y="13834"/>
                    </a:cubicBezTo>
                    <a:cubicBezTo>
                      <a:pt x="-428" y="5955"/>
                      <a:pt x="4130" y="444"/>
                      <a:pt x="11620" y="20"/>
                    </a:cubicBezTo>
                    <a:cubicBezTo>
                      <a:pt x="18544" y="-369"/>
                      <a:pt x="22890" y="5037"/>
                      <a:pt x="23384" y="11855"/>
                    </a:cubicBezTo>
                    <a:cubicBezTo>
                      <a:pt x="23950" y="19698"/>
                      <a:pt x="19145" y="24079"/>
                      <a:pt x="11902" y="26163"/>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4" name="Freeform: Shape 1073">
                <a:extLst>
                  <a:ext uri="{FF2B5EF4-FFF2-40B4-BE49-F238E27FC236}">
                    <a16:creationId xmlns:a16="http://schemas.microsoft.com/office/drawing/2014/main" id="{E442D621-0663-2ABA-4D50-2CA4BC8F6947}"/>
                  </a:ext>
                </a:extLst>
              </p:cNvPr>
              <p:cNvSpPr/>
              <p:nvPr/>
            </p:nvSpPr>
            <p:spPr>
              <a:xfrm>
                <a:off x="5503382" y="3510312"/>
                <a:ext cx="23648" cy="23672"/>
              </a:xfrm>
              <a:custGeom>
                <a:avLst/>
                <a:gdLst>
                  <a:gd name="connsiteX0" fmla="*/ 11806 w 23648"/>
                  <a:gd name="connsiteY0" fmla="*/ 0 h 23672"/>
                  <a:gd name="connsiteX1" fmla="*/ 23606 w 23648"/>
                  <a:gd name="connsiteY1" fmla="*/ 10987 h 23672"/>
                  <a:gd name="connsiteX2" fmla="*/ 10428 w 23648"/>
                  <a:gd name="connsiteY2" fmla="*/ 23671 h 23672"/>
                  <a:gd name="connsiteX3" fmla="*/ 6 w 23648"/>
                  <a:gd name="connsiteY3" fmla="*/ 11270 h 23672"/>
                  <a:gd name="connsiteX4" fmla="*/ 11806 w 23648"/>
                  <a:gd name="connsiteY4" fmla="*/ 0 h 23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48" h="23672">
                    <a:moveTo>
                      <a:pt x="11806" y="0"/>
                    </a:moveTo>
                    <a:cubicBezTo>
                      <a:pt x="19083" y="71"/>
                      <a:pt x="24171" y="3144"/>
                      <a:pt x="23606" y="10987"/>
                    </a:cubicBezTo>
                    <a:cubicBezTo>
                      <a:pt x="23076" y="18654"/>
                      <a:pt x="18412" y="23565"/>
                      <a:pt x="10428" y="23671"/>
                    </a:cubicBezTo>
                    <a:cubicBezTo>
                      <a:pt x="2408" y="23777"/>
                      <a:pt x="-136" y="18442"/>
                      <a:pt x="6" y="11270"/>
                    </a:cubicBezTo>
                    <a:cubicBezTo>
                      <a:pt x="147" y="3568"/>
                      <a:pt x="4351" y="71"/>
                      <a:pt x="11806" y="0"/>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5" name="Freeform: Shape 1074">
                <a:extLst>
                  <a:ext uri="{FF2B5EF4-FFF2-40B4-BE49-F238E27FC236}">
                    <a16:creationId xmlns:a16="http://schemas.microsoft.com/office/drawing/2014/main" id="{B1520018-259A-BCB5-7D18-9D61642B59A4}"/>
                  </a:ext>
                </a:extLst>
              </p:cNvPr>
              <p:cNvSpPr/>
              <p:nvPr/>
            </p:nvSpPr>
            <p:spPr>
              <a:xfrm>
                <a:off x="5377471" y="3164505"/>
                <a:ext cx="25793" cy="23618"/>
              </a:xfrm>
              <a:custGeom>
                <a:avLst/>
                <a:gdLst>
                  <a:gd name="connsiteX0" fmla="*/ 25758 w 25793"/>
                  <a:gd name="connsiteY0" fmla="*/ 9860 h 23618"/>
                  <a:gd name="connsiteX1" fmla="*/ 12085 w 25793"/>
                  <a:gd name="connsiteY1" fmla="*/ 23567 h 23618"/>
                  <a:gd name="connsiteX2" fmla="*/ 3 w 25793"/>
                  <a:gd name="connsiteY2" fmla="*/ 11697 h 23618"/>
                  <a:gd name="connsiteX3" fmla="*/ 12368 w 25793"/>
                  <a:gd name="connsiteY3" fmla="*/ 38 h 23618"/>
                  <a:gd name="connsiteX4" fmla="*/ 25793 w 25793"/>
                  <a:gd name="connsiteY4" fmla="*/ 9895 h 23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93" h="23618">
                    <a:moveTo>
                      <a:pt x="25758" y="9860"/>
                    </a:moveTo>
                    <a:cubicBezTo>
                      <a:pt x="23285" y="17526"/>
                      <a:pt x="20918" y="24274"/>
                      <a:pt x="12085" y="23567"/>
                    </a:cubicBezTo>
                    <a:cubicBezTo>
                      <a:pt x="5055" y="23002"/>
                      <a:pt x="-139" y="18692"/>
                      <a:pt x="3" y="11697"/>
                    </a:cubicBezTo>
                    <a:cubicBezTo>
                      <a:pt x="144" y="4772"/>
                      <a:pt x="5232" y="533"/>
                      <a:pt x="12368" y="38"/>
                    </a:cubicBezTo>
                    <a:cubicBezTo>
                      <a:pt x="19929" y="-492"/>
                      <a:pt x="23214" y="4596"/>
                      <a:pt x="25793" y="989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6" name="Freeform: Shape 1075">
                <a:extLst>
                  <a:ext uri="{FF2B5EF4-FFF2-40B4-BE49-F238E27FC236}">
                    <a16:creationId xmlns:a16="http://schemas.microsoft.com/office/drawing/2014/main" id="{B49D6F2B-8465-C883-610B-B3812E7E32FF}"/>
                  </a:ext>
                </a:extLst>
              </p:cNvPr>
              <p:cNvSpPr/>
              <p:nvPr/>
            </p:nvSpPr>
            <p:spPr>
              <a:xfrm>
                <a:off x="5404314" y="3270580"/>
                <a:ext cx="23504" cy="23097"/>
              </a:xfrm>
              <a:custGeom>
                <a:avLst/>
                <a:gdLst>
                  <a:gd name="connsiteX0" fmla="*/ 23504 w 23504"/>
                  <a:gd name="connsiteY0" fmla="*/ 10373 h 23097"/>
                  <a:gd name="connsiteX1" fmla="*/ 12623 w 23504"/>
                  <a:gd name="connsiteY1" fmla="*/ 23057 h 23097"/>
                  <a:gd name="connsiteX2" fmla="*/ 10 w 23504"/>
                  <a:gd name="connsiteY2" fmla="*/ 10409 h 23097"/>
                  <a:gd name="connsiteX3" fmla="*/ 10644 w 23504"/>
                  <a:gd name="connsiteY3" fmla="*/ 22 h 23097"/>
                  <a:gd name="connsiteX4" fmla="*/ 23504 w 23504"/>
                  <a:gd name="connsiteY4" fmla="*/ 10338 h 2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4" h="23097">
                    <a:moveTo>
                      <a:pt x="23504" y="10373"/>
                    </a:moveTo>
                    <a:cubicBezTo>
                      <a:pt x="22974" y="17051"/>
                      <a:pt x="19512" y="22562"/>
                      <a:pt x="12623" y="23057"/>
                    </a:cubicBezTo>
                    <a:cubicBezTo>
                      <a:pt x="4744" y="23622"/>
                      <a:pt x="258" y="18216"/>
                      <a:pt x="10" y="10409"/>
                    </a:cubicBezTo>
                    <a:cubicBezTo>
                      <a:pt x="-237" y="3555"/>
                      <a:pt x="4003" y="304"/>
                      <a:pt x="10644" y="22"/>
                    </a:cubicBezTo>
                    <a:cubicBezTo>
                      <a:pt x="17746" y="-261"/>
                      <a:pt x="22727" y="2142"/>
                      <a:pt x="23504" y="10338"/>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7" name="Freeform: Shape 1076">
                <a:extLst>
                  <a:ext uri="{FF2B5EF4-FFF2-40B4-BE49-F238E27FC236}">
                    <a16:creationId xmlns:a16="http://schemas.microsoft.com/office/drawing/2014/main" id="{60E63903-6164-2CDD-F826-A5D5A9F8B7ED}"/>
                  </a:ext>
                </a:extLst>
              </p:cNvPr>
              <p:cNvSpPr/>
              <p:nvPr/>
            </p:nvSpPr>
            <p:spPr>
              <a:xfrm>
                <a:off x="5035088" y="3729728"/>
                <a:ext cx="23149" cy="23413"/>
              </a:xfrm>
              <a:custGeom>
                <a:avLst/>
                <a:gdLst>
                  <a:gd name="connsiteX0" fmla="*/ 23114 w 23149"/>
                  <a:gd name="connsiteY0" fmla="*/ 11885 h 23413"/>
                  <a:gd name="connsiteX1" fmla="*/ 11809 w 23149"/>
                  <a:gd name="connsiteY1" fmla="*/ 23367 h 23413"/>
                  <a:gd name="connsiteX2" fmla="*/ 9 w 23149"/>
                  <a:gd name="connsiteY2" fmla="*/ 11497 h 23413"/>
                  <a:gd name="connsiteX3" fmla="*/ 12339 w 23149"/>
                  <a:gd name="connsiteY3" fmla="*/ 15 h 23413"/>
                  <a:gd name="connsiteX4" fmla="*/ 23149 w 23149"/>
                  <a:gd name="connsiteY4" fmla="*/ 11885 h 23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49" h="23413">
                    <a:moveTo>
                      <a:pt x="23114" y="11885"/>
                    </a:moveTo>
                    <a:cubicBezTo>
                      <a:pt x="22867" y="19199"/>
                      <a:pt x="19546" y="23933"/>
                      <a:pt x="11809" y="23367"/>
                    </a:cubicBezTo>
                    <a:cubicBezTo>
                      <a:pt x="4884" y="22838"/>
                      <a:pt x="-239" y="18492"/>
                      <a:pt x="9" y="11497"/>
                    </a:cubicBezTo>
                    <a:cubicBezTo>
                      <a:pt x="256" y="4678"/>
                      <a:pt x="5273" y="333"/>
                      <a:pt x="12339" y="15"/>
                    </a:cubicBezTo>
                    <a:cubicBezTo>
                      <a:pt x="20217" y="-303"/>
                      <a:pt x="23185" y="4572"/>
                      <a:pt x="23149" y="1188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8" name="Freeform: Shape 1077">
                <a:extLst>
                  <a:ext uri="{FF2B5EF4-FFF2-40B4-BE49-F238E27FC236}">
                    <a16:creationId xmlns:a16="http://schemas.microsoft.com/office/drawing/2014/main" id="{39600C4F-A318-CFCB-7AB9-A85E125F4707}"/>
                  </a:ext>
                </a:extLst>
              </p:cNvPr>
              <p:cNvSpPr/>
              <p:nvPr/>
            </p:nvSpPr>
            <p:spPr>
              <a:xfrm>
                <a:off x="4993442" y="3518646"/>
                <a:ext cx="23401" cy="22584"/>
              </a:xfrm>
              <a:custGeom>
                <a:avLst/>
                <a:gdLst>
                  <a:gd name="connsiteX0" fmla="*/ 12967 w 23401"/>
                  <a:gd name="connsiteY0" fmla="*/ 22579 h 22584"/>
                  <a:gd name="connsiteX1" fmla="*/ 1 w 23401"/>
                  <a:gd name="connsiteY1" fmla="*/ 12016 h 22584"/>
                  <a:gd name="connsiteX2" fmla="*/ 12155 w 23401"/>
                  <a:gd name="connsiteY2" fmla="*/ 74 h 22584"/>
                  <a:gd name="connsiteX3" fmla="*/ 23283 w 23401"/>
                  <a:gd name="connsiteY3" fmla="*/ 10567 h 22584"/>
                  <a:gd name="connsiteX4" fmla="*/ 12967 w 23401"/>
                  <a:gd name="connsiteY4" fmla="*/ 22579 h 2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1" h="22584">
                    <a:moveTo>
                      <a:pt x="12967" y="22579"/>
                    </a:moveTo>
                    <a:cubicBezTo>
                      <a:pt x="5159" y="22720"/>
                      <a:pt x="107" y="20071"/>
                      <a:pt x="1" y="12016"/>
                    </a:cubicBezTo>
                    <a:cubicBezTo>
                      <a:pt x="-105" y="4067"/>
                      <a:pt x="6007" y="781"/>
                      <a:pt x="12155" y="74"/>
                    </a:cubicBezTo>
                    <a:cubicBezTo>
                      <a:pt x="18549" y="-668"/>
                      <a:pt x="22541" y="4243"/>
                      <a:pt x="23283" y="10567"/>
                    </a:cubicBezTo>
                    <a:cubicBezTo>
                      <a:pt x="24167" y="18269"/>
                      <a:pt x="20033" y="22155"/>
                      <a:pt x="12967" y="22579"/>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9" name="Freeform: Shape 1078">
                <a:extLst>
                  <a:ext uri="{FF2B5EF4-FFF2-40B4-BE49-F238E27FC236}">
                    <a16:creationId xmlns:a16="http://schemas.microsoft.com/office/drawing/2014/main" id="{27B4C319-0C88-7B59-F1C3-6492E5D2A984}"/>
                  </a:ext>
                </a:extLst>
              </p:cNvPr>
              <p:cNvSpPr/>
              <p:nvPr/>
            </p:nvSpPr>
            <p:spPr>
              <a:xfrm>
                <a:off x="4949468" y="3243646"/>
                <a:ext cx="22376" cy="22652"/>
              </a:xfrm>
              <a:custGeom>
                <a:avLst/>
                <a:gdLst>
                  <a:gd name="connsiteX0" fmla="*/ 12074 w 22376"/>
                  <a:gd name="connsiteY0" fmla="*/ 0 h 22652"/>
                  <a:gd name="connsiteX1" fmla="*/ 22354 w 22376"/>
                  <a:gd name="connsiteY1" fmla="*/ 11765 h 22652"/>
                  <a:gd name="connsiteX2" fmla="*/ 11261 w 22376"/>
                  <a:gd name="connsiteY2" fmla="*/ 22646 h 22652"/>
                  <a:gd name="connsiteX3" fmla="*/ 97 w 22376"/>
                  <a:gd name="connsiteY3" fmla="*/ 10351 h 22652"/>
                  <a:gd name="connsiteX4" fmla="*/ 12074 w 22376"/>
                  <a:gd name="connsiteY4" fmla="*/ 35 h 22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6" h="22652">
                    <a:moveTo>
                      <a:pt x="12074" y="0"/>
                    </a:moveTo>
                    <a:cubicBezTo>
                      <a:pt x="17868" y="1837"/>
                      <a:pt x="22743" y="5229"/>
                      <a:pt x="22354" y="11765"/>
                    </a:cubicBezTo>
                    <a:cubicBezTo>
                      <a:pt x="22001" y="17983"/>
                      <a:pt x="17479" y="22858"/>
                      <a:pt x="11261" y="22646"/>
                    </a:cubicBezTo>
                    <a:cubicBezTo>
                      <a:pt x="4478" y="22399"/>
                      <a:pt x="-786" y="17735"/>
                      <a:pt x="97" y="10351"/>
                    </a:cubicBezTo>
                    <a:cubicBezTo>
                      <a:pt x="804" y="4310"/>
                      <a:pt x="5467" y="636"/>
                      <a:pt x="12074" y="3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0" name="Freeform: Shape 1079">
                <a:extLst>
                  <a:ext uri="{FF2B5EF4-FFF2-40B4-BE49-F238E27FC236}">
                    <a16:creationId xmlns:a16="http://schemas.microsoft.com/office/drawing/2014/main" id="{60377B60-A2E6-B11C-A1D6-9B880A6C11AC}"/>
                  </a:ext>
                </a:extLst>
              </p:cNvPr>
              <p:cNvSpPr/>
              <p:nvPr/>
            </p:nvSpPr>
            <p:spPr>
              <a:xfrm>
                <a:off x="5380222" y="3651912"/>
                <a:ext cx="19767" cy="22020"/>
              </a:xfrm>
              <a:custGeom>
                <a:avLst/>
                <a:gdLst>
                  <a:gd name="connsiteX0" fmla="*/ 8946 w 19767"/>
                  <a:gd name="connsiteY0" fmla="*/ 0 h 22020"/>
                  <a:gd name="connsiteX1" fmla="*/ 19650 w 19767"/>
                  <a:gd name="connsiteY1" fmla="*/ 9539 h 22020"/>
                  <a:gd name="connsiteX2" fmla="*/ 9016 w 19767"/>
                  <a:gd name="connsiteY2" fmla="*/ 21940 h 22020"/>
                  <a:gd name="connsiteX3" fmla="*/ 7 w 19767"/>
                  <a:gd name="connsiteY3" fmla="*/ 12401 h 22020"/>
                  <a:gd name="connsiteX4" fmla="*/ 8981 w 19767"/>
                  <a:gd name="connsiteY4" fmla="*/ 0 h 2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67" h="22020">
                    <a:moveTo>
                      <a:pt x="8946" y="0"/>
                    </a:moveTo>
                    <a:cubicBezTo>
                      <a:pt x="15093" y="848"/>
                      <a:pt x="18944" y="4310"/>
                      <a:pt x="19650" y="9539"/>
                    </a:cubicBezTo>
                    <a:cubicBezTo>
                      <a:pt x="20604" y="16887"/>
                      <a:pt x="15588" y="21127"/>
                      <a:pt x="9016" y="21940"/>
                    </a:cubicBezTo>
                    <a:cubicBezTo>
                      <a:pt x="2940" y="22681"/>
                      <a:pt x="184" y="18195"/>
                      <a:pt x="7" y="12401"/>
                    </a:cubicBezTo>
                    <a:cubicBezTo>
                      <a:pt x="-205" y="5794"/>
                      <a:pt x="4176" y="2614"/>
                      <a:pt x="8981" y="0"/>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1" name="Freeform: Shape 1080">
                <a:extLst>
                  <a:ext uri="{FF2B5EF4-FFF2-40B4-BE49-F238E27FC236}">
                    <a16:creationId xmlns:a16="http://schemas.microsoft.com/office/drawing/2014/main" id="{EE676CC4-1BCF-C4F5-7427-F12E28E06356}"/>
                  </a:ext>
                </a:extLst>
              </p:cNvPr>
              <p:cNvSpPr/>
              <p:nvPr/>
            </p:nvSpPr>
            <p:spPr>
              <a:xfrm>
                <a:off x="5031537" y="3124068"/>
                <a:ext cx="19599" cy="19474"/>
              </a:xfrm>
              <a:custGeom>
                <a:avLst/>
                <a:gdLst>
                  <a:gd name="connsiteX0" fmla="*/ 19600 w 19599"/>
                  <a:gd name="connsiteY0" fmla="*/ 9845 h 19474"/>
                  <a:gd name="connsiteX1" fmla="*/ 8435 w 19599"/>
                  <a:gd name="connsiteY1" fmla="*/ 19419 h 19474"/>
                  <a:gd name="connsiteX2" fmla="*/ 27 w 19599"/>
                  <a:gd name="connsiteY2" fmla="*/ 10869 h 19474"/>
                  <a:gd name="connsiteX3" fmla="*/ 10802 w 19599"/>
                  <a:gd name="connsiteY3" fmla="*/ 23 h 19474"/>
                  <a:gd name="connsiteX4" fmla="*/ 19600 w 19599"/>
                  <a:gd name="connsiteY4" fmla="*/ 9845 h 19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 h="19474">
                    <a:moveTo>
                      <a:pt x="19600" y="9845"/>
                    </a:moveTo>
                    <a:cubicBezTo>
                      <a:pt x="18928" y="16663"/>
                      <a:pt x="15007" y="19949"/>
                      <a:pt x="8435" y="19419"/>
                    </a:cubicBezTo>
                    <a:cubicBezTo>
                      <a:pt x="3489" y="19031"/>
                      <a:pt x="-362" y="16133"/>
                      <a:pt x="27" y="10869"/>
                    </a:cubicBezTo>
                    <a:cubicBezTo>
                      <a:pt x="486" y="4651"/>
                      <a:pt x="4655" y="412"/>
                      <a:pt x="10802" y="23"/>
                    </a:cubicBezTo>
                    <a:cubicBezTo>
                      <a:pt x="16985" y="-365"/>
                      <a:pt x="19352" y="4157"/>
                      <a:pt x="19600" y="984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2" name="Freeform: Shape 1081">
                <a:extLst>
                  <a:ext uri="{FF2B5EF4-FFF2-40B4-BE49-F238E27FC236}">
                    <a16:creationId xmlns:a16="http://schemas.microsoft.com/office/drawing/2014/main" id="{1099EE33-E7C8-5113-CD37-AE168EDF1FF1}"/>
                  </a:ext>
                </a:extLst>
              </p:cNvPr>
              <p:cNvSpPr/>
              <p:nvPr/>
            </p:nvSpPr>
            <p:spPr>
              <a:xfrm>
                <a:off x="5370066" y="3219426"/>
                <a:ext cx="19950" cy="19508"/>
              </a:xfrm>
              <a:custGeom>
                <a:avLst/>
                <a:gdLst>
                  <a:gd name="connsiteX0" fmla="*/ 19915 w 19950"/>
                  <a:gd name="connsiteY0" fmla="*/ 9276 h 19508"/>
                  <a:gd name="connsiteX1" fmla="*/ 7655 w 19950"/>
                  <a:gd name="connsiteY1" fmla="*/ 19451 h 19508"/>
                  <a:gd name="connsiteX2" fmla="*/ 130 w 19950"/>
                  <a:gd name="connsiteY2" fmla="*/ 8463 h 19508"/>
                  <a:gd name="connsiteX3" fmla="*/ 10658 w 19950"/>
                  <a:gd name="connsiteY3" fmla="*/ 19 h 19508"/>
                  <a:gd name="connsiteX4" fmla="*/ 19950 w 19950"/>
                  <a:gd name="connsiteY4" fmla="*/ 9276 h 1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0" h="19508">
                    <a:moveTo>
                      <a:pt x="19915" y="9276"/>
                    </a:moveTo>
                    <a:cubicBezTo>
                      <a:pt x="17512" y="15388"/>
                      <a:pt x="14156" y="20087"/>
                      <a:pt x="7655" y="19451"/>
                    </a:cubicBezTo>
                    <a:cubicBezTo>
                      <a:pt x="1543" y="18885"/>
                      <a:pt x="-576" y="14081"/>
                      <a:pt x="130" y="8463"/>
                    </a:cubicBezTo>
                    <a:cubicBezTo>
                      <a:pt x="872" y="2528"/>
                      <a:pt x="4829" y="-263"/>
                      <a:pt x="10658" y="19"/>
                    </a:cubicBezTo>
                    <a:cubicBezTo>
                      <a:pt x="16664" y="302"/>
                      <a:pt x="19491" y="3906"/>
                      <a:pt x="19950" y="9276"/>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3" name="Freeform: Shape 1082">
                <a:extLst>
                  <a:ext uri="{FF2B5EF4-FFF2-40B4-BE49-F238E27FC236}">
                    <a16:creationId xmlns:a16="http://schemas.microsoft.com/office/drawing/2014/main" id="{F25A01AB-8E41-F04B-B277-F252086A40C3}"/>
                  </a:ext>
                </a:extLst>
              </p:cNvPr>
              <p:cNvSpPr/>
              <p:nvPr/>
            </p:nvSpPr>
            <p:spPr>
              <a:xfrm>
                <a:off x="4876902" y="3469577"/>
                <a:ext cx="19704" cy="19572"/>
              </a:xfrm>
              <a:custGeom>
                <a:avLst/>
                <a:gdLst>
                  <a:gd name="connsiteX0" fmla="*/ 19704 w 19704"/>
                  <a:gd name="connsiteY0" fmla="*/ 9221 h 19572"/>
                  <a:gd name="connsiteX1" fmla="*/ 8399 w 19704"/>
                  <a:gd name="connsiteY1" fmla="*/ 19572 h 19572"/>
                  <a:gd name="connsiteX2" fmla="*/ 26 w 19704"/>
                  <a:gd name="connsiteY2" fmla="*/ 9256 h 19572"/>
                  <a:gd name="connsiteX3" fmla="*/ 9812 w 19704"/>
                  <a:gd name="connsiteY3" fmla="*/ 0 h 19572"/>
                  <a:gd name="connsiteX4" fmla="*/ 19704 w 19704"/>
                  <a:gd name="connsiteY4" fmla="*/ 9256 h 1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04" h="19572">
                    <a:moveTo>
                      <a:pt x="19704" y="9221"/>
                    </a:moveTo>
                    <a:cubicBezTo>
                      <a:pt x="18114" y="14909"/>
                      <a:pt x="14723" y="19537"/>
                      <a:pt x="8399" y="19572"/>
                    </a:cubicBezTo>
                    <a:cubicBezTo>
                      <a:pt x="2322" y="19572"/>
                      <a:pt x="-292" y="15015"/>
                      <a:pt x="26" y="9256"/>
                    </a:cubicBezTo>
                    <a:cubicBezTo>
                      <a:pt x="379" y="3321"/>
                      <a:pt x="3877" y="35"/>
                      <a:pt x="9812" y="0"/>
                    </a:cubicBezTo>
                    <a:cubicBezTo>
                      <a:pt x="15641" y="0"/>
                      <a:pt x="19280" y="2826"/>
                      <a:pt x="19704" y="9256"/>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4" name="Freeform: Shape 1083">
                <a:extLst>
                  <a:ext uri="{FF2B5EF4-FFF2-40B4-BE49-F238E27FC236}">
                    <a16:creationId xmlns:a16="http://schemas.microsoft.com/office/drawing/2014/main" id="{661E3EC3-6BA6-4AD6-8DDE-7604BFB0E256}"/>
                  </a:ext>
                </a:extLst>
              </p:cNvPr>
              <p:cNvSpPr/>
              <p:nvPr/>
            </p:nvSpPr>
            <p:spPr>
              <a:xfrm>
                <a:off x="4818693" y="3311902"/>
                <a:ext cx="18849" cy="19514"/>
              </a:xfrm>
              <a:custGeom>
                <a:avLst/>
                <a:gdLst>
                  <a:gd name="connsiteX0" fmla="*/ 9692 w 18849"/>
                  <a:gd name="connsiteY0" fmla="*/ 0 h 19514"/>
                  <a:gd name="connsiteX1" fmla="*/ 18842 w 18849"/>
                  <a:gd name="connsiteY1" fmla="*/ 9998 h 19514"/>
                  <a:gd name="connsiteX2" fmla="*/ 8738 w 18849"/>
                  <a:gd name="connsiteY2" fmla="*/ 19502 h 19514"/>
                  <a:gd name="connsiteX3" fmla="*/ 12 w 18849"/>
                  <a:gd name="connsiteY3" fmla="*/ 9539 h 19514"/>
                  <a:gd name="connsiteX4" fmla="*/ 9692 w 18849"/>
                  <a:gd name="connsiteY4" fmla="*/ 0 h 19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9" h="19514">
                    <a:moveTo>
                      <a:pt x="9692" y="0"/>
                    </a:moveTo>
                    <a:cubicBezTo>
                      <a:pt x="15945" y="389"/>
                      <a:pt x="19019" y="4663"/>
                      <a:pt x="18842" y="9998"/>
                    </a:cubicBezTo>
                    <a:cubicBezTo>
                      <a:pt x="18666" y="15545"/>
                      <a:pt x="14249" y="19255"/>
                      <a:pt x="8738" y="19502"/>
                    </a:cubicBezTo>
                    <a:cubicBezTo>
                      <a:pt x="2449" y="19784"/>
                      <a:pt x="-200" y="15404"/>
                      <a:pt x="12" y="9539"/>
                    </a:cubicBezTo>
                    <a:cubicBezTo>
                      <a:pt x="224" y="3533"/>
                      <a:pt x="3721" y="424"/>
                      <a:pt x="9692" y="0"/>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5" name="Freeform: Shape 1084">
                <a:extLst>
                  <a:ext uri="{FF2B5EF4-FFF2-40B4-BE49-F238E27FC236}">
                    <a16:creationId xmlns:a16="http://schemas.microsoft.com/office/drawing/2014/main" id="{34CEAC15-AC9B-536B-7586-FD2B000E5C1A}"/>
                  </a:ext>
                </a:extLst>
              </p:cNvPr>
              <p:cNvSpPr/>
              <p:nvPr/>
            </p:nvSpPr>
            <p:spPr>
              <a:xfrm>
                <a:off x="5500454" y="3380302"/>
                <a:ext cx="19432" cy="16905"/>
              </a:xfrm>
              <a:custGeom>
                <a:avLst/>
                <a:gdLst>
                  <a:gd name="connsiteX0" fmla="*/ 19432 w 19432"/>
                  <a:gd name="connsiteY0" fmla="*/ 8371 h 16905"/>
                  <a:gd name="connsiteX1" fmla="*/ 8833 w 19432"/>
                  <a:gd name="connsiteY1" fmla="*/ 16885 h 16905"/>
                  <a:gd name="connsiteX2" fmla="*/ 1 w 19432"/>
                  <a:gd name="connsiteY2" fmla="*/ 8547 h 16905"/>
                  <a:gd name="connsiteX3" fmla="*/ 8621 w 19432"/>
                  <a:gd name="connsiteY3" fmla="*/ 33 h 16905"/>
                  <a:gd name="connsiteX4" fmla="*/ 19432 w 19432"/>
                  <a:gd name="connsiteY4" fmla="*/ 8335 h 16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2" h="16905">
                    <a:moveTo>
                      <a:pt x="19432" y="8371"/>
                    </a:moveTo>
                    <a:cubicBezTo>
                      <a:pt x="18549" y="14518"/>
                      <a:pt x="14733" y="17168"/>
                      <a:pt x="8833" y="16885"/>
                    </a:cubicBezTo>
                    <a:cubicBezTo>
                      <a:pt x="3640" y="16673"/>
                      <a:pt x="72" y="13953"/>
                      <a:pt x="1" y="8547"/>
                    </a:cubicBezTo>
                    <a:cubicBezTo>
                      <a:pt x="-70" y="3142"/>
                      <a:pt x="3428" y="386"/>
                      <a:pt x="8621" y="33"/>
                    </a:cubicBezTo>
                    <a:cubicBezTo>
                      <a:pt x="14486" y="-320"/>
                      <a:pt x="18408" y="2153"/>
                      <a:pt x="19432" y="833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6" name="Freeform: Shape 1085">
                <a:extLst>
                  <a:ext uri="{FF2B5EF4-FFF2-40B4-BE49-F238E27FC236}">
                    <a16:creationId xmlns:a16="http://schemas.microsoft.com/office/drawing/2014/main" id="{CC9AABBA-8E7C-F3D9-FB14-A4637D6A2837}"/>
                  </a:ext>
                </a:extLst>
              </p:cNvPr>
              <p:cNvSpPr/>
              <p:nvPr/>
            </p:nvSpPr>
            <p:spPr>
              <a:xfrm>
                <a:off x="5160865" y="3691799"/>
                <a:ext cx="17075" cy="17200"/>
              </a:xfrm>
              <a:custGeom>
                <a:avLst/>
                <a:gdLst>
                  <a:gd name="connsiteX0" fmla="*/ 17069 w 17075"/>
                  <a:gd name="connsiteY0" fmla="*/ 8126 h 17200"/>
                  <a:gd name="connsiteX1" fmla="*/ 9437 w 17075"/>
                  <a:gd name="connsiteY1" fmla="*/ 17170 h 17200"/>
                  <a:gd name="connsiteX2" fmla="*/ 5 w 17075"/>
                  <a:gd name="connsiteY2" fmla="*/ 8232 h 17200"/>
                  <a:gd name="connsiteX3" fmla="*/ 8554 w 17075"/>
                  <a:gd name="connsiteY3" fmla="*/ 0 h 17200"/>
                  <a:gd name="connsiteX4" fmla="*/ 17069 w 17075"/>
                  <a:gd name="connsiteY4" fmla="*/ 8126 h 1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5" h="17200">
                    <a:moveTo>
                      <a:pt x="17069" y="8126"/>
                    </a:moveTo>
                    <a:cubicBezTo>
                      <a:pt x="17210" y="13425"/>
                      <a:pt x="15267" y="16852"/>
                      <a:pt x="9437" y="17170"/>
                    </a:cubicBezTo>
                    <a:cubicBezTo>
                      <a:pt x="3043" y="17523"/>
                      <a:pt x="-137" y="14768"/>
                      <a:pt x="5" y="8232"/>
                    </a:cubicBezTo>
                    <a:cubicBezTo>
                      <a:pt x="110" y="2544"/>
                      <a:pt x="3078" y="35"/>
                      <a:pt x="8554" y="0"/>
                    </a:cubicBezTo>
                    <a:cubicBezTo>
                      <a:pt x="13995" y="0"/>
                      <a:pt x="17175" y="2332"/>
                      <a:pt x="17069" y="8126"/>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7" name="Freeform: Shape 1086">
                <a:extLst>
                  <a:ext uri="{FF2B5EF4-FFF2-40B4-BE49-F238E27FC236}">
                    <a16:creationId xmlns:a16="http://schemas.microsoft.com/office/drawing/2014/main" id="{61210CA0-9149-70BA-AEE6-F3DF8162B8E9}"/>
                  </a:ext>
                </a:extLst>
              </p:cNvPr>
              <p:cNvSpPr/>
              <p:nvPr/>
            </p:nvSpPr>
            <p:spPr>
              <a:xfrm>
                <a:off x="5506912" y="3202548"/>
                <a:ext cx="16801" cy="16656"/>
              </a:xfrm>
              <a:custGeom>
                <a:avLst/>
                <a:gdLst>
                  <a:gd name="connsiteX0" fmla="*/ 8700 w 16801"/>
                  <a:gd name="connsiteY0" fmla="*/ 16650 h 16656"/>
                  <a:gd name="connsiteX1" fmla="*/ 9 w 16801"/>
                  <a:gd name="connsiteY1" fmla="*/ 9018 h 16656"/>
                  <a:gd name="connsiteX2" fmla="*/ 8099 w 16801"/>
                  <a:gd name="connsiteY2" fmla="*/ 9 h 16656"/>
                  <a:gd name="connsiteX3" fmla="*/ 16755 w 16801"/>
                  <a:gd name="connsiteY3" fmla="*/ 8382 h 16656"/>
                  <a:gd name="connsiteX4" fmla="*/ 8664 w 16801"/>
                  <a:gd name="connsiteY4" fmla="*/ 16650 h 16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1" h="16656">
                    <a:moveTo>
                      <a:pt x="8700" y="16650"/>
                    </a:moveTo>
                    <a:cubicBezTo>
                      <a:pt x="3436" y="16791"/>
                      <a:pt x="-203" y="14918"/>
                      <a:pt x="9" y="9018"/>
                    </a:cubicBezTo>
                    <a:cubicBezTo>
                      <a:pt x="185" y="3896"/>
                      <a:pt x="2729" y="221"/>
                      <a:pt x="8099" y="9"/>
                    </a:cubicBezTo>
                    <a:cubicBezTo>
                      <a:pt x="13469" y="-203"/>
                      <a:pt x="16331" y="3189"/>
                      <a:pt x="16755" y="8382"/>
                    </a:cubicBezTo>
                    <a:cubicBezTo>
                      <a:pt x="17214" y="14035"/>
                      <a:pt x="14247" y="16685"/>
                      <a:pt x="8664" y="16650"/>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22" name="Freeform: Shape 3421">
                <a:extLst>
                  <a:ext uri="{FF2B5EF4-FFF2-40B4-BE49-F238E27FC236}">
                    <a16:creationId xmlns:a16="http://schemas.microsoft.com/office/drawing/2014/main" id="{455C334E-FCC5-E284-E820-56483EB5A6CB}"/>
                  </a:ext>
                </a:extLst>
              </p:cNvPr>
              <p:cNvSpPr/>
              <p:nvPr/>
            </p:nvSpPr>
            <p:spPr>
              <a:xfrm>
                <a:off x="5626192" y="3184787"/>
                <a:ext cx="3992" cy="3674"/>
              </a:xfrm>
              <a:custGeom>
                <a:avLst/>
                <a:gdLst>
                  <a:gd name="connsiteX0" fmla="*/ 0 w 3992"/>
                  <a:gd name="connsiteY0" fmla="*/ 3674 h 3674"/>
                  <a:gd name="connsiteX1" fmla="*/ 3992 w 3992"/>
                  <a:gd name="connsiteY1" fmla="*/ 0 h 3674"/>
                  <a:gd name="connsiteX2" fmla="*/ 0 w 3992"/>
                  <a:gd name="connsiteY2" fmla="*/ 3674 h 3674"/>
                </a:gdLst>
                <a:ahLst/>
                <a:cxnLst>
                  <a:cxn ang="0">
                    <a:pos x="connsiteX0" y="connsiteY0"/>
                  </a:cxn>
                  <a:cxn ang="0">
                    <a:pos x="connsiteX1" y="connsiteY1"/>
                  </a:cxn>
                  <a:cxn ang="0">
                    <a:pos x="connsiteX2" y="connsiteY2"/>
                  </a:cxn>
                </a:cxnLst>
                <a:rect l="l" t="t" r="r" b="b"/>
                <a:pathLst>
                  <a:path w="3992" h="3674">
                    <a:moveTo>
                      <a:pt x="0" y="3674"/>
                    </a:moveTo>
                    <a:cubicBezTo>
                      <a:pt x="1343" y="2438"/>
                      <a:pt x="2685" y="1236"/>
                      <a:pt x="3992" y="0"/>
                    </a:cubicBezTo>
                    <a:cubicBezTo>
                      <a:pt x="2650" y="1236"/>
                      <a:pt x="1307" y="2438"/>
                      <a:pt x="0" y="3674"/>
                    </a:cubicBezTo>
                    <a:close/>
                  </a:path>
                </a:pathLst>
              </a:custGeom>
              <a:solidFill>
                <a:srgbClr val="BF6B6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24" name="Freeform: Shape 3423">
                <a:extLst>
                  <a:ext uri="{FF2B5EF4-FFF2-40B4-BE49-F238E27FC236}">
                    <a16:creationId xmlns:a16="http://schemas.microsoft.com/office/drawing/2014/main" id="{7BF77F4F-8139-4323-52C1-F799C4798298}"/>
                  </a:ext>
                </a:extLst>
              </p:cNvPr>
              <p:cNvSpPr/>
              <p:nvPr/>
            </p:nvSpPr>
            <p:spPr>
              <a:xfrm>
                <a:off x="5534613" y="2953414"/>
                <a:ext cx="54520" cy="55472"/>
              </a:xfrm>
              <a:custGeom>
                <a:avLst/>
                <a:gdLst>
                  <a:gd name="connsiteX0" fmla="*/ 54519 w 54520"/>
                  <a:gd name="connsiteY0" fmla="*/ 27416 h 55472"/>
                  <a:gd name="connsiteX1" fmla="*/ 28800 w 54520"/>
                  <a:gd name="connsiteY1" fmla="*/ 55468 h 55472"/>
                  <a:gd name="connsiteX2" fmla="*/ 6 w 54520"/>
                  <a:gd name="connsiteY2" fmla="*/ 29324 h 55472"/>
                  <a:gd name="connsiteX3" fmla="*/ 27669 w 54520"/>
                  <a:gd name="connsiteY3" fmla="*/ 1 h 55472"/>
                  <a:gd name="connsiteX4" fmla="*/ 54519 w 54520"/>
                  <a:gd name="connsiteY4" fmla="*/ 27416 h 55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20" h="55472">
                    <a:moveTo>
                      <a:pt x="54519" y="27416"/>
                    </a:moveTo>
                    <a:cubicBezTo>
                      <a:pt x="54661" y="43032"/>
                      <a:pt x="42967" y="55751"/>
                      <a:pt x="28800" y="55468"/>
                    </a:cubicBezTo>
                    <a:cubicBezTo>
                      <a:pt x="14597" y="55185"/>
                      <a:pt x="324" y="42219"/>
                      <a:pt x="6" y="29324"/>
                    </a:cubicBezTo>
                    <a:cubicBezTo>
                      <a:pt x="-347" y="15758"/>
                      <a:pt x="14668" y="-140"/>
                      <a:pt x="27669" y="1"/>
                    </a:cubicBezTo>
                    <a:cubicBezTo>
                      <a:pt x="41836" y="178"/>
                      <a:pt x="54378" y="13002"/>
                      <a:pt x="54519" y="27416"/>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26" name="Freeform: Shape 3425">
                <a:extLst>
                  <a:ext uri="{FF2B5EF4-FFF2-40B4-BE49-F238E27FC236}">
                    <a16:creationId xmlns:a16="http://schemas.microsoft.com/office/drawing/2014/main" id="{8499A504-925D-81FB-9190-16B7531E1BED}"/>
                  </a:ext>
                </a:extLst>
              </p:cNvPr>
              <p:cNvSpPr/>
              <p:nvPr/>
            </p:nvSpPr>
            <p:spPr>
              <a:xfrm>
                <a:off x="5436120" y="2856571"/>
                <a:ext cx="36354" cy="36545"/>
              </a:xfrm>
              <a:custGeom>
                <a:avLst/>
                <a:gdLst>
                  <a:gd name="connsiteX0" fmla="*/ 36354 w 36354"/>
                  <a:gd name="connsiteY0" fmla="*/ 18519 h 36545"/>
                  <a:gd name="connsiteX1" fmla="*/ 18972 w 36354"/>
                  <a:gd name="connsiteY1" fmla="*/ 36537 h 36545"/>
                  <a:gd name="connsiteX2" fmla="*/ 0 w 36354"/>
                  <a:gd name="connsiteY2" fmla="*/ 18696 h 36545"/>
                  <a:gd name="connsiteX3" fmla="*/ 17877 w 36354"/>
                  <a:gd name="connsiteY3" fmla="*/ 7 h 36545"/>
                  <a:gd name="connsiteX4" fmla="*/ 36319 w 36354"/>
                  <a:gd name="connsiteY4" fmla="*/ 18555 h 3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54" h="36545">
                    <a:moveTo>
                      <a:pt x="36354" y="18519"/>
                    </a:moveTo>
                    <a:cubicBezTo>
                      <a:pt x="34800" y="28835"/>
                      <a:pt x="29394" y="36255"/>
                      <a:pt x="18972" y="36537"/>
                    </a:cubicBezTo>
                    <a:cubicBezTo>
                      <a:pt x="7879" y="36820"/>
                      <a:pt x="35" y="29542"/>
                      <a:pt x="0" y="18696"/>
                    </a:cubicBezTo>
                    <a:cubicBezTo>
                      <a:pt x="-35" y="8380"/>
                      <a:pt x="5935" y="-276"/>
                      <a:pt x="17877" y="7"/>
                    </a:cubicBezTo>
                    <a:cubicBezTo>
                      <a:pt x="29253" y="254"/>
                      <a:pt x="34800" y="7779"/>
                      <a:pt x="36319" y="1855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27" name="Freeform: Shape 3426">
                <a:extLst>
                  <a:ext uri="{FF2B5EF4-FFF2-40B4-BE49-F238E27FC236}">
                    <a16:creationId xmlns:a16="http://schemas.microsoft.com/office/drawing/2014/main" id="{E2161978-5B4D-440F-666D-4939489D653E}"/>
                  </a:ext>
                </a:extLst>
              </p:cNvPr>
              <p:cNvSpPr/>
              <p:nvPr/>
            </p:nvSpPr>
            <p:spPr>
              <a:xfrm>
                <a:off x="5456646" y="3096348"/>
                <a:ext cx="36213" cy="36878"/>
              </a:xfrm>
              <a:custGeom>
                <a:avLst/>
                <a:gdLst>
                  <a:gd name="connsiteX0" fmla="*/ 36178 w 36213"/>
                  <a:gd name="connsiteY0" fmla="*/ 18770 h 36878"/>
                  <a:gd name="connsiteX1" fmla="*/ 19008 w 36213"/>
                  <a:gd name="connsiteY1" fmla="*/ 36788 h 36878"/>
                  <a:gd name="connsiteX2" fmla="*/ 36 w 36213"/>
                  <a:gd name="connsiteY2" fmla="*/ 19229 h 36878"/>
                  <a:gd name="connsiteX3" fmla="*/ 17383 w 36213"/>
                  <a:gd name="connsiteY3" fmla="*/ 10 h 36878"/>
                  <a:gd name="connsiteX4" fmla="*/ 36213 w 36213"/>
                  <a:gd name="connsiteY4" fmla="*/ 18770 h 3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13" h="36878">
                    <a:moveTo>
                      <a:pt x="36178" y="18770"/>
                    </a:moveTo>
                    <a:cubicBezTo>
                      <a:pt x="34835" y="28945"/>
                      <a:pt x="29430" y="35869"/>
                      <a:pt x="19008" y="36788"/>
                    </a:cubicBezTo>
                    <a:cubicBezTo>
                      <a:pt x="6925" y="37848"/>
                      <a:pt x="601" y="29475"/>
                      <a:pt x="36" y="19229"/>
                    </a:cubicBezTo>
                    <a:cubicBezTo>
                      <a:pt x="-529" y="8807"/>
                      <a:pt x="5548" y="363"/>
                      <a:pt x="17383" y="10"/>
                    </a:cubicBezTo>
                    <a:cubicBezTo>
                      <a:pt x="29536" y="-343"/>
                      <a:pt x="33387" y="8807"/>
                      <a:pt x="36213" y="18770"/>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28" name="Freeform: Shape 3427">
                <a:extLst>
                  <a:ext uri="{FF2B5EF4-FFF2-40B4-BE49-F238E27FC236}">
                    <a16:creationId xmlns:a16="http://schemas.microsoft.com/office/drawing/2014/main" id="{065ACC4F-46A1-3859-04C9-D3446D058CFA}"/>
                  </a:ext>
                </a:extLst>
              </p:cNvPr>
              <p:cNvSpPr/>
              <p:nvPr/>
            </p:nvSpPr>
            <p:spPr>
              <a:xfrm>
                <a:off x="5672998" y="2932133"/>
                <a:ext cx="35865" cy="36570"/>
              </a:xfrm>
              <a:custGeom>
                <a:avLst/>
                <a:gdLst>
                  <a:gd name="connsiteX0" fmla="*/ 35865 w 35865"/>
                  <a:gd name="connsiteY0" fmla="*/ 18985 h 36570"/>
                  <a:gd name="connsiteX1" fmla="*/ 16434 w 35865"/>
                  <a:gd name="connsiteY1" fmla="*/ 36544 h 36570"/>
                  <a:gd name="connsiteX2" fmla="*/ 6 w 35865"/>
                  <a:gd name="connsiteY2" fmla="*/ 18385 h 36570"/>
                  <a:gd name="connsiteX3" fmla="*/ 18271 w 35865"/>
                  <a:gd name="connsiteY3" fmla="*/ 14 h 36570"/>
                  <a:gd name="connsiteX4" fmla="*/ 35830 w 35865"/>
                  <a:gd name="connsiteY4" fmla="*/ 18985 h 3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65" h="36570">
                    <a:moveTo>
                      <a:pt x="35865" y="18985"/>
                    </a:moveTo>
                    <a:cubicBezTo>
                      <a:pt x="34240" y="30679"/>
                      <a:pt x="27881" y="37039"/>
                      <a:pt x="16434" y="36544"/>
                    </a:cubicBezTo>
                    <a:cubicBezTo>
                      <a:pt x="5446" y="36049"/>
                      <a:pt x="-206" y="28277"/>
                      <a:pt x="6" y="18385"/>
                    </a:cubicBezTo>
                    <a:cubicBezTo>
                      <a:pt x="218" y="7645"/>
                      <a:pt x="6789" y="-375"/>
                      <a:pt x="18271" y="14"/>
                    </a:cubicBezTo>
                    <a:cubicBezTo>
                      <a:pt x="29576" y="402"/>
                      <a:pt x="34947" y="8316"/>
                      <a:pt x="35830" y="1898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29" name="Freeform: Shape 3428">
                <a:extLst>
                  <a:ext uri="{FF2B5EF4-FFF2-40B4-BE49-F238E27FC236}">
                    <a16:creationId xmlns:a16="http://schemas.microsoft.com/office/drawing/2014/main" id="{8543FE4C-B43C-D041-4BA5-7E298C8868F5}"/>
                  </a:ext>
                </a:extLst>
              </p:cNvPr>
              <p:cNvSpPr/>
              <p:nvPr/>
            </p:nvSpPr>
            <p:spPr>
              <a:xfrm>
                <a:off x="5788376" y="3150862"/>
                <a:ext cx="35854" cy="36821"/>
              </a:xfrm>
              <a:custGeom>
                <a:avLst/>
                <a:gdLst>
                  <a:gd name="connsiteX0" fmla="*/ 18844 w 35854"/>
                  <a:gd name="connsiteY0" fmla="*/ 36786 h 36821"/>
                  <a:gd name="connsiteX1" fmla="*/ 49 w 35854"/>
                  <a:gd name="connsiteY1" fmla="*/ 18344 h 36821"/>
                  <a:gd name="connsiteX2" fmla="*/ 17784 w 35854"/>
                  <a:gd name="connsiteY2" fmla="*/ 9 h 36821"/>
                  <a:gd name="connsiteX3" fmla="*/ 35837 w 35854"/>
                  <a:gd name="connsiteY3" fmla="*/ 18521 h 36821"/>
                  <a:gd name="connsiteX4" fmla="*/ 18809 w 35854"/>
                  <a:gd name="connsiteY4" fmla="*/ 36822 h 36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 h="36821">
                    <a:moveTo>
                      <a:pt x="18844" y="36786"/>
                    </a:moveTo>
                    <a:cubicBezTo>
                      <a:pt x="7715" y="35550"/>
                      <a:pt x="720" y="29120"/>
                      <a:pt x="49" y="18344"/>
                    </a:cubicBezTo>
                    <a:cubicBezTo>
                      <a:pt x="-658" y="6933"/>
                      <a:pt x="6373" y="291"/>
                      <a:pt x="17784" y="9"/>
                    </a:cubicBezTo>
                    <a:cubicBezTo>
                      <a:pt x="29902" y="-309"/>
                      <a:pt x="35413" y="8311"/>
                      <a:pt x="35837" y="18521"/>
                    </a:cubicBezTo>
                    <a:cubicBezTo>
                      <a:pt x="36261" y="28767"/>
                      <a:pt x="28807" y="34631"/>
                      <a:pt x="18809" y="36822"/>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0" name="Freeform: Shape 3429">
                <a:extLst>
                  <a:ext uri="{FF2B5EF4-FFF2-40B4-BE49-F238E27FC236}">
                    <a16:creationId xmlns:a16="http://schemas.microsoft.com/office/drawing/2014/main" id="{2E873F63-44FC-4F00-4486-B3F47B024AF9}"/>
                  </a:ext>
                </a:extLst>
              </p:cNvPr>
              <p:cNvSpPr/>
              <p:nvPr/>
            </p:nvSpPr>
            <p:spPr>
              <a:xfrm>
                <a:off x="5429783" y="3006641"/>
                <a:ext cx="35272" cy="36092"/>
              </a:xfrm>
              <a:custGeom>
                <a:avLst/>
                <a:gdLst>
                  <a:gd name="connsiteX0" fmla="*/ 17961 w 35272"/>
                  <a:gd name="connsiteY0" fmla="*/ 16 h 36092"/>
                  <a:gd name="connsiteX1" fmla="*/ 35272 w 35272"/>
                  <a:gd name="connsiteY1" fmla="*/ 17680 h 36092"/>
                  <a:gd name="connsiteX2" fmla="*/ 17431 w 35272"/>
                  <a:gd name="connsiteY2" fmla="*/ 36087 h 36092"/>
                  <a:gd name="connsiteX3" fmla="*/ 14 w 35272"/>
                  <a:gd name="connsiteY3" fmla="*/ 17045 h 36092"/>
                  <a:gd name="connsiteX4" fmla="*/ 17996 w 35272"/>
                  <a:gd name="connsiteY4" fmla="*/ 16 h 3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72" h="36092">
                    <a:moveTo>
                      <a:pt x="17961" y="16"/>
                    </a:moveTo>
                    <a:cubicBezTo>
                      <a:pt x="30750" y="192"/>
                      <a:pt x="35308" y="8000"/>
                      <a:pt x="35272" y="17680"/>
                    </a:cubicBezTo>
                    <a:cubicBezTo>
                      <a:pt x="35202" y="28421"/>
                      <a:pt x="28772" y="36334"/>
                      <a:pt x="17431" y="36087"/>
                    </a:cubicBezTo>
                    <a:cubicBezTo>
                      <a:pt x="6161" y="35840"/>
                      <a:pt x="-340" y="27467"/>
                      <a:pt x="14" y="17045"/>
                    </a:cubicBezTo>
                    <a:cubicBezTo>
                      <a:pt x="367" y="6446"/>
                      <a:pt x="7292" y="-373"/>
                      <a:pt x="17996" y="16"/>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2" name="Freeform: Shape 3431">
                <a:extLst>
                  <a:ext uri="{FF2B5EF4-FFF2-40B4-BE49-F238E27FC236}">
                    <a16:creationId xmlns:a16="http://schemas.microsoft.com/office/drawing/2014/main" id="{5E1FA6B3-375D-53E5-62BF-5B035F9BAB11}"/>
                  </a:ext>
                </a:extLst>
              </p:cNvPr>
              <p:cNvSpPr/>
              <p:nvPr/>
            </p:nvSpPr>
            <p:spPr>
              <a:xfrm>
                <a:off x="5499816" y="2703795"/>
                <a:ext cx="34449" cy="35924"/>
              </a:xfrm>
              <a:custGeom>
                <a:avLst/>
                <a:gdLst>
                  <a:gd name="connsiteX0" fmla="*/ 34449 w 34449"/>
                  <a:gd name="connsiteY0" fmla="*/ 18496 h 35924"/>
                  <a:gd name="connsiteX1" fmla="*/ 17986 w 34449"/>
                  <a:gd name="connsiteY1" fmla="*/ 35913 h 35924"/>
                  <a:gd name="connsiteX2" fmla="*/ 3 w 34449"/>
                  <a:gd name="connsiteY2" fmla="*/ 18248 h 35924"/>
                  <a:gd name="connsiteX3" fmla="*/ 16396 w 34449"/>
                  <a:gd name="connsiteY3" fmla="*/ 18 h 35924"/>
                  <a:gd name="connsiteX4" fmla="*/ 34414 w 34449"/>
                  <a:gd name="connsiteY4" fmla="*/ 18460 h 35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49" h="35924">
                    <a:moveTo>
                      <a:pt x="34449" y="18496"/>
                    </a:moveTo>
                    <a:cubicBezTo>
                      <a:pt x="34237" y="29236"/>
                      <a:pt x="29185" y="35630"/>
                      <a:pt x="17986" y="35913"/>
                    </a:cubicBezTo>
                    <a:cubicBezTo>
                      <a:pt x="6080" y="36231"/>
                      <a:pt x="215" y="30190"/>
                      <a:pt x="3" y="18248"/>
                    </a:cubicBezTo>
                    <a:cubicBezTo>
                      <a:pt x="-173" y="6978"/>
                      <a:pt x="6751" y="407"/>
                      <a:pt x="16396" y="18"/>
                    </a:cubicBezTo>
                    <a:cubicBezTo>
                      <a:pt x="27136" y="-406"/>
                      <a:pt x="34167" y="6519"/>
                      <a:pt x="34414" y="18460"/>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3" name="Freeform: Shape 3432">
                <a:extLst>
                  <a:ext uri="{FF2B5EF4-FFF2-40B4-BE49-F238E27FC236}">
                    <a16:creationId xmlns:a16="http://schemas.microsoft.com/office/drawing/2014/main" id="{02B5BBC0-5AF1-B45C-BA45-1F5EF4ADFE09}"/>
                  </a:ext>
                </a:extLst>
              </p:cNvPr>
              <p:cNvSpPr/>
              <p:nvPr/>
            </p:nvSpPr>
            <p:spPr>
              <a:xfrm>
                <a:off x="5660733" y="2702504"/>
                <a:ext cx="34563" cy="36381"/>
              </a:xfrm>
              <a:custGeom>
                <a:avLst/>
                <a:gdLst>
                  <a:gd name="connsiteX0" fmla="*/ 34564 w 34563"/>
                  <a:gd name="connsiteY0" fmla="*/ 16783 h 36381"/>
                  <a:gd name="connsiteX1" fmla="*/ 18100 w 34563"/>
                  <a:gd name="connsiteY1" fmla="*/ 36320 h 36381"/>
                  <a:gd name="connsiteX2" fmla="*/ 47 w 34563"/>
                  <a:gd name="connsiteY2" fmla="*/ 18232 h 36381"/>
                  <a:gd name="connsiteX3" fmla="*/ 17570 w 34563"/>
                  <a:gd name="connsiteY3" fmla="*/ 2 h 36381"/>
                  <a:gd name="connsiteX4" fmla="*/ 34564 w 34563"/>
                  <a:gd name="connsiteY4" fmla="*/ 16783 h 36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63" h="36381">
                    <a:moveTo>
                      <a:pt x="34564" y="16783"/>
                    </a:moveTo>
                    <a:cubicBezTo>
                      <a:pt x="33999" y="28407"/>
                      <a:pt x="28099" y="35614"/>
                      <a:pt x="18100" y="36320"/>
                    </a:cubicBezTo>
                    <a:cubicBezTo>
                      <a:pt x="6689" y="37133"/>
                      <a:pt x="683" y="29785"/>
                      <a:pt x="47" y="18232"/>
                    </a:cubicBezTo>
                    <a:cubicBezTo>
                      <a:pt x="-660" y="5761"/>
                      <a:pt x="6654" y="143"/>
                      <a:pt x="17570" y="2"/>
                    </a:cubicBezTo>
                    <a:cubicBezTo>
                      <a:pt x="28452" y="-139"/>
                      <a:pt x="33257" y="7562"/>
                      <a:pt x="34564" y="16783"/>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4" name="Freeform: Shape 3433">
                <a:extLst>
                  <a:ext uri="{FF2B5EF4-FFF2-40B4-BE49-F238E27FC236}">
                    <a16:creationId xmlns:a16="http://schemas.microsoft.com/office/drawing/2014/main" id="{D25D5EC3-ACAA-5B34-06AE-5BE7F3A1A0EF}"/>
                  </a:ext>
                </a:extLst>
              </p:cNvPr>
              <p:cNvSpPr/>
              <p:nvPr/>
            </p:nvSpPr>
            <p:spPr>
              <a:xfrm>
                <a:off x="5668411" y="3062216"/>
                <a:ext cx="19248" cy="19342"/>
              </a:xfrm>
              <a:custGeom>
                <a:avLst/>
                <a:gdLst>
                  <a:gd name="connsiteX0" fmla="*/ 0 w 19248"/>
                  <a:gd name="connsiteY0" fmla="*/ 9729 h 19342"/>
                  <a:gd name="connsiteX1" fmla="*/ 9256 w 19248"/>
                  <a:gd name="connsiteY1" fmla="*/ 13 h 19342"/>
                  <a:gd name="connsiteX2" fmla="*/ 19219 w 19248"/>
                  <a:gd name="connsiteY2" fmla="*/ 8881 h 19342"/>
                  <a:gd name="connsiteX3" fmla="*/ 9256 w 19248"/>
                  <a:gd name="connsiteY3" fmla="*/ 19338 h 19342"/>
                  <a:gd name="connsiteX4" fmla="*/ 0 w 19248"/>
                  <a:gd name="connsiteY4" fmla="*/ 9729 h 19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8" h="19342">
                    <a:moveTo>
                      <a:pt x="0" y="9729"/>
                    </a:moveTo>
                    <a:cubicBezTo>
                      <a:pt x="318" y="3758"/>
                      <a:pt x="3321" y="261"/>
                      <a:pt x="9256" y="13"/>
                    </a:cubicBezTo>
                    <a:cubicBezTo>
                      <a:pt x="15192" y="-234"/>
                      <a:pt x="18866" y="2981"/>
                      <a:pt x="19219" y="8881"/>
                    </a:cubicBezTo>
                    <a:cubicBezTo>
                      <a:pt x="19608" y="15594"/>
                      <a:pt x="16110" y="19480"/>
                      <a:pt x="9256" y="19338"/>
                    </a:cubicBezTo>
                    <a:cubicBezTo>
                      <a:pt x="3180" y="19232"/>
                      <a:pt x="459" y="15417"/>
                      <a:pt x="0" y="9729"/>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5" name="Freeform: Shape 3434">
                <a:extLst>
                  <a:ext uri="{FF2B5EF4-FFF2-40B4-BE49-F238E27FC236}">
                    <a16:creationId xmlns:a16="http://schemas.microsoft.com/office/drawing/2014/main" id="{D2225147-3975-E304-04E4-EEF71B2B920F}"/>
                  </a:ext>
                </a:extLst>
              </p:cNvPr>
              <p:cNvSpPr/>
              <p:nvPr/>
            </p:nvSpPr>
            <p:spPr>
              <a:xfrm>
                <a:off x="5370908" y="3093284"/>
                <a:ext cx="19022" cy="19537"/>
              </a:xfrm>
              <a:custGeom>
                <a:avLst/>
                <a:gdLst>
                  <a:gd name="connsiteX0" fmla="*/ 8933 w 19022"/>
                  <a:gd name="connsiteY0" fmla="*/ 19537 h 19537"/>
                  <a:gd name="connsiteX1" fmla="*/ 136 w 19022"/>
                  <a:gd name="connsiteY1" fmla="*/ 9539 h 19537"/>
                  <a:gd name="connsiteX2" fmla="*/ 10417 w 19022"/>
                  <a:gd name="connsiteY2" fmla="*/ 0 h 19537"/>
                  <a:gd name="connsiteX3" fmla="*/ 19002 w 19022"/>
                  <a:gd name="connsiteY3" fmla="*/ 10281 h 19537"/>
                  <a:gd name="connsiteX4" fmla="*/ 8933 w 19022"/>
                  <a:gd name="connsiteY4" fmla="*/ 19537 h 1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22" h="19537">
                    <a:moveTo>
                      <a:pt x="8933" y="19537"/>
                    </a:moveTo>
                    <a:cubicBezTo>
                      <a:pt x="3033" y="18831"/>
                      <a:pt x="-782" y="15686"/>
                      <a:pt x="136" y="9539"/>
                    </a:cubicBezTo>
                    <a:cubicBezTo>
                      <a:pt x="949" y="4134"/>
                      <a:pt x="4658" y="0"/>
                      <a:pt x="10417" y="0"/>
                    </a:cubicBezTo>
                    <a:cubicBezTo>
                      <a:pt x="16670" y="0"/>
                      <a:pt x="19285" y="4452"/>
                      <a:pt x="19002" y="10281"/>
                    </a:cubicBezTo>
                    <a:cubicBezTo>
                      <a:pt x="18684" y="16358"/>
                      <a:pt x="14939" y="19254"/>
                      <a:pt x="8933" y="19537"/>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6" name="Freeform: Shape 3435">
                <a:extLst>
                  <a:ext uri="{FF2B5EF4-FFF2-40B4-BE49-F238E27FC236}">
                    <a16:creationId xmlns:a16="http://schemas.microsoft.com/office/drawing/2014/main" id="{A57B309B-34D4-1B8D-DD15-90EB8A2B0D84}"/>
                  </a:ext>
                </a:extLst>
              </p:cNvPr>
              <p:cNvSpPr/>
              <p:nvPr/>
            </p:nvSpPr>
            <p:spPr>
              <a:xfrm>
                <a:off x="5558736" y="3137340"/>
                <a:ext cx="19055" cy="18449"/>
              </a:xfrm>
              <a:custGeom>
                <a:avLst/>
                <a:gdLst>
                  <a:gd name="connsiteX0" fmla="*/ 19055 w 19055"/>
                  <a:gd name="connsiteY0" fmla="*/ 8444 h 18449"/>
                  <a:gd name="connsiteX1" fmla="*/ 9622 w 19055"/>
                  <a:gd name="connsiteY1" fmla="*/ 18442 h 18449"/>
                  <a:gd name="connsiteX2" fmla="*/ 13 w 19055"/>
                  <a:gd name="connsiteY2" fmla="*/ 9115 h 18449"/>
                  <a:gd name="connsiteX3" fmla="*/ 9976 w 19055"/>
                  <a:gd name="connsiteY3" fmla="*/ 0 h 18449"/>
                  <a:gd name="connsiteX4" fmla="*/ 19055 w 19055"/>
                  <a:gd name="connsiteY4" fmla="*/ 8444 h 1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5" h="18449">
                    <a:moveTo>
                      <a:pt x="19055" y="8444"/>
                    </a:moveTo>
                    <a:cubicBezTo>
                      <a:pt x="18137" y="13743"/>
                      <a:pt x="15346" y="18301"/>
                      <a:pt x="9622" y="18442"/>
                    </a:cubicBezTo>
                    <a:cubicBezTo>
                      <a:pt x="4146" y="18619"/>
                      <a:pt x="-270" y="15545"/>
                      <a:pt x="13" y="9115"/>
                    </a:cubicBezTo>
                    <a:cubicBezTo>
                      <a:pt x="296" y="3003"/>
                      <a:pt x="4040" y="0"/>
                      <a:pt x="9976" y="0"/>
                    </a:cubicBezTo>
                    <a:cubicBezTo>
                      <a:pt x="15275" y="0"/>
                      <a:pt x="18172" y="3074"/>
                      <a:pt x="19055" y="8444"/>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7" name="Freeform: Shape 3436">
                <a:extLst>
                  <a:ext uri="{FF2B5EF4-FFF2-40B4-BE49-F238E27FC236}">
                    <a16:creationId xmlns:a16="http://schemas.microsoft.com/office/drawing/2014/main" id="{455FD12E-77C6-259F-0DDE-49D5EBFA4FD7}"/>
                  </a:ext>
                </a:extLst>
              </p:cNvPr>
              <p:cNvSpPr/>
              <p:nvPr/>
            </p:nvSpPr>
            <p:spPr>
              <a:xfrm>
                <a:off x="5333077" y="2743572"/>
                <a:ext cx="18818" cy="18432"/>
              </a:xfrm>
              <a:custGeom>
                <a:avLst/>
                <a:gdLst>
                  <a:gd name="connsiteX0" fmla="*/ 18819 w 18818"/>
                  <a:gd name="connsiteY0" fmla="*/ 8466 h 18432"/>
                  <a:gd name="connsiteX1" fmla="*/ 9492 w 18818"/>
                  <a:gd name="connsiteY1" fmla="*/ 18429 h 18432"/>
                  <a:gd name="connsiteX2" fmla="*/ 23 w 18818"/>
                  <a:gd name="connsiteY2" fmla="*/ 8713 h 18432"/>
                  <a:gd name="connsiteX3" fmla="*/ 8291 w 18818"/>
                  <a:gd name="connsiteY3" fmla="*/ 58 h 18432"/>
                  <a:gd name="connsiteX4" fmla="*/ 18819 w 18818"/>
                  <a:gd name="connsiteY4" fmla="*/ 8466 h 18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8" h="18432">
                    <a:moveTo>
                      <a:pt x="18819" y="8466"/>
                    </a:moveTo>
                    <a:cubicBezTo>
                      <a:pt x="17935" y="13801"/>
                      <a:pt x="15180" y="18287"/>
                      <a:pt x="9492" y="18429"/>
                    </a:cubicBezTo>
                    <a:cubicBezTo>
                      <a:pt x="3768" y="18570"/>
                      <a:pt x="377" y="14260"/>
                      <a:pt x="23" y="8713"/>
                    </a:cubicBezTo>
                    <a:cubicBezTo>
                      <a:pt x="-330" y="3378"/>
                      <a:pt x="3344" y="517"/>
                      <a:pt x="8291" y="58"/>
                    </a:cubicBezTo>
                    <a:cubicBezTo>
                      <a:pt x="14049" y="-437"/>
                      <a:pt x="17865" y="2248"/>
                      <a:pt x="18819" y="8466"/>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8" name="Freeform: Shape 3437">
                <a:extLst>
                  <a:ext uri="{FF2B5EF4-FFF2-40B4-BE49-F238E27FC236}">
                    <a16:creationId xmlns:a16="http://schemas.microsoft.com/office/drawing/2014/main" id="{5BCD9A17-5AB9-D2F1-0015-6B67BB9288CB}"/>
                  </a:ext>
                </a:extLst>
              </p:cNvPr>
              <p:cNvSpPr/>
              <p:nvPr/>
            </p:nvSpPr>
            <p:spPr>
              <a:xfrm>
                <a:off x="5620039" y="2795521"/>
                <a:ext cx="16787" cy="18657"/>
              </a:xfrm>
              <a:custGeom>
                <a:avLst/>
                <a:gdLst>
                  <a:gd name="connsiteX0" fmla="*/ 16752 w 16787"/>
                  <a:gd name="connsiteY0" fmla="*/ 9652 h 18657"/>
                  <a:gd name="connsiteX1" fmla="*/ 7390 w 16787"/>
                  <a:gd name="connsiteY1" fmla="*/ 18626 h 18657"/>
                  <a:gd name="connsiteX2" fmla="*/ 6 w 16787"/>
                  <a:gd name="connsiteY2" fmla="*/ 9299 h 18657"/>
                  <a:gd name="connsiteX3" fmla="*/ 9227 w 16787"/>
                  <a:gd name="connsiteY3" fmla="*/ 42 h 18657"/>
                  <a:gd name="connsiteX4" fmla="*/ 16788 w 16787"/>
                  <a:gd name="connsiteY4" fmla="*/ 9652 h 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7" h="18657">
                    <a:moveTo>
                      <a:pt x="16752" y="9652"/>
                    </a:moveTo>
                    <a:cubicBezTo>
                      <a:pt x="16258" y="15163"/>
                      <a:pt x="13502" y="19049"/>
                      <a:pt x="7390" y="18626"/>
                    </a:cubicBezTo>
                    <a:cubicBezTo>
                      <a:pt x="2055" y="18237"/>
                      <a:pt x="-135" y="14280"/>
                      <a:pt x="6" y="9299"/>
                    </a:cubicBezTo>
                    <a:cubicBezTo>
                      <a:pt x="148" y="3434"/>
                      <a:pt x="3115" y="-452"/>
                      <a:pt x="9227" y="42"/>
                    </a:cubicBezTo>
                    <a:cubicBezTo>
                      <a:pt x="14421" y="466"/>
                      <a:pt x="16646" y="4352"/>
                      <a:pt x="16788" y="9652"/>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9" name="Freeform: Shape 3438">
                <a:extLst>
                  <a:ext uri="{FF2B5EF4-FFF2-40B4-BE49-F238E27FC236}">
                    <a16:creationId xmlns:a16="http://schemas.microsoft.com/office/drawing/2014/main" id="{276CC71C-C268-B453-2FAF-994ECE344F57}"/>
                  </a:ext>
                </a:extLst>
              </p:cNvPr>
              <p:cNvSpPr/>
              <p:nvPr/>
            </p:nvSpPr>
            <p:spPr>
              <a:xfrm>
                <a:off x="5414589" y="3079537"/>
                <a:ext cx="16840" cy="19152"/>
              </a:xfrm>
              <a:custGeom>
                <a:avLst/>
                <a:gdLst>
                  <a:gd name="connsiteX0" fmla="*/ 8671 w 16840"/>
                  <a:gd name="connsiteY0" fmla="*/ 19117 h 19152"/>
                  <a:gd name="connsiteX1" fmla="*/ 16 w 16840"/>
                  <a:gd name="connsiteY1" fmla="*/ 8695 h 19152"/>
                  <a:gd name="connsiteX2" fmla="*/ 8389 w 16840"/>
                  <a:gd name="connsiteY2" fmla="*/ 4 h 19152"/>
                  <a:gd name="connsiteX3" fmla="*/ 16797 w 16840"/>
                  <a:gd name="connsiteY3" fmla="*/ 8554 h 19152"/>
                  <a:gd name="connsiteX4" fmla="*/ 8671 w 16840"/>
                  <a:gd name="connsiteY4" fmla="*/ 19153 h 1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40" h="19152">
                    <a:moveTo>
                      <a:pt x="8671" y="19117"/>
                    </a:moveTo>
                    <a:cubicBezTo>
                      <a:pt x="2418" y="18234"/>
                      <a:pt x="-232" y="14524"/>
                      <a:pt x="16" y="8695"/>
                    </a:cubicBezTo>
                    <a:cubicBezTo>
                      <a:pt x="228" y="3502"/>
                      <a:pt x="3266" y="145"/>
                      <a:pt x="8389" y="4"/>
                    </a:cubicBezTo>
                    <a:cubicBezTo>
                      <a:pt x="13688" y="-137"/>
                      <a:pt x="16444" y="3396"/>
                      <a:pt x="16797" y="8554"/>
                    </a:cubicBezTo>
                    <a:cubicBezTo>
                      <a:pt x="17221" y="14454"/>
                      <a:pt x="14501" y="18093"/>
                      <a:pt x="8671" y="19153"/>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0" name="Freeform: Shape 3439">
                <a:extLst>
                  <a:ext uri="{FF2B5EF4-FFF2-40B4-BE49-F238E27FC236}">
                    <a16:creationId xmlns:a16="http://schemas.microsoft.com/office/drawing/2014/main" id="{5D894606-D390-7AD8-AC75-21E2D68495BF}"/>
                  </a:ext>
                </a:extLst>
              </p:cNvPr>
              <p:cNvSpPr/>
              <p:nvPr/>
            </p:nvSpPr>
            <p:spPr>
              <a:xfrm>
                <a:off x="5743296" y="3045413"/>
                <a:ext cx="16856" cy="19000"/>
              </a:xfrm>
              <a:custGeom>
                <a:avLst/>
                <a:gdLst>
                  <a:gd name="connsiteX0" fmla="*/ 8033 w 16856"/>
                  <a:gd name="connsiteY0" fmla="*/ 0 h 19000"/>
                  <a:gd name="connsiteX1" fmla="*/ 16795 w 16856"/>
                  <a:gd name="connsiteY1" fmla="*/ 8408 h 19000"/>
                  <a:gd name="connsiteX2" fmla="*/ 8740 w 16856"/>
                  <a:gd name="connsiteY2" fmla="*/ 18972 h 19000"/>
                  <a:gd name="connsiteX3" fmla="*/ 84 w 16856"/>
                  <a:gd name="connsiteY3" fmla="*/ 10775 h 19000"/>
                  <a:gd name="connsiteX4" fmla="*/ 8033 w 16856"/>
                  <a:gd name="connsiteY4" fmla="*/ 35 h 1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6" h="19000">
                    <a:moveTo>
                      <a:pt x="8033" y="0"/>
                    </a:moveTo>
                    <a:cubicBezTo>
                      <a:pt x="13227" y="495"/>
                      <a:pt x="16336" y="3286"/>
                      <a:pt x="16795" y="8408"/>
                    </a:cubicBezTo>
                    <a:cubicBezTo>
                      <a:pt x="17289" y="14167"/>
                      <a:pt x="14852" y="18477"/>
                      <a:pt x="8740" y="18972"/>
                    </a:cubicBezTo>
                    <a:cubicBezTo>
                      <a:pt x="3440" y="19361"/>
                      <a:pt x="579" y="15757"/>
                      <a:pt x="84" y="10775"/>
                    </a:cubicBezTo>
                    <a:cubicBezTo>
                      <a:pt x="-517" y="4981"/>
                      <a:pt x="2098" y="1166"/>
                      <a:pt x="8033" y="3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1" name="Freeform: Shape 3440">
                <a:extLst>
                  <a:ext uri="{FF2B5EF4-FFF2-40B4-BE49-F238E27FC236}">
                    <a16:creationId xmlns:a16="http://schemas.microsoft.com/office/drawing/2014/main" id="{9D793BDB-3DD9-681D-655C-D18BC0562449}"/>
                  </a:ext>
                </a:extLst>
              </p:cNvPr>
              <p:cNvSpPr/>
              <p:nvPr/>
            </p:nvSpPr>
            <p:spPr>
              <a:xfrm>
                <a:off x="5558360" y="2907491"/>
                <a:ext cx="16912" cy="17033"/>
              </a:xfrm>
              <a:custGeom>
                <a:avLst/>
                <a:gdLst>
                  <a:gd name="connsiteX0" fmla="*/ 7843 w 16912"/>
                  <a:gd name="connsiteY0" fmla="*/ 17025 h 17033"/>
                  <a:gd name="connsiteX1" fmla="*/ 0 w 16912"/>
                  <a:gd name="connsiteY1" fmla="*/ 8228 h 17033"/>
                  <a:gd name="connsiteX2" fmla="*/ 10034 w 16912"/>
                  <a:gd name="connsiteY2" fmla="*/ 67 h 17033"/>
                  <a:gd name="connsiteX3" fmla="*/ 16887 w 16912"/>
                  <a:gd name="connsiteY3" fmla="*/ 9606 h 17033"/>
                  <a:gd name="connsiteX4" fmla="*/ 7808 w 16912"/>
                  <a:gd name="connsiteY4" fmla="*/ 17025 h 1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12" h="17033">
                    <a:moveTo>
                      <a:pt x="7843" y="17025"/>
                    </a:moveTo>
                    <a:cubicBezTo>
                      <a:pt x="2084" y="16919"/>
                      <a:pt x="0" y="13457"/>
                      <a:pt x="0" y="8228"/>
                    </a:cubicBezTo>
                    <a:cubicBezTo>
                      <a:pt x="0" y="1410"/>
                      <a:pt x="4169" y="-392"/>
                      <a:pt x="10034" y="67"/>
                    </a:cubicBezTo>
                    <a:cubicBezTo>
                      <a:pt x="16039" y="527"/>
                      <a:pt x="17099" y="4625"/>
                      <a:pt x="16887" y="9606"/>
                    </a:cubicBezTo>
                    <a:cubicBezTo>
                      <a:pt x="16640" y="15506"/>
                      <a:pt x="12966" y="17167"/>
                      <a:pt x="7808" y="17025"/>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2" name="Freeform: Shape 3441">
                <a:extLst>
                  <a:ext uri="{FF2B5EF4-FFF2-40B4-BE49-F238E27FC236}">
                    <a16:creationId xmlns:a16="http://schemas.microsoft.com/office/drawing/2014/main" id="{0F088C93-A327-A405-9544-3B22CF99736D}"/>
                  </a:ext>
                </a:extLst>
              </p:cNvPr>
              <p:cNvSpPr/>
              <p:nvPr/>
            </p:nvSpPr>
            <p:spPr>
              <a:xfrm>
                <a:off x="5846001" y="2962452"/>
                <a:ext cx="16934" cy="17073"/>
              </a:xfrm>
              <a:custGeom>
                <a:avLst/>
                <a:gdLst>
                  <a:gd name="connsiteX0" fmla="*/ 16898 w 16934"/>
                  <a:gd name="connsiteY0" fmla="*/ 8734 h 17073"/>
                  <a:gd name="connsiteX1" fmla="*/ 8702 w 16934"/>
                  <a:gd name="connsiteY1" fmla="*/ 17072 h 17073"/>
                  <a:gd name="connsiteX2" fmla="*/ 11 w 16934"/>
                  <a:gd name="connsiteY2" fmla="*/ 9193 h 17073"/>
                  <a:gd name="connsiteX3" fmla="*/ 9090 w 16934"/>
                  <a:gd name="connsiteY3" fmla="*/ 7 h 17073"/>
                  <a:gd name="connsiteX4" fmla="*/ 16934 w 16934"/>
                  <a:gd name="connsiteY4" fmla="*/ 8734 h 17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34" h="17073">
                    <a:moveTo>
                      <a:pt x="16898" y="8734"/>
                    </a:moveTo>
                    <a:cubicBezTo>
                      <a:pt x="17004" y="14316"/>
                      <a:pt x="14178" y="17036"/>
                      <a:pt x="8702" y="17072"/>
                    </a:cubicBezTo>
                    <a:cubicBezTo>
                      <a:pt x="3367" y="17142"/>
                      <a:pt x="223" y="14916"/>
                      <a:pt x="11" y="9193"/>
                    </a:cubicBezTo>
                    <a:cubicBezTo>
                      <a:pt x="-201" y="2798"/>
                      <a:pt x="2696" y="-169"/>
                      <a:pt x="9090" y="7"/>
                    </a:cubicBezTo>
                    <a:cubicBezTo>
                      <a:pt x="14884" y="184"/>
                      <a:pt x="16969" y="3434"/>
                      <a:pt x="16934" y="8734"/>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3" name="Freeform: Shape 3442">
                <a:extLst>
                  <a:ext uri="{FF2B5EF4-FFF2-40B4-BE49-F238E27FC236}">
                    <a16:creationId xmlns:a16="http://schemas.microsoft.com/office/drawing/2014/main" id="{5827BC20-4D3F-E501-08DA-935C061DDA3F}"/>
                  </a:ext>
                </a:extLst>
              </p:cNvPr>
              <p:cNvSpPr/>
              <p:nvPr/>
            </p:nvSpPr>
            <p:spPr>
              <a:xfrm>
                <a:off x="5448625" y="2633785"/>
                <a:ext cx="16773" cy="16921"/>
              </a:xfrm>
              <a:custGeom>
                <a:avLst/>
                <a:gdLst>
                  <a:gd name="connsiteX0" fmla="*/ 8375 w 16773"/>
                  <a:gd name="connsiteY0" fmla="*/ 6 h 16921"/>
                  <a:gd name="connsiteX1" fmla="*/ 16748 w 16773"/>
                  <a:gd name="connsiteY1" fmla="*/ 10251 h 16921"/>
                  <a:gd name="connsiteX2" fmla="*/ 7315 w 16773"/>
                  <a:gd name="connsiteY2" fmla="*/ 16893 h 16921"/>
                  <a:gd name="connsiteX3" fmla="*/ 2 w 16773"/>
                  <a:gd name="connsiteY3" fmla="*/ 7919 h 16921"/>
                  <a:gd name="connsiteX4" fmla="*/ 8375 w 16773"/>
                  <a:gd name="connsiteY4" fmla="*/ 6 h 16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3" h="16921">
                    <a:moveTo>
                      <a:pt x="8375" y="6"/>
                    </a:moveTo>
                    <a:cubicBezTo>
                      <a:pt x="14417" y="747"/>
                      <a:pt x="17066" y="4386"/>
                      <a:pt x="16748" y="10251"/>
                    </a:cubicBezTo>
                    <a:cubicBezTo>
                      <a:pt x="16395" y="16257"/>
                      <a:pt x="12155" y="17105"/>
                      <a:pt x="7315" y="16893"/>
                    </a:cubicBezTo>
                    <a:cubicBezTo>
                      <a:pt x="1557" y="16646"/>
                      <a:pt x="-69" y="13007"/>
                      <a:pt x="2" y="7919"/>
                    </a:cubicBezTo>
                    <a:cubicBezTo>
                      <a:pt x="108" y="2408"/>
                      <a:pt x="2934" y="-136"/>
                      <a:pt x="8375" y="6"/>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4" name="Freeform: Shape 3443">
                <a:extLst>
                  <a:ext uri="{FF2B5EF4-FFF2-40B4-BE49-F238E27FC236}">
                    <a16:creationId xmlns:a16="http://schemas.microsoft.com/office/drawing/2014/main" id="{133F0D6C-FB08-2278-1015-ADD5660D949D}"/>
                  </a:ext>
                </a:extLst>
              </p:cNvPr>
              <p:cNvSpPr/>
              <p:nvPr/>
            </p:nvSpPr>
            <p:spPr>
              <a:xfrm>
                <a:off x="5530868" y="3048459"/>
                <a:ext cx="16645" cy="16704"/>
              </a:xfrm>
              <a:custGeom>
                <a:avLst/>
                <a:gdLst>
                  <a:gd name="connsiteX0" fmla="*/ 7672 w 16645"/>
                  <a:gd name="connsiteY0" fmla="*/ 16703 h 16704"/>
                  <a:gd name="connsiteX1" fmla="*/ 76 w 16645"/>
                  <a:gd name="connsiteY1" fmla="*/ 8012 h 16704"/>
                  <a:gd name="connsiteX2" fmla="*/ 8944 w 16645"/>
                  <a:gd name="connsiteY2" fmla="*/ 27 h 16704"/>
                  <a:gd name="connsiteX3" fmla="*/ 16646 w 16645"/>
                  <a:gd name="connsiteY3" fmla="*/ 9283 h 16704"/>
                  <a:gd name="connsiteX4" fmla="*/ 7672 w 16645"/>
                  <a:gd name="connsiteY4" fmla="*/ 16703 h 16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5" h="16704">
                    <a:moveTo>
                      <a:pt x="7672" y="16703"/>
                    </a:moveTo>
                    <a:cubicBezTo>
                      <a:pt x="2090" y="16491"/>
                      <a:pt x="-489" y="13488"/>
                      <a:pt x="76" y="8012"/>
                    </a:cubicBezTo>
                    <a:cubicBezTo>
                      <a:pt x="606" y="2783"/>
                      <a:pt x="3715" y="-326"/>
                      <a:pt x="8944" y="27"/>
                    </a:cubicBezTo>
                    <a:cubicBezTo>
                      <a:pt x="14279" y="380"/>
                      <a:pt x="16646" y="4161"/>
                      <a:pt x="16646" y="9283"/>
                    </a:cubicBezTo>
                    <a:cubicBezTo>
                      <a:pt x="16646" y="15183"/>
                      <a:pt x="12760" y="16773"/>
                      <a:pt x="7672" y="16703"/>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5" name="Freeform: Shape 3444">
                <a:extLst>
                  <a:ext uri="{FF2B5EF4-FFF2-40B4-BE49-F238E27FC236}">
                    <a16:creationId xmlns:a16="http://schemas.microsoft.com/office/drawing/2014/main" id="{88311803-A539-73BC-BD8E-4CFF59299267}"/>
                  </a:ext>
                </a:extLst>
              </p:cNvPr>
              <p:cNvSpPr/>
              <p:nvPr/>
            </p:nvSpPr>
            <p:spPr>
              <a:xfrm>
                <a:off x="5489987" y="2956063"/>
                <a:ext cx="16686" cy="16634"/>
              </a:xfrm>
              <a:custGeom>
                <a:avLst/>
                <a:gdLst>
                  <a:gd name="connsiteX0" fmla="*/ 16687 w 16686"/>
                  <a:gd name="connsiteY0" fmla="*/ 9717 h 16634"/>
                  <a:gd name="connsiteX1" fmla="*/ 7395 w 16686"/>
                  <a:gd name="connsiteY1" fmla="*/ 16607 h 16634"/>
                  <a:gd name="connsiteX2" fmla="*/ 153 w 16686"/>
                  <a:gd name="connsiteY2" fmla="*/ 7704 h 16634"/>
                  <a:gd name="connsiteX3" fmla="*/ 9303 w 16686"/>
                  <a:gd name="connsiteY3" fmla="*/ 73 h 16634"/>
                  <a:gd name="connsiteX4" fmla="*/ 16687 w 16686"/>
                  <a:gd name="connsiteY4" fmla="*/ 9717 h 16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6" h="16634">
                    <a:moveTo>
                      <a:pt x="16687" y="9717"/>
                    </a:moveTo>
                    <a:cubicBezTo>
                      <a:pt x="16298" y="15511"/>
                      <a:pt x="12412" y="16854"/>
                      <a:pt x="7395" y="16607"/>
                    </a:cubicBezTo>
                    <a:cubicBezTo>
                      <a:pt x="1778" y="16324"/>
                      <a:pt x="-660" y="13074"/>
                      <a:pt x="153" y="7704"/>
                    </a:cubicBezTo>
                    <a:cubicBezTo>
                      <a:pt x="894" y="2652"/>
                      <a:pt x="3968" y="-528"/>
                      <a:pt x="9303" y="73"/>
                    </a:cubicBezTo>
                    <a:cubicBezTo>
                      <a:pt x="14637" y="673"/>
                      <a:pt x="16651" y="4524"/>
                      <a:pt x="16687" y="9717"/>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6" name="Freeform: Shape 3445">
                <a:extLst>
                  <a:ext uri="{FF2B5EF4-FFF2-40B4-BE49-F238E27FC236}">
                    <a16:creationId xmlns:a16="http://schemas.microsoft.com/office/drawing/2014/main" id="{231DF64C-A0FC-EED5-B0D1-57D4E32C43D8}"/>
                  </a:ext>
                </a:extLst>
              </p:cNvPr>
              <p:cNvSpPr/>
              <p:nvPr/>
            </p:nvSpPr>
            <p:spPr>
              <a:xfrm>
                <a:off x="5781277" y="2917940"/>
                <a:ext cx="16488" cy="16611"/>
              </a:xfrm>
              <a:custGeom>
                <a:avLst/>
                <a:gdLst>
                  <a:gd name="connsiteX0" fmla="*/ 16475 w 16488"/>
                  <a:gd name="connsiteY0" fmla="*/ 8448 h 16611"/>
                  <a:gd name="connsiteX1" fmla="*/ 7890 w 16488"/>
                  <a:gd name="connsiteY1" fmla="*/ 16609 h 16611"/>
                  <a:gd name="connsiteX2" fmla="*/ 11 w 16488"/>
                  <a:gd name="connsiteY2" fmla="*/ 7953 h 16611"/>
                  <a:gd name="connsiteX3" fmla="*/ 8844 w 16488"/>
                  <a:gd name="connsiteY3" fmla="*/ 4 h 16611"/>
                  <a:gd name="connsiteX4" fmla="*/ 16475 w 16488"/>
                  <a:gd name="connsiteY4" fmla="*/ 8448 h 1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8" h="16611">
                    <a:moveTo>
                      <a:pt x="16475" y="8448"/>
                    </a:moveTo>
                    <a:cubicBezTo>
                      <a:pt x="15874" y="13571"/>
                      <a:pt x="13154" y="16715"/>
                      <a:pt x="7890" y="16609"/>
                    </a:cubicBezTo>
                    <a:cubicBezTo>
                      <a:pt x="2555" y="16503"/>
                      <a:pt x="-201" y="13076"/>
                      <a:pt x="11" y="7953"/>
                    </a:cubicBezTo>
                    <a:cubicBezTo>
                      <a:pt x="223" y="2689"/>
                      <a:pt x="3792" y="146"/>
                      <a:pt x="8844" y="4"/>
                    </a:cubicBezTo>
                    <a:cubicBezTo>
                      <a:pt x="14461" y="-137"/>
                      <a:pt x="16687" y="3149"/>
                      <a:pt x="16475" y="8448"/>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7" name="Freeform: Shape 3446">
                <a:extLst>
                  <a:ext uri="{FF2B5EF4-FFF2-40B4-BE49-F238E27FC236}">
                    <a16:creationId xmlns:a16="http://schemas.microsoft.com/office/drawing/2014/main" id="{4BBD0828-1AA7-AE60-C976-2D35948FDFE1}"/>
                  </a:ext>
                </a:extLst>
              </p:cNvPr>
              <p:cNvSpPr/>
              <p:nvPr/>
            </p:nvSpPr>
            <p:spPr>
              <a:xfrm>
                <a:off x="5047013" y="3249709"/>
                <a:ext cx="408168" cy="404333"/>
              </a:xfrm>
              <a:custGeom>
                <a:avLst/>
                <a:gdLst>
                  <a:gd name="connsiteX0" fmla="*/ 28253 w 408168"/>
                  <a:gd name="connsiteY0" fmla="*/ 296003 h 404333"/>
                  <a:gd name="connsiteX1" fmla="*/ 9811 w 408168"/>
                  <a:gd name="connsiteY1" fmla="*/ 236402 h 404333"/>
                  <a:gd name="connsiteX2" fmla="*/ 4901 w 408168"/>
                  <a:gd name="connsiteY2" fmla="*/ 180900 h 404333"/>
                  <a:gd name="connsiteX3" fmla="*/ 22777 w 408168"/>
                  <a:gd name="connsiteY3" fmla="*/ 94484 h 404333"/>
                  <a:gd name="connsiteX4" fmla="*/ 118520 w 408168"/>
                  <a:gd name="connsiteY4" fmla="*/ 3652 h 404333"/>
                  <a:gd name="connsiteX5" fmla="*/ 216806 w 408168"/>
                  <a:gd name="connsiteY5" fmla="*/ 5136 h 404333"/>
                  <a:gd name="connsiteX6" fmla="*/ 251994 w 408168"/>
                  <a:gd name="connsiteY6" fmla="*/ 3158 h 404333"/>
                  <a:gd name="connsiteX7" fmla="*/ 321452 w 408168"/>
                  <a:gd name="connsiteY7" fmla="*/ 34919 h 404333"/>
                  <a:gd name="connsiteX8" fmla="*/ 354555 w 408168"/>
                  <a:gd name="connsiteY8" fmla="*/ 63465 h 404333"/>
                  <a:gd name="connsiteX9" fmla="*/ 396774 w 408168"/>
                  <a:gd name="connsiteY9" fmla="*/ 110771 h 404333"/>
                  <a:gd name="connsiteX10" fmla="*/ 396668 w 408168"/>
                  <a:gd name="connsiteY10" fmla="*/ 205878 h 404333"/>
                  <a:gd name="connsiteX11" fmla="*/ 380946 w 408168"/>
                  <a:gd name="connsiteY11" fmla="*/ 274629 h 404333"/>
                  <a:gd name="connsiteX12" fmla="*/ 306189 w 408168"/>
                  <a:gd name="connsiteY12" fmla="*/ 368605 h 404333"/>
                  <a:gd name="connsiteX13" fmla="*/ 238993 w 408168"/>
                  <a:gd name="connsiteY13" fmla="*/ 394819 h 404333"/>
                  <a:gd name="connsiteX14" fmla="*/ 182643 w 408168"/>
                  <a:gd name="connsiteY14" fmla="*/ 392028 h 404333"/>
                  <a:gd name="connsiteX15" fmla="*/ 134630 w 408168"/>
                  <a:gd name="connsiteY15" fmla="*/ 371572 h 404333"/>
                  <a:gd name="connsiteX16" fmla="*/ 99336 w 408168"/>
                  <a:gd name="connsiteY16" fmla="*/ 374151 h 404333"/>
                  <a:gd name="connsiteX17" fmla="*/ 28253 w 408168"/>
                  <a:gd name="connsiteY17" fmla="*/ 303457 h 404333"/>
                  <a:gd name="connsiteX18" fmla="*/ 28253 w 408168"/>
                  <a:gd name="connsiteY18" fmla="*/ 295967 h 40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8168" h="404333">
                    <a:moveTo>
                      <a:pt x="28253" y="296003"/>
                    </a:moveTo>
                    <a:cubicBezTo>
                      <a:pt x="31504" y="276112"/>
                      <a:pt x="24968" y="255197"/>
                      <a:pt x="9811" y="236402"/>
                    </a:cubicBezTo>
                    <a:cubicBezTo>
                      <a:pt x="-3967" y="219303"/>
                      <a:pt x="-893" y="199271"/>
                      <a:pt x="4901" y="180900"/>
                    </a:cubicBezTo>
                    <a:cubicBezTo>
                      <a:pt x="13839" y="152566"/>
                      <a:pt x="17549" y="123454"/>
                      <a:pt x="22777" y="94484"/>
                    </a:cubicBezTo>
                    <a:cubicBezTo>
                      <a:pt x="31857" y="44069"/>
                      <a:pt x="75453" y="14463"/>
                      <a:pt x="118520" y="3652"/>
                    </a:cubicBezTo>
                    <a:cubicBezTo>
                      <a:pt x="151517" y="-4650"/>
                      <a:pt x="184162" y="3582"/>
                      <a:pt x="216806" y="5136"/>
                    </a:cubicBezTo>
                    <a:cubicBezTo>
                      <a:pt x="228853" y="5702"/>
                      <a:pt x="240512" y="4076"/>
                      <a:pt x="251994" y="3158"/>
                    </a:cubicBezTo>
                    <a:cubicBezTo>
                      <a:pt x="281847" y="791"/>
                      <a:pt x="305836" y="7539"/>
                      <a:pt x="321452" y="34919"/>
                    </a:cubicBezTo>
                    <a:cubicBezTo>
                      <a:pt x="329047" y="48238"/>
                      <a:pt x="341801" y="56576"/>
                      <a:pt x="354555" y="63465"/>
                    </a:cubicBezTo>
                    <a:cubicBezTo>
                      <a:pt x="374658" y="74382"/>
                      <a:pt x="388648" y="89891"/>
                      <a:pt x="396774" y="110771"/>
                    </a:cubicBezTo>
                    <a:cubicBezTo>
                      <a:pt x="409033" y="142355"/>
                      <a:pt x="414686" y="173869"/>
                      <a:pt x="396668" y="205878"/>
                    </a:cubicBezTo>
                    <a:cubicBezTo>
                      <a:pt x="384797" y="226969"/>
                      <a:pt x="378261" y="249792"/>
                      <a:pt x="380946" y="274629"/>
                    </a:cubicBezTo>
                    <a:cubicBezTo>
                      <a:pt x="386740" y="328329"/>
                      <a:pt x="359289" y="362952"/>
                      <a:pt x="306189" y="368605"/>
                    </a:cubicBezTo>
                    <a:cubicBezTo>
                      <a:pt x="281847" y="371184"/>
                      <a:pt x="258353" y="378073"/>
                      <a:pt x="238993" y="394819"/>
                    </a:cubicBezTo>
                    <a:cubicBezTo>
                      <a:pt x="219526" y="411671"/>
                      <a:pt x="200590" y="403192"/>
                      <a:pt x="182643" y="392028"/>
                    </a:cubicBezTo>
                    <a:cubicBezTo>
                      <a:pt x="167592" y="382666"/>
                      <a:pt x="152613" y="374505"/>
                      <a:pt x="134630" y="371572"/>
                    </a:cubicBezTo>
                    <a:cubicBezTo>
                      <a:pt x="122335" y="369594"/>
                      <a:pt x="110995" y="373303"/>
                      <a:pt x="99336" y="374151"/>
                    </a:cubicBezTo>
                    <a:cubicBezTo>
                      <a:pt x="47684" y="377896"/>
                      <a:pt x="23449" y="351894"/>
                      <a:pt x="28253" y="303457"/>
                    </a:cubicBezTo>
                    <a:cubicBezTo>
                      <a:pt x="28359" y="302327"/>
                      <a:pt x="28253" y="301161"/>
                      <a:pt x="28253" y="295967"/>
                    </a:cubicBezTo>
                    <a:close/>
                  </a:path>
                </a:pathLst>
              </a:custGeom>
              <a:solidFill>
                <a:srgbClr val="D075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053" name="Rectangle 1052">
              <a:extLst>
                <a:ext uri="{FF2B5EF4-FFF2-40B4-BE49-F238E27FC236}">
                  <a16:creationId xmlns:a16="http://schemas.microsoft.com/office/drawing/2014/main" id="{00199E43-2B0D-52D7-EF6C-F1C20F8AE2C6}"/>
                </a:ext>
              </a:extLst>
            </p:cNvPr>
            <p:cNvSpPr/>
            <p:nvPr/>
          </p:nvSpPr>
          <p:spPr>
            <a:xfrm>
              <a:off x="8123239" y="4586012"/>
              <a:ext cx="785721" cy="313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l lysis</a:t>
              </a:r>
            </a:p>
          </p:txBody>
        </p:sp>
      </p:grpSp>
      <p:sp>
        <p:nvSpPr>
          <p:cNvPr id="3448" name="Arrow: Right 3447">
            <a:extLst>
              <a:ext uri="{FF2B5EF4-FFF2-40B4-BE49-F238E27FC236}">
                <a16:creationId xmlns:a16="http://schemas.microsoft.com/office/drawing/2014/main" id="{E66D4F55-2A8A-FE43-0B1F-4CDEEA1F438E}"/>
              </a:ext>
            </a:extLst>
          </p:cNvPr>
          <p:cNvSpPr/>
          <p:nvPr/>
        </p:nvSpPr>
        <p:spPr>
          <a:xfrm rot="5400000">
            <a:off x="8446971" y="3807744"/>
            <a:ext cx="199968" cy="360000"/>
          </a:xfrm>
          <a:prstGeom prst="rightArrow">
            <a:avLst/>
          </a:prstGeom>
          <a:gradFill>
            <a:gsLst>
              <a:gs pos="0">
                <a:schemeClr val="accent1">
                  <a:lumMod val="5000"/>
                  <a:lumOff val="95000"/>
                  <a:alpha val="86000"/>
                </a:schemeClr>
              </a:gs>
              <a:gs pos="74000">
                <a:schemeClr val="accent3"/>
              </a:gs>
              <a:gs pos="83000">
                <a:schemeClr val="accent3"/>
              </a:gs>
              <a:gs pos="100000">
                <a:schemeClr val="accent3">
                  <a:lumMod val="75000"/>
                </a:schemeClr>
              </a:gs>
            </a:gsLst>
            <a:lin ang="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49" name="Arrow: Right 3448">
            <a:extLst>
              <a:ext uri="{FF2B5EF4-FFF2-40B4-BE49-F238E27FC236}">
                <a16:creationId xmlns:a16="http://schemas.microsoft.com/office/drawing/2014/main" id="{22E2107E-8B4C-AC31-7AA0-6100D08D0444}"/>
              </a:ext>
            </a:extLst>
          </p:cNvPr>
          <p:cNvSpPr/>
          <p:nvPr/>
        </p:nvSpPr>
        <p:spPr>
          <a:xfrm rot="5400000">
            <a:off x="10490456" y="3784884"/>
            <a:ext cx="199968" cy="360000"/>
          </a:xfrm>
          <a:prstGeom prst="rightArrow">
            <a:avLst/>
          </a:prstGeom>
          <a:gradFill>
            <a:gsLst>
              <a:gs pos="0">
                <a:schemeClr val="accent1">
                  <a:lumMod val="5000"/>
                  <a:lumOff val="95000"/>
                  <a:alpha val="86000"/>
                </a:schemeClr>
              </a:gs>
              <a:gs pos="74000">
                <a:schemeClr val="accent3"/>
              </a:gs>
              <a:gs pos="83000">
                <a:schemeClr val="accent3"/>
              </a:gs>
              <a:gs pos="100000">
                <a:schemeClr val="accent3">
                  <a:lumMod val="75000"/>
                </a:schemeClr>
              </a:gs>
            </a:gsLst>
            <a:lin ang="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450" name="Group 3449">
            <a:extLst>
              <a:ext uri="{FF2B5EF4-FFF2-40B4-BE49-F238E27FC236}">
                <a16:creationId xmlns:a16="http://schemas.microsoft.com/office/drawing/2014/main" id="{DECFD5E6-32C7-58B3-3CA2-5904835A0DD8}"/>
              </a:ext>
            </a:extLst>
          </p:cNvPr>
          <p:cNvGrpSpPr/>
          <p:nvPr/>
        </p:nvGrpSpPr>
        <p:grpSpPr>
          <a:xfrm>
            <a:off x="10147196" y="4147021"/>
            <a:ext cx="986988" cy="914931"/>
            <a:chOff x="10077245" y="3944096"/>
            <a:chExt cx="986988" cy="914931"/>
          </a:xfrm>
        </p:grpSpPr>
        <p:sp>
          <p:nvSpPr>
            <p:cNvPr id="3451" name="Rectangle 3450">
              <a:extLst>
                <a:ext uri="{FF2B5EF4-FFF2-40B4-BE49-F238E27FC236}">
                  <a16:creationId xmlns:a16="http://schemas.microsoft.com/office/drawing/2014/main" id="{56947645-F4E8-AC10-9D5D-397CE1837B91}"/>
                </a:ext>
              </a:extLst>
            </p:cNvPr>
            <p:cNvSpPr/>
            <p:nvPr/>
          </p:nvSpPr>
          <p:spPr>
            <a:xfrm>
              <a:off x="10077245" y="4545763"/>
              <a:ext cx="986988" cy="313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poptosis</a:t>
              </a:r>
            </a:p>
          </p:txBody>
        </p:sp>
        <p:grpSp>
          <p:nvGrpSpPr>
            <p:cNvPr id="3452" name="Graphic 6">
              <a:extLst>
                <a:ext uri="{FF2B5EF4-FFF2-40B4-BE49-F238E27FC236}">
                  <a16:creationId xmlns:a16="http://schemas.microsoft.com/office/drawing/2014/main" id="{40D4A771-7F2D-0E23-E4B0-E579983DEF6C}"/>
                </a:ext>
              </a:extLst>
            </p:cNvPr>
            <p:cNvGrpSpPr/>
            <p:nvPr/>
          </p:nvGrpSpPr>
          <p:grpSpPr>
            <a:xfrm>
              <a:off x="10228405" y="3944096"/>
              <a:ext cx="630652" cy="632238"/>
              <a:chOff x="6272470" y="3565294"/>
              <a:chExt cx="1159192" cy="1162108"/>
            </a:xfrm>
          </p:grpSpPr>
          <p:sp>
            <p:nvSpPr>
              <p:cNvPr id="3453" name="Freeform: Shape 3452">
                <a:extLst>
                  <a:ext uri="{FF2B5EF4-FFF2-40B4-BE49-F238E27FC236}">
                    <a16:creationId xmlns:a16="http://schemas.microsoft.com/office/drawing/2014/main" id="{138BFB92-380A-61D1-7F99-382DFB1854A6}"/>
                  </a:ext>
                </a:extLst>
              </p:cNvPr>
              <p:cNvSpPr/>
              <p:nvPr/>
            </p:nvSpPr>
            <p:spPr>
              <a:xfrm>
                <a:off x="6315748" y="3610187"/>
                <a:ext cx="1016714" cy="1011039"/>
              </a:xfrm>
              <a:custGeom>
                <a:avLst/>
                <a:gdLst>
                  <a:gd name="connsiteX0" fmla="*/ 367922 w 1016714"/>
                  <a:gd name="connsiteY0" fmla="*/ 94366 h 1011039"/>
                  <a:gd name="connsiteX1" fmla="*/ 404665 w 1016714"/>
                  <a:gd name="connsiteY1" fmla="*/ 98994 h 1011039"/>
                  <a:gd name="connsiteX2" fmla="*/ 479422 w 1016714"/>
                  <a:gd name="connsiteY2" fmla="*/ 71861 h 1011039"/>
                  <a:gd name="connsiteX3" fmla="*/ 506908 w 1016714"/>
                  <a:gd name="connsiteY3" fmla="*/ 32822 h 1011039"/>
                  <a:gd name="connsiteX4" fmla="*/ 620315 w 1016714"/>
                  <a:gd name="connsiteY4" fmla="*/ 36143 h 1011039"/>
                  <a:gd name="connsiteX5" fmla="*/ 642784 w 1016714"/>
                  <a:gd name="connsiteY5" fmla="*/ 76454 h 1011039"/>
                  <a:gd name="connsiteX6" fmla="*/ 717718 w 1016714"/>
                  <a:gd name="connsiteY6" fmla="*/ 126551 h 1011039"/>
                  <a:gd name="connsiteX7" fmla="*/ 816004 w 1016714"/>
                  <a:gd name="connsiteY7" fmla="*/ 195443 h 1011039"/>
                  <a:gd name="connsiteX8" fmla="*/ 909309 w 1016714"/>
                  <a:gd name="connsiteY8" fmla="*/ 233352 h 1011039"/>
                  <a:gd name="connsiteX9" fmla="*/ 971418 w 1016714"/>
                  <a:gd name="connsiteY9" fmla="*/ 231161 h 1011039"/>
                  <a:gd name="connsiteX10" fmla="*/ 1014414 w 1016714"/>
                  <a:gd name="connsiteY10" fmla="*/ 308603 h 1011039"/>
                  <a:gd name="connsiteX11" fmla="*/ 998445 w 1016714"/>
                  <a:gd name="connsiteY11" fmla="*/ 344886 h 1011039"/>
                  <a:gd name="connsiteX12" fmla="*/ 981487 w 1016714"/>
                  <a:gd name="connsiteY12" fmla="*/ 369899 h 1011039"/>
                  <a:gd name="connsiteX13" fmla="*/ 973361 w 1016714"/>
                  <a:gd name="connsiteY13" fmla="*/ 467408 h 1011039"/>
                  <a:gd name="connsiteX14" fmla="*/ 987387 w 1016714"/>
                  <a:gd name="connsiteY14" fmla="*/ 504469 h 1011039"/>
                  <a:gd name="connsiteX15" fmla="*/ 948984 w 1016714"/>
                  <a:gd name="connsiteY15" fmla="*/ 569192 h 1011039"/>
                  <a:gd name="connsiteX16" fmla="*/ 918318 w 1016714"/>
                  <a:gd name="connsiteY16" fmla="*/ 577495 h 1011039"/>
                  <a:gd name="connsiteX17" fmla="*/ 894047 w 1016714"/>
                  <a:gd name="connsiteY17" fmla="*/ 639074 h 1011039"/>
                  <a:gd name="connsiteX18" fmla="*/ 919519 w 1016714"/>
                  <a:gd name="connsiteY18" fmla="*/ 679420 h 1011039"/>
                  <a:gd name="connsiteX19" fmla="*/ 908779 w 1016714"/>
                  <a:gd name="connsiteY19" fmla="*/ 794099 h 1011039"/>
                  <a:gd name="connsiteX20" fmla="*/ 819572 w 1016714"/>
                  <a:gd name="connsiteY20" fmla="*/ 846987 h 1011039"/>
                  <a:gd name="connsiteX21" fmla="*/ 762374 w 1016714"/>
                  <a:gd name="connsiteY21" fmla="*/ 906729 h 1011039"/>
                  <a:gd name="connsiteX22" fmla="*/ 755485 w 1016714"/>
                  <a:gd name="connsiteY22" fmla="*/ 931212 h 1011039"/>
                  <a:gd name="connsiteX23" fmla="*/ 713054 w 1016714"/>
                  <a:gd name="connsiteY23" fmla="*/ 977423 h 1011039"/>
                  <a:gd name="connsiteX24" fmla="*/ 572691 w 1016714"/>
                  <a:gd name="connsiteY24" fmla="*/ 986008 h 1011039"/>
                  <a:gd name="connsiteX25" fmla="*/ 480305 w 1016714"/>
                  <a:gd name="connsiteY25" fmla="*/ 997596 h 1011039"/>
                  <a:gd name="connsiteX26" fmla="*/ 427240 w 1016714"/>
                  <a:gd name="connsiteY26" fmla="*/ 1010385 h 1011039"/>
                  <a:gd name="connsiteX27" fmla="*/ 379475 w 1016714"/>
                  <a:gd name="connsiteY27" fmla="*/ 969615 h 1011039"/>
                  <a:gd name="connsiteX28" fmla="*/ 374458 w 1016714"/>
                  <a:gd name="connsiteY28" fmla="*/ 951244 h 1011039"/>
                  <a:gd name="connsiteX29" fmla="*/ 326975 w 1016714"/>
                  <a:gd name="connsiteY29" fmla="*/ 907683 h 1011039"/>
                  <a:gd name="connsiteX30" fmla="*/ 259850 w 1016714"/>
                  <a:gd name="connsiteY30" fmla="*/ 853699 h 1011039"/>
                  <a:gd name="connsiteX31" fmla="*/ 256105 w 1016714"/>
                  <a:gd name="connsiteY31" fmla="*/ 826955 h 1011039"/>
                  <a:gd name="connsiteX32" fmla="*/ 178274 w 1016714"/>
                  <a:gd name="connsiteY32" fmla="*/ 751562 h 1011039"/>
                  <a:gd name="connsiteX33" fmla="*/ 118073 w 1016714"/>
                  <a:gd name="connsiteY33" fmla="*/ 756226 h 1011039"/>
                  <a:gd name="connsiteX34" fmla="*/ 14311 w 1016714"/>
                  <a:gd name="connsiteY34" fmla="*/ 712559 h 1011039"/>
                  <a:gd name="connsiteX35" fmla="*/ 19963 w 1016714"/>
                  <a:gd name="connsiteY35" fmla="*/ 606606 h 1011039"/>
                  <a:gd name="connsiteX36" fmla="*/ 33706 w 1016714"/>
                  <a:gd name="connsiteY36" fmla="*/ 587104 h 1011039"/>
                  <a:gd name="connsiteX37" fmla="*/ 58260 w 1016714"/>
                  <a:gd name="connsiteY37" fmla="*/ 493093 h 1011039"/>
                  <a:gd name="connsiteX38" fmla="*/ 98606 w 1016714"/>
                  <a:gd name="connsiteY38" fmla="*/ 420456 h 1011039"/>
                  <a:gd name="connsiteX39" fmla="*/ 117826 w 1016714"/>
                  <a:gd name="connsiteY39" fmla="*/ 412825 h 1011039"/>
                  <a:gd name="connsiteX40" fmla="*/ 135243 w 1016714"/>
                  <a:gd name="connsiteY40" fmla="*/ 371701 h 1011039"/>
                  <a:gd name="connsiteX41" fmla="*/ 105178 w 1016714"/>
                  <a:gd name="connsiteY41" fmla="*/ 321322 h 1011039"/>
                  <a:gd name="connsiteX42" fmla="*/ 157536 w 1016714"/>
                  <a:gd name="connsiteY42" fmla="*/ 193111 h 1011039"/>
                  <a:gd name="connsiteX43" fmla="*/ 210919 w 1016714"/>
                  <a:gd name="connsiteY43" fmla="*/ 184880 h 1011039"/>
                  <a:gd name="connsiteX44" fmla="*/ 264160 w 1016714"/>
                  <a:gd name="connsiteY44" fmla="*/ 149444 h 1011039"/>
                  <a:gd name="connsiteX45" fmla="*/ 367993 w 1016714"/>
                  <a:gd name="connsiteY45" fmla="*/ 94366 h 1011039"/>
                  <a:gd name="connsiteX46" fmla="*/ 633881 w 1016714"/>
                  <a:gd name="connsiteY46" fmla="*/ 977670 h 1011039"/>
                  <a:gd name="connsiteX47" fmla="*/ 674757 w 1016714"/>
                  <a:gd name="connsiteY47" fmla="*/ 974243 h 1011039"/>
                  <a:gd name="connsiteX48" fmla="*/ 746299 w 1016714"/>
                  <a:gd name="connsiteY48" fmla="*/ 908884 h 1011039"/>
                  <a:gd name="connsiteX49" fmla="*/ 752694 w 1016714"/>
                  <a:gd name="connsiteY49" fmla="*/ 885990 h 1011039"/>
                  <a:gd name="connsiteX50" fmla="*/ 796396 w 1016714"/>
                  <a:gd name="connsiteY50" fmla="*/ 839533 h 1011039"/>
                  <a:gd name="connsiteX51" fmla="*/ 889100 w 1016714"/>
                  <a:gd name="connsiteY51" fmla="*/ 792226 h 1011039"/>
                  <a:gd name="connsiteX52" fmla="*/ 906977 w 1016714"/>
                  <a:gd name="connsiteY52" fmla="*/ 687192 h 1011039"/>
                  <a:gd name="connsiteX53" fmla="*/ 890549 w 1016714"/>
                  <a:gd name="connsiteY53" fmla="*/ 663769 h 1011039"/>
                  <a:gd name="connsiteX54" fmla="*/ 896096 w 1016714"/>
                  <a:gd name="connsiteY54" fmla="*/ 572584 h 1011039"/>
                  <a:gd name="connsiteX55" fmla="*/ 941529 w 1016714"/>
                  <a:gd name="connsiteY55" fmla="*/ 554672 h 1011039"/>
                  <a:gd name="connsiteX56" fmla="*/ 971135 w 1016714"/>
                  <a:gd name="connsiteY56" fmla="*/ 502172 h 1011039"/>
                  <a:gd name="connsiteX57" fmla="*/ 949690 w 1016714"/>
                  <a:gd name="connsiteY57" fmla="*/ 452605 h 1011039"/>
                  <a:gd name="connsiteX58" fmla="*/ 949690 w 1016714"/>
                  <a:gd name="connsiteY58" fmla="*/ 393287 h 1011039"/>
                  <a:gd name="connsiteX59" fmla="*/ 986044 w 1016714"/>
                  <a:gd name="connsiteY59" fmla="*/ 335418 h 1011039"/>
                  <a:gd name="connsiteX60" fmla="*/ 1001236 w 1016714"/>
                  <a:gd name="connsiteY60" fmla="*/ 286346 h 1011039"/>
                  <a:gd name="connsiteX61" fmla="*/ 932238 w 1016714"/>
                  <a:gd name="connsiteY61" fmla="*/ 242784 h 1011039"/>
                  <a:gd name="connsiteX62" fmla="*/ 895990 w 1016714"/>
                  <a:gd name="connsiteY62" fmla="*/ 254408 h 1011039"/>
                  <a:gd name="connsiteX63" fmla="*/ 815333 w 1016714"/>
                  <a:gd name="connsiteY63" fmla="*/ 228653 h 1011039"/>
                  <a:gd name="connsiteX64" fmla="*/ 802544 w 1016714"/>
                  <a:gd name="connsiteY64" fmla="*/ 204911 h 1011039"/>
                  <a:gd name="connsiteX65" fmla="*/ 720791 w 1016714"/>
                  <a:gd name="connsiteY65" fmla="*/ 142520 h 1011039"/>
                  <a:gd name="connsiteX66" fmla="*/ 628335 w 1016714"/>
                  <a:gd name="connsiteY66" fmla="*/ 81753 h 1011039"/>
                  <a:gd name="connsiteX67" fmla="*/ 604099 w 1016714"/>
                  <a:gd name="connsiteY67" fmla="*/ 38899 h 1011039"/>
                  <a:gd name="connsiteX68" fmla="*/ 529059 w 1016714"/>
                  <a:gd name="connsiteY68" fmla="*/ 30066 h 1011039"/>
                  <a:gd name="connsiteX69" fmla="*/ 501326 w 1016714"/>
                  <a:gd name="connsiteY69" fmla="*/ 68681 h 1011039"/>
                  <a:gd name="connsiteX70" fmla="*/ 394878 w 1016714"/>
                  <a:gd name="connsiteY70" fmla="*/ 113338 h 1011039"/>
                  <a:gd name="connsiteX71" fmla="*/ 342697 w 1016714"/>
                  <a:gd name="connsiteY71" fmla="*/ 111077 h 1011039"/>
                  <a:gd name="connsiteX72" fmla="*/ 277903 w 1016714"/>
                  <a:gd name="connsiteY72" fmla="*/ 155450 h 1011039"/>
                  <a:gd name="connsiteX73" fmla="*/ 214416 w 1016714"/>
                  <a:gd name="connsiteY73" fmla="*/ 200001 h 1011039"/>
                  <a:gd name="connsiteX74" fmla="*/ 168947 w 1016714"/>
                  <a:gd name="connsiteY74" fmla="*/ 206395 h 1011039"/>
                  <a:gd name="connsiteX75" fmla="*/ 108075 w 1016714"/>
                  <a:gd name="connsiteY75" fmla="*/ 246671 h 1011039"/>
                  <a:gd name="connsiteX76" fmla="*/ 119309 w 1016714"/>
                  <a:gd name="connsiteY76" fmla="*/ 314786 h 1011039"/>
                  <a:gd name="connsiteX77" fmla="*/ 151353 w 1016714"/>
                  <a:gd name="connsiteY77" fmla="*/ 372902 h 1011039"/>
                  <a:gd name="connsiteX78" fmla="*/ 125139 w 1016714"/>
                  <a:gd name="connsiteY78" fmla="*/ 426638 h 1011039"/>
                  <a:gd name="connsiteX79" fmla="*/ 98783 w 1016714"/>
                  <a:gd name="connsiteY79" fmla="*/ 437767 h 1011039"/>
                  <a:gd name="connsiteX80" fmla="*/ 72816 w 1016714"/>
                  <a:gd name="connsiteY80" fmla="*/ 490690 h 1011039"/>
                  <a:gd name="connsiteX81" fmla="*/ 51194 w 1016714"/>
                  <a:gd name="connsiteY81" fmla="*/ 588517 h 1011039"/>
                  <a:gd name="connsiteX82" fmla="*/ 28230 w 1016714"/>
                  <a:gd name="connsiteY82" fmla="*/ 620915 h 1011039"/>
                  <a:gd name="connsiteX83" fmla="*/ 19292 w 1016714"/>
                  <a:gd name="connsiteY83" fmla="*/ 686521 h 1011039"/>
                  <a:gd name="connsiteX84" fmla="*/ 121677 w 1016714"/>
                  <a:gd name="connsiteY84" fmla="*/ 740716 h 1011039"/>
                  <a:gd name="connsiteX85" fmla="*/ 211166 w 1016714"/>
                  <a:gd name="connsiteY85" fmla="*/ 742059 h 1011039"/>
                  <a:gd name="connsiteX86" fmla="*/ 255433 w 1016714"/>
                  <a:gd name="connsiteY86" fmla="*/ 771099 h 1011039"/>
                  <a:gd name="connsiteX87" fmla="*/ 271791 w 1016714"/>
                  <a:gd name="connsiteY87" fmla="*/ 829640 h 1011039"/>
                  <a:gd name="connsiteX88" fmla="*/ 325032 w 1016714"/>
                  <a:gd name="connsiteY88" fmla="*/ 891855 h 1011039"/>
                  <a:gd name="connsiteX89" fmla="*/ 326622 w 1016714"/>
                  <a:gd name="connsiteY89" fmla="*/ 891997 h 1011039"/>
                  <a:gd name="connsiteX90" fmla="*/ 390921 w 1016714"/>
                  <a:gd name="connsiteY90" fmla="*/ 953894 h 1011039"/>
                  <a:gd name="connsiteX91" fmla="*/ 426321 w 1016714"/>
                  <a:gd name="connsiteY91" fmla="*/ 995794 h 1011039"/>
                  <a:gd name="connsiteX92" fmla="*/ 465961 w 1016714"/>
                  <a:gd name="connsiteY92" fmla="*/ 987386 h 1011039"/>
                  <a:gd name="connsiteX93" fmla="*/ 591345 w 1016714"/>
                  <a:gd name="connsiteY93" fmla="*/ 973749 h 1011039"/>
                  <a:gd name="connsiteX94" fmla="*/ 633917 w 1016714"/>
                  <a:gd name="connsiteY94" fmla="*/ 977635 h 1011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16714" h="1011039">
                    <a:moveTo>
                      <a:pt x="367922" y="94366"/>
                    </a:moveTo>
                    <a:cubicBezTo>
                      <a:pt x="378733" y="93165"/>
                      <a:pt x="391699" y="96344"/>
                      <a:pt x="404665" y="98994"/>
                    </a:cubicBezTo>
                    <a:cubicBezTo>
                      <a:pt x="435260" y="105247"/>
                      <a:pt x="460273" y="96097"/>
                      <a:pt x="479422" y="71861"/>
                    </a:cubicBezTo>
                    <a:cubicBezTo>
                      <a:pt x="489278" y="59390"/>
                      <a:pt x="497687" y="45788"/>
                      <a:pt x="506908" y="32822"/>
                    </a:cubicBezTo>
                    <a:cubicBezTo>
                      <a:pt x="538951" y="-12187"/>
                      <a:pt x="591168" y="-10739"/>
                      <a:pt x="620315" y="36143"/>
                    </a:cubicBezTo>
                    <a:cubicBezTo>
                      <a:pt x="628441" y="49215"/>
                      <a:pt x="636284" y="62534"/>
                      <a:pt x="642784" y="76454"/>
                    </a:cubicBezTo>
                    <a:cubicBezTo>
                      <a:pt x="657764" y="108568"/>
                      <a:pt x="682671" y="124643"/>
                      <a:pt x="717718" y="126551"/>
                    </a:cubicBezTo>
                    <a:cubicBezTo>
                      <a:pt x="764600" y="129130"/>
                      <a:pt x="796361" y="152200"/>
                      <a:pt x="816004" y="195443"/>
                    </a:cubicBezTo>
                    <a:cubicBezTo>
                      <a:pt x="841512" y="251652"/>
                      <a:pt x="850203" y="254337"/>
                      <a:pt x="909309" y="233352"/>
                    </a:cubicBezTo>
                    <a:cubicBezTo>
                      <a:pt x="929977" y="226003"/>
                      <a:pt x="950256" y="224025"/>
                      <a:pt x="971418" y="231161"/>
                    </a:cubicBezTo>
                    <a:cubicBezTo>
                      <a:pt x="1006005" y="242820"/>
                      <a:pt x="1023281" y="273132"/>
                      <a:pt x="1014414" y="308603"/>
                    </a:cubicBezTo>
                    <a:cubicBezTo>
                      <a:pt x="1011163" y="321569"/>
                      <a:pt x="1005652" y="333651"/>
                      <a:pt x="998445" y="344886"/>
                    </a:cubicBezTo>
                    <a:cubicBezTo>
                      <a:pt x="993004" y="353365"/>
                      <a:pt x="987952" y="362268"/>
                      <a:pt x="981487" y="369899"/>
                    </a:cubicBezTo>
                    <a:cubicBezTo>
                      <a:pt x="955378" y="400601"/>
                      <a:pt x="950609" y="432432"/>
                      <a:pt x="973361" y="467408"/>
                    </a:cubicBezTo>
                    <a:cubicBezTo>
                      <a:pt x="980533" y="478431"/>
                      <a:pt x="984419" y="491468"/>
                      <a:pt x="987387" y="504469"/>
                    </a:cubicBezTo>
                    <a:cubicBezTo>
                      <a:pt x="994453" y="535523"/>
                      <a:pt x="979614" y="560643"/>
                      <a:pt x="948984" y="569192"/>
                    </a:cubicBezTo>
                    <a:cubicBezTo>
                      <a:pt x="938773" y="572054"/>
                      <a:pt x="928281" y="573997"/>
                      <a:pt x="918318" y="577495"/>
                    </a:cubicBezTo>
                    <a:cubicBezTo>
                      <a:pt x="891185" y="586998"/>
                      <a:pt x="880515" y="613495"/>
                      <a:pt x="894047" y="639074"/>
                    </a:cubicBezTo>
                    <a:cubicBezTo>
                      <a:pt x="901466" y="653099"/>
                      <a:pt x="910722" y="666171"/>
                      <a:pt x="919519" y="679420"/>
                    </a:cubicBezTo>
                    <a:cubicBezTo>
                      <a:pt x="947641" y="721921"/>
                      <a:pt x="944744" y="757498"/>
                      <a:pt x="908779" y="794099"/>
                    </a:cubicBezTo>
                    <a:cubicBezTo>
                      <a:pt x="883836" y="819501"/>
                      <a:pt x="854619" y="839179"/>
                      <a:pt x="819572" y="846987"/>
                    </a:cubicBezTo>
                    <a:cubicBezTo>
                      <a:pt x="786292" y="854406"/>
                      <a:pt x="767885" y="873625"/>
                      <a:pt x="762374" y="906729"/>
                    </a:cubicBezTo>
                    <a:cubicBezTo>
                      <a:pt x="760996" y="915031"/>
                      <a:pt x="757993" y="923122"/>
                      <a:pt x="755485" y="931212"/>
                    </a:cubicBezTo>
                    <a:cubicBezTo>
                      <a:pt x="748666" y="953293"/>
                      <a:pt x="734958" y="968449"/>
                      <a:pt x="713054" y="977423"/>
                    </a:cubicBezTo>
                    <a:cubicBezTo>
                      <a:pt x="667020" y="996289"/>
                      <a:pt x="620032" y="998302"/>
                      <a:pt x="572691" y="986008"/>
                    </a:cubicBezTo>
                    <a:cubicBezTo>
                      <a:pt x="539764" y="977458"/>
                      <a:pt x="509946" y="983005"/>
                      <a:pt x="480305" y="997596"/>
                    </a:cubicBezTo>
                    <a:cubicBezTo>
                      <a:pt x="463806" y="1005722"/>
                      <a:pt x="446954" y="1013353"/>
                      <a:pt x="427240" y="1010385"/>
                    </a:cubicBezTo>
                    <a:cubicBezTo>
                      <a:pt x="402439" y="1006676"/>
                      <a:pt x="386929" y="993074"/>
                      <a:pt x="379475" y="969615"/>
                    </a:cubicBezTo>
                    <a:cubicBezTo>
                      <a:pt x="377567" y="963574"/>
                      <a:pt x="375906" y="957427"/>
                      <a:pt x="374458" y="951244"/>
                    </a:cubicBezTo>
                    <a:cubicBezTo>
                      <a:pt x="367004" y="919377"/>
                      <a:pt x="359549" y="912523"/>
                      <a:pt x="326975" y="907683"/>
                    </a:cubicBezTo>
                    <a:cubicBezTo>
                      <a:pt x="284121" y="901324"/>
                      <a:pt x="267233" y="887898"/>
                      <a:pt x="259850" y="853699"/>
                    </a:cubicBezTo>
                    <a:cubicBezTo>
                      <a:pt x="257942" y="844902"/>
                      <a:pt x="256705" y="835893"/>
                      <a:pt x="256105" y="826955"/>
                    </a:cubicBezTo>
                    <a:cubicBezTo>
                      <a:pt x="252678" y="776364"/>
                      <a:pt x="229148" y="753505"/>
                      <a:pt x="178274" y="751562"/>
                    </a:cubicBezTo>
                    <a:cubicBezTo>
                      <a:pt x="158030" y="750785"/>
                      <a:pt x="137928" y="752693"/>
                      <a:pt x="118073" y="756226"/>
                    </a:cubicBezTo>
                    <a:cubicBezTo>
                      <a:pt x="73840" y="764104"/>
                      <a:pt x="38087" y="752304"/>
                      <a:pt x="14311" y="712559"/>
                    </a:cubicBezTo>
                    <a:cubicBezTo>
                      <a:pt x="-7452" y="676169"/>
                      <a:pt x="-3460" y="640770"/>
                      <a:pt x="19963" y="606606"/>
                    </a:cubicBezTo>
                    <a:cubicBezTo>
                      <a:pt x="24450" y="600035"/>
                      <a:pt x="28336" y="592863"/>
                      <a:pt x="33706" y="587104"/>
                    </a:cubicBezTo>
                    <a:cubicBezTo>
                      <a:pt x="58932" y="560077"/>
                      <a:pt x="65856" y="529411"/>
                      <a:pt x="58260" y="493093"/>
                    </a:cubicBezTo>
                    <a:cubicBezTo>
                      <a:pt x="50523" y="455997"/>
                      <a:pt x="63878" y="434729"/>
                      <a:pt x="98606" y="420456"/>
                    </a:cubicBezTo>
                    <a:cubicBezTo>
                      <a:pt x="104966" y="417841"/>
                      <a:pt x="111537" y="415616"/>
                      <a:pt x="117826" y="412825"/>
                    </a:cubicBezTo>
                    <a:cubicBezTo>
                      <a:pt x="136621" y="404487"/>
                      <a:pt x="142026" y="391662"/>
                      <a:pt x="135243" y="371701"/>
                    </a:cubicBezTo>
                    <a:cubicBezTo>
                      <a:pt x="128813" y="352765"/>
                      <a:pt x="117084" y="336760"/>
                      <a:pt x="105178" y="321322"/>
                    </a:cubicBezTo>
                    <a:cubicBezTo>
                      <a:pt x="60415" y="263311"/>
                      <a:pt x="103341" y="203110"/>
                      <a:pt x="157536" y="193111"/>
                    </a:cubicBezTo>
                    <a:cubicBezTo>
                      <a:pt x="175236" y="189826"/>
                      <a:pt x="193077" y="187211"/>
                      <a:pt x="210919" y="184880"/>
                    </a:cubicBezTo>
                    <a:cubicBezTo>
                      <a:pt x="234624" y="181771"/>
                      <a:pt x="253632" y="170995"/>
                      <a:pt x="264160" y="149444"/>
                    </a:cubicBezTo>
                    <a:cubicBezTo>
                      <a:pt x="285039" y="106731"/>
                      <a:pt x="321747" y="94578"/>
                      <a:pt x="367993" y="94366"/>
                    </a:cubicBezTo>
                    <a:close/>
                    <a:moveTo>
                      <a:pt x="633881" y="977670"/>
                    </a:moveTo>
                    <a:cubicBezTo>
                      <a:pt x="647695" y="979861"/>
                      <a:pt x="661368" y="976928"/>
                      <a:pt x="674757" y="974243"/>
                    </a:cubicBezTo>
                    <a:cubicBezTo>
                      <a:pt x="711394" y="966895"/>
                      <a:pt x="740576" y="950678"/>
                      <a:pt x="746299" y="908884"/>
                    </a:cubicBezTo>
                    <a:cubicBezTo>
                      <a:pt x="747359" y="901112"/>
                      <a:pt x="750221" y="893516"/>
                      <a:pt x="752694" y="885990"/>
                    </a:cubicBezTo>
                    <a:cubicBezTo>
                      <a:pt x="760042" y="863804"/>
                      <a:pt x="772337" y="846952"/>
                      <a:pt x="796396" y="839533"/>
                    </a:cubicBezTo>
                    <a:cubicBezTo>
                      <a:pt x="829888" y="829216"/>
                      <a:pt x="861367" y="814837"/>
                      <a:pt x="889100" y="792226"/>
                    </a:cubicBezTo>
                    <a:cubicBezTo>
                      <a:pt x="924465" y="763362"/>
                      <a:pt x="931884" y="725313"/>
                      <a:pt x="906977" y="687192"/>
                    </a:cubicBezTo>
                    <a:cubicBezTo>
                      <a:pt x="901748" y="679208"/>
                      <a:pt x="895707" y="671789"/>
                      <a:pt x="890549" y="663769"/>
                    </a:cubicBezTo>
                    <a:cubicBezTo>
                      <a:pt x="865642" y="625225"/>
                      <a:pt x="863946" y="600247"/>
                      <a:pt x="896096" y="572584"/>
                    </a:cubicBezTo>
                    <a:cubicBezTo>
                      <a:pt x="908708" y="561738"/>
                      <a:pt x="925384" y="557392"/>
                      <a:pt x="941529" y="554672"/>
                    </a:cubicBezTo>
                    <a:cubicBezTo>
                      <a:pt x="973008" y="549337"/>
                      <a:pt x="977247" y="524324"/>
                      <a:pt x="971135" y="502172"/>
                    </a:cubicBezTo>
                    <a:cubicBezTo>
                      <a:pt x="966295" y="484720"/>
                      <a:pt x="957957" y="468645"/>
                      <a:pt x="949690" y="452605"/>
                    </a:cubicBezTo>
                    <a:cubicBezTo>
                      <a:pt x="939445" y="432750"/>
                      <a:pt x="939763" y="413354"/>
                      <a:pt x="949690" y="393287"/>
                    </a:cubicBezTo>
                    <a:cubicBezTo>
                      <a:pt x="959830" y="372690"/>
                      <a:pt x="974067" y="354814"/>
                      <a:pt x="986044" y="335418"/>
                    </a:cubicBezTo>
                    <a:cubicBezTo>
                      <a:pt x="995371" y="320332"/>
                      <a:pt x="1003744" y="304575"/>
                      <a:pt x="1001236" y="286346"/>
                    </a:cubicBezTo>
                    <a:cubicBezTo>
                      <a:pt x="996961" y="255362"/>
                      <a:pt x="964423" y="234977"/>
                      <a:pt x="932238" y="242784"/>
                    </a:cubicBezTo>
                    <a:cubicBezTo>
                      <a:pt x="919943" y="245752"/>
                      <a:pt x="907825" y="249921"/>
                      <a:pt x="895990" y="254408"/>
                    </a:cubicBezTo>
                    <a:cubicBezTo>
                      <a:pt x="860484" y="267904"/>
                      <a:pt x="835894" y="260343"/>
                      <a:pt x="815333" y="228653"/>
                    </a:cubicBezTo>
                    <a:cubicBezTo>
                      <a:pt x="810457" y="221127"/>
                      <a:pt x="805405" y="213320"/>
                      <a:pt x="802544" y="204911"/>
                    </a:cubicBezTo>
                    <a:cubicBezTo>
                      <a:pt x="789118" y="165696"/>
                      <a:pt x="760820" y="146123"/>
                      <a:pt x="720791" y="142520"/>
                    </a:cubicBezTo>
                    <a:cubicBezTo>
                      <a:pt x="678891" y="138740"/>
                      <a:pt x="645646" y="123301"/>
                      <a:pt x="628335" y="81753"/>
                    </a:cubicBezTo>
                    <a:cubicBezTo>
                      <a:pt x="622081" y="66703"/>
                      <a:pt x="613143" y="52571"/>
                      <a:pt x="604099" y="38899"/>
                    </a:cubicBezTo>
                    <a:cubicBezTo>
                      <a:pt x="585445" y="10600"/>
                      <a:pt x="554249" y="7456"/>
                      <a:pt x="529059" y="30066"/>
                    </a:cubicBezTo>
                    <a:cubicBezTo>
                      <a:pt x="516906" y="40983"/>
                      <a:pt x="510688" y="55928"/>
                      <a:pt x="501326" y="68681"/>
                    </a:cubicBezTo>
                    <a:cubicBezTo>
                      <a:pt x="474793" y="104753"/>
                      <a:pt x="441654" y="125915"/>
                      <a:pt x="394878" y="113338"/>
                    </a:cubicBezTo>
                    <a:cubicBezTo>
                      <a:pt x="377496" y="108674"/>
                      <a:pt x="359938" y="109381"/>
                      <a:pt x="342697" y="111077"/>
                    </a:cubicBezTo>
                    <a:cubicBezTo>
                      <a:pt x="313550" y="113903"/>
                      <a:pt x="291081" y="127787"/>
                      <a:pt x="277903" y="155450"/>
                    </a:cubicBezTo>
                    <a:cubicBezTo>
                      <a:pt x="265290" y="181912"/>
                      <a:pt x="242785" y="195549"/>
                      <a:pt x="214416" y="200001"/>
                    </a:cubicBezTo>
                    <a:cubicBezTo>
                      <a:pt x="199295" y="202368"/>
                      <a:pt x="183962" y="203604"/>
                      <a:pt x="168947" y="206395"/>
                    </a:cubicBezTo>
                    <a:cubicBezTo>
                      <a:pt x="143121" y="211200"/>
                      <a:pt x="119875" y="220633"/>
                      <a:pt x="108075" y="246671"/>
                    </a:cubicBezTo>
                    <a:cubicBezTo>
                      <a:pt x="96699" y="271754"/>
                      <a:pt x="103446" y="293517"/>
                      <a:pt x="119309" y="314786"/>
                    </a:cubicBezTo>
                    <a:cubicBezTo>
                      <a:pt x="132523" y="332521"/>
                      <a:pt x="145594" y="350610"/>
                      <a:pt x="151353" y="372902"/>
                    </a:cubicBezTo>
                    <a:cubicBezTo>
                      <a:pt x="157783" y="397951"/>
                      <a:pt x="149233" y="416640"/>
                      <a:pt x="125139" y="426638"/>
                    </a:cubicBezTo>
                    <a:cubicBezTo>
                      <a:pt x="116342" y="430277"/>
                      <a:pt x="107368" y="433634"/>
                      <a:pt x="98783" y="437767"/>
                    </a:cubicBezTo>
                    <a:cubicBezTo>
                      <a:pt x="75148" y="449037"/>
                      <a:pt x="66527" y="465430"/>
                      <a:pt x="72816" y="490690"/>
                    </a:cubicBezTo>
                    <a:cubicBezTo>
                      <a:pt x="81896" y="527186"/>
                      <a:pt x="76632" y="559689"/>
                      <a:pt x="51194" y="588517"/>
                    </a:cubicBezTo>
                    <a:cubicBezTo>
                      <a:pt x="42503" y="598374"/>
                      <a:pt x="35473" y="609821"/>
                      <a:pt x="28230" y="620915"/>
                    </a:cubicBezTo>
                    <a:cubicBezTo>
                      <a:pt x="14911" y="641264"/>
                      <a:pt x="12509" y="663804"/>
                      <a:pt x="19292" y="686521"/>
                    </a:cubicBezTo>
                    <a:cubicBezTo>
                      <a:pt x="32540" y="731071"/>
                      <a:pt x="70802" y="750291"/>
                      <a:pt x="121677" y="740716"/>
                    </a:cubicBezTo>
                    <a:cubicBezTo>
                      <a:pt x="151388" y="735099"/>
                      <a:pt x="181524" y="732696"/>
                      <a:pt x="211166" y="742059"/>
                    </a:cubicBezTo>
                    <a:cubicBezTo>
                      <a:pt x="228548" y="747535"/>
                      <a:pt x="244057" y="755625"/>
                      <a:pt x="255433" y="771099"/>
                    </a:cubicBezTo>
                    <a:cubicBezTo>
                      <a:pt x="268505" y="788835"/>
                      <a:pt x="269989" y="809078"/>
                      <a:pt x="271791" y="829640"/>
                    </a:cubicBezTo>
                    <a:cubicBezTo>
                      <a:pt x="276066" y="878536"/>
                      <a:pt x="289385" y="885779"/>
                      <a:pt x="325032" y="891855"/>
                    </a:cubicBezTo>
                    <a:cubicBezTo>
                      <a:pt x="325562" y="891961"/>
                      <a:pt x="326092" y="891926"/>
                      <a:pt x="326622" y="891997"/>
                    </a:cubicBezTo>
                    <a:cubicBezTo>
                      <a:pt x="364000" y="896059"/>
                      <a:pt x="386717" y="914678"/>
                      <a:pt x="390921" y="953894"/>
                    </a:cubicBezTo>
                    <a:cubicBezTo>
                      <a:pt x="393182" y="974985"/>
                      <a:pt x="404241" y="990919"/>
                      <a:pt x="426321" y="995794"/>
                    </a:cubicBezTo>
                    <a:cubicBezTo>
                      <a:pt x="440453" y="998903"/>
                      <a:pt x="454020" y="993816"/>
                      <a:pt x="465961" y="987386"/>
                    </a:cubicBezTo>
                    <a:cubicBezTo>
                      <a:pt x="506095" y="965729"/>
                      <a:pt x="546936" y="958592"/>
                      <a:pt x="591345" y="973749"/>
                    </a:cubicBezTo>
                    <a:cubicBezTo>
                      <a:pt x="604417" y="978200"/>
                      <a:pt x="619290" y="980037"/>
                      <a:pt x="633917" y="977635"/>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4" name="Freeform: Shape 3453">
                <a:extLst>
                  <a:ext uri="{FF2B5EF4-FFF2-40B4-BE49-F238E27FC236}">
                    <a16:creationId xmlns:a16="http://schemas.microsoft.com/office/drawing/2014/main" id="{E8F4A4E6-A723-E5A3-0925-B9F4194F1FFC}"/>
                  </a:ext>
                </a:extLst>
              </p:cNvPr>
              <p:cNvSpPr/>
              <p:nvPr/>
            </p:nvSpPr>
            <p:spPr>
              <a:xfrm>
                <a:off x="6329512" y="3565294"/>
                <a:ext cx="222551" cy="190768"/>
              </a:xfrm>
              <a:custGeom>
                <a:avLst/>
                <a:gdLst>
                  <a:gd name="connsiteX0" fmla="*/ 112293 w 222551"/>
                  <a:gd name="connsiteY0" fmla="*/ 190768 h 190768"/>
                  <a:gd name="connsiteX1" fmla="*/ 1712 w 222551"/>
                  <a:gd name="connsiteY1" fmla="*/ 110641 h 190768"/>
                  <a:gd name="connsiteX2" fmla="*/ 108442 w 222551"/>
                  <a:gd name="connsiteY2" fmla="*/ 1120 h 190768"/>
                  <a:gd name="connsiteX3" fmla="*/ 181751 w 222551"/>
                  <a:gd name="connsiteY3" fmla="*/ 29419 h 190768"/>
                  <a:gd name="connsiteX4" fmla="*/ 177334 w 222551"/>
                  <a:gd name="connsiteY4" fmla="*/ 169959 h 190768"/>
                  <a:gd name="connsiteX5" fmla="*/ 112258 w 222551"/>
                  <a:gd name="connsiteY5" fmla="*/ 190768 h 190768"/>
                  <a:gd name="connsiteX6" fmla="*/ 97455 w 222551"/>
                  <a:gd name="connsiteY6" fmla="*/ 175153 h 190768"/>
                  <a:gd name="connsiteX7" fmla="*/ 170904 w 222551"/>
                  <a:gd name="connsiteY7" fmla="*/ 156287 h 190768"/>
                  <a:gd name="connsiteX8" fmla="*/ 191608 w 222551"/>
                  <a:gd name="connsiteY8" fmla="*/ 59378 h 190768"/>
                  <a:gd name="connsiteX9" fmla="*/ 96430 w 222551"/>
                  <a:gd name="connsiteY9" fmla="*/ 15888 h 190768"/>
                  <a:gd name="connsiteX10" fmla="*/ 32449 w 222551"/>
                  <a:gd name="connsiteY10" fmla="*/ 45989 h 190768"/>
                  <a:gd name="connsiteX11" fmla="*/ 23581 w 222551"/>
                  <a:gd name="connsiteY11" fmla="*/ 129861 h 190768"/>
                  <a:gd name="connsiteX12" fmla="*/ 97490 w 222551"/>
                  <a:gd name="connsiteY12" fmla="*/ 175223 h 19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551" h="190768">
                    <a:moveTo>
                      <a:pt x="112293" y="190768"/>
                    </a:moveTo>
                    <a:cubicBezTo>
                      <a:pt x="48524" y="190168"/>
                      <a:pt x="12205" y="162010"/>
                      <a:pt x="1712" y="110641"/>
                    </a:cubicBezTo>
                    <a:cubicBezTo>
                      <a:pt x="-10759" y="49698"/>
                      <a:pt x="46934" y="-8878"/>
                      <a:pt x="108442" y="1120"/>
                    </a:cubicBezTo>
                    <a:cubicBezTo>
                      <a:pt x="135151" y="5466"/>
                      <a:pt x="159634" y="13733"/>
                      <a:pt x="181751" y="29419"/>
                    </a:cubicBezTo>
                    <a:cubicBezTo>
                      <a:pt x="237712" y="69200"/>
                      <a:pt x="235981" y="133994"/>
                      <a:pt x="177334" y="169959"/>
                    </a:cubicBezTo>
                    <a:cubicBezTo>
                      <a:pt x="155324" y="183455"/>
                      <a:pt x="130947" y="190556"/>
                      <a:pt x="112258" y="190768"/>
                    </a:cubicBezTo>
                    <a:close/>
                    <a:moveTo>
                      <a:pt x="97455" y="175153"/>
                    </a:moveTo>
                    <a:cubicBezTo>
                      <a:pt x="126178" y="174870"/>
                      <a:pt x="149460" y="169500"/>
                      <a:pt x="170904" y="156287"/>
                    </a:cubicBezTo>
                    <a:cubicBezTo>
                      <a:pt x="209873" y="132263"/>
                      <a:pt x="219164" y="92235"/>
                      <a:pt x="191608" y="59378"/>
                    </a:cubicBezTo>
                    <a:cubicBezTo>
                      <a:pt x="167054" y="30090"/>
                      <a:pt x="134091" y="15888"/>
                      <a:pt x="96430" y="15888"/>
                    </a:cubicBezTo>
                    <a:cubicBezTo>
                      <a:pt x="71417" y="15888"/>
                      <a:pt x="48347" y="25074"/>
                      <a:pt x="32449" y="45989"/>
                    </a:cubicBezTo>
                    <a:cubicBezTo>
                      <a:pt x="12770" y="71920"/>
                      <a:pt x="9626" y="100573"/>
                      <a:pt x="23581" y="129861"/>
                    </a:cubicBezTo>
                    <a:cubicBezTo>
                      <a:pt x="38949" y="162152"/>
                      <a:pt x="66895" y="174658"/>
                      <a:pt x="97490" y="175223"/>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5" name="Freeform: Shape 3454">
                <a:extLst>
                  <a:ext uri="{FF2B5EF4-FFF2-40B4-BE49-F238E27FC236}">
                    <a16:creationId xmlns:a16="http://schemas.microsoft.com/office/drawing/2014/main" id="{A9F517E3-B66B-C9EA-094F-686F4A87F4FF}"/>
                  </a:ext>
                </a:extLst>
              </p:cNvPr>
              <p:cNvSpPr/>
              <p:nvPr/>
            </p:nvSpPr>
            <p:spPr>
              <a:xfrm>
                <a:off x="7136497" y="3631986"/>
                <a:ext cx="200439" cy="177094"/>
              </a:xfrm>
              <a:custGeom>
                <a:avLst/>
                <a:gdLst>
                  <a:gd name="connsiteX0" fmla="*/ 71814 w 200439"/>
                  <a:gd name="connsiteY0" fmla="*/ 0 h 177094"/>
                  <a:gd name="connsiteX1" fmla="*/ 163140 w 200439"/>
                  <a:gd name="connsiteY1" fmla="*/ 24766 h 177094"/>
                  <a:gd name="connsiteX2" fmla="*/ 179003 w 200439"/>
                  <a:gd name="connsiteY2" fmla="*/ 135700 h 177094"/>
                  <a:gd name="connsiteX3" fmla="*/ 90397 w 200439"/>
                  <a:gd name="connsiteY3" fmla="*/ 176965 h 177094"/>
                  <a:gd name="connsiteX4" fmla="*/ 44187 w 200439"/>
                  <a:gd name="connsiteY4" fmla="*/ 153506 h 177094"/>
                  <a:gd name="connsiteX5" fmla="*/ 3063 w 200439"/>
                  <a:gd name="connsiteY5" fmla="*/ 69669 h 177094"/>
                  <a:gd name="connsiteX6" fmla="*/ 37862 w 200439"/>
                  <a:gd name="connsiteY6" fmla="*/ 5476 h 177094"/>
                  <a:gd name="connsiteX7" fmla="*/ 71849 w 200439"/>
                  <a:gd name="connsiteY7" fmla="*/ 0 h 177094"/>
                  <a:gd name="connsiteX8" fmla="*/ 71779 w 200439"/>
                  <a:gd name="connsiteY8" fmla="*/ 15686 h 177094"/>
                  <a:gd name="connsiteX9" fmla="*/ 57435 w 200439"/>
                  <a:gd name="connsiteY9" fmla="*/ 15757 h 177094"/>
                  <a:gd name="connsiteX10" fmla="*/ 19209 w 200439"/>
                  <a:gd name="connsiteY10" fmla="*/ 70164 h 177094"/>
                  <a:gd name="connsiteX11" fmla="*/ 53443 w 200439"/>
                  <a:gd name="connsiteY11" fmla="*/ 140081 h 177094"/>
                  <a:gd name="connsiteX12" fmla="*/ 93330 w 200439"/>
                  <a:gd name="connsiteY12" fmla="*/ 161172 h 177094"/>
                  <a:gd name="connsiteX13" fmla="*/ 159749 w 200439"/>
                  <a:gd name="connsiteY13" fmla="*/ 133227 h 177094"/>
                  <a:gd name="connsiteX14" fmla="*/ 152506 w 200439"/>
                  <a:gd name="connsiteY14" fmla="*/ 36177 h 177094"/>
                  <a:gd name="connsiteX15" fmla="*/ 71814 w 200439"/>
                  <a:gd name="connsiteY15" fmla="*/ 15686 h 177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439" h="177094">
                    <a:moveTo>
                      <a:pt x="71814" y="0"/>
                    </a:moveTo>
                    <a:cubicBezTo>
                      <a:pt x="103080" y="2155"/>
                      <a:pt x="134700" y="7278"/>
                      <a:pt x="163140" y="24766"/>
                    </a:cubicBezTo>
                    <a:cubicBezTo>
                      <a:pt x="205536" y="50804"/>
                      <a:pt x="213131" y="99664"/>
                      <a:pt x="179003" y="135700"/>
                    </a:cubicBezTo>
                    <a:cubicBezTo>
                      <a:pt x="155191" y="160855"/>
                      <a:pt x="124949" y="174598"/>
                      <a:pt x="90397" y="176965"/>
                    </a:cubicBezTo>
                    <a:cubicBezTo>
                      <a:pt x="71001" y="178307"/>
                      <a:pt x="54927" y="169157"/>
                      <a:pt x="44187" y="153506"/>
                    </a:cubicBezTo>
                    <a:cubicBezTo>
                      <a:pt x="26451" y="127680"/>
                      <a:pt x="12708" y="99346"/>
                      <a:pt x="3063" y="69669"/>
                    </a:cubicBezTo>
                    <a:cubicBezTo>
                      <a:pt x="-6759" y="39392"/>
                      <a:pt x="7621" y="15368"/>
                      <a:pt x="37862" y="5476"/>
                    </a:cubicBezTo>
                    <a:cubicBezTo>
                      <a:pt x="48532" y="1978"/>
                      <a:pt x="59413" y="212"/>
                      <a:pt x="71849" y="0"/>
                    </a:cubicBezTo>
                    <a:close/>
                    <a:moveTo>
                      <a:pt x="71779" y="15686"/>
                    </a:moveTo>
                    <a:cubicBezTo>
                      <a:pt x="67009" y="15686"/>
                      <a:pt x="62169" y="15262"/>
                      <a:pt x="57435" y="15757"/>
                    </a:cubicBezTo>
                    <a:cubicBezTo>
                      <a:pt x="24119" y="19184"/>
                      <a:pt x="7267" y="42042"/>
                      <a:pt x="19209" y="70164"/>
                    </a:cubicBezTo>
                    <a:cubicBezTo>
                      <a:pt x="29313" y="94011"/>
                      <a:pt x="38675" y="118424"/>
                      <a:pt x="53443" y="140081"/>
                    </a:cubicBezTo>
                    <a:cubicBezTo>
                      <a:pt x="63052" y="154142"/>
                      <a:pt x="75771" y="163222"/>
                      <a:pt x="93330" y="161172"/>
                    </a:cubicBezTo>
                    <a:cubicBezTo>
                      <a:pt x="117989" y="158275"/>
                      <a:pt x="139964" y="148560"/>
                      <a:pt x="159749" y="133227"/>
                    </a:cubicBezTo>
                    <a:cubicBezTo>
                      <a:pt x="195679" y="105387"/>
                      <a:pt x="192322" y="58117"/>
                      <a:pt x="152506" y="36177"/>
                    </a:cubicBezTo>
                    <a:cubicBezTo>
                      <a:pt x="127352" y="22328"/>
                      <a:pt x="100148" y="16711"/>
                      <a:pt x="71814" y="15686"/>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6" name="Freeform: Shape 3455">
                <a:extLst>
                  <a:ext uri="{FF2B5EF4-FFF2-40B4-BE49-F238E27FC236}">
                    <a16:creationId xmlns:a16="http://schemas.microsoft.com/office/drawing/2014/main" id="{FDB8233F-175B-C0B8-5076-57C0F94FED01}"/>
                  </a:ext>
                </a:extLst>
              </p:cNvPr>
              <p:cNvSpPr/>
              <p:nvPr/>
            </p:nvSpPr>
            <p:spPr>
              <a:xfrm>
                <a:off x="6491858" y="4553564"/>
                <a:ext cx="196434" cy="173838"/>
              </a:xfrm>
              <a:custGeom>
                <a:avLst/>
                <a:gdLst>
                  <a:gd name="connsiteX0" fmla="*/ 44 w 196434"/>
                  <a:gd name="connsiteY0" fmla="*/ 95448 h 173838"/>
                  <a:gd name="connsiteX1" fmla="*/ 91017 w 196434"/>
                  <a:gd name="connsiteY1" fmla="*/ 59 h 173838"/>
                  <a:gd name="connsiteX2" fmla="*/ 136239 w 196434"/>
                  <a:gd name="connsiteY2" fmla="*/ 20126 h 173838"/>
                  <a:gd name="connsiteX3" fmla="*/ 192872 w 196434"/>
                  <a:gd name="connsiteY3" fmla="*/ 115091 h 173838"/>
                  <a:gd name="connsiteX4" fmla="*/ 156871 w 196434"/>
                  <a:gd name="connsiteY4" fmla="*/ 172113 h 173838"/>
                  <a:gd name="connsiteX5" fmla="*/ 45937 w 196434"/>
                  <a:gd name="connsiteY5" fmla="*/ 159182 h 173838"/>
                  <a:gd name="connsiteX6" fmla="*/ 9 w 196434"/>
                  <a:gd name="connsiteY6" fmla="*/ 95448 h 173838"/>
                  <a:gd name="connsiteX7" fmla="*/ 132847 w 196434"/>
                  <a:gd name="connsiteY7" fmla="*/ 158793 h 173838"/>
                  <a:gd name="connsiteX8" fmla="*/ 145460 w 196434"/>
                  <a:gd name="connsiteY8" fmla="*/ 158793 h 173838"/>
                  <a:gd name="connsiteX9" fmla="*/ 175242 w 196434"/>
                  <a:gd name="connsiteY9" fmla="*/ 110887 h 173838"/>
                  <a:gd name="connsiteX10" fmla="*/ 138394 w 196434"/>
                  <a:gd name="connsiteY10" fmla="*/ 46093 h 173838"/>
                  <a:gd name="connsiteX11" fmla="*/ 50777 w 196434"/>
                  <a:gd name="connsiteY11" fmla="*/ 32102 h 173838"/>
                  <a:gd name="connsiteX12" fmla="*/ 29544 w 196434"/>
                  <a:gd name="connsiteY12" fmla="*/ 55349 h 173838"/>
                  <a:gd name="connsiteX13" fmla="*/ 60775 w 196434"/>
                  <a:gd name="connsiteY13" fmla="*/ 148972 h 173838"/>
                  <a:gd name="connsiteX14" fmla="*/ 132847 w 196434"/>
                  <a:gd name="connsiteY14" fmla="*/ 158829 h 17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434" h="173838">
                    <a:moveTo>
                      <a:pt x="44" y="95448"/>
                    </a:moveTo>
                    <a:cubicBezTo>
                      <a:pt x="645" y="49979"/>
                      <a:pt x="45972" y="2178"/>
                      <a:pt x="91017" y="59"/>
                    </a:cubicBezTo>
                    <a:cubicBezTo>
                      <a:pt x="109106" y="-789"/>
                      <a:pt x="124015" y="7619"/>
                      <a:pt x="136239" y="20126"/>
                    </a:cubicBezTo>
                    <a:cubicBezTo>
                      <a:pt x="162665" y="47188"/>
                      <a:pt x="180082" y="80221"/>
                      <a:pt x="192872" y="115091"/>
                    </a:cubicBezTo>
                    <a:cubicBezTo>
                      <a:pt x="203894" y="145156"/>
                      <a:pt x="188632" y="168474"/>
                      <a:pt x="156871" y="172113"/>
                    </a:cubicBezTo>
                    <a:cubicBezTo>
                      <a:pt x="119174" y="176423"/>
                      <a:pt x="81584" y="172854"/>
                      <a:pt x="45937" y="159182"/>
                    </a:cubicBezTo>
                    <a:cubicBezTo>
                      <a:pt x="14706" y="147206"/>
                      <a:pt x="-415" y="124701"/>
                      <a:pt x="9" y="95448"/>
                    </a:cubicBezTo>
                    <a:close/>
                    <a:moveTo>
                      <a:pt x="132847" y="158793"/>
                    </a:moveTo>
                    <a:cubicBezTo>
                      <a:pt x="140160" y="158793"/>
                      <a:pt x="142810" y="158864"/>
                      <a:pt x="145460" y="158793"/>
                    </a:cubicBezTo>
                    <a:cubicBezTo>
                      <a:pt x="176585" y="157663"/>
                      <a:pt x="188173" y="139398"/>
                      <a:pt x="175242" y="110887"/>
                    </a:cubicBezTo>
                    <a:cubicBezTo>
                      <a:pt x="164961" y="88206"/>
                      <a:pt x="152702" y="66549"/>
                      <a:pt x="138394" y="46093"/>
                    </a:cubicBezTo>
                    <a:cubicBezTo>
                      <a:pt x="113381" y="10304"/>
                      <a:pt x="86318" y="6277"/>
                      <a:pt x="50777" y="32102"/>
                    </a:cubicBezTo>
                    <a:cubicBezTo>
                      <a:pt x="41839" y="38603"/>
                      <a:pt x="35621" y="46906"/>
                      <a:pt x="29544" y="55349"/>
                    </a:cubicBezTo>
                    <a:cubicBezTo>
                      <a:pt x="1704" y="94247"/>
                      <a:pt x="15165" y="134522"/>
                      <a:pt x="60775" y="148972"/>
                    </a:cubicBezTo>
                    <a:cubicBezTo>
                      <a:pt x="85682" y="156850"/>
                      <a:pt x="111897" y="155861"/>
                      <a:pt x="132847" y="158829"/>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7" name="Freeform: Shape 3456">
                <a:extLst>
                  <a:ext uri="{FF2B5EF4-FFF2-40B4-BE49-F238E27FC236}">
                    <a16:creationId xmlns:a16="http://schemas.microsoft.com/office/drawing/2014/main" id="{770901EB-1BB9-E1F5-1ECD-4343D4303186}"/>
                  </a:ext>
                </a:extLst>
              </p:cNvPr>
              <p:cNvSpPr/>
              <p:nvPr/>
            </p:nvSpPr>
            <p:spPr>
              <a:xfrm>
                <a:off x="7253493" y="4201494"/>
                <a:ext cx="178169" cy="162318"/>
              </a:xfrm>
              <a:custGeom>
                <a:avLst/>
                <a:gdLst>
                  <a:gd name="connsiteX0" fmla="*/ 178170 w 178169"/>
                  <a:gd name="connsiteY0" fmla="*/ 90091 h 162318"/>
                  <a:gd name="connsiteX1" fmla="*/ 155665 w 178169"/>
                  <a:gd name="connsiteY1" fmla="*/ 145841 h 162318"/>
                  <a:gd name="connsiteX2" fmla="*/ 87338 w 178169"/>
                  <a:gd name="connsiteY2" fmla="*/ 148738 h 162318"/>
                  <a:gd name="connsiteX3" fmla="*/ 15302 w 178169"/>
                  <a:gd name="connsiteY3" fmla="*/ 84050 h 162318"/>
                  <a:gd name="connsiteX4" fmla="*/ 34415 w 178169"/>
                  <a:gd name="connsiteY4" fmla="*/ 4947 h 162318"/>
                  <a:gd name="connsiteX5" fmla="*/ 163755 w 178169"/>
                  <a:gd name="connsiteY5" fmla="*/ 41619 h 162318"/>
                  <a:gd name="connsiteX6" fmla="*/ 178170 w 178169"/>
                  <a:gd name="connsiteY6" fmla="*/ 90056 h 162318"/>
                  <a:gd name="connsiteX7" fmla="*/ 67977 w 178169"/>
                  <a:gd name="connsiteY7" fmla="*/ 16606 h 162318"/>
                  <a:gd name="connsiteX8" fmla="*/ 56849 w 178169"/>
                  <a:gd name="connsiteY8" fmla="*/ 16606 h 162318"/>
                  <a:gd name="connsiteX9" fmla="*/ 17315 w 178169"/>
                  <a:gd name="connsiteY9" fmla="*/ 40029 h 162318"/>
                  <a:gd name="connsiteX10" fmla="*/ 35616 w 178169"/>
                  <a:gd name="connsiteY10" fmla="*/ 83838 h 162318"/>
                  <a:gd name="connsiteX11" fmla="*/ 56884 w 178169"/>
                  <a:gd name="connsiteY11" fmla="*/ 100337 h 162318"/>
                  <a:gd name="connsiteX12" fmla="*/ 96418 w 178169"/>
                  <a:gd name="connsiteY12" fmla="*/ 136584 h 162318"/>
                  <a:gd name="connsiteX13" fmla="*/ 139519 w 178169"/>
                  <a:gd name="connsiteY13" fmla="*/ 140435 h 162318"/>
                  <a:gd name="connsiteX14" fmla="*/ 146161 w 178169"/>
                  <a:gd name="connsiteY14" fmla="*/ 45329 h 162318"/>
                  <a:gd name="connsiteX15" fmla="*/ 67977 w 178169"/>
                  <a:gd name="connsiteY15" fmla="*/ 16641 h 162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8169" h="162318">
                    <a:moveTo>
                      <a:pt x="178170" y="90091"/>
                    </a:moveTo>
                    <a:cubicBezTo>
                      <a:pt x="177357" y="108568"/>
                      <a:pt x="170468" y="128777"/>
                      <a:pt x="155665" y="145841"/>
                    </a:cubicBezTo>
                    <a:cubicBezTo>
                      <a:pt x="138248" y="165908"/>
                      <a:pt x="110090" y="168557"/>
                      <a:pt x="87338" y="148738"/>
                    </a:cubicBezTo>
                    <a:cubicBezTo>
                      <a:pt x="63031" y="127576"/>
                      <a:pt x="38124" y="106766"/>
                      <a:pt x="15302" y="84050"/>
                    </a:cubicBezTo>
                    <a:cubicBezTo>
                      <a:pt x="-11761" y="57129"/>
                      <a:pt x="-1409" y="18302"/>
                      <a:pt x="34415" y="4947"/>
                    </a:cubicBezTo>
                    <a:cubicBezTo>
                      <a:pt x="73100" y="-9467"/>
                      <a:pt x="138495" y="9081"/>
                      <a:pt x="163755" y="41619"/>
                    </a:cubicBezTo>
                    <a:cubicBezTo>
                      <a:pt x="173542" y="54196"/>
                      <a:pt x="177958" y="67869"/>
                      <a:pt x="178170" y="90056"/>
                    </a:cubicBezTo>
                    <a:close/>
                    <a:moveTo>
                      <a:pt x="67977" y="16606"/>
                    </a:moveTo>
                    <a:cubicBezTo>
                      <a:pt x="64268" y="16606"/>
                      <a:pt x="60558" y="16535"/>
                      <a:pt x="56849" y="16606"/>
                    </a:cubicBezTo>
                    <a:cubicBezTo>
                      <a:pt x="36676" y="16995"/>
                      <a:pt x="22226" y="25544"/>
                      <a:pt x="17315" y="40029"/>
                    </a:cubicBezTo>
                    <a:cubicBezTo>
                      <a:pt x="12369" y="54691"/>
                      <a:pt x="19824" y="72320"/>
                      <a:pt x="35616" y="83838"/>
                    </a:cubicBezTo>
                    <a:cubicBezTo>
                      <a:pt x="42858" y="89137"/>
                      <a:pt x="50172" y="94401"/>
                      <a:pt x="56884" y="100337"/>
                    </a:cubicBezTo>
                    <a:cubicBezTo>
                      <a:pt x="70239" y="112207"/>
                      <a:pt x="82886" y="124926"/>
                      <a:pt x="96418" y="136584"/>
                    </a:cubicBezTo>
                    <a:cubicBezTo>
                      <a:pt x="107546" y="146159"/>
                      <a:pt x="130157" y="147819"/>
                      <a:pt x="139519" y="140435"/>
                    </a:cubicBezTo>
                    <a:cubicBezTo>
                      <a:pt x="162095" y="122594"/>
                      <a:pt x="173930" y="69353"/>
                      <a:pt x="146161" y="45329"/>
                    </a:cubicBezTo>
                    <a:cubicBezTo>
                      <a:pt x="123268" y="25509"/>
                      <a:pt x="97866" y="15758"/>
                      <a:pt x="67977" y="16641"/>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8" name="Freeform: Shape 3457">
                <a:extLst>
                  <a:ext uri="{FF2B5EF4-FFF2-40B4-BE49-F238E27FC236}">
                    <a16:creationId xmlns:a16="http://schemas.microsoft.com/office/drawing/2014/main" id="{835574CF-2002-9670-B73D-232F1B2D817C}"/>
                  </a:ext>
                </a:extLst>
              </p:cNvPr>
              <p:cNvSpPr/>
              <p:nvPr/>
            </p:nvSpPr>
            <p:spPr>
              <a:xfrm>
                <a:off x="7113552" y="4492429"/>
                <a:ext cx="162344" cy="153446"/>
              </a:xfrm>
              <a:custGeom>
                <a:avLst/>
                <a:gdLst>
                  <a:gd name="connsiteX0" fmla="*/ 87340 w 162344"/>
                  <a:gd name="connsiteY0" fmla="*/ 153439 h 153446"/>
                  <a:gd name="connsiteX1" fmla="*/ 6 w 162344"/>
                  <a:gd name="connsiteY1" fmla="*/ 81438 h 153446"/>
                  <a:gd name="connsiteX2" fmla="*/ 76706 w 162344"/>
                  <a:gd name="connsiteY2" fmla="*/ 4 h 153446"/>
                  <a:gd name="connsiteX3" fmla="*/ 162344 w 162344"/>
                  <a:gd name="connsiteY3" fmla="*/ 82568 h 153446"/>
                  <a:gd name="connsiteX4" fmla="*/ 87340 w 162344"/>
                  <a:gd name="connsiteY4" fmla="*/ 153404 h 153446"/>
                  <a:gd name="connsiteX5" fmla="*/ 86457 w 162344"/>
                  <a:gd name="connsiteY5" fmla="*/ 137399 h 153446"/>
                  <a:gd name="connsiteX6" fmla="*/ 146729 w 162344"/>
                  <a:gd name="connsiteY6" fmla="*/ 81932 h 153446"/>
                  <a:gd name="connsiteX7" fmla="*/ 77907 w 162344"/>
                  <a:gd name="connsiteY7" fmla="*/ 15902 h 153446"/>
                  <a:gd name="connsiteX8" fmla="*/ 15798 w 162344"/>
                  <a:gd name="connsiteY8" fmla="*/ 80484 h 153446"/>
                  <a:gd name="connsiteX9" fmla="*/ 86457 w 162344"/>
                  <a:gd name="connsiteY9" fmla="*/ 137399 h 15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344" h="153446">
                    <a:moveTo>
                      <a:pt x="87340" y="153439"/>
                    </a:moveTo>
                    <a:cubicBezTo>
                      <a:pt x="39257" y="154004"/>
                      <a:pt x="465" y="122031"/>
                      <a:pt x="6" y="81438"/>
                    </a:cubicBezTo>
                    <a:cubicBezTo>
                      <a:pt x="-524" y="37347"/>
                      <a:pt x="34275" y="392"/>
                      <a:pt x="76706" y="4"/>
                    </a:cubicBezTo>
                    <a:cubicBezTo>
                      <a:pt x="123411" y="-420"/>
                      <a:pt x="162168" y="36923"/>
                      <a:pt x="162344" y="82568"/>
                    </a:cubicBezTo>
                    <a:cubicBezTo>
                      <a:pt x="162521" y="124787"/>
                      <a:pt x="132773" y="152874"/>
                      <a:pt x="87340" y="153404"/>
                    </a:cubicBezTo>
                    <a:close/>
                    <a:moveTo>
                      <a:pt x="86457" y="137399"/>
                    </a:moveTo>
                    <a:cubicBezTo>
                      <a:pt x="125248" y="137435"/>
                      <a:pt x="146658" y="117721"/>
                      <a:pt x="146729" y="81932"/>
                    </a:cubicBezTo>
                    <a:cubicBezTo>
                      <a:pt x="146764" y="45155"/>
                      <a:pt x="116169" y="15796"/>
                      <a:pt x="77907" y="15902"/>
                    </a:cubicBezTo>
                    <a:cubicBezTo>
                      <a:pt x="43002" y="16008"/>
                      <a:pt x="15727" y="44377"/>
                      <a:pt x="15798" y="80484"/>
                    </a:cubicBezTo>
                    <a:cubicBezTo>
                      <a:pt x="15869" y="113552"/>
                      <a:pt x="45439" y="137329"/>
                      <a:pt x="86457" y="137399"/>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9" name="Freeform: Shape 3458">
                <a:extLst>
                  <a:ext uri="{FF2B5EF4-FFF2-40B4-BE49-F238E27FC236}">
                    <a16:creationId xmlns:a16="http://schemas.microsoft.com/office/drawing/2014/main" id="{604F0F3B-7CEB-9DFC-EAA0-422EA247C887}"/>
                  </a:ext>
                </a:extLst>
              </p:cNvPr>
              <p:cNvSpPr/>
              <p:nvPr/>
            </p:nvSpPr>
            <p:spPr>
              <a:xfrm>
                <a:off x="6388091" y="4385334"/>
                <a:ext cx="163456" cy="129533"/>
              </a:xfrm>
              <a:custGeom>
                <a:avLst/>
                <a:gdLst>
                  <a:gd name="connsiteX0" fmla="*/ 114622 w 163456"/>
                  <a:gd name="connsiteY0" fmla="*/ 129426 h 129533"/>
                  <a:gd name="connsiteX1" fmla="*/ 91376 w 163456"/>
                  <a:gd name="connsiteY1" fmla="*/ 122113 h 129533"/>
                  <a:gd name="connsiteX2" fmla="*/ 27394 w 163456"/>
                  <a:gd name="connsiteY2" fmla="*/ 87102 h 129533"/>
                  <a:gd name="connsiteX3" fmla="*/ 85 w 163456"/>
                  <a:gd name="connsiteY3" fmla="*/ 51172 h 129533"/>
                  <a:gd name="connsiteX4" fmla="*/ 24815 w 163456"/>
                  <a:gd name="connsiteY4" fmla="*/ 15277 h 129533"/>
                  <a:gd name="connsiteX5" fmla="*/ 158219 w 163456"/>
                  <a:gd name="connsiteY5" fmla="*/ 51490 h 129533"/>
                  <a:gd name="connsiteX6" fmla="*/ 114658 w 163456"/>
                  <a:gd name="connsiteY6" fmla="*/ 129426 h 129533"/>
                  <a:gd name="connsiteX7" fmla="*/ 81590 w 163456"/>
                  <a:gd name="connsiteY7" fmla="*/ 14677 h 129533"/>
                  <a:gd name="connsiteX8" fmla="*/ 30150 w 163456"/>
                  <a:gd name="connsiteY8" fmla="*/ 29480 h 129533"/>
                  <a:gd name="connsiteX9" fmla="*/ 15736 w 163456"/>
                  <a:gd name="connsiteY9" fmla="*/ 50783 h 129533"/>
                  <a:gd name="connsiteX10" fmla="*/ 33294 w 163456"/>
                  <a:gd name="connsiteY10" fmla="*/ 73288 h 129533"/>
                  <a:gd name="connsiteX11" fmla="*/ 97134 w 163456"/>
                  <a:gd name="connsiteY11" fmla="*/ 107981 h 129533"/>
                  <a:gd name="connsiteX12" fmla="*/ 144758 w 163456"/>
                  <a:gd name="connsiteY12" fmla="*/ 91589 h 129533"/>
                  <a:gd name="connsiteX13" fmla="*/ 81554 w 163456"/>
                  <a:gd name="connsiteY13" fmla="*/ 14712 h 12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456" h="129533">
                    <a:moveTo>
                      <a:pt x="114622" y="129426"/>
                    </a:moveTo>
                    <a:cubicBezTo>
                      <a:pt x="106320" y="130203"/>
                      <a:pt x="98760" y="126671"/>
                      <a:pt x="91376" y="122113"/>
                    </a:cubicBezTo>
                    <a:cubicBezTo>
                      <a:pt x="70673" y="109324"/>
                      <a:pt x="51136" y="94804"/>
                      <a:pt x="27394" y="87102"/>
                    </a:cubicBezTo>
                    <a:cubicBezTo>
                      <a:pt x="11072" y="81802"/>
                      <a:pt x="1215" y="68589"/>
                      <a:pt x="85" y="51172"/>
                    </a:cubicBezTo>
                    <a:cubicBezTo>
                      <a:pt x="-1117" y="33366"/>
                      <a:pt x="10613" y="22237"/>
                      <a:pt x="24815" y="15277"/>
                    </a:cubicBezTo>
                    <a:cubicBezTo>
                      <a:pt x="81907" y="-12704"/>
                      <a:pt x="133559" y="-3165"/>
                      <a:pt x="158219" y="51490"/>
                    </a:cubicBezTo>
                    <a:cubicBezTo>
                      <a:pt x="174470" y="87490"/>
                      <a:pt x="150941" y="129214"/>
                      <a:pt x="114658" y="129426"/>
                    </a:cubicBezTo>
                    <a:close/>
                    <a:moveTo>
                      <a:pt x="81590" y="14677"/>
                    </a:moveTo>
                    <a:cubicBezTo>
                      <a:pt x="65797" y="16902"/>
                      <a:pt x="47002" y="19764"/>
                      <a:pt x="30150" y="29480"/>
                    </a:cubicBezTo>
                    <a:cubicBezTo>
                      <a:pt x="22024" y="34143"/>
                      <a:pt x="15170" y="41032"/>
                      <a:pt x="15736" y="50783"/>
                    </a:cubicBezTo>
                    <a:cubicBezTo>
                      <a:pt x="16372" y="61488"/>
                      <a:pt x="22872" y="70002"/>
                      <a:pt x="33294" y="73288"/>
                    </a:cubicBezTo>
                    <a:cubicBezTo>
                      <a:pt x="56930" y="80707"/>
                      <a:pt x="76820" y="94592"/>
                      <a:pt x="97134" y="107981"/>
                    </a:cubicBezTo>
                    <a:cubicBezTo>
                      <a:pt x="115824" y="120311"/>
                      <a:pt x="136633" y="112680"/>
                      <a:pt x="144758" y="91589"/>
                    </a:cubicBezTo>
                    <a:cubicBezTo>
                      <a:pt x="157795" y="57708"/>
                      <a:pt x="124338" y="14853"/>
                      <a:pt x="81554" y="14712"/>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0" name="Freeform: Shape 3459">
                <a:extLst>
                  <a:ext uri="{FF2B5EF4-FFF2-40B4-BE49-F238E27FC236}">
                    <a16:creationId xmlns:a16="http://schemas.microsoft.com/office/drawing/2014/main" id="{5660CA69-BEAB-66BD-2595-E0AA4793900A}"/>
                  </a:ext>
                </a:extLst>
              </p:cNvPr>
              <p:cNvSpPr/>
              <p:nvPr/>
            </p:nvSpPr>
            <p:spPr>
              <a:xfrm>
                <a:off x="6272470" y="3905538"/>
                <a:ext cx="114508" cy="118503"/>
              </a:xfrm>
              <a:custGeom>
                <a:avLst/>
                <a:gdLst>
                  <a:gd name="connsiteX0" fmla="*/ 114504 w 114508"/>
                  <a:gd name="connsiteY0" fmla="*/ 59285 h 118503"/>
                  <a:gd name="connsiteX1" fmla="*/ 55327 w 114508"/>
                  <a:gd name="connsiteY1" fmla="*/ 118497 h 118503"/>
                  <a:gd name="connsiteX2" fmla="*/ 2 w 114508"/>
                  <a:gd name="connsiteY2" fmla="*/ 60063 h 118503"/>
                  <a:gd name="connsiteX3" fmla="*/ 57306 w 114508"/>
                  <a:gd name="connsiteY3" fmla="*/ 3 h 118503"/>
                  <a:gd name="connsiteX4" fmla="*/ 114504 w 114508"/>
                  <a:gd name="connsiteY4" fmla="*/ 59321 h 118503"/>
                  <a:gd name="connsiteX5" fmla="*/ 98535 w 114508"/>
                  <a:gd name="connsiteY5" fmla="*/ 59109 h 118503"/>
                  <a:gd name="connsiteX6" fmla="*/ 58719 w 114508"/>
                  <a:gd name="connsiteY6" fmla="*/ 16007 h 118503"/>
                  <a:gd name="connsiteX7" fmla="*/ 15193 w 114508"/>
                  <a:gd name="connsiteY7" fmla="*/ 58508 h 118503"/>
                  <a:gd name="connsiteX8" fmla="*/ 57377 w 114508"/>
                  <a:gd name="connsiteY8" fmla="*/ 102458 h 118503"/>
                  <a:gd name="connsiteX9" fmla="*/ 98535 w 114508"/>
                  <a:gd name="connsiteY9" fmla="*/ 59073 h 118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508" h="118503">
                    <a:moveTo>
                      <a:pt x="114504" y="59285"/>
                    </a:moveTo>
                    <a:cubicBezTo>
                      <a:pt x="114080" y="94120"/>
                      <a:pt x="89244" y="118957"/>
                      <a:pt x="55327" y="118497"/>
                    </a:cubicBezTo>
                    <a:cubicBezTo>
                      <a:pt x="25156" y="118073"/>
                      <a:pt x="-246" y="91258"/>
                      <a:pt x="2" y="60063"/>
                    </a:cubicBezTo>
                    <a:cubicBezTo>
                      <a:pt x="284" y="27065"/>
                      <a:pt x="26393" y="-315"/>
                      <a:pt x="57306" y="3"/>
                    </a:cubicBezTo>
                    <a:cubicBezTo>
                      <a:pt x="90480" y="356"/>
                      <a:pt x="114893" y="25687"/>
                      <a:pt x="114504" y="59321"/>
                    </a:cubicBezTo>
                    <a:close/>
                    <a:moveTo>
                      <a:pt x="98535" y="59109"/>
                    </a:moveTo>
                    <a:cubicBezTo>
                      <a:pt x="98606" y="32082"/>
                      <a:pt x="83874" y="16148"/>
                      <a:pt x="58719" y="16007"/>
                    </a:cubicBezTo>
                    <a:cubicBezTo>
                      <a:pt x="33565" y="15901"/>
                      <a:pt x="14946" y="34060"/>
                      <a:pt x="15193" y="58508"/>
                    </a:cubicBezTo>
                    <a:cubicBezTo>
                      <a:pt x="15441" y="84369"/>
                      <a:pt x="32752" y="102352"/>
                      <a:pt x="57377" y="102458"/>
                    </a:cubicBezTo>
                    <a:cubicBezTo>
                      <a:pt x="83556" y="102528"/>
                      <a:pt x="98465" y="86807"/>
                      <a:pt x="98535" y="59073"/>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1" name="Freeform: Shape 3460">
                <a:extLst>
                  <a:ext uri="{FF2B5EF4-FFF2-40B4-BE49-F238E27FC236}">
                    <a16:creationId xmlns:a16="http://schemas.microsoft.com/office/drawing/2014/main" id="{E7CE8726-F113-D4C4-6424-94152EB70084}"/>
                  </a:ext>
                </a:extLst>
              </p:cNvPr>
              <p:cNvSpPr/>
              <p:nvPr/>
            </p:nvSpPr>
            <p:spPr>
              <a:xfrm>
                <a:off x="6278195" y="4531152"/>
                <a:ext cx="115315" cy="111042"/>
              </a:xfrm>
              <a:custGeom>
                <a:avLst/>
                <a:gdLst>
                  <a:gd name="connsiteX0" fmla="*/ 115280 w 115315"/>
                  <a:gd name="connsiteY0" fmla="*/ 62534 h 111042"/>
                  <a:gd name="connsiteX1" fmla="*/ 63452 w 115315"/>
                  <a:gd name="connsiteY1" fmla="*/ 111041 h 111042"/>
                  <a:gd name="connsiteX2" fmla="*/ 1 w 115315"/>
                  <a:gd name="connsiteY2" fmla="*/ 49674 h 111042"/>
                  <a:gd name="connsiteX3" fmla="*/ 49815 w 115315"/>
                  <a:gd name="connsiteY3" fmla="*/ 1 h 111042"/>
                  <a:gd name="connsiteX4" fmla="*/ 115316 w 115315"/>
                  <a:gd name="connsiteY4" fmla="*/ 62534 h 111042"/>
                  <a:gd name="connsiteX5" fmla="*/ 63841 w 115315"/>
                  <a:gd name="connsiteY5" fmla="*/ 95214 h 111042"/>
                  <a:gd name="connsiteX6" fmla="*/ 101113 w 115315"/>
                  <a:gd name="connsiteY6" fmla="*/ 63488 h 111042"/>
                  <a:gd name="connsiteX7" fmla="*/ 52005 w 115315"/>
                  <a:gd name="connsiteY7" fmla="*/ 15546 h 111042"/>
                  <a:gd name="connsiteX8" fmla="*/ 15863 w 115315"/>
                  <a:gd name="connsiteY8" fmla="*/ 52606 h 111042"/>
                  <a:gd name="connsiteX9" fmla="*/ 63876 w 115315"/>
                  <a:gd name="connsiteY9" fmla="*/ 95214 h 11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315" h="111042">
                    <a:moveTo>
                      <a:pt x="115280" y="62534"/>
                    </a:moveTo>
                    <a:cubicBezTo>
                      <a:pt x="115209" y="90267"/>
                      <a:pt x="93235" y="110864"/>
                      <a:pt x="63452" y="111041"/>
                    </a:cubicBezTo>
                    <a:cubicBezTo>
                      <a:pt x="28264" y="111253"/>
                      <a:pt x="-141" y="83802"/>
                      <a:pt x="1" y="49674"/>
                    </a:cubicBezTo>
                    <a:cubicBezTo>
                      <a:pt x="106" y="23389"/>
                      <a:pt x="23424" y="107"/>
                      <a:pt x="49815" y="1"/>
                    </a:cubicBezTo>
                    <a:cubicBezTo>
                      <a:pt x="87511" y="-176"/>
                      <a:pt x="115386" y="26427"/>
                      <a:pt x="115316" y="62534"/>
                    </a:cubicBezTo>
                    <a:close/>
                    <a:moveTo>
                      <a:pt x="63841" y="95214"/>
                    </a:moveTo>
                    <a:cubicBezTo>
                      <a:pt x="84226" y="95178"/>
                      <a:pt x="100548" y="81258"/>
                      <a:pt x="101113" y="63488"/>
                    </a:cubicBezTo>
                    <a:cubicBezTo>
                      <a:pt x="101926" y="37803"/>
                      <a:pt x="78644" y="15086"/>
                      <a:pt x="52005" y="15546"/>
                    </a:cubicBezTo>
                    <a:cubicBezTo>
                      <a:pt x="28723" y="15934"/>
                      <a:pt x="15651" y="29324"/>
                      <a:pt x="15863" y="52606"/>
                    </a:cubicBezTo>
                    <a:cubicBezTo>
                      <a:pt x="16075" y="76418"/>
                      <a:pt x="37308" y="95284"/>
                      <a:pt x="63876" y="95214"/>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2" name="Freeform: Shape 3461">
                <a:extLst>
                  <a:ext uri="{FF2B5EF4-FFF2-40B4-BE49-F238E27FC236}">
                    <a16:creationId xmlns:a16="http://schemas.microsoft.com/office/drawing/2014/main" id="{05B422CB-311F-F62B-95AD-D10E43413B92}"/>
                  </a:ext>
                </a:extLst>
              </p:cNvPr>
              <p:cNvSpPr/>
              <p:nvPr/>
            </p:nvSpPr>
            <p:spPr>
              <a:xfrm>
                <a:off x="6331355" y="3625335"/>
                <a:ext cx="986042" cy="981632"/>
              </a:xfrm>
              <a:custGeom>
                <a:avLst/>
                <a:gdLst>
                  <a:gd name="connsiteX0" fmla="*/ 618274 w 986042"/>
                  <a:gd name="connsiteY0" fmla="*/ 962522 h 981632"/>
                  <a:gd name="connsiteX1" fmla="*/ 575702 w 986042"/>
                  <a:gd name="connsiteY1" fmla="*/ 958636 h 981632"/>
                  <a:gd name="connsiteX2" fmla="*/ 450319 w 986042"/>
                  <a:gd name="connsiteY2" fmla="*/ 972273 h 981632"/>
                  <a:gd name="connsiteX3" fmla="*/ 410679 w 986042"/>
                  <a:gd name="connsiteY3" fmla="*/ 980681 h 981632"/>
                  <a:gd name="connsiteX4" fmla="*/ 375279 w 986042"/>
                  <a:gd name="connsiteY4" fmla="*/ 938781 h 981632"/>
                  <a:gd name="connsiteX5" fmla="*/ 310980 w 986042"/>
                  <a:gd name="connsiteY5" fmla="*/ 876884 h 981632"/>
                  <a:gd name="connsiteX6" fmla="*/ 309390 w 986042"/>
                  <a:gd name="connsiteY6" fmla="*/ 876742 h 981632"/>
                  <a:gd name="connsiteX7" fmla="*/ 256148 w 986042"/>
                  <a:gd name="connsiteY7" fmla="*/ 814527 h 981632"/>
                  <a:gd name="connsiteX8" fmla="*/ 239791 w 986042"/>
                  <a:gd name="connsiteY8" fmla="*/ 755987 h 981632"/>
                  <a:gd name="connsiteX9" fmla="*/ 195523 w 986042"/>
                  <a:gd name="connsiteY9" fmla="*/ 726946 h 981632"/>
                  <a:gd name="connsiteX10" fmla="*/ 106034 w 986042"/>
                  <a:gd name="connsiteY10" fmla="*/ 725603 h 981632"/>
                  <a:gd name="connsiteX11" fmla="*/ 3650 w 986042"/>
                  <a:gd name="connsiteY11" fmla="*/ 671408 h 981632"/>
                  <a:gd name="connsiteX12" fmla="*/ 12588 w 986042"/>
                  <a:gd name="connsiteY12" fmla="*/ 605801 h 981632"/>
                  <a:gd name="connsiteX13" fmla="*/ 35552 w 986042"/>
                  <a:gd name="connsiteY13" fmla="*/ 573404 h 981632"/>
                  <a:gd name="connsiteX14" fmla="*/ 57174 w 986042"/>
                  <a:gd name="connsiteY14" fmla="*/ 475578 h 981632"/>
                  <a:gd name="connsiteX15" fmla="*/ 83141 w 986042"/>
                  <a:gd name="connsiteY15" fmla="*/ 422654 h 981632"/>
                  <a:gd name="connsiteX16" fmla="*/ 109496 w 986042"/>
                  <a:gd name="connsiteY16" fmla="*/ 411525 h 981632"/>
                  <a:gd name="connsiteX17" fmla="*/ 135711 w 986042"/>
                  <a:gd name="connsiteY17" fmla="*/ 357789 h 981632"/>
                  <a:gd name="connsiteX18" fmla="*/ 103667 w 986042"/>
                  <a:gd name="connsiteY18" fmla="*/ 299673 h 981632"/>
                  <a:gd name="connsiteX19" fmla="*/ 92432 w 986042"/>
                  <a:gd name="connsiteY19" fmla="*/ 231558 h 981632"/>
                  <a:gd name="connsiteX20" fmla="*/ 153305 w 986042"/>
                  <a:gd name="connsiteY20" fmla="*/ 191282 h 981632"/>
                  <a:gd name="connsiteX21" fmla="*/ 198774 w 986042"/>
                  <a:gd name="connsiteY21" fmla="*/ 184888 h 981632"/>
                  <a:gd name="connsiteX22" fmla="*/ 262260 w 986042"/>
                  <a:gd name="connsiteY22" fmla="*/ 140337 h 981632"/>
                  <a:gd name="connsiteX23" fmla="*/ 327054 w 986042"/>
                  <a:gd name="connsiteY23" fmla="*/ 95964 h 981632"/>
                  <a:gd name="connsiteX24" fmla="*/ 379236 w 986042"/>
                  <a:gd name="connsiteY24" fmla="*/ 98225 h 981632"/>
                  <a:gd name="connsiteX25" fmla="*/ 485683 w 986042"/>
                  <a:gd name="connsiteY25" fmla="*/ 53569 h 981632"/>
                  <a:gd name="connsiteX26" fmla="*/ 513417 w 986042"/>
                  <a:gd name="connsiteY26" fmla="*/ 14954 h 981632"/>
                  <a:gd name="connsiteX27" fmla="*/ 588456 w 986042"/>
                  <a:gd name="connsiteY27" fmla="*/ 23786 h 981632"/>
                  <a:gd name="connsiteX28" fmla="*/ 612692 w 986042"/>
                  <a:gd name="connsiteY28" fmla="*/ 66640 h 981632"/>
                  <a:gd name="connsiteX29" fmla="*/ 705149 w 986042"/>
                  <a:gd name="connsiteY29" fmla="*/ 127407 h 981632"/>
                  <a:gd name="connsiteX30" fmla="*/ 786901 w 986042"/>
                  <a:gd name="connsiteY30" fmla="*/ 189798 h 981632"/>
                  <a:gd name="connsiteX31" fmla="*/ 799690 w 986042"/>
                  <a:gd name="connsiteY31" fmla="*/ 213540 h 981632"/>
                  <a:gd name="connsiteX32" fmla="*/ 880347 w 986042"/>
                  <a:gd name="connsiteY32" fmla="*/ 239295 h 981632"/>
                  <a:gd name="connsiteX33" fmla="*/ 916595 w 986042"/>
                  <a:gd name="connsiteY33" fmla="*/ 227672 h 981632"/>
                  <a:gd name="connsiteX34" fmla="*/ 985593 w 986042"/>
                  <a:gd name="connsiteY34" fmla="*/ 271233 h 981632"/>
                  <a:gd name="connsiteX35" fmla="*/ 970402 w 986042"/>
                  <a:gd name="connsiteY35" fmla="*/ 320305 h 981632"/>
                  <a:gd name="connsiteX36" fmla="*/ 934048 w 986042"/>
                  <a:gd name="connsiteY36" fmla="*/ 378175 h 981632"/>
                  <a:gd name="connsiteX37" fmla="*/ 934048 w 986042"/>
                  <a:gd name="connsiteY37" fmla="*/ 437492 h 981632"/>
                  <a:gd name="connsiteX38" fmla="*/ 955493 w 986042"/>
                  <a:gd name="connsiteY38" fmla="*/ 487060 h 981632"/>
                  <a:gd name="connsiteX39" fmla="*/ 925887 w 986042"/>
                  <a:gd name="connsiteY39" fmla="*/ 539559 h 981632"/>
                  <a:gd name="connsiteX40" fmla="*/ 880453 w 986042"/>
                  <a:gd name="connsiteY40" fmla="*/ 557471 h 981632"/>
                  <a:gd name="connsiteX41" fmla="*/ 874907 w 986042"/>
                  <a:gd name="connsiteY41" fmla="*/ 648656 h 981632"/>
                  <a:gd name="connsiteX42" fmla="*/ 891335 w 986042"/>
                  <a:gd name="connsiteY42" fmla="*/ 672079 h 981632"/>
                  <a:gd name="connsiteX43" fmla="*/ 873458 w 986042"/>
                  <a:gd name="connsiteY43" fmla="*/ 777114 h 981632"/>
                  <a:gd name="connsiteX44" fmla="*/ 780754 w 986042"/>
                  <a:gd name="connsiteY44" fmla="*/ 824419 h 981632"/>
                  <a:gd name="connsiteX45" fmla="*/ 737051 w 986042"/>
                  <a:gd name="connsiteY45" fmla="*/ 870878 h 981632"/>
                  <a:gd name="connsiteX46" fmla="*/ 730657 w 986042"/>
                  <a:gd name="connsiteY46" fmla="*/ 893771 h 981632"/>
                  <a:gd name="connsiteX47" fmla="*/ 659115 w 986042"/>
                  <a:gd name="connsiteY47" fmla="*/ 959130 h 981632"/>
                  <a:gd name="connsiteX48" fmla="*/ 618239 w 986042"/>
                  <a:gd name="connsiteY48" fmla="*/ 962557 h 981632"/>
                  <a:gd name="connsiteX49" fmla="*/ 208383 w 986042"/>
                  <a:gd name="connsiteY49" fmla="*/ 403753 h 981632"/>
                  <a:gd name="connsiteX50" fmla="*/ 306952 w 986042"/>
                  <a:gd name="connsiteY50" fmla="*/ 522530 h 981632"/>
                  <a:gd name="connsiteX51" fmla="*/ 430110 w 986042"/>
                  <a:gd name="connsiteY51" fmla="*/ 483739 h 981632"/>
                  <a:gd name="connsiteX52" fmla="*/ 476957 w 986042"/>
                  <a:gd name="connsiteY52" fmla="*/ 392589 h 981632"/>
                  <a:gd name="connsiteX53" fmla="*/ 524510 w 986042"/>
                  <a:gd name="connsiteY53" fmla="*/ 289780 h 981632"/>
                  <a:gd name="connsiteX54" fmla="*/ 537865 w 986042"/>
                  <a:gd name="connsiteY54" fmla="*/ 228237 h 981632"/>
                  <a:gd name="connsiteX55" fmla="*/ 445761 w 986042"/>
                  <a:gd name="connsiteY55" fmla="*/ 179765 h 981632"/>
                  <a:gd name="connsiteX56" fmla="*/ 392449 w 986042"/>
                  <a:gd name="connsiteY56" fmla="*/ 209477 h 981632"/>
                  <a:gd name="connsiteX57" fmla="*/ 330446 w 986042"/>
                  <a:gd name="connsiteY57" fmla="*/ 265827 h 981632"/>
                  <a:gd name="connsiteX58" fmla="*/ 265723 w 986042"/>
                  <a:gd name="connsiteY58" fmla="*/ 303064 h 981632"/>
                  <a:gd name="connsiteX59" fmla="*/ 208383 w 986042"/>
                  <a:gd name="connsiteY59" fmla="*/ 403753 h 981632"/>
                  <a:gd name="connsiteX60" fmla="*/ 559380 w 986042"/>
                  <a:gd name="connsiteY60" fmla="*/ 543163 h 981632"/>
                  <a:gd name="connsiteX61" fmla="*/ 565139 w 986042"/>
                  <a:gd name="connsiteY61" fmla="*/ 629402 h 981632"/>
                  <a:gd name="connsiteX62" fmla="*/ 634702 w 986042"/>
                  <a:gd name="connsiteY62" fmla="*/ 666038 h 981632"/>
                  <a:gd name="connsiteX63" fmla="*/ 680171 w 986042"/>
                  <a:gd name="connsiteY63" fmla="*/ 623643 h 981632"/>
                  <a:gd name="connsiteX64" fmla="*/ 724757 w 986042"/>
                  <a:gd name="connsiteY64" fmla="*/ 432158 h 981632"/>
                  <a:gd name="connsiteX65" fmla="*/ 685400 w 986042"/>
                  <a:gd name="connsiteY65" fmla="*/ 336945 h 981632"/>
                  <a:gd name="connsiteX66" fmla="*/ 595911 w 986042"/>
                  <a:gd name="connsiteY66" fmla="*/ 322036 h 981632"/>
                  <a:gd name="connsiteX67" fmla="*/ 550371 w 986042"/>
                  <a:gd name="connsiteY67" fmla="*/ 432087 h 981632"/>
                  <a:gd name="connsiteX68" fmla="*/ 559380 w 986042"/>
                  <a:gd name="connsiteY68" fmla="*/ 543163 h 981632"/>
                  <a:gd name="connsiteX69" fmla="*/ 504973 w 986042"/>
                  <a:gd name="connsiteY69" fmla="*/ 659856 h 981632"/>
                  <a:gd name="connsiteX70" fmla="*/ 415872 w 986042"/>
                  <a:gd name="connsiteY70" fmla="*/ 563936 h 981632"/>
                  <a:gd name="connsiteX71" fmla="*/ 358604 w 986042"/>
                  <a:gd name="connsiteY71" fmla="*/ 626257 h 981632"/>
                  <a:gd name="connsiteX72" fmla="*/ 425588 w 986042"/>
                  <a:gd name="connsiteY72" fmla="*/ 720481 h 981632"/>
                  <a:gd name="connsiteX73" fmla="*/ 493597 w 986042"/>
                  <a:gd name="connsiteY73" fmla="*/ 703735 h 981632"/>
                  <a:gd name="connsiteX74" fmla="*/ 505008 w 986042"/>
                  <a:gd name="connsiteY74" fmla="*/ 659856 h 981632"/>
                  <a:gd name="connsiteX75" fmla="*/ 752420 w 986042"/>
                  <a:gd name="connsiteY75" fmla="*/ 344258 h 981632"/>
                  <a:gd name="connsiteX76" fmla="*/ 794956 w 986042"/>
                  <a:gd name="connsiteY76" fmla="*/ 307763 h 981632"/>
                  <a:gd name="connsiteX77" fmla="*/ 746838 w 986042"/>
                  <a:gd name="connsiteY77" fmla="*/ 264626 h 981632"/>
                  <a:gd name="connsiteX78" fmla="*/ 712038 w 986042"/>
                  <a:gd name="connsiteY78" fmla="*/ 302534 h 981632"/>
                  <a:gd name="connsiteX79" fmla="*/ 752384 w 986042"/>
                  <a:gd name="connsiteY79" fmla="*/ 344258 h 981632"/>
                  <a:gd name="connsiteX80" fmla="*/ 101936 w 986042"/>
                  <a:gd name="connsiteY80" fmla="*/ 580153 h 981632"/>
                  <a:gd name="connsiteX81" fmla="*/ 68055 w 986042"/>
                  <a:gd name="connsiteY81" fmla="*/ 612867 h 981632"/>
                  <a:gd name="connsiteX82" fmla="*/ 105681 w 986042"/>
                  <a:gd name="connsiteY82" fmla="*/ 650246 h 981632"/>
                  <a:gd name="connsiteX83" fmla="*/ 144296 w 986042"/>
                  <a:gd name="connsiteY83" fmla="*/ 615093 h 981632"/>
                  <a:gd name="connsiteX84" fmla="*/ 101936 w 986042"/>
                  <a:gd name="connsiteY84" fmla="*/ 580153 h 981632"/>
                  <a:gd name="connsiteX85" fmla="*/ 554611 w 986042"/>
                  <a:gd name="connsiteY85" fmla="*/ 95575 h 981632"/>
                  <a:gd name="connsiteX86" fmla="*/ 521012 w 986042"/>
                  <a:gd name="connsiteY86" fmla="*/ 127442 h 981632"/>
                  <a:gd name="connsiteX87" fmla="*/ 556483 w 986042"/>
                  <a:gd name="connsiteY87" fmla="*/ 162524 h 981632"/>
                  <a:gd name="connsiteX88" fmla="*/ 594074 w 986042"/>
                  <a:gd name="connsiteY88" fmla="*/ 131434 h 981632"/>
                  <a:gd name="connsiteX89" fmla="*/ 554611 w 986042"/>
                  <a:gd name="connsiteY89" fmla="*/ 95610 h 981632"/>
                  <a:gd name="connsiteX90" fmla="*/ 144331 w 986042"/>
                  <a:gd name="connsiteY90" fmla="*/ 236115 h 981632"/>
                  <a:gd name="connsiteX91" fmla="*/ 115926 w 986042"/>
                  <a:gd name="connsiteY91" fmla="*/ 264520 h 981632"/>
                  <a:gd name="connsiteX92" fmla="*/ 146839 w 986042"/>
                  <a:gd name="connsiteY92" fmla="*/ 296281 h 981632"/>
                  <a:gd name="connsiteX93" fmla="*/ 179413 w 986042"/>
                  <a:gd name="connsiteY93" fmla="*/ 267028 h 981632"/>
                  <a:gd name="connsiteX94" fmla="*/ 144331 w 986042"/>
                  <a:gd name="connsiteY94" fmla="*/ 236080 h 981632"/>
                  <a:gd name="connsiteX95" fmla="*/ 638730 w 986042"/>
                  <a:gd name="connsiteY95" fmla="*/ 864236 h 981632"/>
                  <a:gd name="connsiteX96" fmla="*/ 609548 w 986042"/>
                  <a:gd name="connsiteY96" fmla="*/ 835336 h 981632"/>
                  <a:gd name="connsiteX97" fmla="*/ 582380 w 986042"/>
                  <a:gd name="connsiteY97" fmla="*/ 860102 h 981632"/>
                  <a:gd name="connsiteX98" fmla="*/ 608276 w 986042"/>
                  <a:gd name="connsiteY98" fmla="*/ 889319 h 981632"/>
                  <a:gd name="connsiteX99" fmla="*/ 638765 w 986042"/>
                  <a:gd name="connsiteY99" fmla="*/ 864236 h 981632"/>
                  <a:gd name="connsiteX100" fmla="*/ 797818 w 986042"/>
                  <a:gd name="connsiteY100" fmla="*/ 577008 h 981632"/>
                  <a:gd name="connsiteX101" fmla="*/ 826823 w 986042"/>
                  <a:gd name="connsiteY101" fmla="*/ 552949 h 981632"/>
                  <a:gd name="connsiteX102" fmla="*/ 795698 w 986042"/>
                  <a:gd name="connsiteY102" fmla="*/ 525993 h 981632"/>
                  <a:gd name="connsiteX103" fmla="*/ 770438 w 986042"/>
                  <a:gd name="connsiteY103" fmla="*/ 548391 h 981632"/>
                  <a:gd name="connsiteX104" fmla="*/ 797783 w 986042"/>
                  <a:gd name="connsiteY104" fmla="*/ 577008 h 981632"/>
                  <a:gd name="connsiteX105" fmla="*/ 457066 w 986042"/>
                  <a:gd name="connsiteY105" fmla="*/ 901791 h 981632"/>
                  <a:gd name="connsiteX106" fmla="*/ 437565 w 986042"/>
                  <a:gd name="connsiteY106" fmla="*/ 883738 h 981632"/>
                  <a:gd name="connsiteX107" fmla="*/ 421949 w 986042"/>
                  <a:gd name="connsiteY107" fmla="*/ 902038 h 981632"/>
                  <a:gd name="connsiteX108" fmla="*/ 439472 w 986042"/>
                  <a:gd name="connsiteY108" fmla="*/ 920233 h 981632"/>
                  <a:gd name="connsiteX109" fmla="*/ 457031 w 986042"/>
                  <a:gd name="connsiteY109" fmla="*/ 901791 h 981632"/>
                  <a:gd name="connsiteX110" fmla="*/ 849151 w 986042"/>
                  <a:gd name="connsiteY110" fmla="*/ 438658 h 981632"/>
                  <a:gd name="connsiteX111" fmla="*/ 834101 w 986042"/>
                  <a:gd name="connsiteY111" fmla="*/ 421029 h 981632"/>
                  <a:gd name="connsiteX112" fmla="*/ 817461 w 986042"/>
                  <a:gd name="connsiteY112" fmla="*/ 438058 h 981632"/>
                  <a:gd name="connsiteX113" fmla="*/ 834702 w 986042"/>
                  <a:gd name="connsiteY113" fmla="*/ 454698 h 981632"/>
                  <a:gd name="connsiteX114" fmla="*/ 849116 w 986042"/>
                  <a:gd name="connsiteY114" fmla="*/ 438623 h 981632"/>
                  <a:gd name="connsiteX115" fmla="*/ 819687 w 986042"/>
                  <a:gd name="connsiteY115" fmla="*/ 726804 h 981632"/>
                  <a:gd name="connsiteX116" fmla="*/ 836115 w 986042"/>
                  <a:gd name="connsiteY116" fmla="*/ 713062 h 981632"/>
                  <a:gd name="connsiteX117" fmla="*/ 821453 w 986042"/>
                  <a:gd name="connsiteY117" fmla="*/ 698152 h 981632"/>
                  <a:gd name="connsiteX118" fmla="*/ 804778 w 986042"/>
                  <a:gd name="connsiteY118" fmla="*/ 712602 h 981632"/>
                  <a:gd name="connsiteX119" fmla="*/ 819687 w 986042"/>
                  <a:gd name="connsiteY119" fmla="*/ 726769 h 981632"/>
                  <a:gd name="connsiteX120" fmla="*/ 331824 w 986042"/>
                  <a:gd name="connsiteY120" fmla="*/ 806472 h 981632"/>
                  <a:gd name="connsiteX121" fmla="*/ 342175 w 986042"/>
                  <a:gd name="connsiteY121" fmla="*/ 792588 h 981632"/>
                  <a:gd name="connsiteX122" fmla="*/ 327549 w 986042"/>
                  <a:gd name="connsiteY122" fmla="*/ 778067 h 981632"/>
                  <a:gd name="connsiteX123" fmla="*/ 313841 w 986042"/>
                  <a:gd name="connsiteY123" fmla="*/ 793330 h 981632"/>
                  <a:gd name="connsiteX124" fmla="*/ 331859 w 986042"/>
                  <a:gd name="connsiteY124" fmla="*/ 806437 h 981632"/>
                  <a:gd name="connsiteX125" fmla="*/ 472011 w 986042"/>
                  <a:gd name="connsiteY125" fmla="*/ 519139 h 981632"/>
                  <a:gd name="connsiteX126" fmla="*/ 457950 w 986042"/>
                  <a:gd name="connsiteY126" fmla="*/ 506879 h 981632"/>
                  <a:gd name="connsiteX127" fmla="*/ 445090 w 986042"/>
                  <a:gd name="connsiteY127" fmla="*/ 517937 h 981632"/>
                  <a:gd name="connsiteX128" fmla="*/ 459787 w 986042"/>
                  <a:gd name="connsiteY128" fmla="*/ 531469 h 981632"/>
                  <a:gd name="connsiteX129" fmla="*/ 472011 w 986042"/>
                  <a:gd name="connsiteY129" fmla="*/ 519139 h 981632"/>
                  <a:gd name="connsiteX130" fmla="*/ 928713 w 986042"/>
                  <a:gd name="connsiteY130" fmla="*/ 503735 h 981632"/>
                  <a:gd name="connsiteX131" fmla="*/ 916454 w 986042"/>
                  <a:gd name="connsiteY131" fmla="*/ 491370 h 981632"/>
                  <a:gd name="connsiteX132" fmla="*/ 903523 w 986042"/>
                  <a:gd name="connsiteY132" fmla="*/ 504512 h 981632"/>
                  <a:gd name="connsiteX133" fmla="*/ 914864 w 986042"/>
                  <a:gd name="connsiteY133" fmla="*/ 516277 h 981632"/>
                  <a:gd name="connsiteX134" fmla="*/ 928678 w 986042"/>
                  <a:gd name="connsiteY134" fmla="*/ 503770 h 981632"/>
                  <a:gd name="connsiteX135" fmla="*/ 150867 w 986042"/>
                  <a:gd name="connsiteY135" fmla="*/ 532175 h 981632"/>
                  <a:gd name="connsiteX136" fmla="*/ 163232 w 986042"/>
                  <a:gd name="connsiteY136" fmla="*/ 520022 h 981632"/>
                  <a:gd name="connsiteX137" fmla="*/ 150231 w 986042"/>
                  <a:gd name="connsiteY137" fmla="*/ 507268 h 981632"/>
                  <a:gd name="connsiteX138" fmla="*/ 138608 w 986042"/>
                  <a:gd name="connsiteY138" fmla="*/ 519881 h 981632"/>
                  <a:gd name="connsiteX139" fmla="*/ 150867 w 986042"/>
                  <a:gd name="connsiteY139" fmla="*/ 532211 h 981632"/>
                  <a:gd name="connsiteX140" fmla="*/ 298120 w 986042"/>
                  <a:gd name="connsiteY140" fmla="*/ 608698 h 981632"/>
                  <a:gd name="connsiteX141" fmla="*/ 309849 w 986042"/>
                  <a:gd name="connsiteY141" fmla="*/ 596015 h 981632"/>
                  <a:gd name="connsiteX142" fmla="*/ 296283 w 986042"/>
                  <a:gd name="connsiteY142" fmla="*/ 583827 h 981632"/>
                  <a:gd name="connsiteX143" fmla="*/ 285224 w 986042"/>
                  <a:gd name="connsiteY143" fmla="*/ 596934 h 981632"/>
                  <a:gd name="connsiteX144" fmla="*/ 298120 w 986042"/>
                  <a:gd name="connsiteY144" fmla="*/ 608663 h 981632"/>
                  <a:gd name="connsiteX145" fmla="*/ 191037 w 986042"/>
                  <a:gd name="connsiteY145" fmla="*/ 395239 h 981632"/>
                  <a:gd name="connsiteX146" fmla="*/ 180014 w 986042"/>
                  <a:gd name="connsiteY146" fmla="*/ 407780 h 981632"/>
                  <a:gd name="connsiteX147" fmla="*/ 191602 w 986042"/>
                  <a:gd name="connsiteY147" fmla="*/ 419863 h 981632"/>
                  <a:gd name="connsiteX148" fmla="*/ 204709 w 986042"/>
                  <a:gd name="connsiteY148" fmla="*/ 407039 h 981632"/>
                  <a:gd name="connsiteX149" fmla="*/ 191072 w 986042"/>
                  <a:gd name="connsiteY149" fmla="*/ 395274 h 981632"/>
                  <a:gd name="connsiteX150" fmla="*/ 612162 w 986042"/>
                  <a:gd name="connsiteY150" fmla="*/ 723413 h 981632"/>
                  <a:gd name="connsiteX151" fmla="*/ 622054 w 986042"/>
                  <a:gd name="connsiteY151" fmla="*/ 712531 h 981632"/>
                  <a:gd name="connsiteX152" fmla="*/ 607675 w 986042"/>
                  <a:gd name="connsiteY152" fmla="*/ 701332 h 981632"/>
                  <a:gd name="connsiteX153" fmla="*/ 597324 w 986042"/>
                  <a:gd name="connsiteY153" fmla="*/ 712320 h 981632"/>
                  <a:gd name="connsiteX154" fmla="*/ 612162 w 986042"/>
                  <a:gd name="connsiteY154" fmla="*/ 723413 h 981632"/>
                  <a:gd name="connsiteX155" fmla="*/ 753091 w 986042"/>
                  <a:gd name="connsiteY155" fmla="*/ 220959 h 981632"/>
                  <a:gd name="connsiteX156" fmla="*/ 744577 w 986042"/>
                  <a:gd name="connsiteY156" fmla="*/ 231275 h 981632"/>
                  <a:gd name="connsiteX157" fmla="*/ 754681 w 986042"/>
                  <a:gd name="connsiteY157" fmla="*/ 238659 h 981632"/>
                  <a:gd name="connsiteX158" fmla="*/ 762277 w 986042"/>
                  <a:gd name="connsiteY158" fmla="*/ 230392 h 981632"/>
                  <a:gd name="connsiteX159" fmla="*/ 753091 w 986042"/>
                  <a:gd name="connsiteY159" fmla="*/ 220959 h 981632"/>
                  <a:gd name="connsiteX160" fmla="*/ 918609 w 986042"/>
                  <a:gd name="connsiteY160" fmla="*/ 273600 h 981632"/>
                  <a:gd name="connsiteX161" fmla="*/ 927477 w 986042"/>
                  <a:gd name="connsiteY161" fmla="*/ 264237 h 981632"/>
                  <a:gd name="connsiteX162" fmla="*/ 919210 w 986042"/>
                  <a:gd name="connsiteY162" fmla="*/ 256324 h 981632"/>
                  <a:gd name="connsiteX163" fmla="*/ 910377 w 986042"/>
                  <a:gd name="connsiteY163" fmla="*/ 265792 h 981632"/>
                  <a:gd name="connsiteX164" fmla="*/ 918609 w 986042"/>
                  <a:gd name="connsiteY164" fmla="*/ 273564 h 981632"/>
                  <a:gd name="connsiteX165" fmla="*/ 526877 w 986042"/>
                  <a:gd name="connsiteY165" fmla="*/ 841342 h 981632"/>
                  <a:gd name="connsiteX166" fmla="*/ 519458 w 986042"/>
                  <a:gd name="connsiteY166" fmla="*/ 832757 h 981632"/>
                  <a:gd name="connsiteX167" fmla="*/ 511509 w 986042"/>
                  <a:gd name="connsiteY167" fmla="*/ 842119 h 981632"/>
                  <a:gd name="connsiteX168" fmla="*/ 518857 w 986042"/>
                  <a:gd name="connsiteY168" fmla="*/ 850457 h 981632"/>
                  <a:gd name="connsiteX169" fmla="*/ 526877 w 986042"/>
                  <a:gd name="connsiteY169" fmla="*/ 841342 h 981632"/>
                  <a:gd name="connsiteX170" fmla="*/ 638589 w 986042"/>
                  <a:gd name="connsiteY170" fmla="*/ 164679 h 981632"/>
                  <a:gd name="connsiteX171" fmla="*/ 646891 w 986042"/>
                  <a:gd name="connsiteY171" fmla="*/ 156342 h 981632"/>
                  <a:gd name="connsiteX172" fmla="*/ 637741 w 986042"/>
                  <a:gd name="connsiteY172" fmla="*/ 147227 h 981632"/>
                  <a:gd name="connsiteX173" fmla="*/ 629827 w 986042"/>
                  <a:gd name="connsiteY173" fmla="*/ 154822 h 981632"/>
                  <a:gd name="connsiteX174" fmla="*/ 638589 w 986042"/>
                  <a:gd name="connsiteY174" fmla="*/ 164644 h 981632"/>
                  <a:gd name="connsiteX175" fmla="*/ 492643 w 986042"/>
                  <a:gd name="connsiteY175" fmla="*/ 429614 h 981632"/>
                  <a:gd name="connsiteX176" fmla="*/ 500981 w 986042"/>
                  <a:gd name="connsiteY176" fmla="*/ 419828 h 981632"/>
                  <a:gd name="connsiteX177" fmla="*/ 493420 w 986042"/>
                  <a:gd name="connsiteY177" fmla="*/ 411808 h 981632"/>
                  <a:gd name="connsiteX178" fmla="*/ 483881 w 986042"/>
                  <a:gd name="connsiteY178" fmla="*/ 420605 h 981632"/>
                  <a:gd name="connsiteX179" fmla="*/ 492608 w 986042"/>
                  <a:gd name="connsiteY179" fmla="*/ 429579 h 981632"/>
                  <a:gd name="connsiteX180" fmla="*/ 864484 w 986042"/>
                  <a:gd name="connsiteY180" fmla="*/ 317903 h 981632"/>
                  <a:gd name="connsiteX181" fmla="*/ 857030 w 986042"/>
                  <a:gd name="connsiteY181" fmla="*/ 309494 h 981632"/>
                  <a:gd name="connsiteX182" fmla="*/ 847385 w 986042"/>
                  <a:gd name="connsiteY182" fmla="*/ 314864 h 981632"/>
                  <a:gd name="connsiteX183" fmla="*/ 855758 w 986042"/>
                  <a:gd name="connsiteY183" fmla="*/ 324297 h 981632"/>
                  <a:gd name="connsiteX184" fmla="*/ 864484 w 986042"/>
                  <a:gd name="connsiteY184" fmla="*/ 317903 h 981632"/>
                  <a:gd name="connsiteX185" fmla="*/ 599797 w 986042"/>
                  <a:gd name="connsiteY185" fmla="*/ 263566 h 981632"/>
                  <a:gd name="connsiteX186" fmla="*/ 608700 w 986042"/>
                  <a:gd name="connsiteY186" fmla="*/ 256041 h 981632"/>
                  <a:gd name="connsiteX187" fmla="*/ 600362 w 986042"/>
                  <a:gd name="connsiteY187" fmla="*/ 246820 h 981632"/>
                  <a:gd name="connsiteX188" fmla="*/ 592201 w 986042"/>
                  <a:gd name="connsiteY188" fmla="*/ 254769 h 981632"/>
                  <a:gd name="connsiteX189" fmla="*/ 599797 w 986042"/>
                  <a:gd name="connsiteY189" fmla="*/ 263601 h 981632"/>
                  <a:gd name="connsiteX190" fmla="*/ 188811 w 986042"/>
                  <a:gd name="connsiteY190" fmla="*/ 676566 h 981632"/>
                  <a:gd name="connsiteX191" fmla="*/ 180862 w 986042"/>
                  <a:gd name="connsiteY191" fmla="*/ 684586 h 981632"/>
                  <a:gd name="connsiteX192" fmla="*/ 189411 w 986042"/>
                  <a:gd name="connsiteY192" fmla="*/ 693630 h 981632"/>
                  <a:gd name="connsiteX193" fmla="*/ 197360 w 986042"/>
                  <a:gd name="connsiteY193" fmla="*/ 685504 h 981632"/>
                  <a:gd name="connsiteX194" fmla="*/ 188846 w 986042"/>
                  <a:gd name="connsiteY194" fmla="*/ 676602 h 981632"/>
                  <a:gd name="connsiteX195" fmla="*/ 382627 w 986042"/>
                  <a:gd name="connsiteY195" fmla="*/ 184428 h 981632"/>
                  <a:gd name="connsiteX196" fmla="*/ 389340 w 986042"/>
                  <a:gd name="connsiteY196" fmla="*/ 175914 h 981632"/>
                  <a:gd name="connsiteX197" fmla="*/ 380472 w 986042"/>
                  <a:gd name="connsiteY197" fmla="*/ 169166 h 981632"/>
                  <a:gd name="connsiteX198" fmla="*/ 372347 w 986042"/>
                  <a:gd name="connsiteY198" fmla="*/ 176091 h 981632"/>
                  <a:gd name="connsiteX199" fmla="*/ 382663 w 986042"/>
                  <a:gd name="connsiteY199" fmla="*/ 184464 h 981632"/>
                  <a:gd name="connsiteX200" fmla="*/ 220748 w 986042"/>
                  <a:gd name="connsiteY200" fmla="*/ 246749 h 981632"/>
                  <a:gd name="connsiteX201" fmla="*/ 214955 w 986042"/>
                  <a:gd name="connsiteY201" fmla="*/ 239366 h 981632"/>
                  <a:gd name="connsiteX202" fmla="*/ 205840 w 986042"/>
                  <a:gd name="connsiteY202" fmla="*/ 245831 h 981632"/>
                  <a:gd name="connsiteX203" fmla="*/ 212623 w 986042"/>
                  <a:gd name="connsiteY203" fmla="*/ 254310 h 981632"/>
                  <a:gd name="connsiteX204" fmla="*/ 220748 w 986042"/>
                  <a:gd name="connsiteY204" fmla="*/ 246749 h 981632"/>
                  <a:gd name="connsiteX205" fmla="*/ 721224 w 986042"/>
                  <a:gd name="connsiteY205" fmla="*/ 801915 h 981632"/>
                  <a:gd name="connsiteX206" fmla="*/ 715183 w 986042"/>
                  <a:gd name="connsiteY206" fmla="*/ 794496 h 981632"/>
                  <a:gd name="connsiteX207" fmla="*/ 706350 w 986042"/>
                  <a:gd name="connsiteY207" fmla="*/ 800961 h 981632"/>
                  <a:gd name="connsiteX208" fmla="*/ 713663 w 986042"/>
                  <a:gd name="connsiteY208" fmla="*/ 809122 h 981632"/>
                  <a:gd name="connsiteX209" fmla="*/ 721224 w 986042"/>
                  <a:gd name="connsiteY209" fmla="*/ 801915 h 98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986042" h="981632">
                    <a:moveTo>
                      <a:pt x="618274" y="962522"/>
                    </a:moveTo>
                    <a:cubicBezTo>
                      <a:pt x="603648" y="964924"/>
                      <a:pt x="588774" y="963087"/>
                      <a:pt x="575702" y="958636"/>
                    </a:cubicBezTo>
                    <a:cubicBezTo>
                      <a:pt x="531329" y="943479"/>
                      <a:pt x="490488" y="950581"/>
                      <a:pt x="450319" y="972273"/>
                    </a:cubicBezTo>
                    <a:cubicBezTo>
                      <a:pt x="438377" y="978703"/>
                      <a:pt x="424846" y="983825"/>
                      <a:pt x="410679" y="980681"/>
                    </a:cubicBezTo>
                    <a:cubicBezTo>
                      <a:pt x="388598" y="975806"/>
                      <a:pt x="377540" y="959872"/>
                      <a:pt x="375279" y="938781"/>
                    </a:cubicBezTo>
                    <a:cubicBezTo>
                      <a:pt x="371075" y="899565"/>
                      <a:pt x="348358" y="880946"/>
                      <a:pt x="310980" y="876884"/>
                    </a:cubicBezTo>
                    <a:cubicBezTo>
                      <a:pt x="310450" y="876813"/>
                      <a:pt x="309920" y="876848"/>
                      <a:pt x="309390" y="876742"/>
                    </a:cubicBezTo>
                    <a:cubicBezTo>
                      <a:pt x="273742" y="870666"/>
                      <a:pt x="260423" y="863388"/>
                      <a:pt x="256148" y="814527"/>
                    </a:cubicBezTo>
                    <a:cubicBezTo>
                      <a:pt x="254347" y="793966"/>
                      <a:pt x="252827" y="773722"/>
                      <a:pt x="239791" y="755987"/>
                    </a:cubicBezTo>
                    <a:cubicBezTo>
                      <a:pt x="228415" y="740512"/>
                      <a:pt x="212870" y="732422"/>
                      <a:pt x="195523" y="726946"/>
                    </a:cubicBezTo>
                    <a:cubicBezTo>
                      <a:pt x="165917" y="717584"/>
                      <a:pt x="135781" y="719986"/>
                      <a:pt x="106034" y="725603"/>
                    </a:cubicBezTo>
                    <a:cubicBezTo>
                      <a:pt x="55160" y="735178"/>
                      <a:pt x="16898" y="715959"/>
                      <a:pt x="3650" y="671408"/>
                    </a:cubicBezTo>
                    <a:cubicBezTo>
                      <a:pt x="-3098" y="648691"/>
                      <a:pt x="-696" y="626151"/>
                      <a:pt x="12588" y="605801"/>
                    </a:cubicBezTo>
                    <a:cubicBezTo>
                      <a:pt x="19830" y="594708"/>
                      <a:pt x="26826" y="583297"/>
                      <a:pt x="35552" y="573404"/>
                    </a:cubicBezTo>
                    <a:cubicBezTo>
                      <a:pt x="60989" y="544576"/>
                      <a:pt x="66253" y="512073"/>
                      <a:pt x="57174" y="475578"/>
                    </a:cubicBezTo>
                    <a:cubicBezTo>
                      <a:pt x="50885" y="450282"/>
                      <a:pt x="59541" y="433924"/>
                      <a:pt x="83141" y="422654"/>
                    </a:cubicBezTo>
                    <a:cubicBezTo>
                      <a:pt x="91726" y="418556"/>
                      <a:pt x="100699" y="415200"/>
                      <a:pt x="109496" y="411525"/>
                    </a:cubicBezTo>
                    <a:cubicBezTo>
                      <a:pt x="133591" y="401527"/>
                      <a:pt x="142141" y="382838"/>
                      <a:pt x="135711" y="357789"/>
                    </a:cubicBezTo>
                    <a:cubicBezTo>
                      <a:pt x="129987" y="335497"/>
                      <a:pt x="116916" y="317408"/>
                      <a:pt x="103667" y="299673"/>
                    </a:cubicBezTo>
                    <a:cubicBezTo>
                      <a:pt x="87804" y="278440"/>
                      <a:pt x="81056" y="256642"/>
                      <a:pt x="92432" y="231558"/>
                    </a:cubicBezTo>
                    <a:cubicBezTo>
                      <a:pt x="104232" y="205520"/>
                      <a:pt x="127514" y="196087"/>
                      <a:pt x="153305" y="191282"/>
                    </a:cubicBezTo>
                    <a:cubicBezTo>
                      <a:pt x="168355" y="188491"/>
                      <a:pt x="183653" y="187255"/>
                      <a:pt x="198774" y="184888"/>
                    </a:cubicBezTo>
                    <a:cubicBezTo>
                      <a:pt x="227143" y="180436"/>
                      <a:pt x="249648" y="166799"/>
                      <a:pt x="262260" y="140337"/>
                    </a:cubicBezTo>
                    <a:cubicBezTo>
                      <a:pt x="275438" y="112674"/>
                      <a:pt x="297908" y="98825"/>
                      <a:pt x="327054" y="95964"/>
                    </a:cubicBezTo>
                    <a:cubicBezTo>
                      <a:pt x="344295" y="94268"/>
                      <a:pt x="361854" y="93561"/>
                      <a:pt x="379236" y="98225"/>
                    </a:cubicBezTo>
                    <a:cubicBezTo>
                      <a:pt x="426012" y="110802"/>
                      <a:pt x="459151" y="89675"/>
                      <a:pt x="485683" y="53569"/>
                    </a:cubicBezTo>
                    <a:cubicBezTo>
                      <a:pt x="495081" y="40815"/>
                      <a:pt x="501263" y="25870"/>
                      <a:pt x="513417" y="14954"/>
                    </a:cubicBezTo>
                    <a:cubicBezTo>
                      <a:pt x="538607" y="-7693"/>
                      <a:pt x="569767" y="-4513"/>
                      <a:pt x="588456" y="23786"/>
                    </a:cubicBezTo>
                    <a:cubicBezTo>
                      <a:pt x="597501" y="37458"/>
                      <a:pt x="606404" y="51590"/>
                      <a:pt x="612692" y="66640"/>
                    </a:cubicBezTo>
                    <a:cubicBezTo>
                      <a:pt x="630004" y="108188"/>
                      <a:pt x="663248" y="123591"/>
                      <a:pt x="705149" y="127407"/>
                    </a:cubicBezTo>
                    <a:cubicBezTo>
                      <a:pt x="745177" y="131046"/>
                      <a:pt x="773476" y="150583"/>
                      <a:pt x="786901" y="189798"/>
                    </a:cubicBezTo>
                    <a:cubicBezTo>
                      <a:pt x="789763" y="198207"/>
                      <a:pt x="794815" y="206015"/>
                      <a:pt x="799690" y="213540"/>
                    </a:cubicBezTo>
                    <a:cubicBezTo>
                      <a:pt x="820217" y="245230"/>
                      <a:pt x="844841" y="252791"/>
                      <a:pt x="880347" y="239295"/>
                    </a:cubicBezTo>
                    <a:cubicBezTo>
                      <a:pt x="892218" y="234773"/>
                      <a:pt x="904301" y="230639"/>
                      <a:pt x="916595" y="227672"/>
                    </a:cubicBezTo>
                    <a:cubicBezTo>
                      <a:pt x="948780" y="219899"/>
                      <a:pt x="981354" y="240249"/>
                      <a:pt x="985593" y="271233"/>
                    </a:cubicBezTo>
                    <a:cubicBezTo>
                      <a:pt x="988102" y="289498"/>
                      <a:pt x="979693" y="305219"/>
                      <a:pt x="970402" y="320305"/>
                    </a:cubicBezTo>
                    <a:cubicBezTo>
                      <a:pt x="958425" y="339666"/>
                      <a:pt x="944223" y="357578"/>
                      <a:pt x="934048" y="378175"/>
                    </a:cubicBezTo>
                    <a:cubicBezTo>
                      <a:pt x="924156" y="398242"/>
                      <a:pt x="923838" y="417637"/>
                      <a:pt x="934048" y="437492"/>
                    </a:cubicBezTo>
                    <a:cubicBezTo>
                      <a:pt x="942315" y="453532"/>
                      <a:pt x="950653" y="469607"/>
                      <a:pt x="955493" y="487060"/>
                    </a:cubicBezTo>
                    <a:cubicBezTo>
                      <a:pt x="961605" y="509211"/>
                      <a:pt x="957365" y="534224"/>
                      <a:pt x="925887" y="539559"/>
                    </a:cubicBezTo>
                    <a:cubicBezTo>
                      <a:pt x="909706" y="542279"/>
                      <a:pt x="893066" y="546625"/>
                      <a:pt x="880453" y="557471"/>
                    </a:cubicBezTo>
                    <a:cubicBezTo>
                      <a:pt x="848268" y="585098"/>
                      <a:pt x="849999" y="610112"/>
                      <a:pt x="874907" y="648656"/>
                    </a:cubicBezTo>
                    <a:cubicBezTo>
                      <a:pt x="880065" y="656676"/>
                      <a:pt x="886106" y="664095"/>
                      <a:pt x="891335" y="672079"/>
                    </a:cubicBezTo>
                    <a:cubicBezTo>
                      <a:pt x="916242" y="710200"/>
                      <a:pt x="908823" y="748249"/>
                      <a:pt x="873458" y="777114"/>
                    </a:cubicBezTo>
                    <a:cubicBezTo>
                      <a:pt x="845725" y="799760"/>
                      <a:pt x="814246" y="814139"/>
                      <a:pt x="780754" y="824419"/>
                    </a:cubicBezTo>
                    <a:cubicBezTo>
                      <a:pt x="756730" y="831803"/>
                      <a:pt x="744400" y="848656"/>
                      <a:pt x="737051" y="870878"/>
                    </a:cubicBezTo>
                    <a:cubicBezTo>
                      <a:pt x="734578" y="878403"/>
                      <a:pt x="731717" y="885998"/>
                      <a:pt x="730657" y="893771"/>
                    </a:cubicBezTo>
                    <a:cubicBezTo>
                      <a:pt x="724898" y="935566"/>
                      <a:pt x="695751" y="951817"/>
                      <a:pt x="659115" y="959130"/>
                    </a:cubicBezTo>
                    <a:cubicBezTo>
                      <a:pt x="645725" y="961815"/>
                      <a:pt x="632053" y="964748"/>
                      <a:pt x="618239" y="962557"/>
                    </a:cubicBezTo>
                    <a:close/>
                    <a:moveTo>
                      <a:pt x="208383" y="403753"/>
                    </a:moveTo>
                    <a:cubicBezTo>
                      <a:pt x="205274" y="465049"/>
                      <a:pt x="257385" y="510130"/>
                      <a:pt x="306952" y="522530"/>
                    </a:cubicBezTo>
                    <a:cubicBezTo>
                      <a:pt x="355918" y="534790"/>
                      <a:pt x="397466" y="525003"/>
                      <a:pt x="430110" y="483739"/>
                    </a:cubicBezTo>
                    <a:cubicBezTo>
                      <a:pt x="451838" y="456252"/>
                      <a:pt x="468266" y="426328"/>
                      <a:pt x="476957" y="392589"/>
                    </a:cubicBezTo>
                    <a:cubicBezTo>
                      <a:pt x="486566" y="355316"/>
                      <a:pt x="500239" y="320517"/>
                      <a:pt x="524510" y="289780"/>
                    </a:cubicBezTo>
                    <a:cubicBezTo>
                      <a:pt x="538218" y="272399"/>
                      <a:pt x="543235" y="251130"/>
                      <a:pt x="537865" y="228237"/>
                    </a:cubicBezTo>
                    <a:cubicBezTo>
                      <a:pt x="527796" y="185488"/>
                      <a:pt x="477805" y="173936"/>
                      <a:pt x="445761" y="179765"/>
                    </a:cubicBezTo>
                    <a:cubicBezTo>
                      <a:pt x="424846" y="183580"/>
                      <a:pt x="407782" y="194815"/>
                      <a:pt x="392449" y="209477"/>
                    </a:cubicBezTo>
                    <a:cubicBezTo>
                      <a:pt x="372276" y="228767"/>
                      <a:pt x="355883" y="252119"/>
                      <a:pt x="330446" y="265827"/>
                    </a:cubicBezTo>
                    <a:cubicBezTo>
                      <a:pt x="308542" y="277627"/>
                      <a:pt x="287238" y="290558"/>
                      <a:pt x="265723" y="303064"/>
                    </a:cubicBezTo>
                    <a:cubicBezTo>
                      <a:pt x="227108" y="325499"/>
                      <a:pt x="207783" y="358955"/>
                      <a:pt x="208383" y="403753"/>
                    </a:cubicBezTo>
                    <a:close/>
                    <a:moveTo>
                      <a:pt x="559380" y="543163"/>
                    </a:moveTo>
                    <a:cubicBezTo>
                      <a:pt x="559486" y="575913"/>
                      <a:pt x="557649" y="602940"/>
                      <a:pt x="565139" y="629402"/>
                    </a:cubicBezTo>
                    <a:cubicBezTo>
                      <a:pt x="573936" y="660527"/>
                      <a:pt x="604425" y="676778"/>
                      <a:pt x="634702" y="666038"/>
                    </a:cubicBezTo>
                    <a:cubicBezTo>
                      <a:pt x="655971" y="658513"/>
                      <a:pt x="670668" y="642897"/>
                      <a:pt x="680171" y="623643"/>
                    </a:cubicBezTo>
                    <a:cubicBezTo>
                      <a:pt x="709883" y="563406"/>
                      <a:pt x="734402" y="501651"/>
                      <a:pt x="724757" y="432158"/>
                    </a:cubicBezTo>
                    <a:cubicBezTo>
                      <a:pt x="719881" y="397040"/>
                      <a:pt x="710731" y="362948"/>
                      <a:pt x="685400" y="336945"/>
                    </a:cubicBezTo>
                    <a:cubicBezTo>
                      <a:pt x="657949" y="308752"/>
                      <a:pt x="626471" y="300627"/>
                      <a:pt x="595911" y="322036"/>
                    </a:cubicBezTo>
                    <a:cubicBezTo>
                      <a:pt x="557402" y="348993"/>
                      <a:pt x="545990" y="387784"/>
                      <a:pt x="550371" y="432087"/>
                    </a:cubicBezTo>
                    <a:cubicBezTo>
                      <a:pt x="554222" y="470985"/>
                      <a:pt x="561005" y="509635"/>
                      <a:pt x="559380" y="543163"/>
                    </a:cubicBezTo>
                    <a:close/>
                    <a:moveTo>
                      <a:pt x="504973" y="659856"/>
                    </a:moveTo>
                    <a:cubicBezTo>
                      <a:pt x="507870" y="613397"/>
                      <a:pt x="473848" y="557648"/>
                      <a:pt x="415872" y="563936"/>
                    </a:cubicBezTo>
                    <a:cubicBezTo>
                      <a:pt x="383687" y="567434"/>
                      <a:pt x="355918" y="594284"/>
                      <a:pt x="358604" y="626257"/>
                    </a:cubicBezTo>
                    <a:cubicBezTo>
                      <a:pt x="362243" y="670030"/>
                      <a:pt x="388740" y="699848"/>
                      <a:pt x="425588" y="720481"/>
                    </a:cubicBezTo>
                    <a:cubicBezTo>
                      <a:pt x="451555" y="735001"/>
                      <a:pt x="477063" y="728006"/>
                      <a:pt x="493597" y="703735"/>
                    </a:cubicBezTo>
                    <a:cubicBezTo>
                      <a:pt x="502818" y="690168"/>
                      <a:pt x="506634" y="674870"/>
                      <a:pt x="505008" y="659856"/>
                    </a:cubicBezTo>
                    <a:close/>
                    <a:moveTo>
                      <a:pt x="752420" y="344258"/>
                    </a:moveTo>
                    <a:cubicBezTo>
                      <a:pt x="778351" y="344470"/>
                      <a:pt x="794850" y="330268"/>
                      <a:pt x="794956" y="307763"/>
                    </a:cubicBezTo>
                    <a:cubicBezTo>
                      <a:pt x="795062" y="284587"/>
                      <a:pt x="772487" y="264343"/>
                      <a:pt x="746838" y="264626"/>
                    </a:cubicBezTo>
                    <a:cubicBezTo>
                      <a:pt x="727407" y="264838"/>
                      <a:pt x="712144" y="281478"/>
                      <a:pt x="712038" y="302534"/>
                    </a:cubicBezTo>
                    <a:cubicBezTo>
                      <a:pt x="711932" y="325922"/>
                      <a:pt x="729526" y="344082"/>
                      <a:pt x="752384" y="344258"/>
                    </a:cubicBezTo>
                    <a:close/>
                    <a:moveTo>
                      <a:pt x="101936" y="580153"/>
                    </a:moveTo>
                    <a:cubicBezTo>
                      <a:pt x="80350" y="580082"/>
                      <a:pt x="68373" y="591635"/>
                      <a:pt x="68055" y="612867"/>
                    </a:cubicBezTo>
                    <a:cubicBezTo>
                      <a:pt x="67772" y="631733"/>
                      <a:pt x="86073" y="649928"/>
                      <a:pt x="105681" y="650246"/>
                    </a:cubicBezTo>
                    <a:cubicBezTo>
                      <a:pt x="123875" y="650529"/>
                      <a:pt x="144614" y="631663"/>
                      <a:pt x="144296" y="615093"/>
                    </a:cubicBezTo>
                    <a:cubicBezTo>
                      <a:pt x="143942" y="597040"/>
                      <a:pt x="123557" y="580223"/>
                      <a:pt x="101936" y="580153"/>
                    </a:cubicBezTo>
                    <a:close/>
                    <a:moveTo>
                      <a:pt x="554611" y="95575"/>
                    </a:moveTo>
                    <a:cubicBezTo>
                      <a:pt x="534190" y="95504"/>
                      <a:pt x="520977" y="108046"/>
                      <a:pt x="521012" y="127442"/>
                    </a:cubicBezTo>
                    <a:cubicBezTo>
                      <a:pt x="521012" y="146803"/>
                      <a:pt x="536734" y="162312"/>
                      <a:pt x="556483" y="162524"/>
                    </a:cubicBezTo>
                    <a:cubicBezTo>
                      <a:pt x="580154" y="162772"/>
                      <a:pt x="593826" y="151431"/>
                      <a:pt x="594074" y="131434"/>
                    </a:cubicBezTo>
                    <a:cubicBezTo>
                      <a:pt x="594356" y="110343"/>
                      <a:pt x="578176" y="95681"/>
                      <a:pt x="554611" y="95610"/>
                    </a:cubicBezTo>
                    <a:close/>
                    <a:moveTo>
                      <a:pt x="144331" y="236115"/>
                    </a:moveTo>
                    <a:cubicBezTo>
                      <a:pt x="129139" y="236292"/>
                      <a:pt x="115926" y="249505"/>
                      <a:pt x="115926" y="264520"/>
                    </a:cubicBezTo>
                    <a:cubicBezTo>
                      <a:pt x="115926" y="281231"/>
                      <a:pt x="130941" y="296670"/>
                      <a:pt x="146839" y="296281"/>
                    </a:cubicBezTo>
                    <a:cubicBezTo>
                      <a:pt x="162102" y="295893"/>
                      <a:pt x="179908" y="279924"/>
                      <a:pt x="179413" y="267028"/>
                    </a:cubicBezTo>
                    <a:cubicBezTo>
                      <a:pt x="178812" y="252296"/>
                      <a:pt x="160265" y="235939"/>
                      <a:pt x="144331" y="236080"/>
                    </a:cubicBezTo>
                    <a:close/>
                    <a:moveTo>
                      <a:pt x="638730" y="864236"/>
                    </a:moveTo>
                    <a:cubicBezTo>
                      <a:pt x="639401" y="849150"/>
                      <a:pt x="626223" y="836078"/>
                      <a:pt x="609548" y="835336"/>
                    </a:cubicBezTo>
                    <a:cubicBezTo>
                      <a:pt x="595169" y="834665"/>
                      <a:pt x="582839" y="845900"/>
                      <a:pt x="582380" y="860102"/>
                    </a:cubicBezTo>
                    <a:cubicBezTo>
                      <a:pt x="581885" y="874658"/>
                      <a:pt x="594109" y="888436"/>
                      <a:pt x="608276" y="889319"/>
                    </a:cubicBezTo>
                    <a:cubicBezTo>
                      <a:pt x="625093" y="890380"/>
                      <a:pt x="638059" y="879710"/>
                      <a:pt x="638765" y="864236"/>
                    </a:cubicBezTo>
                    <a:close/>
                    <a:moveTo>
                      <a:pt x="797818" y="577008"/>
                    </a:moveTo>
                    <a:cubicBezTo>
                      <a:pt x="815624" y="577149"/>
                      <a:pt x="826894" y="567822"/>
                      <a:pt x="826823" y="552949"/>
                    </a:cubicBezTo>
                    <a:cubicBezTo>
                      <a:pt x="826788" y="537863"/>
                      <a:pt x="813257" y="526134"/>
                      <a:pt x="795698" y="525993"/>
                    </a:cubicBezTo>
                    <a:cubicBezTo>
                      <a:pt x="781178" y="525851"/>
                      <a:pt x="770614" y="535249"/>
                      <a:pt x="770438" y="548391"/>
                    </a:cubicBezTo>
                    <a:cubicBezTo>
                      <a:pt x="770226" y="564077"/>
                      <a:pt x="782520" y="576902"/>
                      <a:pt x="797783" y="577008"/>
                    </a:cubicBezTo>
                    <a:close/>
                    <a:moveTo>
                      <a:pt x="457066" y="901791"/>
                    </a:moveTo>
                    <a:cubicBezTo>
                      <a:pt x="456466" y="889496"/>
                      <a:pt x="448340" y="883420"/>
                      <a:pt x="437565" y="883738"/>
                    </a:cubicBezTo>
                    <a:cubicBezTo>
                      <a:pt x="427672" y="884020"/>
                      <a:pt x="422161" y="891439"/>
                      <a:pt x="421949" y="902038"/>
                    </a:cubicBezTo>
                    <a:cubicBezTo>
                      <a:pt x="421702" y="914156"/>
                      <a:pt x="429651" y="920233"/>
                      <a:pt x="439472" y="920233"/>
                    </a:cubicBezTo>
                    <a:cubicBezTo>
                      <a:pt x="449329" y="920233"/>
                      <a:pt x="457278" y="913979"/>
                      <a:pt x="457031" y="901791"/>
                    </a:cubicBezTo>
                    <a:close/>
                    <a:moveTo>
                      <a:pt x="849151" y="438658"/>
                    </a:moveTo>
                    <a:cubicBezTo>
                      <a:pt x="849046" y="427070"/>
                      <a:pt x="844735" y="420746"/>
                      <a:pt x="834101" y="421029"/>
                    </a:cubicBezTo>
                    <a:cubicBezTo>
                      <a:pt x="823396" y="421347"/>
                      <a:pt x="817602" y="427424"/>
                      <a:pt x="817461" y="438058"/>
                    </a:cubicBezTo>
                    <a:cubicBezTo>
                      <a:pt x="817320" y="449399"/>
                      <a:pt x="825728" y="454875"/>
                      <a:pt x="834702" y="454698"/>
                    </a:cubicBezTo>
                    <a:cubicBezTo>
                      <a:pt x="843711" y="454521"/>
                      <a:pt x="848869" y="446749"/>
                      <a:pt x="849116" y="438623"/>
                    </a:cubicBezTo>
                    <a:close/>
                    <a:moveTo>
                      <a:pt x="819687" y="726804"/>
                    </a:moveTo>
                    <a:cubicBezTo>
                      <a:pt x="829579" y="726804"/>
                      <a:pt x="835797" y="722954"/>
                      <a:pt x="836115" y="713062"/>
                    </a:cubicBezTo>
                    <a:cubicBezTo>
                      <a:pt x="836433" y="703381"/>
                      <a:pt x="831098" y="698470"/>
                      <a:pt x="821453" y="698152"/>
                    </a:cubicBezTo>
                    <a:cubicBezTo>
                      <a:pt x="811420" y="697835"/>
                      <a:pt x="804743" y="701791"/>
                      <a:pt x="804778" y="712602"/>
                    </a:cubicBezTo>
                    <a:cubicBezTo>
                      <a:pt x="804778" y="722459"/>
                      <a:pt x="810854" y="726628"/>
                      <a:pt x="819687" y="726769"/>
                    </a:cubicBezTo>
                    <a:close/>
                    <a:moveTo>
                      <a:pt x="331824" y="806472"/>
                    </a:moveTo>
                    <a:cubicBezTo>
                      <a:pt x="339808" y="807037"/>
                      <a:pt x="342564" y="801314"/>
                      <a:pt x="342175" y="792588"/>
                    </a:cubicBezTo>
                    <a:cubicBezTo>
                      <a:pt x="341751" y="783190"/>
                      <a:pt x="337088" y="777820"/>
                      <a:pt x="327549" y="778067"/>
                    </a:cubicBezTo>
                    <a:cubicBezTo>
                      <a:pt x="317975" y="778315"/>
                      <a:pt x="313241" y="783968"/>
                      <a:pt x="313841" y="793330"/>
                    </a:cubicBezTo>
                    <a:cubicBezTo>
                      <a:pt x="314442" y="803081"/>
                      <a:pt x="320836" y="806578"/>
                      <a:pt x="331859" y="806437"/>
                    </a:cubicBezTo>
                    <a:close/>
                    <a:moveTo>
                      <a:pt x="472011" y="519139"/>
                    </a:moveTo>
                    <a:cubicBezTo>
                      <a:pt x="469856" y="512037"/>
                      <a:pt x="466747" y="506314"/>
                      <a:pt x="457950" y="506879"/>
                    </a:cubicBezTo>
                    <a:cubicBezTo>
                      <a:pt x="450707" y="507339"/>
                      <a:pt x="444630" y="510871"/>
                      <a:pt x="445090" y="517937"/>
                    </a:cubicBezTo>
                    <a:cubicBezTo>
                      <a:pt x="445584" y="525639"/>
                      <a:pt x="451414" y="531787"/>
                      <a:pt x="459787" y="531469"/>
                    </a:cubicBezTo>
                    <a:cubicBezTo>
                      <a:pt x="466535" y="531221"/>
                      <a:pt x="471057" y="526346"/>
                      <a:pt x="472011" y="519139"/>
                    </a:cubicBezTo>
                    <a:close/>
                    <a:moveTo>
                      <a:pt x="928713" y="503735"/>
                    </a:moveTo>
                    <a:cubicBezTo>
                      <a:pt x="927583" y="496528"/>
                      <a:pt x="923802" y="491440"/>
                      <a:pt x="916454" y="491370"/>
                    </a:cubicBezTo>
                    <a:cubicBezTo>
                      <a:pt x="908328" y="491264"/>
                      <a:pt x="904018" y="496457"/>
                      <a:pt x="903523" y="504512"/>
                    </a:cubicBezTo>
                    <a:cubicBezTo>
                      <a:pt x="903064" y="512391"/>
                      <a:pt x="906844" y="516489"/>
                      <a:pt x="914864" y="516277"/>
                    </a:cubicBezTo>
                    <a:cubicBezTo>
                      <a:pt x="922990" y="516030"/>
                      <a:pt x="927441" y="511649"/>
                      <a:pt x="928678" y="503770"/>
                    </a:cubicBezTo>
                    <a:close/>
                    <a:moveTo>
                      <a:pt x="150867" y="532175"/>
                    </a:moveTo>
                    <a:cubicBezTo>
                      <a:pt x="158003" y="531115"/>
                      <a:pt x="163126" y="527406"/>
                      <a:pt x="163232" y="520022"/>
                    </a:cubicBezTo>
                    <a:cubicBezTo>
                      <a:pt x="163374" y="511861"/>
                      <a:pt x="158321" y="506879"/>
                      <a:pt x="150231" y="507268"/>
                    </a:cubicBezTo>
                    <a:cubicBezTo>
                      <a:pt x="143024" y="507586"/>
                      <a:pt x="138396" y="512426"/>
                      <a:pt x="138608" y="519881"/>
                    </a:cubicBezTo>
                    <a:cubicBezTo>
                      <a:pt x="138820" y="527264"/>
                      <a:pt x="143660" y="531115"/>
                      <a:pt x="150867" y="532211"/>
                    </a:cubicBezTo>
                    <a:close/>
                    <a:moveTo>
                      <a:pt x="298120" y="608698"/>
                    </a:moveTo>
                    <a:cubicBezTo>
                      <a:pt x="305080" y="607321"/>
                      <a:pt x="310096" y="603434"/>
                      <a:pt x="309849" y="596015"/>
                    </a:cubicBezTo>
                    <a:cubicBezTo>
                      <a:pt x="309566" y="587960"/>
                      <a:pt x="304408" y="583049"/>
                      <a:pt x="296283" y="583827"/>
                    </a:cubicBezTo>
                    <a:cubicBezTo>
                      <a:pt x="289111" y="584498"/>
                      <a:pt x="284624" y="589515"/>
                      <a:pt x="285224" y="596934"/>
                    </a:cubicBezTo>
                    <a:cubicBezTo>
                      <a:pt x="285825" y="604212"/>
                      <a:pt x="290665" y="608063"/>
                      <a:pt x="298120" y="608663"/>
                    </a:cubicBezTo>
                    <a:close/>
                    <a:moveTo>
                      <a:pt x="191037" y="395239"/>
                    </a:moveTo>
                    <a:cubicBezTo>
                      <a:pt x="185313" y="396970"/>
                      <a:pt x="179978" y="400255"/>
                      <a:pt x="180014" y="407780"/>
                    </a:cubicBezTo>
                    <a:cubicBezTo>
                      <a:pt x="180049" y="415023"/>
                      <a:pt x="184253" y="420534"/>
                      <a:pt x="191602" y="419863"/>
                    </a:cubicBezTo>
                    <a:cubicBezTo>
                      <a:pt x="198385" y="419227"/>
                      <a:pt x="205486" y="416012"/>
                      <a:pt x="204709" y="407039"/>
                    </a:cubicBezTo>
                    <a:cubicBezTo>
                      <a:pt x="204073" y="399796"/>
                      <a:pt x="199233" y="396051"/>
                      <a:pt x="191072" y="395274"/>
                    </a:cubicBezTo>
                    <a:close/>
                    <a:moveTo>
                      <a:pt x="612162" y="723413"/>
                    </a:moveTo>
                    <a:cubicBezTo>
                      <a:pt x="616225" y="723095"/>
                      <a:pt x="622196" y="719703"/>
                      <a:pt x="622054" y="712531"/>
                    </a:cubicBezTo>
                    <a:cubicBezTo>
                      <a:pt x="621878" y="704582"/>
                      <a:pt x="615554" y="701191"/>
                      <a:pt x="607675" y="701332"/>
                    </a:cubicBezTo>
                    <a:cubicBezTo>
                      <a:pt x="600433" y="701473"/>
                      <a:pt x="597359" y="705360"/>
                      <a:pt x="597324" y="712320"/>
                    </a:cubicBezTo>
                    <a:cubicBezTo>
                      <a:pt x="597324" y="720304"/>
                      <a:pt x="601352" y="723837"/>
                      <a:pt x="612162" y="723413"/>
                    </a:cubicBezTo>
                    <a:close/>
                    <a:moveTo>
                      <a:pt x="753091" y="220959"/>
                    </a:moveTo>
                    <a:cubicBezTo>
                      <a:pt x="748251" y="222902"/>
                      <a:pt x="744329" y="225940"/>
                      <a:pt x="744577" y="231275"/>
                    </a:cubicBezTo>
                    <a:cubicBezTo>
                      <a:pt x="744859" y="237210"/>
                      <a:pt x="749346" y="239189"/>
                      <a:pt x="754681" y="238659"/>
                    </a:cubicBezTo>
                    <a:cubicBezTo>
                      <a:pt x="759415" y="238164"/>
                      <a:pt x="762913" y="235550"/>
                      <a:pt x="762277" y="230392"/>
                    </a:cubicBezTo>
                    <a:cubicBezTo>
                      <a:pt x="761641" y="225269"/>
                      <a:pt x="758249" y="222054"/>
                      <a:pt x="753091" y="220959"/>
                    </a:cubicBezTo>
                    <a:close/>
                    <a:moveTo>
                      <a:pt x="918609" y="273600"/>
                    </a:moveTo>
                    <a:cubicBezTo>
                      <a:pt x="923166" y="272151"/>
                      <a:pt x="927583" y="269572"/>
                      <a:pt x="927477" y="264237"/>
                    </a:cubicBezTo>
                    <a:cubicBezTo>
                      <a:pt x="927371" y="259892"/>
                      <a:pt x="923767" y="256076"/>
                      <a:pt x="919210" y="256324"/>
                    </a:cubicBezTo>
                    <a:cubicBezTo>
                      <a:pt x="914051" y="256606"/>
                      <a:pt x="910660" y="260669"/>
                      <a:pt x="910377" y="265792"/>
                    </a:cubicBezTo>
                    <a:cubicBezTo>
                      <a:pt x="910130" y="270703"/>
                      <a:pt x="913380" y="273317"/>
                      <a:pt x="918609" y="273564"/>
                    </a:cubicBezTo>
                    <a:close/>
                    <a:moveTo>
                      <a:pt x="526877" y="841342"/>
                    </a:moveTo>
                    <a:cubicBezTo>
                      <a:pt x="526524" y="836432"/>
                      <a:pt x="524369" y="832828"/>
                      <a:pt x="519458" y="832757"/>
                    </a:cubicBezTo>
                    <a:cubicBezTo>
                      <a:pt x="513664" y="832687"/>
                      <a:pt x="511403" y="836750"/>
                      <a:pt x="511509" y="842119"/>
                    </a:cubicBezTo>
                    <a:cubicBezTo>
                      <a:pt x="511615" y="846854"/>
                      <a:pt x="513947" y="850422"/>
                      <a:pt x="518857" y="850457"/>
                    </a:cubicBezTo>
                    <a:cubicBezTo>
                      <a:pt x="524651" y="850528"/>
                      <a:pt x="526807" y="846500"/>
                      <a:pt x="526877" y="841342"/>
                    </a:cubicBezTo>
                    <a:close/>
                    <a:moveTo>
                      <a:pt x="638589" y="164679"/>
                    </a:moveTo>
                    <a:cubicBezTo>
                      <a:pt x="643146" y="163513"/>
                      <a:pt x="646856" y="160758"/>
                      <a:pt x="646891" y="156342"/>
                    </a:cubicBezTo>
                    <a:cubicBezTo>
                      <a:pt x="646926" y="151078"/>
                      <a:pt x="642793" y="147757"/>
                      <a:pt x="637741" y="147227"/>
                    </a:cubicBezTo>
                    <a:cubicBezTo>
                      <a:pt x="632795" y="146697"/>
                      <a:pt x="629580" y="149947"/>
                      <a:pt x="629827" y="154822"/>
                    </a:cubicBezTo>
                    <a:cubicBezTo>
                      <a:pt x="630074" y="160016"/>
                      <a:pt x="633784" y="163054"/>
                      <a:pt x="638589" y="164644"/>
                    </a:cubicBezTo>
                    <a:close/>
                    <a:moveTo>
                      <a:pt x="492643" y="429614"/>
                    </a:moveTo>
                    <a:cubicBezTo>
                      <a:pt x="496247" y="427459"/>
                      <a:pt x="500557" y="425233"/>
                      <a:pt x="500981" y="419828"/>
                    </a:cubicBezTo>
                    <a:cubicBezTo>
                      <a:pt x="501369" y="414811"/>
                      <a:pt x="498296" y="411596"/>
                      <a:pt x="493420" y="411808"/>
                    </a:cubicBezTo>
                    <a:cubicBezTo>
                      <a:pt x="488262" y="412055"/>
                      <a:pt x="484235" y="415482"/>
                      <a:pt x="483881" y="420605"/>
                    </a:cubicBezTo>
                    <a:cubicBezTo>
                      <a:pt x="483563" y="425233"/>
                      <a:pt x="487556" y="427706"/>
                      <a:pt x="492608" y="429579"/>
                    </a:cubicBezTo>
                    <a:close/>
                    <a:moveTo>
                      <a:pt x="864484" y="317903"/>
                    </a:moveTo>
                    <a:cubicBezTo>
                      <a:pt x="864484" y="312709"/>
                      <a:pt x="861658" y="310060"/>
                      <a:pt x="857030" y="309494"/>
                    </a:cubicBezTo>
                    <a:cubicBezTo>
                      <a:pt x="852684" y="308964"/>
                      <a:pt x="847986" y="309812"/>
                      <a:pt x="847385" y="314864"/>
                    </a:cubicBezTo>
                    <a:cubicBezTo>
                      <a:pt x="846749" y="320234"/>
                      <a:pt x="851059" y="323273"/>
                      <a:pt x="855758" y="324297"/>
                    </a:cubicBezTo>
                    <a:cubicBezTo>
                      <a:pt x="860598" y="325357"/>
                      <a:pt x="863389" y="322354"/>
                      <a:pt x="864484" y="317903"/>
                    </a:cubicBezTo>
                    <a:close/>
                    <a:moveTo>
                      <a:pt x="599797" y="263566"/>
                    </a:moveTo>
                    <a:cubicBezTo>
                      <a:pt x="604637" y="263177"/>
                      <a:pt x="608135" y="259963"/>
                      <a:pt x="608700" y="256041"/>
                    </a:cubicBezTo>
                    <a:cubicBezTo>
                      <a:pt x="609477" y="250777"/>
                      <a:pt x="605414" y="246997"/>
                      <a:pt x="600362" y="246820"/>
                    </a:cubicBezTo>
                    <a:cubicBezTo>
                      <a:pt x="595946" y="246643"/>
                      <a:pt x="592484" y="250353"/>
                      <a:pt x="592201" y="254769"/>
                    </a:cubicBezTo>
                    <a:cubicBezTo>
                      <a:pt x="591883" y="259468"/>
                      <a:pt x="595840" y="261800"/>
                      <a:pt x="599797" y="263601"/>
                    </a:cubicBezTo>
                    <a:close/>
                    <a:moveTo>
                      <a:pt x="188811" y="676566"/>
                    </a:moveTo>
                    <a:cubicBezTo>
                      <a:pt x="185384" y="678050"/>
                      <a:pt x="181215" y="680240"/>
                      <a:pt x="180862" y="684586"/>
                    </a:cubicBezTo>
                    <a:cubicBezTo>
                      <a:pt x="180402" y="689815"/>
                      <a:pt x="184288" y="693666"/>
                      <a:pt x="189411" y="693630"/>
                    </a:cubicBezTo>
                    <a:cubicBezTo>
                      <a:pt x="193757" y="693630"/>
                      <a:pt x="197219" y="689956"/>
                      <a:pt x="197360" y="685504"/>
                    </a:cubicBezTo>
                    <a:cubicBezTo>
                      <a:pt x="197502" y="680876"/>
                      <a:pt x="193686" y="678474"/>
                      <a:pt x="188846" y="676602"/>
                    </a:cubicBezTo>
                    <a:close/>
                    <a:moveTo>
                      <a:pt x="382627" y="184428"/>
                    </a:moveTo>
                    <a:cubicBezTo>
                      <a:pt x="386726" y="183263"/>
                      <a:pt x="390011" y="181002"/>
                      <a:pt x="389340" y="175914"/>
                    </a:cubicBezTo>
                    <a:cubicBezTo>
                      <a:pt x="388669" y="171003"/>
                      <a:pt x="385065" y="169095"/>
                      <a:pt x="380472" y="169166"/>
                    </a:cubicBezTo>
                    <a:cubicBezTo>
                      <a:pt x="375915" y="169237"/>
                      <a:pt x="371534" y="170933"/>
                      <a:pt x="372347" y="176091"/>
                    </a:cubicBezTo>
                    <a:cubicBezTo>
                      <a:pt x="373088" y="180825"/>
                      <a:pt x="377116" y="183828"/>
                      <a:pt x="382663" y="184464"/>
                    </a:cubicBezTo>
                    <a:close/>
                    <a:moveTo>
                      <a:pt x="220748" y="246749"/>
                    </a:moveTo>
                    <a:cubicBezTo>
                      <a:pt x="220960" y="242616"/>
                      <a:pt x="219724" y="239542"/>
                      <a:pt x="214955" y="239366"/>
                    </a:cubicBezTo>
                    <a:cubicBezTo>
                      <a:pt x="210291" y="239189"/>
                      <a:pt x="206617" y="240920"/>
                      <a:pt x="205840" y="245831"/>
                    </a:cubicBezTo>
                    <a:cubicBezTo>
                      <a:pt x="205062" y="250742"/>
                      <a:pt x="207783" y="253957"/>
                      <a:pt x="212623" y="254310"/>
                    </a:cubicBezTo>
                    <a:cubicBezTo>
                      <a:pt x="217639" y="254698"/>
                      <a:pt x="219971" y="251342"/>
                      <a:pt x="220748" y="246749"/>
                    </a:cubicBezTo>
                    <a:close/>
                    <a:moveTo>
                      <a:pt x="721224" y="801915"/>
                    </a:moveTo>
                    <a:cubicBezTo>
                      <a:pt x="721047" y="798382"/>
                      <a:pt x="719351" y="795273"/>
                      <a:pt x="715183" y="794496"/>
                    </a:cubicBezTo>
                    <a:cubicBezTo>
                      <a:pt x="710237" y="793577"/>
                      <a:pt x="706916" y="796050"/>
                      <a:pt x="706350" y="800961"/>
                    </a:cubicBezTo>
                    <a:cubicBezTo>
                      <a:pt x="705750" y="805978"/>
                      <a:pt x="708823" y="808945"/>
                      <a:pt x="713663" y="809122"/>
                    </a:cubicBezTo>
                    <a:cubicBezTo>
                      <a:pt x="717762" y="809263"/>
                      <a:pt x="720341" y="806649"/>
                      <a:pt x="721224" y="801915"/>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3" name="Freeform: Shape 3462">
                <a:extLst>
                  <a:ext uri="{FF2B5EF4-FFF2-40B4-BE49-F238E27FC236}">
                    <a16:creationId xmlns:a16="http://schemas.microsoft.com/office/drawing/2014/main" id="{AF7CB040-FD6C-5848-8A24-49E999CD03D3}"/>
                  </a:ext>
                </a:extLst>
              </p:cNvPr>
              <p:cNvSpPr/>
              <p:nvPr/>
            </p:nvSpPr>
            <p:spPr>
              <a:xfrm>
                <a:off x="6344493" y="3581112"/>
                <a:ext cx="192444" cy="159335"/>
              </a:xfrm>
              <a:custGeom>
                <a:avLst/>
                <a:gdLst>
                  <a:gd name="connsiteX0" fmla="*/ 82474 w 192444"/>
                  <a:gd name="connsiteY0" fmla="*/ 159335 h 159335"/>
                  <a:gd name="connsiteX1" fmla="*/ 8565 w 192444"/>
                  <a:gd name="connsiteY1" fmla="*/ 113973 h 159335"/>
                  <a:gd name="connsiteX2" fmla="*/ 17433 w 192444"/>
                  <a:gd name="connsiteY2" fmla="*/ 30101 h 159335"/>
                  <a:gd name="connsiteX3" fmla="*/ 81415 w 192444"/>
                  <a:gd name="connsiteY3" fmla="*/ 0 h 159335"/>
                  <a:gd name="connsiteX4" fmla="*/ 176592 w 192444"/>
                  <a:gd name="connsiteY4" fmla="*/ 43491 h 159335"/>
                  <a:gd name="connsiteX5" fmla="*/ 155889 w 192444"/>
                  <a:gd name="connsiteY5" fmla="*/ 140399 h 159335"/>
                  <a:gd name="connsiteX6" fmla="*/ 82439 w 192444"/>
                  <a:gd name="connsiteY6" fmla="*/ 159265 h 159335"/>
                  <a:gd name="connsiteX7" fmla="*/ 153804 w 192444"/>
                  <a:gd name="connsiteY7" fmla="*/ 52393 h 159335"/>
                  <a:gd name="connsiteX8" fmla="*/ 138507 w 192444"/>
                  <a:gd name="connsiteY8" fmla="*/ 35718 h 159335"/>
                  <a:gd name="connsiteX9" fmla="*/ 121867 w 192444"/>
                  <a:gd name="connsiteY9" fmla="*/ 53065 h 159335"/>
                  <a:gd name="connsiteX10" fmla="*/ 138118 w 192444"/>
                  <a:gd name="connsiteY10" fmla="*/ 69528 h 159335"/>
                  <a:gd name="connsiteX11" fmla="*/ 153769 w 192444"/>
                  <a:gd name="connsiteY11" fmla="*/ 52393 h 159335"/>
                  <a:gd name="connsiteX12" fmla="*/ 38631 w 192444"/>
                  <a:gd name="connsiteY12" fmla="*/ 62462 h 159335"/>
                  <a:gd name="connsiteX13" fmla="*/ 51597 w 192444"/>
                  <a:gd name="connsiteY13" fmla="*/ 50450 h 159335"/>
                  <a:gd name="connsiteX14" fmla="*/ 40291 w 192444"/>
                  <a:gd name="connsiteY14" fmla="*/ 36036 h 159335"/>
                  <a:gd name="connsiteX15" fmla="*/ 27219 w 192444"/>
                  <a:gd name="connsiteY15" fmla="*/ 47447 h 159335"/>
                  <a:gd name="connsiteX16" fmla="*/ 38631 w 192444"/>
                  <a:gd name="connsiteY16" fmla="*/ 62462 h 159335"/>
                  <a:gd name="connsiteX17" fmla="*/ 118687 w 192444"/>
                  <a:gd name="connsiteY17" fmla="*/ 114043 h 159335"/>
                  <a:gd name="connsiteX18" fmla="*/ 127519 w 192444"/>
                  <a:gd name="connsiteY18" fmla="*/ 105741 h 159335"/>
                  <a:gd name="connsiteX19" fmla="*/ 118934 w 192444"/>
                  <a:gd name="connsiteY19" fmla="*/ 98640 h 159335"/>
                  <a:gd name="connsiteX20" fmla="*/ 109855 w 192444"/>
                  <a:gd name="connsiteY20" fmla="*/ 106836 h 159335"/>
                  <a:gd name="connsiteX21" fmla="*/ 118722 w 192444"/>
                  <a:gd name="connsiteY21" fmla="*/ 114043 h 15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2444" h="159335">
                    <a:moveTo>
                      <a:pt x="82474" y="159335"/>
                    </a:moveTo>
                    <a:cubicBezTo>
                      <a:pt x="51914" y="158770"/>
                      <a:pt x="23969" y="146299"/>
                      <a:pt x="8565" y="113973"/>
                    </a:cubicBezTo>
                    <a:cubicBezTo>
                      <a:pt x="-5354" y="84720"/>
                      <a:pt x="-2245" y="56032"/>
                      <a:pt x="17433" y="30101"/>
                    </a:cubicBezTo>
                    <a:cubicBezTo>
                      <a:pt x="33331" y="9186"/>
                      <a:pt x="56401" y="-35"/>
                      <a:pt x="81415" y="0"/>
                    </a:cubicBezTo>
                    <a:cubicBezTo>
                      <a:pt x="119075" y="0"/>
                      <a:pt x="152073" y="14238"/>
                      <a:pt x="176592" y="43491"/>
                    </a:cubicBezTo>
                    <a:cubicBezTo>
                      <a:pt x="204149" y="76347"/>
                      <a:pt x="194857" y="116375"/>
                      <a:pt x="155889" y="140399"/>
                    </a:cubicBezTo>
                    <a:cubicBezTo>
                      <a:pt x="134444" y="153612"/>
                      <a:pt x="111162" y="158982"/>
                      <a:pt x="82439" y="159265"/>
                    </a:cubicBezTo>
                    <a:close/>
                    <a:moveTo>
                      <a:pt x="153804" y="52393"/>
                    </a:moveTo>
                    <a:cubicBezTo>
                      <a:pt x="153592" y="43667"/>
                      <a:pt x="148540" y="35541"/>
                      <a:pt x="138507" y="35718"/>
                    </a:cubicBezTo>
                    <a:cubicBezTo>
                      <a:pt x="129462" y="35859"/>
                      <a:pt x="121867" y="41724"/>
                      <a:pt x="121867" y="53065"/>
                    </a:cubicBezTo>
                    <a:cubicBezTo>
                      <a:pt x="121867" y="64123"/>
                      <a:pt x="126989" y="69599"/>
                      <a:pt x="138118" y="69528"/>
                    </a:cubicBezTo>
                    <a:cubicBezTo>
                      <a:pt x="148505" y="69458"/>
                      <a:pt x="153486" y="64158"/>
                      <a:pt x="153769" y="52393"/>
                    </a:cubicBezTo>
                    <a:close/>
                    <a:moveTo>
                      <a:pt x="38631" y="62462"/>
                    </a:moveTo>
                    <a:cubicBezTo>
                      <a:pt x="45060" y="60449"/>
                      <a:pt x="50819" y="58470"/>
                      <a:pt x="51597" y="50450"/>
                    </a:cubicBezTo>
                    <a:cubicBezTo>
                      <a:pt x="52409" y="41795"/>
                      <a:pt x="47498" y="36919"/>
                      <a:pt x="40291" y="36036"/>
                    </a:cubicBezTo>
                    <a:cubicBezTo>
                      <a:pt x="33296" y="35188"/>
                      <a:pt x="28350" y="41371"/>
                      <a:pt x="27219" y="47447"/>
                    </a:cubicBezTo>
                    <a:cubicBezTo>
                      <a:pt x="25735" y="55396"/>
                      <a:pt x="32872" y="58859"/>
                      <a:pt x="38631" y="62462"/>
                    </a:cubicBezTo>
                    <a:close/>
                    <a:moveTo>
                      <a:pt x="118687" y="114043"/>
                    </a:moveTo>
                    <a:cubicBezTo>
                      <a:pt x="123810" y="113761"/>
                      <a:pt x="127802" y="111676"/>
                      <a:pt x="127519" y="105741"/>
                    </a:cubicBezTo>
                    <a:cubicBezTo>
                      <a:pt x="127272" y="100759"/>
                      <a:pt x="123633" y="98604"/>
                      <a:pt x="118934" y="98640"/>
                    </a:cubicBezTo>
                    <a:cubicBezTo>
                      <a:pt x="113599" y="98640"/>
                      <a:pt x="109537" y="100936"/>
                      <a:pt x="109855" y="106836"/>
                    </a:cubicBezTo>
                    <a:cubicBezTo>
                      <a:pt x="110102" y="111782"/>
                      <a:pt x="113811" y="113761"/>
                      <a:pt x="118722" y="114043"/>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4" name="Freeform: Shape 3463">
                <a:extLst>
                  <a:ext uri="{FF2B5EF4-FFF2-40B4-BE49-F238E27FC236}">
                    <a16:creationId xmlns:a16="http://schemas.microsoft.com/office/drawing/2014/main" id="{B8D0AD36-7384-08E0-2102-42A58880DF6B}"/>
                  </a:ext>
                </a:extLst>
              </p:cNvPr>
              <p:cNvSpPr/>
              <p:nvPr/>
            </p:nvSpPr>
            <p:spPr>
              <a:xfrm>
                <a:off x="7151838" y="3647503"/>
                <a:ext cx="169294" cy="145951"/>
              </a:xfrm>
              <a:custGeom>
                <a:avLst/>
                <a:gdLst>
                  <a:gd name="connsiteX0" fmla="*/ 56438 w 169294"/>
                  <a:gd name="connsiteY0" fmla="*/ 169 h 145951"/>
                  <a:gd name="connsiteX1" fmla="*/ 137130 w 169294"/>
                  <a:gd name="connsiteY1" fmla="*/ 20660 h 145951"/>
                  <a:gd name="connsiteX2" fmla="*/ 144372 w 169294"/>
                  <a:gd name="connsiteY2" fmla="*/ 117710 h 145951"/>
                  <a:gd name="connsiteX3" fmla="*/ 77953 w 169294"/>
                  <a:gd name="connsiteY3" fmla="*/ 145655 h 145951"/>
                  <a:gd name="connsiteX4" fmla="*/ 38066 w 169294"/>
                  <a:gd name="connsiteY4" fmla="*/ 124564 h 145951"/>
                  <a:gd name="connsiteX5" fmla="*/ 3832 w 169294"/>
                  <a:gd name="connsiteY5" fmla="*/ 54647 h 145951"/>
                  <a:gd name="connsiteX6" fmla="*/ 42059 w 169294"/>
                  <a:gd name="connsiteY6" fmla="*/ 240 h 145951"/>
                  <a:gd name="connsiteX7" fmla="*/ 56402 w 169294"/>
                  <a:gd name="connsiteY7" fmla="*/ 169 h 145951"/>
                  <a:gd name="connsiteX8" fmla="*/ 114448 w 169294"/>
                  <a:gd name="connsiteY8" fmla="*/ 54258 h 145951"/>
                  <a:gd name="connsiteX9" fmla="*/ 99115 w 169294"/>
                  <a:gd name="connsiteY9" fmla="*/ 72100 h 145951"/>
                  <a:gd name="connsiteX10" fmla="*/ 114484 w 169294"/>
                  <a:gd name="connsiteY10" fmla="*/ 86090 h 145951"/>
                  <a:gd name="connsiteX11" fmla="*/ 130594 w 169294"/>
                  <a:gd name="connsiteY11" fmla="*/ 69485 h 145951"/>
                  <a:gd name="connsiteX12" fmla="*/ 114448 w 169294"/>
                  <a:gd name="connsiteY12" fmla="*/ 54258 h 145951"/>
                  <a:gd name="connsiteX13" fmla="*/ 63504 w 169294"/>
                  <a:gd name="connsiteY13" fmla="*/ 95594 h 145951"/>
                  <a:gd name="connsiteX14" fmla="*/ 56155 w 169294"/>
                  <a:gd name="connsiteY14" fmla="*/ 86832 h 145951"/>
                  <a:gd name="connsiteX15" fmla="*/ 48100 w 169294"/>
                  <a:gd name="connsiteY15" fmla="*/ 96018 h 145951"/>
                  <a:gd name="connsiteX16" fmla="*/ 55342 w 169294"/>
                  <a:gd name="connsiteY16" fmla="*/ 104532 h 145951"/>
                  <a:gd name="connsiteX17" fmla="*/ 63504 w 169294"/>
                  <a:gd name="connsiteY17" fmla="*/ 95558 h 145951"/>
                  <a:gd name="connsiteX18" fmla="*/ 54070 w 169294"/>
                  <a:gd name="connsiteY18" fmla="*/ 44366 h 145951"/>
                  <a:gd name="connsiteX19" fmla="*/ 60253 w 169294"/>
                  <a:gd name="connsiteY19" fmla="*/ 37371 h 145951"/>
                  <a:gd name="connsiteX20" fmla="*/ 52551 w 169294"/>
                  <a:gd name="connsiteY20" fmla="*/ 29386 h 145951"/>
                  <a:gd name="connsiteX21" fmla="*/ 45309 w 169294"/>
                  <a:gd name="connsiteY21" fmla="*/ 37477 h 145951"/>
                  <a:gd name="connsiteX22" fmla="*/ 54070 w 169294"/>
                  <a:gd name="connsiteY22" fmla="*/ 44366 h 14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294" h="145951">
                    <a:moveTo>
                      <a:pt x="56438" y="169"/>
                    </a:moveTo>
                    <a:cubicBezTo>
                      <a:pt x="84807" y="1194"/>
                      <a:pt x="112011" y="6811"/>
                      <a:pt x="137130" y="20660"/>
                    </a:cubicBezTo>
                    <a:cubicBezTo>
                      <a:pt x="176946" y="42600"/>
                      <a:pt x="180302" y="89835"/>
                      <a:pt x="144372" y="117710"/>
                    </a:cubicBezTo>
                    <a:cubicBezTo>
                      <a:pt x="124588" y="133043"/>
                      <a:pt x="102613" y="142758"/>
                      <a:pt x="77953" y="145655"/>
                    </a:cubicBezTo>
                    <a:cubicBezTo>
                      <a:pt x="60395" y="147740"/>
                      <a:pt x="47676" y="138625"/>
                      <a:pt x="38066" y="124564"/>
                    </a:cubicBezTo>
                    <a:cubicBezTo>
                      <a:pt x="23299" y="102907"/>
                      <a:pt x="13936" y="78494"/>
                      <a:pt x="3832" y="54647"/>
                    </a:cubicBezTo>
                    <a:cubicBezTo>
                      <a:pt x="-8109" y="26525"/>
                      <a:pt x="8743" y="3667"/>
                      <a:pt x="42059" y="240"/>
                    </a:cubicBezTo>
                    <a:cubicBezTo>
                      <a:pt x="46793" y="-255"/>
                      <a:pt x="51598" y="169"/>
                      <a:pt x="56402" y="169"/>
                    </a:cubicBezTo>
                    <a:close/>
                    <a:moveTo>
                      <a:pt x="114448" y="54258"/>
                    </a:moveTo>
                    <a:cubicBezTo>
                      <a:pt x="102684" y="54435"/>
                      <a:pt x="99257" y="62349"/>
                      <a:pt x="99115" y="72100"/>
                    </a:cubicBezTo>
                    <a:cubicBezTo>
                      <a:pt x="98974" y="81851"/>
                      <a:pt x="105086" y="86019"/>
                      <a:pt x="114484" y="86090"/>
                    </a:cubicBezTo>
                    <a:cubicBezTo>
                      <a:pt x="125754" y="86196"/>
                      <a:pt x="130877" y="80543"/>
                      <a:pt x="130594" y="69485"/>
                    </a:cubicBezTo>
                    <a:cubicBezTo>
                      <a:pt x="130347" y="58957"/>
                      <a:pt x="124659" y="54329"/>
                      <a:pt x="114448" y="54258"/>
                    </a:cubicBezTo>
                    <a:close/>
                    <a:moveTo>
                      <a:pt x="63504" y="95594"/>
                    </a:moveTo>
                    <a:cubicBezTo>
                      <a:pt x="63150" y="90648"/>
                      <a:pt x="61101" y="86973"/>
                      <a:pt x="56155" y="86832"/>
                    </a:cubicBezTo>
                    <a:cubicBezTo>
                      <a:pt x="50326" y="86655"/>
                      <a:pt x="47994" y="90612"/>
                      <a:pt x="48100" y="96018"/>
                    </a:cubicBezTo>
                    <a:cubicBezTo>
                      <a:pt x="48171" y="100716"/>
                      <a:pt x="50432" y="104355"/>
                      <a:pt x="55342" y="104532"/>
                    </a:cubicBezTo>
                    <a:cubicBezTo>
                      <a:pt x="61207" y="104709"/>
                      <a:pt x="63292" y="100610"/>
                      <a:pt x="63504" y="95558"/>
                    </a:cubicBezTo>
                    <a:close/>
                    <a:moveTo>
                      <a:pt x="54070" y="44366"/>
                    </a:moveTo>
                    <a:cubicBezTo>
                      <a:pt x="58699" y="44295"/>
                      <a:pt x="60571" y="41646"/>
                      <a:pt x="60253" y="37371"/>
                    </a:cubicBezTo>
                    <a:cubicBezTo>
                      <a:pt x="59900" y="32672"/>
                      <a:pt x="57462" y="29280"/>
                      <a:pt x="52551" y="29386"/>
                    </a:cubicBezTo>
                    <a:cubicBezTo>
                      <a:pt x="47747" y="29457"/>
                      <a:pt x="44814" y="32531"/>
                      <a:pt x="45309" y="37477"/>
                    </a:cubicBezTo>
                    <a:cubicBezTo>
                      <a:pt x="45839" y="42423"/>
                      <a:pt x="49407" y="44260"/>
                      <a:pt x="54070" y="44366"/>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5" name="Freeform: Shape 3464">
                <a:extLst>
                  <a:ext uri="{FF2B5EF4-FFF2-40B4-BE49-F238E27FC236}">
                    <a16:creationId xmlns:a16="http://schemas.microsoft.com/office/drawing/2014/main" id="{B324029E-FFEB-DA7D-6814-1F7274AD9C49}"/>
                  </a:ext>
                </a:extLst>
              </p:cNvPr>
              <p:cNvSpPr/>
              <p:nvPr/>
            </p:nvSpPr>
            <p:spPr>
              <a:xfrm>
                <a:off x="6506956" y="4569037"/>
                <a:ext cx="165354" cy="143331"/>
              </a:xfrm>
              <a:custGeom>
                <a:avLst/>
                <a:gdLst>
                  <a:gd name="connsiteX0" fmla="*/ 117749 w 165354"/>
                  <a:gd name="connsiteY0" fmla="*/ 143320 h 143331"/>
                  <a:gd name="connsiteX1" fmla="*/ 45677 w 165354"/>
                  <a:gd name="connsiteY1" fmla="*/ 133463 h 143331"/>
                  <a:gd name="connsiteX2" fmla="*/ 14446 w 165354"/>
                  <a:gd name="connsiteY2" fmla="*/ 39841 h 143331"/>
                  <a:gd name="connsiteX3" fmla="*/ 35679 w 165354"/>
                  <a:gd name="connsiteY3" fmla="*/ 16594 h 143331"/>
                  <a:gd name="connsiteX4" fmla="*/ 123296 w 165354"/>
                  <a:gd name="connsiteY4" fmla="*/ 30584 h 143331"/>
                  <a:gd name="connsiteX5" fmla="*/ 160145 w 165354"/>
                  <a:gd name="connsiteY5" fmla="*/ 95378 h 143331"/>
                  <a:gd name="connsiteX6" fmla="*/ 130362 w 165354"/>
                  <a:gd name="connsiteY6" fmla="*/ 143285 h 143331"/>
                  <a:gd name="connsiteX7" fmla="*/ 117749 w 165354"/>
                  <a:gd name="connsiteY7" fmla="*/ 143285 h 143331"/>
                  <a:gd name="connsiteX8" fmla="*/ 54580 w 165354"/>
                  <a:gd name="connsiteY8" fmla="*/ 55103 h 143331"/>
                  <a:gd name="connsiteX9" fmla="*/ 40696 w 165354"/>
                  <a:gd name="connsiteY9" fmla="*/ 42101 h 143331"/>
                  <a:gd name="connsiteX10" fmla="*/ 29885 w 165354"/>
                  <a:gd name="connsiteY10" fmla="*/ 54926 h 143331"/>
                  <a:gd name="connsiteX11" fmla="*/ 42250 w 165354"/>
                  <a:gd name="connsiteY11" fmla="*/ 66443 h 143331"/>
                  <a:gd name="connsiteX12" fmla="*/ 54545 w 165354"/>
                  <a:gd name="connsiteY12" fmla="*/ 55103 h 143331"/>
                  <a:gd name="connsiteX13" fmla="*/ 102416 w 165354"/>
                  <a:gd name="connsiteY13" fmla="*/ 33552 h 143331"/>
                  <a:gd name="connsiteX14" fmla="*/ 94715 w 165354"/>
                  <a:gd name="connsiteY14" fmla="*/ 25744 h 143331"/>
                  <a:gd name="connsiteX15" fmla="*/ 85176 w 165354"/>
                  <a:gd name="connsiteY15" fmla="*/ 31468 h 143331"/>
                  <a:gd name="connsiteX16" fmla="*/ 93301 w 165354"/>
                  <a:gd name="connsiteY16" fmla="*/ 40971 h 143331"/>
                  <a:gd name="connsiteX17" fmla="*/ 102416 w 165354"/>
                  <a:gd name="connsiteY17" fmla="*/ 33516 h 143331"/>
                  <a:gd name="connsiteX18" fmla="*/ 112485 w 165354"/>
                  <a:gd name="connsiteY18" fmla="*/ 110499 h 143331"/>
                  <a:gd name="connsiteX19" fmla="*/ 120646 w 165354"/>
                  <a:gd name="connsiteY19" fmla="*/ 102197 h 143331"/>
                  <a:gd name="connsiteX20" fmla="*/ 113050 w 165354"/>
                  <a:gd name="connsiteY20" fmla="*/ 93718 h 143331"/>
                  <a:gd name="connsiteX21" fmla="*/ 104183 w 165354"/>
                  <a:gd name="connsiteY21" fmla="*/ 102409 h 143331"/>
                  <a:gd name="connsiteX22" fmla="*/ 112485 w 165354"/>
                  <a:gd name="connsiteY22" fmla="*/ 110499 h 14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5354" h="143331">
                    <a:moveTo>
                      <a:pt x="117749" y="143320"/>
                    </a:moveTo>
                    <a:cubicBezTo>
                      <a:pt x="96799" y="140353"/>
                      <a:pt x="70585" y="141342"/>
                      <a:pt x="45677" y="133463"/>
                    </a:cubicBezTo>
                    <a:cubicBezTo>
                      <a:pt x="67" y="119049"/>
                      <a:pt x="-13393" y="78738"/>
                      <a:pt x="14446" y="39841"/>
                    </a:cubicBezTo>
                    <a:cubicBezTo>
                      <a:pt x="20488" y="31397"/>
                      <a:pt x="26741" y="23094"/>
                      <a:pt x="35679" y="16594"/>
                    </a:cubicBezTo>
                    <a:cubicBezTo>
                      <a:pt x="71220" y="-9232"/>
                      <a:pt x="98283" y="-5169"/>
                      <a:pt x="123296" y="30584"/>
                    </a:cubicBezTo>
                    <a:cubicBezTo>
                      <a:pt x="137604" y="51040"/>
                      <a:pt x="149864" y="72697"/>
                      <a:pt x="160145" y="95378"/>
                    </a:cubicBezTo>
                    <a:cubicBezTo>
                      <a:pt x="173075" y="123889"/>
                      <a:pt x="161487" y="142154"/>
                      <a:pt x="130362" y="143285"/>
                    </a:cubicBezTo>
                    <a:cubicBezTo>
                      <a:pt x="127712" y="143391"/>
                      <a:pt x="125062" y="143285"/>
                      <a:pt x="117749" y="143285"/>
                    </a:cubicBezTo>
                    <a:close/>
                    <a:moveTo>
                      <a:pt x="54580" y="55103"/>
                    </a:moveTo>
                    <a:cubicBezTo>
                      <a:pt x="52779" y="47366"/>
                      <a:pt x="48292" y="41890"/>
                      <a:pt x="40696" y="42101"/>
                    </a:cubicBezTo>
                    <a:cubicBezTo>
                      <a:pt x="33701" y="42314"/>
                      <a:pt x="29320" y="47648"/>
                      <a:pt x="29885" y="54926"/>
                    </a:cubicBezTo>
                    <a:cubicBezTo>
                      <a:pt x="30415" y="61992"/>
                      <a:pt x="35008" y="66514"/>
                      <a:pt x="42250" y="66443"/>
                    </a:cubicBezTo>
                    <a:cubicBezTo>
                      <a:pt x="49458" y="66373"/>
                      <a:pt x="53450" y="61851"/>
                      <a:pt x="54545" y="55103"/>
                    </a:cubicBezTo>
                    <a:close/>
                    <a:moveTo>
                      <a:pt x="102416" y="33552"/>
                    </a:moveTo>
                    <a:cubicBezTo>
                      <a:pt x="102098" y="29171"/>
                      <a:pt x="99555" y="26203"/>
                      <a:pt x="94715" y="25744"/>
                    </a:cubicBezTo>
                    <a:cubicBezTo>
                      <a:pt x="90263" y="25320"/>
                      <a:pt x="85564" y="26274"/>
                      <a:pt x="85176" y="31468"/>
                    </a:cubicBezTo>
                    <a:cubicBezTo>
                      <a:pt x="84822" y="36414"/>
                      <a:pt x="87331" y="40724"/>
                      <a:pt x="93301" y="40971"/>
                    </a:cubicBezTo>
                    <a:cubicBezTo>
                      <a:pt x="98071" y="41183"/>
                      <a:pt x="101286" y="38957"/>
                      <a:pt x="102416" y="33516"/>
                    </a:cubicBezTo>
                    <a:close/>
                    <a:moveTo>
                      <a:pt x="112485" y="110499"/>
                    </a:moveTo>
                    <a:cubicBezTo>
                      <a:pt x="116866" y="109263"/>
                      <a:pt x="120399" y="106613"/>
                      <a:pt x="120646" y="102197"/>
                    </a:cubicBezTo>
                    <a:cubicBezTo>
                      <a:pt x="120929" y="97569"/>
                      <a:pt x="117184" y="94036"/>
                      <a:pt x="113050" y="93718"/>
                    </a:cubicBezTo>
                    <a:cubicBezTo>
                      <a:pt x="107857" y="93329"/>
                      <a:pt x="104006" y="97215"/>
                      <a:pt x="104183" y="102409"/>
                    </a:cubicBezTo>
                    <a:cubicBezTo>
                      <a:pt x="104359" y="106684"/>
                      <a:pt x="108034" y="109475"/>
                      <a:pt x="112485" y="110499"/>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6" name="Freeform: Shape 3465">
                <a:extLst>
                  <a:ext uri="{FF2B5EF4-FFF2-40B4-BE49-F238E27FC236}">
                    <a16:creationId xmlns:a16="http://schemas.microsoft.com/office/drawing/2014/main" id="{758B40B7-427F-99C2-C4CD-9255DBECDD49}"/>
                  </a:ext>
                </a:extLst>
              </p:cNvPr>
              <p:cNvSpPr/>
              <p:nvPr/>
            </p:nvSpPr>
            <p:spPr>
              <a:xfrm>
                <a:off x="7269295" y="4218033"/>
                <a:ext cx="146532" cy="128461"/>
              </a:xfrm>
              <a:custGeom>
                <a:avLst/>
                <a:gdLst>
                  <a:gd name="connsiteX0" fmla="*/ 52176 w 146532"/>
                  <a:gd name="connsiteY0" fmla="*/ 67 h 128461"/>
                  <a:gd name="connsiteX1" fmla="*/ 130360 w 146532"/>
                  <a:gd name="connsiteY1" fmla="*/ 28754 h 128461"/>
                  <a:gd name="connsiteX2" fmla="*/ 123718 w 146532"/>
                  <a:gd name="connsiteY2" fmla="*/ 123861 h 128461"/>
                  <a:gd name="connsiteX3" fmla="*/ 80616 w 146532"/>
                  <a:gd name="connsiteY3" fmla="*/ 120010 h 128461"/>
                  <a:gd name="connsiteX4" fmla="*/ 41082 w 146532"/>
                  <a:gd name="connsiteY4" fmla="*/ 83762 h 128461"/>
                  <a:gd name="connsiteX5" fmla="*/ 19814 w 146532"/>
                  <a:gd name="connsiteY5" fmla="*/ 67263 h 128461"/>
                  <a:gd name="connsiteX6" fmla="*/ 1513 w 146532"/>
                  <a:gd name="connsiteY6" fmla="*/ 23455 h 128461"/>
                  <a:gd name="connsiteX7" fmla="*/ 41047 w 146532"/>
                  <a:gd name="connsiteY7" fmla="*/ 31 h 128461"/>
                  <a:gd name="connsiteX8" fmla="*/ 52176 w 146532"/>
                  <a:gd name="connsiteY8" fmla="*/ 31 h 128461"/>
                  <a:gd name="connsiteX9" fmla="*/ 108774 w 146532"/>
                  <a:gd name="connsiteY9" fmla="*/ 86270 h 128461"/>
                  <a:gd name="connsiteX10" fmla="*/ 95702 w 146532"/>
                  <a:gd name="connsiteY10" fmla="*/ 71821 h 128461"/>
                  <a:gd name="connsiteX11" fmla="*/ 83796 w 146532"/>
                  <a:gd name="connsiteY11" fmla="*/ 83550 h 128461"/>
                  <a:gd name="connsiteX12" fmla="*/ 97397 w 146532"/>
                  <a:gd name="connsiteY12" fmla="*/ 95703 h 128461"/>
                  <a:gd name="connsiteX13" fmla="*/ 108774 w 146532"/>
                  <a:gd name="connsiteY13" fmla="*/ 86270 h 128461"/>
                  <a:gd name="connsiteX14" fmla="*/ 42743 w 146532"/>
                  <a:gd name="connsiteY14" fmla="*/ 35820 h 128461"/>
                  <a:gd name="connsiteX15" fmla="*/ 36278 w 146532"/>
                  <a:gd name="connsiteY15" fmla="*/ 44511 h 128461"/>
                  <a:gd name="connsiteX16" fmla="*/ 45711 w 146532"/>
                  <a:gd name="connsiteY16" fmla="*/ 52919 h 128461"/>
                  <a:gd name="connsiteX17" fmla="*/ 51081 w 146532"/>
                  <a:gd name="connsiteY17" fmla="*/ 43345 h 128461"/>
                  <a:gd name="connsiteX18" fmla="*/ 42708 w 146532"/>
                  <a:gd name="connsiteY18" fmla="*/ 35855 h 128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6532" h="128461">
                    <a:moveTo>
                      <a:pt x="52176" y="67"/>
                    </a:moveTo>
                    <a:cubicBezTo>
                      <a:pt x="82065" y="-781"/>
                      <a:pt x="107431" y="8934"/>
                      <a:pt x="130360" y="28754"/>
                    </a:cubicBezTo>
                    <a:cubicBezTo>
                      <a:pt x="158128" y="52778"/>
                      <a:pt x="146293" y="106055"/>
                      <a:pt x="123718" y="123861"/>
                    </a:cubicBezTo>
                    <a:cubicBezTo>
                      <a:pt x="114355" y="131244"/>
                      <a:pt x="91745" y="129584"/>
                      <a:pt x="80616" y="120010"/>
                    </a:cubicBezTo>
                    <a:cubicBezTo>
                      <a:pt x="67085" y="108351"/>
                      <a:pt x="54437" y="95633"/>
                      <a:pt x="41082" y="83762"/>
                    </a:cubicBezTo>
                    <a:cubicBezTo>
                      <a:pt x="34405" y="77827"/>
                      <a:pt x="27057" y="72562"/>
                      <a:pt x="19814" y="67263"/>
                    </a:cubicBezTo>
                    <a:cubicBezTo>
                      <a:pt x="4022" y="55746"/>
                      <a:pt x="-3433" y="38116"/>
                      <a:pt x="1513" y="23455"/>
                    </a:cubicBezTo>
                    <a:cubicBezTo>
                      <a:pt x="6424" y="9005"/>
                      <a:pt x="20839" y="420"/>
                      <a:pt x="41047" y="31"/>
                    </a:cubicBezTo>
                    <a:cubicBezTo>
                      <a:pt x="44757" y="-39"/>
                      <a:pt x="48466" y="31"/>
                      <a:pt x="52176" y="31"/>
                    </a:cubicBezTo>
                    <a:close/>
                    <a:moveTo>
                      <a:pt x="108774" y="86270"/>
                    </a:moveTo>
                    <a:cubicBezTo>
                      <a:pt x="108667" y="75601"/>
                      <a:pt x="102803" y="71609"/>
                      <a:pt x="95702" y="71821"/>
                    </a:cubicBezTo>
                    <a:cubicBezTo>
                      <a:pt x="89554" y="71997"/>
                      <a:pt x="83124" y="75460"/>
                      <a:pt x="83796" y="83550"/>
                    </a:cubicBezTo>
                    <a:cubicBezTo>
                      <a:pt x="84432" y="91464"/>
                      <a:pt x="89484" y="95491"/>
                      <a:pt x="97397" y="95703"/>
                    </a:cubicBezTo>
                    <a:cubicBezTo>
                      <a:pt x="105205" y="95915"/>
                      <a:pt x="108985" y="92029"/>
                      <a:pt x="108774" y="86270"/>
                    </a:cubicBezTo>
                    <a:close/>
                    <a:moveTo>
                      <a:pt x="42743" y="35820"/>
                    </a:moveTo>
                    <a:cubicBezTo>
                      <a:pt x="38291" y="36880"/>
                      <a:pt x="35253" y="39671"/>
                      <a:pt x="36278" y="44511"/>
                    </a:cubicBezTo>
                    <a:cubicBezTo>
                      <a:pt x="37302" y="49245"/>
                      <a:pt x="40411" y="53485"/>
                      <a:pt x="45711" y="52919"/>
                    </a:cubicBezTo>
                    <a:cubicBezTo>
                      <a:pt x="50727" y="52354"/>
                      <a:pt x="51646" y="47691"/>
                      <a:pt x="51081" y="43345"/>
                    </a:cubicBezTo>
                    <a:cubicBezTo>
                      <a:pt x="50515" y="38717"/>
                      <a:pt x="47901" y="35891"/>
                      <a:pt x="42708" y="35855"/>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7" name="Freeform: Shape 3466">
                <a:extLst>
                  <a:ext uri="{FF2B5EF4-FFF2-40B4-BE49-F238E27FC236}">
                    <a16:creationId xmlns:a16="http://schemas.microsoft.com/office/drawing/2014/main" id="{5C201704-65F2-3FF0-F76D-B59D477A8205}"/>
                  </a:ext>
                </a:extLst>
              </p:cNvPr>
              <p:cNvSpPr/>
              <p:nvPr/>
            </p:nvSpPr>
            <p:spPr>
              <a:xfrm>
                <a:off x="7129349" y="4508330"/>
                <a:ext cx="130930" cy="121498"/>
              </a:xfrm>
              <a:custGeom>
                <a:avLst/>
                <a:gdLst>
                  <a:gd name="connsiteX0" fmla="*/ 70659 w 130930"/>
                  <a:gd name="connsiteY0" fmla="*/ 121498 h 121498"/>
                  <a:gd name="connsiteX1" fmla="*/ 0 w 130930"/>
                  <a:gd name="connsiteY1" fmla="*/ 64582 h 121498"/>
                  <a:gd name="connsiteX2" fmla="*/ 62109 w 130930"/>
                  <a:gd name="connsiteY2" fmla="*/ 0 h 121498"/>
                  <a:gd name="connsiteX3" fmla="*/ 130931 w 130930"/>
                  <a:gd name="connsiteY3" fmla="*/ 66031 h 121498"/>
                  <a:gd name="connsiteX4" fmla="*/ 70659 w 130930"/>
                  <a:gd name="connsiteY4" fmla="*/ 121498 h 121498"/>
                  <a:gd name="connsiteX5" fmla="*/ 57446 w 130930"/>
                  <a:gd name="connsiteY5" fmla="*/ 35542 h 121498"/>
                  <a:gd name="connsiteX6" fmla="*/ 41265 w 130930"/>
                  <a:gd name="connsiteY6" fmla="*/ 19538 h 121498"/>
                  <a:gd name="connsiteX7" fmla="*/ 23070 w 130930"/>
                  <a:gd name="connsiteY7" fmla="*/ 35224 h 121498"/>
                  <a:gd name="connsiteX8" fmla="*/ 39463 w 130930"/>
                  <a:gd name="connsiteY8" fmla="*/ 53312 h 121498"/>
                  <a:gd name="connsiteX9" fmla="*/ 57446 w 130930"/>
                  <a:gd name="connsiteY9" fmla="*/ 35542 h 121498"/>
                  <a:gd name="connsiteX10" fmla="*/ 84685 w 130930"/>
                  <a:gd name="connsiteY10" fmla="*/ 70129 h 121498"/>
                  <a:gd name="connsiteX11" fmla="*/ 71154 w 130930"/>
                  <a:gd name="connsiteY11" fmla="*/ 84402 h 121498"/>
                  <a:gd name="connsiteX12" fmla="*/ 86946 w 130930"/>
                  <a:gd name="connsiteY12" fmla="*/ 101007 h 121498"/>
                  <a:gd name="connsiteX13" fmla="*/ 101925 w 130930"/>
                  <a:gd name="connsiteY13" fmla="*/ 84155 h 121498"/>
                  <a:gd name="connsiteX14" fmla="*/ 84720 w 130930"/>
                  <a:gd name="connsiteY14" fmla="*/ 70129 h 12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0930" h="121498">
                    <a:moveTo>
                      <a:pt x="70659" y="121498"/>
                    </a:moveTo>
                    <a:cubicBezTo>
                      <a:pt x="29642" y="121463"/>
                      <a:pt x="71" y="97651"/>
                      <a:pt x="0" y="64582"/>
                    </a:cubicBezTo>
                    <a:cubicBezTo>
                      <a:pt x="-106" y="28476"/>
                      <a:pt x="27169" y="106"/>
                      <a:pt x="62109" y="0"/>
                    </a:cubicBezTo>
                    <a:cubicBezTo>
                      <a:pt x="100371" y="-106"/>
                      <a:pt x="130966" y="29253"/>
                      <a:pt x="130931" y="66031"/>
                    </a:cubicBezTo>
                    <a:cubicBezTo>
                      <a:pt x="130895" y="101819"/>
                      <a:pt x="109451" y="121533"/>
                      <a:pt x="70659" y="121498"/>
                    </a:cubicBezTo>
                    <a:close/>
                    <a:moveTo>
                      <a:pt x="57446" y="35542"/>
                    </a:moveTo>
                    <a:cubicBezTo>
                      <a:pt x="55891" y="26851"/>
                      <a:pt x="50910" y="20279"/>
                      <a:pt x="41265" y="19538"/>
                    </a:cubicBezTo>
                    <a:cubicBezTo>
                      <a:pt x="30631" y="18725"/>
                      <a:pt x="23565" y="25084"/>
                      <a:pt x="23070" y="35224"/>
                    </a:cubicBezTo>
                    <a:cubicBezTo>
                      <a:pt x="22540" y="45363"/>
                      <a:pt x="29324" y="52888"/>
                      <a:pt x="39463" y="53312"/>
                    </a:cubicBezTo>
                    <a:cubicBezTo>
                      <a:pt x="49815" y="53736"/>
                      <a:pt x="55291" y="46140"/>
                      <a:pt x="57446" y="35542"/>
                    </a:cubicBezTo>
                    <a:close/>
                    <a:moveTo>
                      <a:pt x="84685" y="70129"/>
                    </a:moveTo>
                    <a:cubicBezTo>
                      <a:pt x="76135" y="69352"/>
                      <a:pt x="71295" y="76029"/>
                      <a:pt x="71154" y="84402"/>
                    </a:cubicBezTo>
                    <a:cubicBezTo>
                      <a:pt x="70977" y="93800"/>
                      <a:pt x="77689" y="101042"/>
                      <a:pt x="86946" y="101007"/>
                    </a:cubicBezTo>
                    <a:cubicBezTo>
                      <a:pt x="96202" y="100972"/>
                      <a:pt x="101996" y="93870"/>
                      <a:pt x="101925" y="84155"/>
                    </a:cubicBezTo>
                    <a:cubicBezTo>
                      <a:pt x="101855" y="74369"/>
                      <a:pt x="95743" y="70306"/>
                      <a:pt x="84720" y="70129"/>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8" name="Freeform: Shape 3467">
                <a:extLst>
                  <a:ext uri="{FF2B5EF4-FFF2-40B4-BE49-F238E27FC236}">
                    <a16:creationId xmlns:a16="http://schemas.microsoft.com/office/drawing/2014/main" id="{192BEF8F-DC6B-0292-84F3-3FE45F315243}"/>
                  </a:ext>
                </a:extLst>
              </p:cNvPr>
              <p:cNvSpPr/>
              <p:nvPr/>
            </p:nvSpPr>
            <p:spPr>
              <a:xfrm>
                <a:off x="6403829" y="4399975"/>
                <a:ext cx="131908" cy="99224"/>
              </a:xfrm>
              <a:custGeom>
                <a:avLst/>
                <a:gdLst>
                  <a:gd name="connsiteX0" fmla="*/ 65851 w 131908"/>
                  <a:gd name="connsiteY0" fmla="*/ 35 h 99224"/>
                  <a:gd name="connsiteX1" fmla="*/ 129055 w 131908"/>
                  <a:gd name="connsiteY1" fmla="*/ 76912 h 99224"/>
                  <a:gd name="connsiteX2" fmla="*/ 81431 w 131908"/>
                  <a:gd name="connsiteY2" fmla="*/ 93305 h 99224"/>
                  <a:gd name="connsiteX3" fmla="*/ 17591 w 131908"/>
                  <a:gd name="connsiteY3" fmla="*/ 58611 h 99224"/>
                  <a:gd name="connsiteX4" fmla="*/ 33 w 131908"/>
                  <a:gd name="connsiteY4" fmla="*/ 36106 h 99224"/>
                  <a:gd name="connsiteX5" fmla="*/ 14447 w 131908"/>
                  <a:gd name="connsiteY5" fmla="*/ 14803 h 99224"/>
                  <a:gd name="connsiteX6" fmla="*/ 65886 w 131908"/>
                  <a:gd name="connsiteY6" fmla="*/ 0 h 99224"/>
                  <a:gd name="connsiteX7" fmla="*/ 75319 w 131908"/>
                  <a:gd name="connsiteY7" fmla="*/ 26780 h 99224"/>
                  <a:gd name="connsiteX8" fmla="*/ 57796 w 131908"/>
                  <a:gd name="connsiteY8" fmla="*/ 9468 h 99224"/>
                  <a:gd name="connsiteX9" fmla="*/ 40167 w 131908"/>
                  <a:gd name="connsiteY9" fmla="*/ 28157 h 99224"/>
                  <a:gd name="connsiteX10" fmla="*/ 56807 w 131908"/>
                  <a:gd name="connsiteY10" fmla="*/ 44480 h 99224"/>
                  <a:gd name="connsiteX11" fmla="*/ 75319 w 131908"/>
                  <a:gd name="connsiteY11" fmla="*/ 26780 h 99224"/>
                  <a:gd name="connsiteX12" fmla="*/ 119446 w 131908"/>
                  <a:gd name="connsiteY12" fmla="*/ 49426 h 99224"/>
                  <a:gd name="connsiteX13" fmla="*/ 111426 w 131908"/>
                  <a:gd name="connsiteY13" fmla="*/ 41795 h 99224"/>
                  <a:gd name="connsiteX14" fmla="*/ 101463 w 131908"/>
                  <a:gd name="connsiteY14" fmla="*/ 49143 h 99224"/>
                  <a:gd name="connsiteX15" fmla="*/ 109236 w 131908"/>
                  <a:gd name="connsiteY15" fmla="*/ 57057 h 99224"/>
                  <a:gd name="connsiteX16" fmla="*/ 119410 w 131908"/>
                  <a:gd name="connsiteY16" fmla="*/ 49426 h 9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908" h="99224">
                    <a:moveTo>
                      <a:pt x="65851" y="35"/>
                    </a:moveTo>
                    <a:cubicBezTo>
                      <a:pt x="108635" y="177"/>
                      <a:pt x="142092" y="43031"/>
                      <a:pt x="129055" y="76912"/>
                    </a:cubicBezTo>
                    <a:cubicBezTo>
                      <a:pt x="120930" y="98004"/>
                      <a:pt x="100121" y="105635"/>
                      <a:pt x="81431" y="93305"/>
                    </a:cubicBezTo>
                    <a:cubicBezTo>
                      <a:pt x="61082" y="79915"/>
                      <a:pt x="41227" y="66031"/>
                      <a:pt x="17591" y="58611"/>
                    </a:cubicBezTo>
                    <a:cubicBezTo>
                      <a:pt x="7169" y="55326"/>
                      <a:pt x="669" y="46811"/>
                      <a:pt x="33" y="36106"/>
                    </a:cubicBezTo>
                    <a:cubicBezTo>
                      <a:pt x="-533" y="26356"/>
                      <a:pt x="6321" y="19502"/>
                      <a:pt x="14447" y="14803"/>
                    </a:cubicBezTo>
                    <a:cubicBezTo>
                      <a:pt x="31299" y="5087"/>
                      <a:pt x="50094" y="2226"/>
                      <a:pt x="65886" y="0"/>
                    </a:cubicBezTo>
                    <a:close/>
                    <a:moveTo>
                      <a:pt x="75319" y="26780"/>
                    </a:moveTo>
                    <a:cubicBezTo>
                      <a:pt x="74931" y="13743"/>
                      <a:pt x="68642" y="9574"/>
                      <a:pt x="57796" y="9468"/>
                    </a:cubicBezTo>
                    <a:cubicBezTo>
                      <a:pt x="44760" y="9362"/>
                      <a:pt x="39814" y="15722"/>
                      <a:pt x="40167" y="28157"/>
                    </a:cubicBezTo>
                    <a:cubicBezTo>
                      <a:pt x="40485" y="39322"/>
                      <a:pt x="45643" y="44939"/>
                      <a:pt x="56807" y="44480"/>
                    </a:cubicBezTo>
                    <a:cubicBezTo>
                      <a:pt x="68995" y="43950"/>
                      <a:pt x="74507" y="36778"/>
                      <a:pt x="75319" y="26780"/>
                    </a:cubicBezTo>
                    <a:close/>
                    <a:moveTo>
                      <a:pt x="119446" y="49426"/>
                    </a:moveTo>
                    <a:cubicBezTo>
                      <a:pt x="118845" y="44974"/>
                      <a:pt x="116196" y="42148"/>
                      <a:pt x="111426" y="41795"/>
                    </a:cubicBezTo>
                    <a:cubicBezTo>
                      <a:pt x="106162" y="41406"/>
                      <a:pt x="101852" y="43349"/>
                      <a:pt x="101463" y="49143"/>
                    </a:cubicBezTo>
                    <a:cubicBezTo>
                      <a:pt x="101145" y="54054"/>
                      <a:pt x="104537" y="56704"/>
                      <a:pt x="109236" y="57057"/>
                    </a:cubicBezTo>
                    <a:cubicBezTo>
                      <a:pt x="114500" y="57481"/>
                      <a:pt x="118351" y="55467"/>
                      <a:pt x="119410" y="49426"/>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9" name="Freeform: Shape 3468">
                <a:extLst>
                  <a:ext uri="{FF2B5EF4-FFF2-40B4-BE49-F238E27FC236}">
                    <a16:creationId xmlns:a16="http://schemas.microsoft.com/office/drawing/2014/main" id="{2C067089-460C-80C3-5E16-C6DF8E05E80A}"/>
                  </a:ext>
                </a:extLst>
              </p:cNvPr>
              <p:cNvSpPr/>
              <p:nvPr/>
            </p:nvSpPr>
            <p:spPr>
              <a:xfrm>
                <a:off x="6287661" y="3921580"/>
                <a:ext cx="83344" cy="86451"/>
              </a:xfrm>
              <a:custGeom>
                <a:avLst/>
                <a:gdLst>
                  <a:gd name="connsiteX0" fmla="*/ 83344 w 83344"/>
                  <a:gd name="connsiteY0" fmla="*/ 43067 h 86451"/>
                  <a:gd name="connsiteX1" fmla="*/ 42186 w 83344"/>
                  <a:gd name="connsiteY1" fmla="*/ 86452 h 86451"/>
                  <a:gd name="connsiteX2" fmla="*/ 2 w 83344"/>
                  <a:gd name="connsiteY2" fmla="*/ 42502 h 86451"/>
                  <a:gd name="connsiteX3" fmla="*/ 43528 w 83344"/>
                  <a:gd name="connsiteY3" fmla="*/ 1 h 86451"/>
                  <a:gd name="connsiteX4" fmla="*/ 83344 w 83344"/>
                  <a:gd name="connsiteY4" fmla="*/ 43103 h 86451"/>
                  <a:gd name="connsiteX5" fmla="*/ 29290 w 83344"/>
                  <a:gd name="connsiteY5" fmla="*/ 44586 h 86451"/>
                  <a:gd name="connsiteX6" fmla="*/ 37699 w 83344"/>
                  <a:gd name="connsiteY6" fmla="*/ 36991 h 86451"/>
                  <a:gd name="connsiteX7" fmla="*/ 28160 w 83344"/>
                  <a:gd name="connsiteY7" fmla="*/ 29183 h 86451"/>
                  <a:gd name="connsiteX8" fmla="*/ 19928 w 83344"/>
                  <a:gd name="connsiteY8" fmla="*/ 36743 h 86451"/>
                  <a:gd name="connsiteX9" fmla="*/ 29290 w 83344"/>
                  <a:gd name="connsiteY9" fmla="*/ 44586 h 8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344" h="86451">
                    <a:moveTo>
                      <a:pt x="83344" y="43067"/>
                    </a:moveTo>
                    <a:cubicBezTo>
                      <a:pt x="83274" y="70801"/>
                      <a:pt x="68365" y="86522"/>
                      <a:pt x="42186" y="86452"/>
                    </a:cubicBezTo>
                    <a:cubicBezTo>
                      <a:pt x="17561" y="86381"/>
                      <a:pt x="250" y="68363"/>
                      <a:pt x="2" y="42502"/>
                    </a:cubicBezTo>
                    <a:cubicBezTo>
                      <a:pt x="-245" y="18019"/>
                      <a:pt x="18374" y="-141"/>
                      <a:pt x="43528" y="1"/>
                    </a:cubicBezTo>
                    <a:cubicBezTo>
                      <a:pt x="68683" y="107"/>
                      <a:pt x="83415" y="16040"/>
                      <a:pt x="83344" y="43103"/>
                    </a:cubicBezTo>
                    <a:close/>
                    <a:moveTo>
                      <a:pt x="29290" y="44586"/>
                    </a:moveTo>
                    <a:cubicBezTo>
                      <a:pt x="34201" y="44198"/>
                      <a:pt x="37734" y="41866"/>
                      <a:pt x="37699" y="36991"/>
                    </a:cubicBezTo>
                    <a:cubicBezTo>
                      <a:pt x="37628" y="31232"/>
                      <a:pt x="33530" y="28936"/>
                      <a:pt x="28160" y="29183"/>
                    </a:cubicBezTo>
                    <a:cubicBezTo>
                      <a:pt x="23426" y="29395"/>
                      <a:pt x="19893" y="31832"/>
                      <a:pt x="19928" y="36743"/>
                    </a:cubicBezTo>
                    <a:cubicBezTo>
                      <a:pt x="19964" y="42573"/>
                      <a:pt x="24168" y="44551"/>
                      <a:pt x="29290" y="44586"/>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0" name="Freeform: Shape 3469">
                <a:extLst>
                  <a:ext uri="{FF2B5EF4-FFF2-40B4-BE49-F238E27FC236}">
                    <a16:creationId xmlns:a16="http://schemas.microsoft.com/office/drawing/2014/main" id="{C38704DD-0F48-AB01-1D27-8A699BC3DC7C}"/>
                  </a:ext>
                </a:extLst>
              </p:cNvPr>
              <p:cNvSpPr/>
              <p:nvPr/>
            </p:nvSpPr>
            <p:spPr>
              <a:xfrm>
                <a:off x="6294021" y="4546691"/>
                <a:ext cx="85272" cy="79674"/>
              </a:xfrm>
              <a:custGeom>
                <a:avLst/>
                <a:gdLst>
                  <a:gd name="connsiteX0" fmla="*/ 48014 w 85272"/>
                  <a:gd name="connsiteY0" fmla="*/ 79675 h 79674"/>
                  <a:gd name="connsiteX1" fmla="*/ 2 w 85272"/>
                  <a:gd name="connsiteY1" fmla="*/ 37067 h 79674"/>
                  <a:gd name="connsiteX2" fmla="*/ 36144 w 85272"/>
                  <a:gd name="connsiteY2" fmla="*/ 7 h 79674"/>
                  <a:gd name="connsiteX3" fmla="*/ 85251 w 85272"/>
                  <a:gd name="connsiteY3" fmla="*/ 47949 h 79674"/>
                  <a:gd name="connsiteX4" fmla="*/ 47979 w 85272"/>
                  <a:gd name="connsiteY4" fmla="*/ 79675 h 79674"/>
                  <a:gd name="connsiteX5" fmla="*/ 39606 w 85272"/>
                  <a:gd name="connsiteY5" fmla="*/ 35336 h 79674"/>
                  <a:gd name="connsiteX6" fmla="*/ 32364 w 85272"/>
                  <a:gd name="connsiteY6" fmla="*/ 41307 h 79674"/>
                  <a:gd name="connsiteX7" fmla="*/ 39005 w 85272"/>
                  <a:gd name="connsiteY7" fmla="*/ 50210 h 79674"/>
                  <a:gd name="connsiteX8" fmla="*/ 47308 w 85272"/>
                  <a:gd name="connsiteY8" fmla="*/ 43250 h 79674"/>
                  <a:gd name="connsiteX9" fmla="*/ 39606 w 85272"/>
                  <a:gd name="connsiteY9" fmla="*/ 35336 h 79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272" h="79674">
                    <a:moveTo>
                      <a:pt x="48014" y="79675"/>
                    </a:moveTo>
                    <a:cubicBezTo>
                      <a:pt x="21447" y="79745"/>
                      <a:pt x="214" y="60879"/>
                      <a:pt x="2" y="37067"/>
                    </a:cubicBezTo>
                    <a:cubicBezTo>
                      <a:pt x="-175" y="13785"/>
                      <a:pt x="12862" y="396"/>
                      <a:pt x="36144" y="7"/>
                    </a:cubicBezTo>
                    <a:cubicBezTo>
                      <a:pt x="62782" y="-452"/>
                      <a:pt x="86064" y="22265"/>
                      <a:pt x="85251" y="47949"/>
                    </a:cubicBezTo>
                    <a:cubicBezTo>
                      <a:pt x="84686" y="65720"/>
                      <a:pt x="68364" y="79639"/>
                      <a:pt x="47979" y="79675"/>
                    </a:cubicBezTo>
                    <a:close/>
                    <a:moveTo>
                      <a:pt x="39606" y="35336"/>
                    </a:moveTo>
                    <a:cubicBezTo>
                      <a:pt x="35472" y="35230"/>
                      <a:pt x="32469" y="36608"/>
                      <a:pt x="32364" y="41307"/>
                    </a:cubicBezTo>
                    <a:cubicBezTo>
                      <a:pt x="32257" y="45970"/>
                      <a:pt x="34095" y="49574"/>
                      <a:pt x="39005" y="50210"/>
                    </a:cubicBezTo>
                    <a:cubicBezTo>
                      <a:pt x="43916" y="50846"/>
                      <a:pt x="47025" y="48020"/>
                      <a:pt x="47308" y="43250"/>
                    </a:cubicBezTo>
                    <a:cubicBezTo>
                      <a:pt x="47591" y="38304"/>
                      <a:pt x="44199" y="35972"/>
                      <a:pt x="39606" y="35336"/>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1" name="Freeform: Shape 3470">
                <a:extLst>
                  <a:ext uri="{FF2B5EF4-FFF2-40B4-BE49-F238E27FC236}">
                    <a16:creationId xmlns:a16="http://schemas.microsoft.com/office/drawing/2014/main" id="{C7E59431-9FF1-3E5E-04ED-AB86AB42CD13}"/>
                  </a:ext>
                </a:extLst>
              </p:cNvPr>
              <p:cNvSpPr/>
              <p:nvPr/>
            </p:nvSpPr>
            <p:spPr>
              <a:xfrm>
                <a:off x="6539609" y="3803658"/>
                <a:ext cx="331744" cy="349098"/>
              </a:xfrm>
              <a:custGeom>
                <a:avLst/>
                <a:gdLst>
                  <a:gd name="connsiteX0" fmla="*/ 130 w 331744"/>
                  <a:gd name="connsiteY0" fmla="*/ 225395 h 349098"/>
                  <a:gd name="connsiteX1" fmla="*/ 57469 w 331744"/>
                  <a:gd name="connsiteY1" fmla="*/ 124706 h 349098"/>
                  <a:gd name="connsiteX2" fmla="*/ 122193 w 331744"/>
                  <a:gd name="connsiteY2" fmla="*/ 87469 h 349098"/>
                  <a:gd name="connsiteX3" fmla="*/ 184196 w 331744"/>
                  <a:gd name="connsiteY3" fmla="*/ 31119 h 349098"/>
                  <a:gd name="connsiteX4" fmla="*/ 237508 w 331744"/>
                  <a:gd name="connsiteY4" fmla="*/ 1407 h 349098"/>
                  <a:gd name="connsiteX5" fmla="*/ 329611 w 331744"/>
                  <a:gd name="connsiteY5" fmla="*/ 49879 h 349098"/>
                  <a:gd name="connsiteX6" fmla="*/ 316257 w 331744"/>
                  <a:gd name="connsiteY6" fmla="*/ 111422 h 349098"/>
                  <a:gd name="connsiteX7" fmla="*/ 268703 w 331744"/>
                  <a:gd name="connsiteY7" fmla="*/ 214231 h 349098"/>
                  <a:gd name="connsiteX8" fmla="*/ 221857 w 331744"/>
                  <a:gd name="connsiteY8" fmla="*/ 305381 h 349098"/>
                  <a:gd name="connsiteX9" fmla="*/ 98699 w 331744"/>
                  <a:gd name="connsiteY9" fmla="*/ 344172 h 349098"/>
                  <a:gd name="connsiteX10" fmla="*/ 130 w 331744"/>
                  <a:gd name="connsiteY10" fmla="*/ 225395 h 349098"/>
                  <a:gd name="connsiteX11" fmla="*/ 12778 w 331744"/>
                  <a:gd name="connsiteY11" fmla="*/ 222922 h 349098"/>
                  <a:gd name="connsiteX12" fmla="*/ 88206 w 331744"/>
                  <a:gd name="connsiteY12" fmla="*/ 328592 h 349098"/>
                  <a:gd name="connsiteX13" fmla="*/ 209032 w 331744"/>
                  <a:gd name="connsiteY13" fmla="*/ 302696 h 349098"/>
                  <a:gd name="connsiteX14" fmla="*/ 258387 w 331744"/>
                  <a:gd name="connsiteY14" fmla="*/ 207836 h 349098"/>
                  <a:gd name="connsiteX15" fmla="*/ 301630 w 331744"/>
                  <a:gd name="connsiteY15" fmla="*/ 113613 h 349098"/>
                  <a:gd name="connsiteX16" fmla="*/ 317387 w 331744"/>
                  <a:gd name="connsiteY16" fmla="*/ 82700 h 349098"/>
                  <a:gd name="connsiteX17" fmla="*/ 283224 w 331744"/>
                  <a:gd name="connsiteY17" fmla="*/ 17234 h 349098"/>
                  <a:gd name="connsiteX18" fmla="*/ 176459 w 331744"/>
                  <a:gd name="connsiteY18" fmla="*/ 56273 h 349098"/>
                  <a:gd name="connsiteX19" fmla="*/ 151799 w 331744"/>
                  <a:gd name="connsiteY19" fmla="*/ 80721 h 349098"/>
                  <a:gd name="connsiteX20" fmla="*/ 57363 w 331744"/>
                  <a:gd name="connsiteY20" fmla="*/ 139121 h 349098"/>
                  <a:gd name="connsiteX21" fmla="*/ 12813 w 331744"/>
                  <a:gd name="connsiteY21" fmla="*/ 223028 h 34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1744" h="349098">
                    <a:moveTo>
                      <a:pt x="130" y="225395"/>
                    </a:moveTo>
                    <a:cubicBezTo>
                      <a:pt x="-471" y="180597"/>
                      <a:pt x="18854" y="147140"/>
                      <a:pt x="57469" y="124706"/>
                    </a:cubicBezTo>
                    <a:cubicBezTo>
                      <a:pt x="78985" y="112200"/>
                      <a:pt x="100289" y="99269"/>
                      <a:pt x="122193" y="87469"/>
                    </a:cubicBezTo>
                    <a:cubicBezTo>
                      <a:pt x="147630" y="73761"/>
                      <a:pt x="164023" y="50409"/>
                      <a:pt x="184196" y="31119"/>
                    </a:cubicBezTo>
                    <a:cubicBezTo>
                      <a:pt x="199529" y="16457"/>
                      <a:pt x="216593" y="5222"/>
                      <a:pt x="237508" y="1407"/>
                    </a:cubicBezTo>
                    <a:cubicBezTo>
                      <a:pt x="269551" y="-4422"/>
                      <a:pt x="319542" y="7130"/>
                      <a:pt x="329611" y="49879"/>
                    </a:cubicBezTo>
                    <a:cubicBezTo>
                      <a:pt x="335017" y="72772"/>
                      <a:pt x="330000" y="94040"/>
                      <a:pt x="316257" y="111422"/>
                    </a:cubicBezTo>
                    <a:cubicBezTo>
                      <a:pt x="291986" y="142159"/>
                      <a:pt x="278348" y="176958"/>
                      <a:pt x="268703" y="214231"/>
                    </a:cubicBezTo>
                    <a:cubicBezTo>
                      <a:pt x="260012" y="247970"/>
                      <a:pt x="243584" y="277859"/>
                      <a:pt x="221857" y="305381"/>
                    </a:cubicBezTo>
                    <a:cubicBezTo>
                      <a:pt x="189212" y="346645"/>
                      <a:pt x="147665" y="356431"/>
                      <a:pt x="98699" y="344172"/>
                    </a:cubicBezTo>
                    <a:cubicBezTo>
                      <a:pt x="49132" y="331772"/>
                      <a:pt x="-2944" y="286656"/>
                      <a:pt x="130" y="225395"/>
                    </a:cubicBezTo>
                    <a:close/>
                    <a:moveTo>
                      <a:pt x="12778" y="222922"/>
                    </a:moveTo>
                    <a:cubicBezTo>
                      <a:pt x="8715" y="274785"/>
                      <a:pt x="45952" y="313506"/>
                      <a:pt x="88206" y="328592"/>
                    </a:cubicBezTo>
                    <a:cubicBezTo>
                      <a:pt x="141306" y="347529"/>
                      <a:pt x="176494" y="340039"/>
                      <a:pt x="209032" y="302696"/>
                    </a:cubicBezTo>
                    <a:cubicBezTo>
                      <a:pt x="233056" y="275103"/>
                      <a:pt x="249272" y="243342"/>
                      <a:pt x="258387" y="207836"/>
                    </a:cubicBezTo>
                    <a:cubicBezTo>
                      <a:pt x="267078" y="173885"/>
                      <a:pt x="277819" y="140852"/>
                      <a:pt x="301630" y="113613"/>
                    </a:cubicBezTo>
                    <a:cubicBezTo>
                      <a:pt x="309262" y="104887"/>
                      <a:pt x="314844" y="94288"/>
                      <a:pt x="317387" y="82700"/>
                    </a:cubicBezTo>
                    <a:cubicBezTo>
                      <a:pt x="322899" y="57369"/>
                      <a:pt x="316857" y="26632"/>
                      <a:pt x="283224" y="17234"/>
                    </a:cubicBezTo>
                    <a:cubicBezTo>
                      <a:pt x="234787" y="3668"/>
                      <a:pt x="209633" y="19107"/>
                      <a:pt x="176459" y="56273"/>
                    </a:cubicBezTo>
                    <a:cubicBezTo>
                      <a:pt x="168686" y="65000"/>
                      <a:pt x="161302" y="73691"/>
                      <a:pt x="151799" y="80721"/>
                    </a:cubicBezTo>
                    <a:cubicBezTo>
                      <a:pt x="121945" y="102837"/>
                      <a:pt x="88241" y="118630"/>
                      <a:pt x="57363" y="139121"/>
                    </a:cubicBezTo>
                    <a:cubicBezTo>
                      <a:pt x="27086" y="159188"/>
                      <a:pt x="10976" y="186179"/>
                      <a:pt x="12813" y="223028"/>
                    </a:cubicBezTo>
                    <a:close/>
                  </a:path>
                </a:pathLst>
              </a:custGeom>
              <a:solidFill>
                <a:srgbClr val="817D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2" name="Freeform: Shape 3471">
                <a:extLst>
                  <a:ext uri="{FF2B5EF4-FFF2-40B4-BE49-F238E27FC236}">
                    <a16:creationId xmlns:a16="http://schemas.microsoft.com/office/drawing/2014/main" id="{0E0CBC73-7252-6937-CCB7-61FCDF1922FA}"/>
                  </a:ext>
                </a:extLst>
              </p:cNvPr>
              <p:cNvSpPr/>
              <p:nvPr/>
            </p:nvSpPr>
            <p:spPr>
              <a:xfrm>
                <a:off x="6880845" y="3935236"/>
                <a:ext cx="177399" cy="359430"/>
              </a:xfrm>
              <a:custGeom>
                <a:avLst/>
                <a:gdLst>
                  <a:gd name="connsiteX0" fmla="*/ 9891 w 177399"/>
                  <a:gd name="connsiteY0" fmla="*/ 233261 h 359430"/>
                  <a:gd name="connsiteX1" fmla="*/ 882 w 177399"/>
                  <a:gd name="connsiteY1" fmla="*/ 122186 h 359430"/>
                  <a:gd name="connsiteX2" fmla="*/ 46421 w 177399"/>
                  <a:gd name="connsiteY2" fmla="*/ 12135 h 359430"/>
                  <a:gd name="connsiteX3" fmla="*/ 135910 w 177399"/>
                  <a:gd name="connsiteY3" fmla="*/ 27044 h 359430"/>
                  <a:gd name="connsiteX4" fmla="*/ 175267 w 177399"/>
                  <a:gd name="connsiteY4" fmla="*/ 122257 h 359430"/>
                  <a:gd name="connsiteX5" fmla="*/ 130682 w 177399"/>
                  <a:gd name="connsiteY5" fmla="*/ 313742 h 359430"/>
                  <a:gd name="connsiteX6" fmla="*/ 85213 w 177399"/>
                  <a:gd name="connsiteY6" fmla="*/ 356137 h 359430"/>
                  <a:gd name="connsiteX7" fmla="*/ 15649 w 177399"/>
                  <a:gd name="connsiteY7" fmla="*/ 319500 h 359430"/>
                  <a:gd name="connsiteX8" fmla="*/ 9891 w 177399"/>
                  <a:gd name="connsiteY8" fmla="*/ 233261 h 359430"/>
                  <a:gd name="connsiteX9" fmla="*/ 22115 w 177399"/>
                  <a:gd name="connsiteY9" fmla="*/ 246898 h 359430"/>
                  <a:gd name="connsiteX10" fmla="*/ 24552 w 177399"/>
                  <a:gd name="connsiteY10" fmla="*/ 303955 h 359430"/>
                  <a:gd name="connsiteX11" fmla="*/ 57833 w 177399"/>
                  <a:gd name="connsiteY11" fmla="*/ 348046 h 359430"/>
                  <a:gd name="connsiteX12" fmla="*/ 104079 w 177399"/>
                  <a:gd name="connsiteY12" fmla="*/ 330205 h 359430"/>
                  <a:gd name="connsiteX13" fmla="*/ 135875 w 177399"/>
                  <a:gd name="connsiteY13" fmla="*/ 275833 h 359430"/>
                  <a:gd name="connsiteX14" fmla="*/ 162337 w 177399"/>
                  <a:gd name="connsiteY14" fmla="*/ 115650 h 359430"/>
                  <a:gd name="connsiteX15" fmla="*/ 119341 w 177399"/>
                  <a:gd name="connsiteY15" fmla="*/ 27539 h 359430"/>
                  <a:gd name="connsiteX16" fmla="*/ 44937 w 177399"/>
                  <a:gd name="connsiteY16" fmla="*/ 28528 h 359430"/>
                  <a:gd name="connsiteX17" fmla="*/ 13530 w 177399"/>
                  <a:gd name="connsiteY17" fmla="*/ 131760 h 359430"/>
                  <a:gd name="connsiteX18" fmla="*/ 22115 w 177399"/>
                  <a:gd name="connsiteY18" fmla="*/ 246934 h 35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399" h="359430">
                    <a:moveTo>
                      <a:pt x="9891" y="233261"/>
                    </a:moveTo>
                    <a:cubicBezTo>
                      <a:pt x="11516" y="199734"/>
                      <a:pt x="4733" y="161119"/>
                      <a:pt x="882" y="122186"/>
                    </a:cubicBezTo>
                    <a:cubicBezTo>
                      <a:pt x="-3499" y="77918"/>
                      <a:pt x="7948" y="39127"/>
                      <a:pt x="46421" y="12135"/>
                    </a:cubicBezTo>
                    <a:cubicBezTo>
                      <a:pt x="76981" y="-9275"/>
                      <a:pt x="108495" y="-1149"/>
                      <a:pt x="135910" y="27044"/>
                    </a:cubicBezTo>
                    <a:cubicBezTo>
                      <a:pt x="161206" y="53046"/>
                      <a:pt x="170392" y="87104"/>
                      <a:pt x="175267" y="122257"/>
                    </a:cubicBezTo>
                    <a:cubicBezTo>
                      <a:pt x="184912" y="191749"/>
                      <a:pt x="160394" y="253540"/>
                      <a:pt x="130682" y="313742"/>
                    </a:cubicBezTo>
                    <a:cubicBezTo>
                      <a:pt x="121178" y="332996"/>
                      <a:pt x="106516" y="348576"/>
                      <a:pt x="85213" y="356137"/>
                    </a:cubicBezTo>
                    <a:cubicBezTo>
                      <a:pt x="54936" y="366842"/>
                      <a:pt x="24446" y="350625"/>
                      <a:pt x="15649" y="319500"/>
                    </a:cubicBezTo>
                    <a:cubicBezTo>
                      <a:pt x="8160" y="293038"/>
                      <a:pt x="9997" y="266012"/>
                      <a:pt x="9891" y="233261"/>
                    </a:cubicBezTo>
                    <a:close/>
                    <a:moveTo>
                      <a:pt x="22115" y="246898"/>
                    </a:moveTo>
                    <a:cubicBezTo>
                      <a:pt x="23916" y="264810"/>
                      <a:pt x="21620" y="284242"/>
                      <a:pt x="24552" y="303955"/>
                    </a:cubicBezTo>
                    <a:cubicBezTo>
                      <a:pt x="27803" y="325965"/>
                      <a:pt x="37624" y="341192"/>
                      <a:pt x="57833" y="348046"/>
                    </a:cubicBezTo>
                    <a:cubicBezTo>
                      <a:pt x="77052" y="354547"/>
                      <a:pt x="91148" y="342429"/>
                      <a:pt x="104079" y="330205"/>
                    </a:cubicBezTo>
                    <a:cubicBezTo>
                      <a:pt x="119906" y="315225"/>
                      <a:pt x="127679" y="295335"/>
                      <a:pt x="135875" y="275833"/>
                    </a:cubicBezTo>
                    <a:cubicBezTo>
                      <a:pt x="157497" y="224570"/>
                      <a:pt x="172900" y="172071"/>
                      <a:pt x="162337" y="115650"/>
                    </a:cubicBezTo>
                    <a:cubicBezTo>
                      <a:pt x="156154" y="82546"/>
                      <a:pt x="146403" y="50962"/>
                      <a:pt x="119341" y="27539"/>
                    </a:cubicBezTo>
                    <a:cubicBezTo>
                      <a:pt x="97048" y="8249"/>
                      <a:pt x="67266" y="9591"/>
                      <a:pt x="44937" y="28528"/>
                    </a:cubicBezTo>
                    <a:cubicBezTo>
                      <a:pt x="11693" y="56721"/>
                      <a:pt x="9608" y="93710"/>
                      <a:pt x="13530" y="131760"/>
                    </a:cubicBezTo>
                    <a:cubicBezTo>
                      <a:pt x="17451" y="169598"/>
                      <a:pt x="23563" y="207153"/>
                      <a:pt x="22115" y="246934"/>
                    </a:cubicBezTo>
                    <a:close/>
                  </a:path>
                </a:pathLst>
              </a:custGeom>
              <a:solidFill>
                <a:srgbClr val="817D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3" name="Freeform: Shape 3472">
                <a:extLst>
                  <a:ext uri="{FF2B5EF4-FFF2-40B4-BE49-F238E27FC236}">
                    <a16:creationId xmlns:a16="http://schemas.microsoft.com/office/drawing/2014/main" id="{05DF7A6D-1E5C-6751-572D-BFC0EB0B456D}"/>
                  </a:ext>
                </a:extLst>
              </p:cNvPr>
              <p:cNvSpPr/>
              <p:nvPr/>
            </p:nvSpPr>
            <p:spPr>
              <a:xfrm>
                <a:off x="6689748" y="4188783"/>
                <a:ext cx="146957" cy="164553"/>
              </a:xfrm>
              <a:custGeom>
                <a:avLst/>
                <a:gdLst>
                  <a:gd name="connsiteX0" fmla="*/ 146580 w 146957"/>
                  <a:gd name="connsiteY0" fmla="*/ 96407 h 164553"/>
                  <a:gd name="connsiteX1" fmla="*/ 135169 w 146957"/>
                  <a:gd name="connsiteY1" fmla="*/ 140286 h 164553"/>
                  <a:gd name="connsiteX2" fmla="*/ 67160 w 146957"/>
                  <a:gd name="connsiteY2" fmla="*/ 157032 h 164553"/>
                  <a:gd name="connsiteX3" fmla="*/ 175 w 146957"/>
                  <a:gd name="connsiteY3" fmla="*/ 62809 h 164553"/>
                  <a:gd name="connsiteX4" fmla="*/ 57444 w 146957"/>
                  <a:gd name="connsiteY4" fmla="*/ 488 h 164553"/>
                  <a:gd name="connsiteX5" fmla="*/ 146545 w 146957"/>
                  <a:gd name="connsiteY5" fmla="*/ 96407 h 164553"/>
                  <a:gd name="connsiteX6" fmla="*/ 12399 w 146957"/>
                  <a:gd name="connsiteY6" fmla="*/ 62279 h 164553"/>
                  <a:gd name="connsiteX7" fmla="*/ 79666 w 146957"/>
                  <a:gd name="connsiteY7" fmla="*/ 149931 h 164553"/>
                  <a:gd name="connsiteX8" fmla="*/ 131389 w 146957"/>
                  <a:gd name="connsiteY8" fmla="*/ 123116 h 164553"/>
                  <a:gd name="connsiteX9" fmla="*/ 106411 w 146957"/>
                  <a:gd name="connsiteY9" fmla="*/ 26278 h 164553"/>
                  <a:gd name="connsiteX10" fmla="*/ 42253 w 146957"/>
                  <a:gd name="connsiteY10" fmla="*/ 17834 h 164553"/>
                  <a:gd name="connsiteX11" fmla="*/ 12399 w 146957"/>
                  <a:gd name="connsiteY11" fmla="*/ 62279 h 16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957" h="164553">
                    <a:moveTo>
                      <a:pt x="146580" y="96407"/>
                    </a:moveTo>
                    <a:cubicBezTo>
                      <a:pt x="148241" y="111457"/>
                      <a:pt x="144425" y="126719"/>
                      <a:pt x="135169" y="140286"/>
                    </a:cubicBezTo>
                    <a:cubicBezTo>
                      <a:pt x="118670" y="164557"/>
                      <a:pt x="93127" y="171552"/>
                      <a:pt x="67160" y="157032"/>
                    </a:cubicBezTo>
                    <a:cubicBezTo>
                      <a:pt x="30276" y="136400"/>
                      <a:pt x="3814" y="106582"/>
                      <a:pt x="175" y="62809"/>
                    </a:cubicBezTo>
                    <a:cubicBezTo>
                      <a:pt x="-2474" y="30800"/>
                      <a:pt x="25294" y="3950"/>
                      <a:pt x="57444" y="488"/>
                    </a:cubicBezTo>
                    <a:cubicBezTo>
                      <a:pt x="115420" y="-5801"/>
                      <a:pt x="149442" y="49949"/>
                      <a:pt x="146545" y="96407"/>
                    </a:cubicBezTo>
                    <a:close/>
                    <a:moveTo>
                      <a:pt x="12399" y="62279"/>
                    </a:moveTo>
                    <a:cubicBezTo>
                      <a:pt x="9361" y="95241"/>
                      <a:pt x="49884" y="140887"/>
                      <a:pt x="79666" y="149931"/>
                    </a:cubicBezTo>
                    <a:cubicBezTo>
                      <a:pt x="102948" y="156997"/>
                      <a:pt x="122026" y="146398"/>
                      <a:pt x="131389" y="123116"/>
                    </a:cubicBezTo>
                    <a:cubicBezTo>
                      <a:pt x="143577" y="92803"/>
                      <a:pt x="131954" y="46805"/>
                      <a:pt x="106411" y="26278"/>
                    </a:cubicBezTo>
                    <a:cubicBezTo>
                      <a:pt x="86909" y="10592"/>
                      <a:pt x="64969" y="9179"/>
                      <a:pt x="42253" y="17834"/>
                    </a:cubicBezTo>
                    <a:cubicBezTo>
                      <a:pt x="22468" y="25395"/>
                      <a:pt x="11551" y="39597"/>
                      <a:pt x="12399" y="62279"/>
                    </a:cubicBezTo>
                    <a:close/>
                  </a:path>
                </a:pathLst>
              </a:custGeom>
              <a:solidFill>
                <a:srgbClr val="817D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4" name="Freeform: Shape 3473">
                <a:extLst>
                  <a:ext uri="{FF2B5EF4-FFF2-40B4-BE49-F238E27FC236}">
                    <a16:creationId xmlns:a16="http://schemas.microsoft.com/office/drawing/2014/main" id="{8B4B0622-1C00-F199-92FE-86AE88CC3BAC}"/>
                  </a:ext>
                </a:extLst>
              </p:cNvPr>
              <p:cNvSpPr/>
              <p:nvPr/>
            </p:nvSpPr>
            <p:spPr>
              <a:xfrm>
                <a:off x="7043428" y="3889958"/>
                <a:ext cx="82918" cy="79637"/>
              </a:xfrm>
              <a:custGeom>
                <a:avLst/>
                <a:gdLst>
                  <a:gd name="connsiteX0" fmla="*/ 40347 w 82918"/>
                  <a:gd name="connsiteY0" fmla="*/ 79635 h 79637"/>
                  <a:gd name="connsiteX1" fmla="*/ 0 w 82918"/>
                  <a:gd name="connsiteY1" fmla="*/ 37911 h 79637"/>
                  <a:gd name="connsiteX2" fmla="*/ 34800 w 82918"/>
                  <a:gd name="connsiteY2" fmla="*/ 3 h 79637"/>
                  <a:gd name="connsiteX3" fmla="*/ 82919 w 82918"/>
                  <a:gd name="connsiteY3" fmla="*/ 43140 h 79637"/>
                  <a:gd name="connsiteX4" fmla="*/ 40382 w 82918"/>
                  <a:gd name="connsiteY4" fmla="*/ 79635 h 79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18" h="79637">
                    <a:moveTo>
                      <a:pt x="40347" y="79635"/>
                    </a:moveTo>
                    <a:cubicBezTo>
                      <a:pt x="17489" y="79459"/>
                      <a:pt x="-105" y="61299"/>
                      <a:pt x="0" y="37911"/>
                    </a:cubicBezTo>
                    <a:cubicBezTo>
                      <a:pt x="71" y="16855"/>
                      <a:pt x="15369" y="215"/>
                      <a:pt x="34800" y="3"/>
                    </a:cubicBezTo>
                    <a:cubicBezTo>
                      <a:pt x="60449" y="-280"/>
                      <a:pt x="82989" y="19929"/>
                      <a:pt x="82919" y="43140"/>
                    </a:cubicBezTo>
                    <a:cubicBezTo>
                      <a:pt x="82812" y="65680"/>
                      <a:pt x="66314" y="79847"/>
                      <a:pt x="40382" y="79635"/>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5" name="Freeform: Shape 3474">
                <a:extLst>
                  <a:ext uri="{FF2B5EF4-FFF2-40B4-BE49-F238E27FC236}">
                    <a16:creationId xmlns:a16="http://schemas.microsoft.com/office/drawing/2014/main" id="{66108FF5-AE75-AEBC-1E8D-83FA2D54350B}"/>
                  </a:ext>
                </a:extLst>
              </p:cNvPr>
              <p:cNvSpPr/>
              <p:nvPr/>
            </p:nvSpPr>
            <p:spPr>
              <a:xfrm>
                <a:off x="6399407" y="4205487"/>
                <a:ext cx="76247" cy="70096"/>
              </a:xfrm>
              <a:custGeom>
                <a:avLst/>
                <a:gdLst>
                  <a:gd name="connsiteX0" fmla="*/ 33884 w 76247"/>
                  <a:gd name="connsiteY0" fmla="*/ 0 h 70096"/>
                  <a:gd name="connsiteX1" fmla="*/ 76244 w 76247"/>
                  <a:gd name="connsiteY1" fmla="*/ 34941 h 70096"/>
                  <a:gd name="connsiteX2" fmla="*/ 37629 w 76247"/>
                  <a:gd name="connsiteY2" fmla="*/ 70094 h 70096"/>
                  <a:gd name="connsiteX3" fmla="*/ 3 w 76247"/>
                  <a:gd name="connsiteY3" fmla="*/ 32715 h 70096"/>
                  <a:gd name="connsiteX4" fmla="*/ 33884 w 76247"/>
                  <a:gd name="connsiteY4" fmla="*/ 0 h 70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7" h="70096">
                    <a:moveTo>
                      <a:pt x="33884" y="0"/>
                    </a:moveTo>
                    <a:cubicBezTo>
                      <a:pt x="55505" y="71"/>
                      <a:pt x="75926" y="16923"/>
                      <a:pt x="76244" y="34941"/>
                    </a:cubicBezTo>
                    <a:cubicBezTo>
                      <a:pt x="76562" y="51510"/>
                      <a:pt x="55824" y="70376"/>
                      <a:pt x="37629" y="70094"/>
                    </a:cubicBezTo>
                    <a:cubicBezTo>
                      <a:pt x="18021" y="69776"/>
                      <a:pt x="-279" y="51581"/>
                      <a:pt x="3" y="32715"/>
                    </a:cubicBezTo>
                    <a:cubicBezTo>
                      <a:pt x="321" y="11482"/>
                      <a:pt x="12298" y="-70"/>
                      <a:pt x="33884" y="0"/>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6" name="Freeform: Shape 3475">
                <a:extLst>
                  <a:ext uri="{FF2B5EF4-FFF2-40B4-BE49-F238E27FC236}">
                    <a16:creationId xmlns:a16="http://schemas.microsoft.com/office/drawing/2014/main" id="{192A5711-7094-88CD-D043-F49F26A64B24}"/>
                  </a:ext>
                </a:extLst>
              </p:cNvPr>
              <p:cNvSpPr/>
              <p:nvPr/>
            </p:nvSpPr>
            <p:spPr>
              <a:xfrm>
                <a:off x="6852368" y="3720874"/>
                <a:ext cx="73064" cy="66953"/>
              </a:xfrm>
              <a:custGeom>
                <a:avLst/>
                <a:gdLst>
                  <a:gd name="connsiteX0" fmla="*/ 33598 w 73064"/>
                  <a:gd name="connsiteY0" fmla="*/ 36 h 66953"/>
                  <a:gd name="connsiteX1" fmla="*/ 73061 w 73064"/>
                  <a:gd name="connsiteY1" fmla="*/ 35860 h 66953"/>
                  <a:gd name="connsiteX2" fmla="*/ 35471 w 73064"/>
                  <a:gd name="connsiteY2" fmla="*/ 66949 h 66953"/>
                  <a:gd name="connsiteX3" fmla="*/ 0 w 73064"/>
                  <a:gd name="connsiteY3" fmla="*/ 31867 h 66953"/>
                  <a:gd name="connsiteX4" fmla="*/ 33598 w 73064"/>
                  <a:gd name="connsiteY4" fmla="*/ 0 h 66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64" h="66953">
                    <a:moveTo>
                      <a:pt x="33598" y="36"/>
                    </a:moveTo>
                    <a:cubicBezTo>
                      <a:pt x="57198" y="106"/>
                      <a:pt x="73344" y="14768"/>
                      <a:pt x="73061" y="35860"/>
                    </a:cubicBezTo>
                    <a:cubicBezTo>
                      <a:pt x="72814" y="55856"/>
                      <a:pt x="59106" y="67197"/>
                      <a:pt x="35471" y="66949"/>
                    </a:cubicBezTo>
                    <a:cubicBezTo>
                      <a:pt x="15722" y="66737"/>
                      <a:pt x="35" y="51228"/>
                      <a:pt x="0" y="31867"/>
                    </a:cubicBezTo>
                    <a:cubicBezTo>
                      <a:pt x="0" y="12472"/>
                      <a:pt x="13178" y="-70"/>
                      <a:pt x="33598" y="0"/>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7" name="Freeform: Shape 3476">
                <a:extLst>
                  <a:ext uri="{FF2B5EF4-FFF2-40B4-BE49-F238E27FC236}">
                    <a16:creationId xmlns:a16="http://schemas.microsoft.com/office/drawing/2014/main" id="{61F594B3-808C-12C5-DF93-D7148CC23D47}"/>
                  </a:ext>
                </a:extLst>
              </p:cNvPr>
              <p:cNvSpPr/>
              <p:nvPr/>
            </p:nvSpPr>
            <p:spPr>
              <a:xfrm>
                <a:off x="6447281" y="3861449"/>
                <a:ext cx="63497" cy="60209"/>
              </a:xfrm>
              <a:custGeom>
                <a:avLst/>
                <a:gdLst>
                  <a:gd name="connsiteX0" fmla="*/ 28405 w 63497"/>
                  <a:gd name="connsiteY0" fmla="*/ 1 h 60209"/>
                  <a:gd name="connsiteX1" fmla="*/ 63487 w 63497"/>
                  <a:gd name="connsiteY1" fmla="*/ 30950 h 60209"/>
                  <a:gd name="connsiteX2" fmla="*/ 30913 w 63497"/>
                  <a:gd name="connsiteY2" fmla="*/ 60203 h 60209"/>
                  <a:gd name="connsiteX3" fmla="*/ 0 w 63497"/>
                  <a:gd name="connsiteY3" fmla="*/ 28442 h 60209"/>
                  <a:gd name="connsiteX4" fmla="*/ 28405 w 63497"/>
                  <a:gd name="connsiteY4" fmla="*/ 37 h 60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97" h="60209">
                    <a:moveTo>
                      <a:pt x="28405" y="1"/>
                    </a:moveTo>
                    <a:cubicBezTo>
                      <a:pt x="44338" y="-175"/>
                      <a:pt x="62886" y="16218"/>
                      <a:pt x="63487" y="30950"/>
                    </a:cubicBezTo>
                    <a:cubicBezTo>
                      <a:pt x="63981" y="43845"/>
                      <a:pt x="46175" y="59814"/>
                      <a:pt x="30913" y="60203"/>
                    </a:cubicBezTo>
                    <a:cubicBezTo>
                      <a:pt x="15015" y="60591"/>
                      <a:pt x="0" y="45152"/>
                      <a:pt x="0" y="28442"/>
                    </a:cubicBezTo>
                    <a:cubicBezTo>
                      <a:pt x="0" y="13391"/>
                      <a:pt x="13213" y="178"/>
                      <a:pt x="28405" y="37"/>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8" name="Freeform: Shape 3477">
                <a:extLst>
                  <a:ext uri="{FF2B5EF4-FFF2-40B4-BE49-F238E27FC236}">
                    <a16:creationId xmlns:a16="http://schemas.microsoft.com/office/drawing/2014/main" id="{7700635B-5971-6605-6482-DDD2F2D08836}"/>
                  </a:ext>
                </a:extLst>
              </p:cNvPr>
              <p:cNvSpPr/>
              <p:nvPr/>
            </p:nvSpPr>
            <p:spPr>
              <a:xfrm>
                <a:off x="6913685" y="4460643"/>
                <a:ext cx="56399" cy="54084"/>
              </a:xfrm>
              <a:custGeom>
                <a:avLst/>
                <a:gdLst>
                  <a:gd name="connsiteX0" fmla="*/ 56400 w 56399"/>
                  <a:gd name="connsiteY0" fmla="*/ 28928 h 54084"/>
                  <a:gd name="connsiteX1" fmla="*/ 25911 w 56399"/>
                  <a:gd name="connsiteY1" fmla="*/ 54012 h 54084"/>
                  <a:gd name="connsiteX2" fmla="*/ 15 w 56399"/>
                  <a:gd name="connsiteY2" fmla="*/ 24794 h 54084"/>
                  <a:gd name="connsiteX3" fmla="*/ 27183 w 56399"/>
                  <a:gd name="connsiteY3" fmla="*/ 29 h 54084"/>
                  <a:gd name="connsiteX4" fmla="*/ 56365 w 56399"/>
                  <a:gd name="connsiteY4" fmla="*/ 28928 h 54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99" h="54084">
                    <a:moveTo>
                      <a:pt x="56400" y="28928"/>
                    </a:moveTo>
                    <a:cubicBezTo>
                      <a:pt x="55694" y="44402"/>
                      <a:pt x="42728" y="55072"/>
                      <a:pt x="25911" y="54012"/>
                    </a:cubicBezTo>
                    <a:cubicBezTo>
                      <a:pt x="11744" y="53128"/>
                      <a:pt x="-480" y="39315"/>
                      <a:pt x="15" y="24794"/>
                    </a:cubicBezTo>
                    <a:cubicBezTo>
                      <a:pt x="509" y="10592"/>
                      <a:pt x="12804" y="-643"/>
                      <a:pt x="27183" y="29"/>
                    </a:cubicBezTo>
                    <a:cubicBezTo>
                      <a:pt x="43858" y="806"/>
                      <a:pt x="57071" y="13878"/>
                      <a:pt x="56365" y="28928"/>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9" name="Freeform: Shape 3478">
                <a:extLst>
                  <a:ext uri="{FF2B5EF4-FFF2-40B4-BE49-F238E27FC236}">
                    <a16:creationId xmlns:a16="http://schemas.microsoft.com/office/drawing/2014/main" id="{B3E8A6F7-1711-430B-FFE4-70B3E2895241}"/>
                  </a:ext>
                </a:extLst>
              </p:cNvPr>
              <p:cNvSpPr/>
              <p:nvPr/>
            </p:nvSpPr>
            <p:spPr>
              <a:xfrm>
                <a:off x="7101826" y="4151326"/>
                <a:ext cx="56388" cy="51018"/>
              </a:xfrm>
              <a:custGeom>
                <a:avLst/>
                <a:gdLst>
                  <a:gd name="connsiteX0" fmla="*/ 27348 w 56388"/>
                  <a:gd name="connsiteY0" fmla="*/ 51017 h 51018"/>
                  <a:gd name="connsiteX1" fmla="*/ 3 w 56388"/>
                  <a:gd name="connsiteY1" fmla="*/ 22400 h 51018"/>
                  <a:gd name="connsiteX2" fmla="*/ 25263 w 56388"/>
                  <a:gd name="connsiteY2" fmla="*/ 2 h 51018"/>
                  <a:gd name="connsiteX3" fmla="*/ 56388 w 56388"/>
                  <a:gd name="connsiteY3" fmla="*/ 26958 h 51018"/>
                  <a:gd name="connsiteX4" fmla="*/ 27383 w 56388"/>
                  <a:gd name="connsiteY4" fmla="*/ 51017 h 51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88" h="51018">
                    <a:moveTo>
                      <a:pt x="27348" y="51017"/>
                    </a:moveTo>
                    <a:cubicBezTo>
                      <a:pt x="12050" y="50911"/>
                      <a:pt x="-209" y="38051"/>
                      <a:pt x="3" y="22400"/>
                    </a:cubicBezTo>
                    <a:cubicBezTo>
                      <a:pt x="179" y="9222"/>
                      <a:pt x="10743" y="-140"/>
                      <a:pt x="25263" y="2"/>
                    </a:cubicBezTo>
                    <a:cubicBezTo>
                      <a:pt x="42822" y="178"/>
                      <a:pt x="56353" y="11872"/>
                      <a:pt x="56388" y="26958"/>
                    </a:cubicBezTo>
                    <a:cubicBezTo>
                      <a:pt x="56424" y="41831"/>
                      <a:pt x="45189" y="51158"/>
                      <a:pt x="27383" y="51017"/>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0" name="Freeform: Shape 3479">
                <a:extLst>
                  <a:ext uri="{FF2B5EF4-FFF2-40B4-BE49-F238E27FC236}">
                    <a16:creationId xmlns:a16="http://schemas.microsoft.com/office/drawing/2014/main" id="{5A0161FB-9F3E-5DA7-CF18-AFE2EFF5A103}"/>
                  </a:ext>
                </a:extLst>
              </p:cNvPr>
              <p:cNvSpPr/>
              <p:nvPr/>
            </p:nvSpPr>
            <p:spPr>
              <a:xfrm>
                <a:off x="6753334" y="4509061"/>
                <a:ext cx="35122" cy="36506"/>
              </a:xfrm>
              <a:custGeom>
                <a:avLst/>
                <a:gdLst>
                  <a:gd name="connsiteX0" fmla="*/ 35088 w 35122"/>
                  <a:gd name="connsiteY0" fmla="*/ 18065 h 36506"/>
                  <a:gd name="connsiteX1" fmla="*/ 17529 w 35122"/>
                  <a:gd name="connsiteY1" fmla="*/ 36507 h 36506"/>
                  <a:gd name="connsiteX2" fmla="*/ 6 w 35122"/>
                  <a:gd name="connsiteY2" fmla="*/ 18312 h 36506"/>
                  <a:gd name="connsiteX3" fmla="*/ 15621 w 35122"/>
                  <a:gd name="connsiteY3" fmla="*/ 12 h 36506"/>
                  <a:gd name="connsiteX4" fmla="*/ 35123 w 35122"/>
                  <a:gd name="connsiteY4" fmla="*/ 18065 h 36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2" h="36506">
                    <a:moveTo>
                      <a:pt x="35088" y="18065"/>
                    </a:moveTo>
                    <a:cubicBezTo>
                      <a:pt x="35335" y="30218"/>
                      <a:pt x="27386" y="36507"/>
                      <a:pt x="17529" y="36507"/>
                    </a:cubicBezTo>
                    <a:cubicBezTo>
                      <a:pt x="7707" y="36507"/>
                      <a:pt x="-242" y="30430"/>
                      <a:pt x="6" y="18312"/>
                    </a:cubicBezTo>
                    <a:cubicBezTo>
                      <a:pt x="218" y="7714"/>
                      <a:pt x="5729" y="294"/>
                      <a:pt x="15621" y="12"/>
                    </a:cubicBezTo>
                    <a:cubicBezTo>
                      <a:pt x="26397" y="-306"/>
                      <a:pt x="34487" y="5771"/>
                      <a:pt x="35123" y="18065"/>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1" name="Freeform: Shape 3480">
                <a:extLst>
                  <a:ext uri="{FF2B5EF4-FFF2-40B4-BE49-F238E27FC236}">
                    <a16:creationId xmlns:a16="http://schemas.microsoft.com/office/drawing/2014/main" id="{3AABEAC7-2ECA-40FC-B561-6ED03357FC2B}"/>
                  </a:ext>
                </a:extLst>
              </p:cNvPr>
              <p:cNvSpPr/>
              <p:nvPr/>
            </p:nvSpPr>
            <p:spPr>
              <a:xfrm>
                <a:off x="7148850" y="4046388"/>
                <a:ext cx="31692" cy="33684"/>
              </a:xfrm>
              <a:custGeom>
                <a:avLst/>
                <a:gdLst>
                  <a:gd name="connsiteX0" fmla="*/ 31657 w 31692"/>
                  <a:gd name="connsiteY0" fmla="*/ 17605 h 33684"/>
                  <a:gd name="connsiteX1" fmla="*/ 17243 w 31692"/>
                  <a:gd name="connsiteY1" fmla="*/ 33680 h 33684"/>
                  <a:gd name="connsiteX2" fmla="*/ 2 w 31692"/>
                  <a:gd name="connsiteY2" fmla="*/ 17040 h 33684"/>
                  <a:gd name="connsiteX3" fmla="*/ 16642 w 31692"/>
                  <a:gd name="connsiteY3" fmla="*/ 11 h 33684"/>
                  <a:gd name="connsiteX4" fmla="*/ 31692 w 31692"/>
                  <a:gd name="connsiteY4" fmla="*/ 17641 h 33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2" h="33684">
                    <a:moveTo>
                      <a:pt x="31657" y="17605"/>
                    </a:moveTo>
                    <a:cubicBezTo>
                      <a:pt x="31410" y="25731"/>
                      <a:pt x="26251" y="33504"/>
                      <a:pt x="17243" y="33680"/>
                    </a:cubicBezTo>
                    <a:cubicBezTo>
                      <a:pt x="8233" y="33857"/>
                      <a:pt x="-140" y="28346"/>
                      <a:pt x="2" y="17040"/>
                    </a:cubicBezTo>
                    <a:cubicBezTo>
                      <a:pt x="143" y="6406"/>
                      <a:pt x="5937" y="294"/>
                      <a:pt x="16642" y="11"/>
                    </a:cubicBezTo>
                    <a:cubicBezTo>
                      <a:pt x="27276" y="-307"/>
                      <a:pt x="31586" y="6053"/>
                      <a:pt x="31692" y="17641"/>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2" name="Freeform: Shape 3481">
                <a:extLst>
                  <a:ext uri="{FF2B5EF4-FFF2-40B4-BE49-F238E27FC236}">
                    <a16:creationId xmlns:a16="http://schemas.microsoft.com/office/drawing/2014/main" id="{66BAAF9B-F925-E947-B171-7FB2781554A4}"/>
                  </a:ext>
                </a:extLst>
              </p:cNvPr>
              <p:cNvSpPr/>
              <p:nvPr/>
            </p:nvSpPr>
            <p:spPr>
              <a:xfrm>
                <a:off x="7136133" y="4323505"/>
                <a:ext cx="31347" cy="28669"/>
              </a:xfrm>
              <a:custGeom>
                <a:avLst/>
                <a:gdLst>
                  <a:gd name="connsiteX0" fmla="*/ 14909 w 31347"/>
                  <a:gd name="connsiteY0" fmla="*/ 28634 h 28669"/>
                  <a:gd name="connsiteX1" fmla="*/ 0 w 31347"/>
                  <a:gd name="connsiteY1" fmla="*/ 14467 h 28669"/>
                  <a:gd name="connsiteX2" fmla="*/ 16676 w 31347"/>
                  <a:gd name="connsiteY2" fmla="*/ 18 h 28669"/>
                  <a:gd name="connsiteX3" fmla="*/ 31337 w 31347"/>
                  <a:gd name="connsiteY3" fmla="*/ 14927 h 28669"/>
                  <a:gd name="connsiteX4" fmla="*/ 14909 w 31347"/>
                  <a:gd name="connsiteY4" fmla="*/ 28670 h 28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47" h="28669">
                    <a:moveTo>
                      <a:pt x="14909" y="28634"/>
                    </a:moveTo>
                    <a:cubicBezTo>
                      <a:pt x="6077" y="28493"/>
                      <a:pt x="35" y="24289"/>
                      <a:pt x="0" y="14467"/>
                    </a:cubicBezTo>
                    <a:cubicBezTo>
                      <a:pt x="0" y="3657"/>
                      <a:pt x="6642" y="-300"/>
                      <a:pt x="16676" y="18"/>
                    </a:cubicBezTo>
                    <a:cubicBezTo>
                      <a:pt x="26320" y="336"/>
                      <a:pt x="31620" y="5246"/>
                      <a:pt x="31337" y="14927"/>
                    </a:cubicBezTo>
                    <a:cubicBezTo>
                      <a:pt x="31019" y="24819"/>
                      <a:pt x="24766" y="28705"/>
                      <a:pt x="14909" y="2867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3" name="Freeform: Shape 3482">
                <a:extLst>
                  <a:ext uri="{FF2B5EF4-FFF2-40B4-BE49-F238E27FC236}">
                    <a16:creationId xmlns:a16="http://schemas.microsoft.com/office/drawing/2014/main" id="{7874E060-2A21-A981-FA4F-304A1BA6322E}"/>
                  </a:ext>
                </a:extLst>
              </p:cNvPr>
              <p:cNvSpPr/>
              <p:nvPr/>
            </p:nvSpPr>
            <p:spPr>
              <a:xfrm>
                <a:off x="6645116" y="4403429"/>
                <a:ext cx="28415" cy="28451"/>
              </a:xfrm>
              <a:custGeom>
                <a:avLst/>
                <a:gdLst>
                  <a:gd name="connsiteX0" fmla="*/ 18063 w 28415"/>
                  <a:gd name="connsiteY0" fmla="*/ 28378 h 28451"/>
                  <a:gd name="connsiteX1" fmla="*/ 46 w 28415"/>
                  <a:gd name="connsiteY1" fmla="*/ 15271 h 28451"/>
                  <a:gd name="connsiteX2" fmla="*/ 13753 w 28415"/>
                  <a:gd name="connsiteY2" fmla="*/ 8 h 28451"/>
                  <a:gd name="connsiteX3" fmla="*/ 28380 w 28415"/>
                  <a:gd name="connsiteY3" fmla="*/ 14529 h 28451"/>
                  <a:gd name="connsiteX4" fmla="*/ 18028 w 28415"/>
                  <a:gd name="connsiteY4" fmla="*/ 28413 h 2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 h="28451">
                    <a:moveTo>
                      <a:pt x="18063" y="28378"/>
                    </a:moveTo>
                    <a:cubicBezTo>
                      <a:pt x="7041" y="28519"/>
                      <a:pt x="646" y="25021"/>
                      <a:pt x="46" y="15271"/>
                    </a:cubicBezTo>
                    <a:cubicBezTo>
                      <a:pt x="-520" y="5908"/>
                      <a:pt x="4179" y="256"/>
                      <a:pt x="13753" y="8"/>
                    </a:cubicBezTo>
                    <a:cubicBezTo>
                      <a:pt x="23292" y="-239"/>
                      <a:pt x="27956" y="5096"/>
                      <a:pt x="28380" y="14529"/>
                    </a:cubicBezTo>
                    <a:cubicBezTo>
                      <a:pt x="28768" y="23220"/>
                      <a:pt x="26048" y="28978"/>
                      <a:pt x="18028" y="28413"/>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4" name="Freeform: Shape 3483">
                <a:extLst>
                  <a:ext uri="{FF2B5EF4-FFF2-40B4-BE49-F238E27FC236}">
                    <a16:creationId xmlns:a16="http://schemas.microsoft.com/office/drawing/2014/main" id="{1478B8D4-0A27-B296-DEC5-673C588218EA}"/>
                  </a:ext>
                </a:extLst>
              </p:cNvPr>
              <p:cNvSpPr/>
              <p:nvPr/>
            </p:nvSpPr>
            <p:spPr>
              <a:xfrm>
                <a:off x="6776420" y="4132180"/>
                <a:ext cx="26945" cy="24635"/>
              </a:xfrm>
              <a:custGeom>
                <a:avLst/>
                <a:gdLst>
                  <a:gd name="connsiteX0" fmla="*/ 26945 w 26945"/>
                  <a:gd name="connsiteY0" fmla="*/ 12294 h 24635"/>
                  <a:gd name="connsiteX1" fmla="*/ 14722 w 26945"/>
                  <a:gd name="connsiteY1" fmla="*/ 24624 h 24635"/>
                  <a:gd name="connsiteX2" fmla="*/ 24 w 26945"/>
                  <a:gd name="connsiteY2" fmla="*/ 11092 h 24635"/>
                  <a:gd name="connsiteX3" fmla="*/ 12884 w 26945"/>
                  <a:gd name="connsiteY3" fmla="*/ 34 h 24635"/>
                  <a:gd name="connsiteX4" fmla="*/ 26945 w 26945"/>
                  <a:gd name="connsiteY4" fmla="*/ 12294 h 24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5" h="24635">
                    <a:moveTo>
                      <a:pt x="26945" y="12294"/>
                    </a:moveTo>
                    <a:cubicBezTo>
                      <a:pt x="25992" y="19465"/>
                      <a:pt x="21469" y="24341"/>
                      <a:pt x="14722" y="24624"/>
                    </a:cubicBezTo>
                    <a:cubicBezTo>
                      <a:pt x="6349" y="24942"/>
                      <a:pt x="519" y="18759"/>
                      <a:pt x="24" y="11092"/>
                    </a:cubicBezTo>
                    <a:cubicBezTo>
                      <a:pt x="-435" y="4026"/>
                      <a:pt x="5642" y="494"/>
                      <a:pt x="12884" y="34"/>
                    </a:cubicBezTo>
                    <a:cubicBezTo>
                      <a:pt x="21681" y="-496"/>
                      <a:pt x="24790" y="5192"/>
                      <a:pt x="26945" y="12294"/>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5" name="Freeform: Shape 3484">
                <a:extLst>
                  <a:ext uri="{FF2B5EF4-FFF2-40B4-BE49-F238E27FC236}">
                    <a16:creationId xmlns:a16="http://schemas.microsoft.com/office/drawing/2014/main" id="{F14BFE50-F59C-A23D-00EA-1E1190A69F1B}"/>
                  </a:ext>
                </a:extLst>
              </p:cNvPr>
              <p:cNvSpPr/>
              <p:nvPr/>
            </p:nvSpPr>
            <p:spPr>
              <a:xfrm>
                <a:off x="7234876" y="4116669"/>
                <a:ext cx="25227" cy="24918"/>
              </a:xfrm>
              <a:custGeom>
                <a:avLst/>
                <a:gdLst>
                  <a:gd name="connsiteX0" fmla="*/ 25192 w 25227"/>
                  <a:gd name="connsiteY0" fmla="*/ 12401 h 24918"/>
                  <a:gd name="connsiteX1" fmla="*/ 11378 w 25227"/>
                  <a:gd name="connsiteY1" fmla="*/ 24908 h 24918"/>
                  <a:gd name="connsiteX2" fmla="*/ 37 w 25227"/>
                  <a:gd name="connsiteY2" fmla="*/ 13143 h 24918"/>
                  <a:gd name="connsiteX3" fmla="*/ 12968 w 25227"/>
                  <a:gd name="connsiteY3" fmla="*/ 1 h 24918"/>
                  <a:gd name="connsiteX4" fmla="*/ 25227 w 25227"/>
                  <a:gd name="connsiteY4" fmla="*/ 12366 h 24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7" h="24918">
                    <a:moveTo>
                      <a:pt x="25192" y="12401"/>
                    </a:moveTo>
                    <a:cubicBezTo>
                      <a:pt x="23955" y="20315"/>
                      <a:pt x="19504" y="24661"/>
                      <a:pt x="11378" y="24908"/>
                    </a:cubicBezTo>
                    <a:cubicBezTo>
                      <a:pt x="3358" y="25155"/>
                      <a:pt x="-422" y="21057"/>
                      <a:pt x="37" y="13143"/>
                    </a:cubicBezTo>
                    <a:cubicBezTo>
                      <a:pt x="497" y="5088"/>
                      <a:pt x="4807" y="-70"/>
                      <a:pt x="12968" y="1"/>
                    </a:cubicBezTo>
                    <a:cubicBezTo>
                      <a:pt x="20316" y="71"/>
                      <a:pt x="24097" y="5159"/>
                      <a:pt x="25227" y="12366"/>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6" name="Freeform: Shape 3485">
                <a:extLst>
                  <a:ext uri="{FF2B5EF4-FFF2-40B4-BE49-F238E27FC236}">
                    <a16:creationId xmlns:a16="http://schemas.microsoft.com/office/drawing/2014/main" id="{57893F8B-B155-20F4-0261-A8102DAD789F}"/>
                  </a:ext>
                </a:extLst>
              </p:cNvPr>
              <p:cNvSpPr/>
              <p:nvPr/>
            </p:nvSpPr>
            <p:spPr>
              <a:xfrm>
                <a:off x="6469956" y="4132550"/>
                <a:ext cx="24634" cy="24960"/>
              </a:xfrm>
              <a:custGeom>
                <a:avLst/>
                <a:gdLst>
                  <a:gd name="connsiteX0" fmla="*/ 12266 w 24634"/>
                  <a:gd name="connsiteY0" fmla="*/ 24960 h 24960"/>
                  <a:gd name="connsiteX1" fmla="*/ 7 w 24634"/>
                  <a:gd name="connsiteY1" fmla="*/ 12630 h 24960"/>
                  <a:gd name="connsiteX2" fmla="*/ 11630 w 24634"/>
                  <a:gd name="connsiteY2" fmla="*/ 18 h 24960"/>
                  <a:gd name="connsiteX3" fmla="*/ 24632 w 24634"/>
                  <a:gd name="connsiteY3" fmla="*/ 12771 h 24960"/>
                  <a:gd name="connsiteX4" fmla="*/ 12266 w 24634"/>
                  <a:gd name="connsiteY4" fmla="*/ 24925 h 2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34" h="24960">
                    <a:moveTo>
                      <a:pt x="12266" y="24960"/>
                    </a:moveTo>
                    <a:cubicBezTo>
                      <a:pt x="5059" y="23865"/>
                      <a:pt x="219" y="20014"/>
                      <a:pt x="7" y="12630"/>
                    </a:cubicBezTo>
                    <a:cubicBezTo>
                      <a:pt x="-205" y="5211"/>
                      <a:pt x="4423" y="371"/>
                      <a:pt x="11630" y="18"/>
                    </a:cubicBezTo>
                    <a:cubicBezTo>
                      <a:pt x="19721" y="-336"/>
                      <a:pt x="24773" y="4646"/>
                      <a:pt x="24632" y="12771"/>
                    </a:cubicBezTo>
                    <a:cubicBezTo>
                      <a:pt x="24490" y="20191"/>
                      <a:pt x="19403" y="23900"/>
                      <a:pt x="12266" y="24925"/>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7" name="Freeform: Shape 3486">
                <a:extLst>
                  <a:ext uri="{FF2B5EF4-FFF2-40B4-BE49-F238E27FC236}">
                    <a16:creationId xmlns:a16="http://schemas.microsoft.com/office/drawing/2014/main" id="{C062D2BD-C1C7-0CC1-9C02-FF3FD6059EBB}"/>
                  </a:ext>
                </a:extLst>
              </p:cNvPr>
              <p:cNvSpPr/>
              <p:nvPr/>
            </p:nvSpPr>
            <p:spPr>
              <a:xfrm>
                <a:off x="6616526" y="4209116"/>
                <a:ext cx="24687" cy="24952"/>
              </a:xfrm>
              <a:custGeom>
                <a:avLst/>
                <a:gdLst>
                  <a:gd name="connsiteX0" fmla="*/ 12949 w 24687"/>
                  <a:gd name="connsiteY0" fmla="*/ 24917 h 24952"/>
                  <a:gd name="connsiteX1" fmla="*/ 54 w 24687"/>
                  <a:gd name="connsiteY1" fmla="*/ 13188 h 24952"/>
                  <a:gd name="connsiteX2" fmla="*/ 11112 w 24687"/>
                  <a:gd name="connsiteY2" fmla="*/ 81 h 24952"/>
                  <a:gd name="connsiteX3" fmla="*/ 24678 w 24687"/>
                  <a:gd name="connsiteY3" fmla="*/ 12269 h 24952"/>
                  <a:gd name="connsiteX4" fmla="*/ 12949 w 24687"/>
                  <a:gd name="connsiteY4" fmla="*/ 24952 h 2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87" h="24952">
                    <a:moveTo>
                      <a:pt x="12949" y="24917"/>
                    </a:moveTo>
                    <a:cubicBezTo>
                      <a:pt x="5495" y="24316"/>
                      <a:pt x="619" y="20430"/>
                      <a:pt x="54" y="13188"/>
                    </a:cubicBezTo>
                    <a:cubicBezTo>
                      <a:pt x="-547" y="5768"/>
                      <a:pt x="3940" y="752"/>
                      <a:pt x="11112" y="81"/>
                    </a:cubicBezTo>
                    <a:cubicBezTo>
                      <a:pt x="19237" y="-697"/>
                      <a:pt x="24396" y="4214"/>
                      <a:pt x="24678" y="12269"/>
                    </a:cubicBezTo>
                    <a:cubicBezTo>
                      <a:pt x="24926" y="19688"/>
                      <a:pt x="19909" y="23574"/>
                      <a:pt x="12949" y="24952"/>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8" name="Freeform: Shape 3487">
                <a:extLst>
                  <a:ext uri="{FF2B5EF4-FFF2-40B4-BE49-F238E27FC236}">
                    <a16:creationId xmlns:a16="http://schemas.microsoft.com/office/drawing/2014/main" id="{B96B2E82-2B1B-C749-1593-79AEF0C9D678}"/>
                  </a:ext>
                </a:extLst>
              </p:cNvPr>
              <p:cNvSpPr/>
              <p:nvPr/>
            </p:nvSpPr>
            <p:spPr>
              <a:xfrm>
                <a:off x="6511333" y="4020538"/>
                <a:ext cx="24753" cy="24679"/>
              </a:xfrm>
              <a:custGeom>
                <a:avLst/>
                <a:gdLst>
                  <a:gd name="connsiteX0" fmla="*/ 11058 w 24753"/>
                  <a:gd name="connsiteY0" fmla="*/ 35 h 24679"/>
                  <a:gd name="connsiteX1" fmla="*/ 24695 w 24753"/>
                  <a:gd name="connsiteY1" fmla="*/ 11800 h 24679"/>
                  <a:gd name="connsiteX2" fmla="*/ 11588 w 24753"/>
                  <a:gd name="connsiteY2" fmla="*/ 24625 h 24679"/>
                  <a:gd name="connsiteX3" fmla="*/ 0 w 24753"/>
                  <a:gd name="connsiteY3" fmla="*/ 12542 h 24679"/>
                  <a:gd name="connsiteX4" fmla="*/ 11023 w 24753"/>
                  <a:gd name="connsiteY4" fmla="*/ 0 h 24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3" h="24679">
                    <a:moveTo>
                      <a:pt x="11058" y="35"/>
                    </a:moveTo>
                    <a:cubicBezTo>
                      <a:pt x="19219" y="813"/>
                      <a:pt x="24095" y="4558"/>
                      <a:pt x="24695" y="11800"/>
                    </a:cubicBezTo>
                    <a:cubicBezTo>
                      <a:pt x="25473" y="20774"/>
                      <a:pt x="18371" y="24024"/>
                      <a:pt x="11588" y="24625"/>
                    </a:cubicBezTo>
                    <a:cubicBezTo>
                      <a:pt x="4240" y="25296"/>
                      <a:pt x="36" y="19784"/>
                      <a:pt x="0" y="12542"/>
                    </a:cubicBezTo>
                    <a:cubicBezTo>
                      <a:pt x="-35" y="5017"/>
                      <a:pt x="5300" y="1731"/>
                      <a:pt x="11023" y="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9" name="Freeform: Shape 3488">
                <a:extLst>
                  <a:ext uri="{FF2B5EF4-FFF2-40B4-BE49-F238E27FC236}">
                    <a16:creationId xmlns:a16="http://schemas.microsoft.com/office/drawing/2014/main" id="{632C7BB4-4F2C-229A-F995-D890C40ABEC9}"/>
                  </a:ext>
                </a:extLst>
              </p:cNvPr>
              <p:cNvSpPr/>
              <p:nvPr/>
            </p:nvSpPr>
            <p:spPr>
              <a:xfrm>
                <a:off x="6928679" y="4326663"/>
                <a:ext cx="24734" cy="22119"/>
              </a:xfrm>
              <a:custGeom>
                <a:avLst/>
                <a:gdLst>
                  <a:gd name="connsiteX0" fmla="*/ 14839 w 24734"/>
                  <a:gd name="connsiteY0" fmla="*/ 22085 h 22119"/>
                  <a:gd name="connsiteX1" fmla="*/ 0 w 24734"/>
                  <a:gd name="connsiteY1" fmla="*/ 10992 h 22119"/>
                  <a:gd name="connsiteX2" fmla="*/ 10352 w 24734"/>
                  <a:gd name="connsiteY2" fmla="*/ 4 h 22119"/>
                  <a:gd name="connsiteX3" fmla="*/ 24731 w 24734"/>
                  <a:gd name="connsiteY3" fmla="*/ 11204 h 22119"/>
                  <a:gd name="connsiteX4" fmla="*/ 14839 w 24734"/>
                  <a:gd name="connsiteY4" fmla="*/ 22085 h 22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34" h="22119">
                    <a:moveTo>
                      <a:pt x="14839" y="22085"/>
                    </a:moveTo>
                    <a:cubicBezTo>
                      <a:pt x="4028" y="22509"/>
                      <a:pt x="-35" y="18976"/>
                      <a:pt x="0" y="10992"/>
                    </a:cubicBezTo>
                    <a:cubicBezTo>
                      <a:pt x="0" y="4032"/>
                      <a:pt x="3109" y="110"/>
                      <a:pt x="10352" y="4"/>
                    </a:cubicBezTo>
                    <a:cubicBezTo>
                      <a:pt x="18230" y="-137"/>
                      <a:pt x="24554" y="3254"/>
                      <a:pt x="24731" y="11204"/>
                    </a:cubicBezTo>
                    <a:cubicBezTo>
                      <a:pt x="24907" y="18376"/>
                      <a:pt x="18901" y="21767"/>
                      <a:pt x="14839" y="22085"/>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0" name="Freeform: Shape 3489">
                <a:extLst>
                  <a:ext uri="{FF2B5EF4-FFF2-40B4-BE49-F238E27FC236}">
                    <a16:creationId xmlns:a16="http://schemas.microsoft.com/office/drawing/2014/main" id="{51BE7FEB-2C79-1095-F259-6A202BFBE749}"/>
                  </a:ext>
                </a:extLst>
              </p:cNvPr>
              <p:cNvSpPr/>
              <p:nvPr/>
            </p:nvSpPr>
            <p:spPr>
              <a:xfrm>
                <a:off x="7075921" y="3846294"/>
                <a:ext cx="17785" cy="17782"/>
              </a:xfrm>
              <a:custGeom>
                <a:avLst/>
                <a:gdLst>
                  <a:gd name="connsiteX0" fmla="*/ 8525 w 17785"/>
                  <a:gd name="connsiteY0" fmla="*/ 0 h 17782"/>
                  <a:gd name="connsiteX1" fmla="*/ 17711 w 17785"/>
                  <a:gd name="connsiteY1" fmla="*/ 9433 h 17782"/>
                  <a:gd name="connsiteX2" fmla="*/ 10115 w 17785"/>
                  <a:gd name="connsiteY2" fmla="*/ 17700 h 17782"/>
                  <a:gd name="connsiteX3" fmla="*/ 11 w 17785"/>
                  <a:gd name="connsiteY3" fmla="*/ 10316 h 17782"/>
                  <a:gd name="connsiteX4" fmla="*/ 8525 w 17785"/>
                  <a:gd name="connsiteY4" fmla="*/ 0 h 17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85" h="17782">
                    <a:moveTo>
                      <a:pt x="8525" y="0"/>
                    </a:moveTo>
                    <a:cubicBezTo>
                      <a:pt x="13684" y="1095"/>
                      <a:pt x="17075" y="4310"/>
                      <a:pt x="17711" y="9433"/>
                    </a:cubicBezTo>
                    <a:cubicBezTo>
                      <a:pt x="18347" y="14556"/>
                      <a:pt x="14849" y="17205"/>
                      <a:pt x="10115" y="17700"/>
                    </a:cubicBezTo>
                    <a:cubicBezTo>
                      <a:pt x="4745" y="18230"/>
                      <a:pt x="258" y="16251"/>
                      <a:pt x="11" y="10316"/>
                    </a:cubicBezTo>
                    <a:cubicBezTo>
                      <a:pt x="-236" y="4981"/>
                      <a:pt x="3685" y="1943"/>
                      <a:pt x="8525" y="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1" name="Freeform: Shape 3490">
                <a:extLst>
                  <a:ext uri="{FF2B5EF4-FFF2-40B4-BE49-F238E27FC236}">
                    <a16:creationId xmlns:a16="http://schemas.microsoft.com/office/drawing/2014/main" id="{DA1E5819-D909-24FE-B822-A46A92E23DF0}"/>
                  </a:ext>
                </a:extLst>
              </p:cNvPr>
              <p:cNvSpPr/>
              <p:nvPr/>
            </p:nvSpPr>
            <p:spPr>
              <a:xfrm>
                <a:off x="7241715" y="3881682"/>
                <a:ext cx="17119" cy="17287"/>
              </a:xfrm>
              <a:custGeom>
                <a:avLst/>
                <a:gdLst>
                  <a:gd name="connsiteX0" fmla="*/ 8249 w 17119"/>
                  <a:gd name="connsiteY0" fmla="*/ 17252 h 17287"/>
                  <a:gd name="connsiteX1" fmla="*/ 17 w 17119"/>
                  <a:gd name="connsiteY1" fmla="*/ 9480 h 17287"/>
                  <a:gd name="connsiteX2" fmla="*/ 8849 w 17119"/>
                  <a:gd name="connsiteY2" fmla="*/ 11 h 17287"/>
                  <a:gd name="connsiteX3" fmla="*/ 17117 w 17119"/>
                  <a:gd name="connsiteY3" fmla="*/ 7925 h 17287"/>
                  <a:gd name="connsiteX4" fmla="*/ 8249 w 17119"/>
                  <a:gd name="connsiteY4" fmla="*/ 17287 h 1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19" h="17287">
                    <a:moveTo>
                      <a:pt x="8249" y="17252"/>
                    </a:moveTo>
                    <a:cubicBezTo>
                      <a:pt x="2985" y="17005"/>
                      <a:pt x="-266" y="14390"/>
                      <a:pt x="17" y="9480"/>
                    </a:cubicBezTo>
                    <a:cubicBezTo>
                      <a:pt x="300" y="4322"/>
                      <a:pt x="3691" y="294"/>
                      <a:pt x="8849" y="11"/>
                    </a:cubicBezTo>
                    <a:cubicBezTo>
                      <a:pt x="13407" y="-236"/>
                      <a:pt x="17010" y="3580"/>
                      <a:pt x="17117" y="7925"/>
                    </a:cubicBezTo>
                    <a:cubicBezTo>
                      <a:pt x="17258" y="13225"/>
                      <a:pt x="12806" y="15839"/>
                      <a:pt x="8249" y="1728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2" name="Freeform: Shape 3491">
                <a:extLst>
                  <a:ext uri="{FF2B5EF4-FFF2-40B4-BE49-F238E27FC236}">
                    <a16:creationId xmlns:a16="http://schemas.microsoft.com/office/drawing/2014/main" id="{108377E4-9F57-4367-57AA-0D5C857EB5A2}"/>
                  </a:ext>
                </a:extLst>
              </p:cNvPr>
              <p:cNvSpPr/>
              <p:nvPr/>
            </p:nvSpPr>
            <p:spPr>
              <a:xfrm>
                <a:off x="6842858" y="4458092"/>
                <a:ext cx="15374" cy="17700"/>
              </a:xfrm>
              <a:custGeom>
                <a:avLst/>
                <a:gdLst>
                  <a:gd name="connsiteX0" fmla="*/ 15374 w 15374"/>
                  <a:gd name="connsiteY0" fmla="*/ 8585 h 17700"/>
                  <a:gd name="connsiteX1" fmla="*/ 7354 w 15374"/>
                  <a:gd name="connsiteY1" fmla="*/ 17700 h 17700"/>
                  <a:gd name="connsiteX2" fmla="*/ 6 w 15374"/>
                  <a:gd name="connsiteY2" fmla="*/ 9362 h 17700"/>
                  <a:gd name="connsiteX3" fmla="*/ 7955 w 15374"/>
                  <a:gd name="connsiteY3" fmla="*/ 0 h 17700"/>
                  <a:gd name="connsiteX4" fmla="*/ 15374 w 15374"/>
                  <a:gd name="connsiteY4" fmla="*/ 8585 h 1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4" h="17700">
                    <a:moveTo>
                      <a:pt x="15374" y="8585"/>
                    </a:moveTo>
                    <a:cubicBezTo>
                      <a:pt x="15339" y="13743"/>
                      <a:pt x="13149" y="17771"/>
                      <a:pt x="7354" y="17700"/>
                    </a:cubicBezTo>
                    <a:cubicBezTo>
                      <a:pt x="2444" y="17630"/>
                      <a:pt x="112" y="14061"/>
                      <a:pt x="6" y="9362"/>
                    </a:cubicBezTo>
                    <a:cubicBezTo>
                      <a:pt x="-135" y="3992"/>
                      <a:pt x="2161" y="-35"/>
                      <a:pt x="7955" y="0"/>
                    </a:cubicBezTo>
                    <a:cubicBezTo>
                      <a:pt x="12866" y="71"/>
                      <a:pt x="15021" y="3674"/>
                      <a:pt x="15374" y="8585"/>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3" name="Freeform: Shape 3492">
                <a:extLst>
                  <a:ext uri="{FF2B5EF4-FFF2-40B4-BE49-F238E27FC236}">
                    <a16:creationId xmlns:a16="http://schemas.microsoft.com/office/drawing/2014/main" id="{723DC825-2167-C642-1F90-CF46EBAFF74D}"/>
                  </a:ext>
                </a:extLst>
              </p:cNvPr>
              <p:cNvSpPr/>
              <p:nvPr/>
            </p:nvSpPr>
            <p:spPr>
              <a:xfrm>
                <a:off x="6961169" y="3772540"/>
                <a:ext cx="17077" cy="17509"/>
              </a:xfrm>
              <a:custGeom>
                <a:avLst/>
                <a:gdLst>
                  <a:gd name="connsiteX0" fmla="*/ 8775 w 17077"/>
                  <a:gd name="connsiteY0" fmla="*/ 17474 h 17509"/>
                  <a:gd name="connsiteX1" fmla="*/ 13 w 17077"/>
                  <a:gd name="connsiteY1" fmla="*/ 7653 h 17509"/>
                  <a:gd name="connsiteX2" fmla="*/ 7927 w 17077"/>
                  <a:gd name="connsiteY2" fmla="*/ 57 h 17509"/>
                  <a:gd name="connsiteX3" fmla="*/ 17077 w 17077"/>
                  <a:gd name="connsiteY3" fmla="*/ 9172 h 17509"/>
                  <a:gd name="connsiteX4" fmla="*/ 8775 w 17077"/>
                  <a:gd name="connsiteY4" fmla="*/ 17510 h 17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7" h="17509">
                    <a:moveTo>
                      <a:pt x="8775" y="17474"/>
                    </a:moveTo>
                    <a:cubicBezTo>
                      <a:pt x="3970" y="15885"/>
                      <a:pt x="261" y="12846"/>
                      <a:pt x="13" y="7653"/>
                    </a:cubicBezTo>
                    <a:cubicBezTo>
                      <a:pt x="-234" y="2742"/>
                      <a:pt x="2981" y="-473"/>
                      <a:pt x="7927" y="57"/>
                    </a:cubicBezTo>
                    <a:cubicBezTo>
                      <a:pt x="13015" y="587"/>
                      <a:pt x="17113" y="3908"/>
                      <a:pt x="17077" y="9172"/>
                    </a:cubicBezTo>
                    <a:cubicBezTo>
                      <a:pt x="17077" y="13588"/>
                      <a:pt x="13332" y="16344"/>
                      <a:pt x="8775" y="1751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4" name="Freeform: Shape 3493">
                <a:extLst>
                  <a:ext uri="{FF2B5EF4-FFF2-40B4-BE49-F238E27FC236}">
                    <a16:creationId xmlns:a16="http://schemas.microsoft.com/office/drawing/2014/main" id="{CE22EF20-ABF0-AD01-6DAE-74E57B2E3614}"/>
                  </a:ext>
                </a:extLst>
              </p:cNvPr>
              <p:cNvSpPr/>
              <p:nvPr/>
            </p:nvSpPr>
            <p:spPr>
              <a:xfrm>
                <a:off x="6815254" y="4037168"/>
                <a:ext cx="17150" cy="17815"/>
              </a:xfrm>
              <a:custGeom>
                <a:avLst/>
                <a:gdLst>
                  <a:gd name="connsiteX0" fmla="*/ 8744 w 17150"/>
                  <a:gd name="connsiteY0" fmla="*/ 17781 h 17815"/>
                  <a:gd name="connsiteX1" fmla="*/ 18 w 17150"/>
                  <a:gd name="connsiteY1" fmla="*/ 8807 h 17815"/>
                  <a:gd name="connsiteX2" fmla="*/ 9557 w 17150"/>
                  <a:gd name="connsiteY2" fmla="*/ 10 h 17815"/>
                  <a:gd name="connsiteX3" fmla="*/ 17117 w 17150"/>
                  <a:gd name="connsiteY3" fmla="*/ 8030 h 17815"/>
                  <a:gd name="connsiteX4" fmla="*/ 8780 w 17150"/>
                  <a:gd name="connsiteY4" fmla="*/ 17816 h 1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0" h="17815">
                    <a:moveTo>
                      <a:pt x="8744" y="17781"/>
                    </a:moveTo>
                    <a:cubicBezTo>
                      <a:pt x="3692" y="15908"/>
                      <a:pt x="-300" y="13400"/>
                      <a:pt x="18" y="8807"/>
                    </a:cubicBezTo>
                    <a:cubicBezTo>
                      <a:pt x="371" y="3684"/>
                      <a:pt x="4399" y="257"/>
                      <a:pt x="9557" y="10"/>
                    </a:cubicBezTo>
                    <a:cubicBezTo>
                      <a:pt x="14432" y="-202"/>
                      <a:pt x="17506" y="2978"/>
                      <a:pt x="17117" y="8030"/>
                    </a:cubicBezTo>
                    <a:cubicBezTo>
                      <a:pt x="16693" y="13400"/>
                      <a:pt x="12383" y="15661"/>
                      <a:pt x="8780" y="17816"/>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5" name="Freeform: Shape 3494">
                <a:extLst>
                  <a:ext uri="{FF2B5EF4-FFF2-40B4-BE49-F238E27FC236}">
                    <a16:creationId xmlns:a16="http://schemas.microsoft.com/office/drawing/2014/main" id="{9D259832-2857-43D9-8639-E56AEC24DFC1}"/>
                  </a:ext>
                </a:extLst>
              </p:cNvPr>
              <p:cNvSpPr/>
              <p:nvPr/>
            </p:nvSpPr>
            <p:spPr>
              <a:xfrm>
                <a:off x="7178677" y="3934706"/>
                <a:ext cx="17162" cy="15139"/>
              </a:xfrm>
              <a:custGeom>
                <a:avLst/>
                <a:gdLst>
                  <a:gd name="connsiteX0" fmla="*/ 17162 w 17162"/>
                  <a:gd name="connsiteY0" fmla="*/ 8531 h 15139"/>
                  <a:gd name="connsiteX1" fmla="*/ 8436 w 17162"/>
                  <a:gd name="connsiteY1" fmla="*/ 14926 h 15139"/>
                  <a:gd name="connsiteX2" fmla="*/ 63 w 17162"/>
                  <a:gd name="connsiteY2" fmla="*/ 5493 h 15139"/>
                  <a:gd name="connsiteX3" fmla="*/ 9708 w 17162"/>
                  <a:gd name="connsiteY3" fmla="*/ 123 h 15139"/>
                  <a:gd name="connsiteX4" fmla="*/ 17162 w 17162"/>
                  <a:gd name="connsiteY4" fmla="*/ 8531 h 15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62" h="15139">
                    <a:moveTo>
                      <a:pt x="17162" y="8531"/>
                    </a:moveTo>
                    <a:cubicBezTo>
                      <a:pt x="16102" y="12983"/>
                      <a:pt x="13276" y="15986"/>
                      <a:pt x="8436" y="14926"/>
                    </a:cubicBezTo>
                    <a:cubicBezTo>
                      <a:pt x="3737" y="13901"/>
                      <a:pt x="-573" y="10828"/>
                      <a:pt x="63" y="5493"/>
                    </a:cubicBezTo>
                    <a:cubicBezTo>
                      <a:pt x="663" y="476"/>
                      <a:pt x="5327" y="-372"/>
                      <a:pt x="9708" y="123"/>
                    </a:cubicBezTo>
                    <a:cubicBezTo>
                      <a:pt x="14336" y="688"/>
                      <a:pt x="17162" y="3338"/>
                      <a:pt x="17162" y="8531"/>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6" name="Freeform: Shape 3495">
                <a:extLst>
                  <a:ext uri="{FF2B5EF4-FFF2-40B4-BE49-F238E27FC236}">
                    <a16:creationId xmlns:a16="http://schemas.microsoft.com/office/drawing/2014/main" id="{5EFE0946-EA3D-B88E-6B2E-6CD6AEA13CB8}"/>
                  </a:ext>
                </a:extLst>
              </p:cNvPr>
              <p:cNvSpPr/>
              <p:nvPr/>
            </p:nvSpPr>
            <p:spPr>
              <a:xfrm>
                <a:off x="6923539" y="3872116"/>
                <a:ext cx="16612" cy="16785"/>
              </a:xfrm>
              <a:custGeom>
                <a:avLst/>
                <a:gdLst>
                  <a:gd name="connsiteX0" fmla="*/ 7614 w 16612"/>
                  <a:gd name="connsiteY0" fmla="*/ 16785 h 16785"/>
                  <a:gd name="connsiteX1" fmla="*/ 18 w 16612"/>
                  <a:gd name="connsiteY1" fmla="*/ 7953 h 16785"/>
                  <a:gd name="connsiteX2" fmla="*/ 8179 w 16612"/>
                  <a:gd name="connsiteY2" fmla="*/ 4 h 16785"/>
                  <a:gd name="connsiteX3" fmla="*/ 16517 w 16612"/>
                  <a:gd name="connsiteY3" fmla="*/ 9225 h 16785"/>
                  <a:gd name="connsiteX4" fmla="*/ 7614 w 16612"/>
                  <a:gd name="connsiteY4" fmla="*/ 16750 h 16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2" h="16785">
                    <a:moveTo>
                      <a:pt x="7614" y="16785"/>
                    </a:moveTo>
                    <a:cubicBezTo>
                      <a:pt x="3692" y="14984"/>
                      <a:pt x="-300" y="12652"/>
                      <a:pt x="18" y="7953"/>
                    </a:cubicBezTo>
                    <a:cubicBezTo>
                      <a:pt x="336" y="3537"/>
                      <a:pt x="3763" y="-137"/>
                      <a:pt x="8179" y="4"/>
                    </a:cubicBezTo>
                    <a:cubicBezTo>
                      <a:pt x="13231" y="181"/>
                      <a:pt x="17294" y="3996"/>
                      <a:pt x="16517" y="9225"/>
                    </a:cubicBezTo>
                    <a:cubicBezTo>
                      <a:pt x="15916" y="13182"/>
                      <a:pt x="12418" y="16361"/>
                      <a:pt x="7614" y="1675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7" name="Freeform: Shape 3496">
                <a:extLst>
                  <a:ext uri="{FF2B5EF4-FFF2-40B4-BE49-F238E27FC236}">
                    <a16:creationId xmlns:a16="http://schemas.microsoft.com/office/drawing/2014/main" id="{46718E05-22B0-0724-F3D0-5A82DB4E1A19}"/>
                  </a:ext>
                </a:extLst>
              </p:cNvPr>
              <p:cNvSpPr/>
              <p:nvPr/>
            </p:nvSpPr>
            <p:spPr>
              <a:xfrm>
                <a:off x="6512150" y="4301866"/>
                <a:ext cx="16534" cy="17064"/>
              </a:xfrm>
              <a:custGeom>
                <a:avLst/>
                <a:gdLst>
                  <a:gd name="connsiteX0" fmla="*/ 8016 w 16534"/>
                  <a:gd name="connsiteY0" fmla="*/ 35 h 17064"/>
                  <a:gd name="connsiteX1" fmla="*/ 16530 w 16534"/>
                  <a:gd name="connsiteY1" fmla="*/ 8938 h 17064"/>
                  <a:gd name="connsiteX2" fmla="*/ 8581 w 16534"/>
                  <a:gd name="connsiteY2" fmla="*/ 17064 h 17064"/>
                  <a:gd name="connsiteX3" fmla="*/ 32 w 16534"/>
                  <a:gd name="connsiteY3" fmla="*/ 8020 h 17064"/>
                  <a:gd name="connsiteX4" fmla="*/ 7981 w 16534"/>
                  <a:gd name="connsiteY4" fmla="*/ 0 h 17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34" h="17064">
                    <a:moveTo>
                      <a:pt x="8016" y="35"/>
                    </a:moveTo>
                    <a:cubicBezTo>
                      <a:pt x="12892" y="1908"/>
                      <a:pt x="16672" y="4310"/>
                      <a:pt x="16530" y="8938"/>
                    </a:cubicBezTo>
                    <a:cubicBezTo>
                      <a:pt x="16389" y="13425"/>
                      <a:pt x="12927" y="17064"/>
                      <a:pt x="8581" y="17064"/>
                    </a:cubicBezTo>
                    <a:cubicBezTo>
                      <a:pt x="3494" y="17064"/>
                      <a:pt x="-392" y="13249"/>
                      <a:pt x="32" y="8020"/>
                    </a:cubicBezTo>
                    <a:cubicBezTo>
                      <a:pt x="385" y="3710"/>
                      <a:pt x="4554" y="1519"/>
                      <a:pt x="7981" y="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8" name="Freeform: Shape 3497">
                <a:extLst>
                  <a:ext uri="{FF2B5EF4-FFF2-40B4-BE49-F238E27FC236}">
                    <a16:creationId xmlns:a16="http://schemas.microsoft.com/office/drawing/2014/main" id="{2DDA3EEA-FB87-D0B9-0A90-501D1F8D78B1}"/>
                  </a:ext>
                </a:extLst>
              </p:cNvPr>
              <p:cNvSpPr/>
              <p:nvPr/>
            </p:nvSpPr>
            <p:spPr>
              <a:xfrm>
                <a:off x="6703569" y="3794464"/>
                <a:ext cx="17178" cy="15299"/>
              </a:xfrm>
              <a:custGeom>
                <a:avLst/>
                <a:gdLst>
                  <a:gd name="connsiteX0" fmla="*/ 10413 w 17178"/>
                  <a:gd name="connsiteY0" fmla="*/ 15300 h 15299"/>
                  <a:gd name="connsiteX1" fmla="*/ 97 w 17178"/>
                  <a:gd name="connsiteY1" fmla="*/ 6926 h 15299"/>
                  <a:gd name="connsiteX2" fmla="*/ 8223 w 17178"/>
                  <a:gd name="connsiteY2" fmla="*/ 2 h 15299"/>
                  <a:gd name="connsiteX3" fmla="*/ 17091 w 17178"/>
                  <a:gd name="connsiteY3" fmla="*/ 6750 h 15299"/>
                  <a:gd name="connsiteX4" fmla="*/ 10378 w 17178"/>
                  <a:gd name="connsiteY4" fmla="*/ 15264 h 15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8" h="15299">
                    <a:moveTo>
                      <a:pt x="10413" y="15300"/>
                    </a:moveTo>
                    <a:cubicBezTo>
                      <a:pt x="4867" y="14699"/>
                      <a:pt x="839" y="11661"/>
                      <a:pt x="97" y="6926"/>
                    </a:cubicBezTo>
                    <a:cubicBezTo>
                      <a:pt x="-715" y="1804"/>
                      <a:pt x="3701" y="73"/>
                      <a:pt x="8223" y="2"/>
                    </a:cubicBezTo>
                    <a:cubicBezTo>
                      <a:pt x="12816" y="-69"/>
                      <a:pt x="16419" y="1839"/>
                      <a:pt x="17091" y="6750"/>
                    </a:cubicBezTo>
                    <a:cubicBezTo>
                      <a:pt x="17762" y="11837"/>
                      <a:pt x="14476" y="14098"/>
                      <a:pt x="10378" y="1526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9" name="Freeform: Shape 3498">
                <a:extLst>
                  <a:ext uri="{FF2B5EF4-FFF2-40B4-BE49-F238E27FC236}">
                    <a16:creationId xmlns:a16="http://schemas.microsoft.com/office/drawing/2014/main" id="{7C3E6D80-459D-13F2-D3B2-7E5E5E3CD5B2}"/>
                  </a:ext>
                </a:extLst>
              </p:cNvPr>
              <p:cNvSpPr/>
              <p:nvPr/>
            </p:nvSpPr>
            <p:spPr>
              <a:xfrm>
                <a:off x="6537063" y="3864724"/>
                <a:ext cx="15056" cy="14987"/>
              </a:xfrm>
              <a:custGeom>
                <a:avLst/>
                <a:gdLst>
                  <a:gd name="connsiteX0" fmla="*/ 15040 w 15056"/>
                  <a:gd name="connsiteY0" fmla="*/ 7396 h 14987"/>
                  <a:gd name="connsiteX1" fmla="*/ 6915 w 15056"/>
                  <a:gd name="connsiteY1" fmla="*/ 14956 h 14987"/>
                  <a:gd name="connsiteX2" fmla="*/ 132 w 15056"/>
                  <a:gd name="connsiteY2" fmla="*/ 6477 h 14987"/>
                  <a:gd name="connsiteX3" fmla="*/ 9247 w 15056"/>
                  <a:gd name="connsiteY3" fmla="*/ 12 h 14987"/>
                  <a:gd name="connsiteX4" fmla="*/ 15040 w 15056"/>
                  <a:gd name="connsiteY4" fmla="*/ 7431 h 14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56" h="14987">
                    <a:moveTo>
                      <a:pt x="15040" y="7396"/>
                    </a:moveTo>
                    <a:cubicBezTo>
                      <a:pt x="14263" y="11989"/>
                      <a:pt x="11896" y="15345"/>
                      <a:pt x="6915" y="14956"/>
                    </a:cubicBezTo>
                    <a:cubicBezTo>
                      <a:pt x="2075" y="14568"/>
                      <a:pt x="-646" y="11388"/>
                      <a:pt x="132" y="6477"/>
                    </a:cubicBezTo>
                    <a:cubicBezTo>
                      <a:pt x="909" y="1567"/>
                      <a:pt x="4583" y="-165"/>
                      <a:pt x="9247" y="12"/>
                    </a:cubicBezTo>
                    <a:cubicBezTo>
                      <a:pt x="13981" y="189"/>
                      <a:pt x="15217" y="3262"/>
                      <a:pt x="15040" y="7431"/>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0" name="Freeform: Shape 3499">
                <a:extLst>
                  <a:ext uri="{FF2B5EF4-FFF2-40B4-BE49-F238E27FC236}">
                    <a16:creationId xmlns:a16="http://schemas.microsoft.com/office/drawing/2014/main" id="{E88A76A2-7524-4AEF-A6A2-0A5DA38341B4}"/>
                  </a:ext>
                </a:extLst>
              </p:cNvPr>
              <p:cNvSpPr/>
              <p:nvPr/>
            </p:nvSpPr>
            <p:spPr>
              <a:xfrm>
                <a:off x="7037631" y="4419641"/>
                <a:ext cx="14948" cy="14818"/>
              </a:xfrm>
              <a:custGeom>
                <a:avLst/>
                <a:gdLst>
                  <a:gd name="connsiteX0" fmla="*/ 14948 w 14948"/>
                  <a:gd name="connsiteY0" fmla="*/ 7608 h 14818"/>
                  <a:gd name="connsiteX1" fmla="*/ 7388 w 14948"/>
                  <a:gd name="connsiteY1" fmla="*/ 14815 h 14818"/>
                  <a:gd name="connsiteX2" fmla="*/ 75 w 14948"/>
                  <a:gd name="connsiteY2" fmla="*/ 6654 h 14818"/>
                  <a:gd name="connsiteX3" fmla="*/ 8907 w 14948"/>
                  <a:gd name="connsiteY3" fmla="*/ 189 h 14818"/>
                  <a:gd name="connsiteX4" fmla="*/ 14948 w 14948"/>
                  <a:gd name="connsiteY4" fmla="*/ 7608 h 1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8" h="14818">
                    <a:moveTo>
                      <a:pt x="14948" y="7608"/>
                    </a:moveTo>
                    <a:cubicBezTo>
                      <a:pt x="14065" y="12342"/>
                      <a:pt x="11486" y="14921"/>
                      <a:pt x="7388" y="14815"/>
                    </a:cubicBezTo>
                    <a:cubicBezTo>
                      <a:pt x="2548" y="14674"/>
                      <a:pt x="-526" y="11706"/>
                      <a:pt x="75" y="6654"/>
                    </a:cubicBezTo>
                    <a:cubicBezTo>
                      <a:pt x="640" y="1744"/>
                      <a:pt x="3961" y="-730"/>
                      <a:pt x="8907" y="189"/>
                    </a:cubicBezTo>
                    <a:cubicBezTo>
                      <a:pt x="13076" y="966"/>
                      <a:pt x="14772" y="4075"/>
                      <a:pt x="14948" y="7608"/>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1" name="Freeform: Shape 3500">
                <a:extLst>
                  <a:ext uri="{FF2B5EF4-FFF2-40B4-BE49-F238E27FC236}">
                    <a16:creationId xmlns:a16="http://schemas.microsoft.com/office/drawing/2014/main" id="{4EF56DDD-3509-EE76-E539-6A45D4FF0375}"/>
                  </a:ext>
                </a:extLst>
              </p:cNvPr>
              <p:cNvSpPr/>
              <p:nvPr/>
            </p:nvSpPr>
            <p:spPr>
              <a:xfrm>
                <a:off x="6466395" y="3616827"/>
                <a:ext cx="31937" cy="33814"/>
              </a:xfrm>
              <a:custGeom>
                <a:avLst/>
                <a:gdLst>
                  <a:gd name="connsiteX0" fmla="*/ 31902 w 31937"/>
                  <a:gd name="connsiteY0" fmla="*/ 16678 h 33814"/>
                  <a:gd name="connsiteX1" fmla="*/ 16252 w 31937"/>
                  <a:gd name="connsiteY1" fmla="*/ 33813 h 33814"/>
                  <a:gd name="connsiteX2" fmla="*/ 0 w 31937"/>
                  <a:gd name="connsiteY2" fmla="*/ 17350 h 33814"/>
                  <a:gd name="connsiteX3" fmla="*/ 16640 w 31937"/>
                  <a:gd name="connsiteY3" fmla="*/ 3 h 33814"/>
                  <a:gd name="connsiteX4" fmla="*/ 31938 w 31937"/>
                  <a:gd name="connsiteY4" fmla="*/ 16678 h 33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37" h="33814">
                    <a:moveTo>
                      <a:pt x="31902" y="16678"/>
                    </a:moveTo>
                    <a:cubicBezTo>
                      <a:pt x="31620" y="28443"/>
                      <a:pt x="26638" y="33707"/>
                      <a:pt x="16252" y="33813"/>
                    </a:cubicBezTo>
                    <a:cubicBezTo>
                      <a:pt x="5087" y="33919"/>
                      <a:pt x="0" y="28408"/>
                      <a:pt x="0" y="17350"/>
                    </a:cubicBezTo>
                    <a:cubicBezTo>
                      <a:pt x="0" y="6009"/>
                      <a:pt x="7596" y="144"/>
                      <a:pt x="16640" y="3"/>
                    </a:cubicBezTo>
                    <a:cubicBezTo>
                      <a:pt x="26638" y="-174"/>
                      <a:pt x="31691" y="7987"/>
                      <a:pt x="31938" y="16678"/>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2" name="Freeform: Shape 3501">
                <a:extLst>
                  <a:ext uri="{FF2B5EF4-FFF2-40B4-BE49-F238E27FC236}">
                    <a16:creationId xmlns:a16="http://schemas.microsoft.com/office/drawing/2014/main" id="{270DB11D-57A3-50BA-EEF8-00A51F3187B7}"/>
                  </a:ext>
                </a:extLst>
              </p:cNvPr>
              <p:cNvSpPr/>
              <p:nvPr/>
            </p:nvSpPr>
            <p:spPr>
              <a:xfrm>
                <a:off x="6371514" y="3617075"/>
                <a:ext cx="24663" cy="26498"/>
              </a:xfrm>
              <a:custGeom>
                <a:avLst/>
                <a:gdLst>
                  <a:gd name="connsiteX0" fmla="*/ 11610 w 24663"/>
                  <a:gd name="connsiteY0" fmla="*/ 26499 h 26498"/>
                  <a:gd name="connsiteX1" fmla="*/ 198 w 24663"/>
                  <a:gd name="connsiteY1" fmla="*/ 11484 h 26498"/>
                  <a:gd name="connsiteX2" fmla="*/ 13270 w 24663"/>
                  <a:gd name="connsiteY2" fmla="*/ 73 h 26498"/>
                  <a:gd name="connsiteX3" fmla="*/ 24576 w 24663"/>
                  <a:gd name="connsiteY3" fmla="*/ 14487 h 26498"/>
                  <a:gd name="connsiteX4" fmla="*/ 11610 w 24663"/>
                  <a:gd name="connsiteY4" fmla="*/ 26499 h 2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63" h="26498">
                    <a:moveTo>
                      <a:pt x="11610" y="26499"/>
                    </a:moveTo>
                    <a:cubicBezTo>
                      <a:pt x="5851" y="22895"/>
                      <a:pt x="-1285" y="19433"/>
                      <a:pt x="198" y="11484"/>
                    </a:cubicBezTo>
                    <a:cubicBezTo>
                      <a:pt x="1329" y="5407"/>
                      <a:pt x="6240" y="-740"/>
                      <a:pt x="13270" y="73"/>
                    </a:cubicBezTo>
                    <a:cubicBezTo>
                      <a:pt x="20442" y="920"/>
                      <a:pt x="25388" y="5831"/>
                      <a:pt x="24576" y="14487"/>
                    </a:cubicBezTo>
                    <a:cubicBezTo>
                      <a:pt x="23834" y="22507"/>
                      <a:pt x="18075" y="24450"/>
                      <a:pt x="11610" y="26499"/>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3" name="Freeform: Shape 3502">
                <a:extLst>
                  <a:ext uri="{FF2B5EF4-FFF2-40B4-BE49-F238E27FC236}">
                    <a16:creationId xmlns:a16="http://schemas.microsoft.com/office/drawing/2014/main" id="{F15B6B4B-93EA-8522-E257-A277C768282C}"/>
                  </a:ext>
                </a:extLst>
              </p:cNvPr>
              <p:cNvSpPr/>
              <p:nvPr/>
            </p:nvSpPr>
            <p:spPr>
              <a:xfrm>
                <a:off x="6454295" y="3679751"/>
                <a:ext cx="17696" cy="15403"/>
              </a:xfrm>
              <a:custGeom>
                <a:avLst/>
                <a:gdLst>
                  <a:gd name="connsiteX0" fmla="*/ 8885 w 17696"/>
                  <a:gd name="connsiteY0" fmla="*/ 15404 h 15403"/>
                  <a:gd name="connsiteX1" fmla="*/ 17 w 17696"/>
                  <a:gd name="connsiteY1" fmla="*/ 8196 h 15403"/>
                  <a:gd name="connsiteX2" fmla="*/ 9097 w 17696"/>
                  <a:gd name="connsiteY2" fmla="*/ 0 h 15403"/>
                  <a:gd name="connsiteX3" fmla="*/ 17682 w 17696"/>
                  <a:gd name="connsiteY3" fmla="*/ 7101 h 15403"/>
                  <a:gd name="connsiteX4" fmla="*/ 8850 w 17696"/>
                  <a:gd name="connsiteY4" fmla="*/ 15404 h 15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96" h="15403">
                    <a:moveTo>
                      <a:pt x="8885" y="15404"/>
                    </a:moveTo>
                    <a:cubicBezTo>
                      <a:pt x="3974" y="15121"/>
                      <a:pt x="300" y="13143"/>
                      <a:pt x="17" y="8196"/>
                    </a:cubicBezTo>
                    <a:cubicBezTo>
                      <a:pt x="-300" y="2296"/>
                      <a:pt x="3762" y="35"/>
                      <a:pt x="9097" y="0"/>
                    </a:cubicBezTo>
                    <a:cubicBezTo>
                      <a:pt x="13796" y="0"/>
                      <a:pt x="17435" y="2120"/>
                      <a:pt x="17682" y="7101"/>
                    </a:cubicBezTo>
                    <a:cubicBezTo>
                      <a:pt x="17965" y="13037"/>
                      <a:pt x="13973" y="15121"/>
                      <a:pt x="8850" y="1540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4" name="Freeform: Shape 3503">
                <a:extLst>
                  <a:ext uri="{FF2B5EF4-FFF2-40B4-BE49-F238E27FC236}">
                    <a16:creationId xmlns:a16="http://schemas.microsoft.com/office/drawing/2014/main" id="{6499EEDB-EB16-BCEA-2ECB-4FD3462F5A1D}"/>
                  </a:ext>
                </a:extLst>
              </p:cNvPr>
              <p:cNvSpPr/>
              <p:nvPr/>
            </p:nvSpPr>
            <p:spPr>
              <a:xfrm>
                <a:off x="7250952" y="3701762"/>
                <a:ext cx="31488" cy="31834"/>
              </a:xfrm>
              <a:custGeom>
                <a:avLst/>
                <a:gdLst>
                  <a:gd name="connsiteX0" fmla="*/ 15334 w 31488"/>
                  <a:gd name="connsiteY0" fmla="*/ 0 h 31834"/>
                  <a:gd name="connsiteX1" fmla="*/ 31480 w 31488"/>
                  <a:gd name="connsiteY1" fmla="*/ 15227 h 31834"/>
                  <a:gd name="connsiteX2" fmla="*/ 15370 w 31488"/>
                  <a:gd name="connsiteY2" fmla="*/ 31832 h 31834"/>
                  <a:gd name="connsiteX3" fmla="*/ 1 w 31488"/>
                  <a:gd name="connsiteY3" fmla="*/ 17841 h 31834"/>
                  <a:gd name="connsiteX4" fmla="*/ 15334 w 31488"/>
                  <a:gd name="connsiteY4" fmla="*/ 0 h 31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88" h="31834">
                    <a:moveTo>
                      <a:pt x="15334" y="0"/>
                    </a:moveTo>
                    <a:cubicBezTo>
                      <a:pt x="25580" y="71"/>
                      <a:pt x="31233" y="4699"/>
                      <a:pt x="31480" y="15227"/>
                    </a:cubicBezTo>
                    <a:cubicBezTo>
                      <a:pt x="31727" y="26285"/>
                      <a:pt x="26640" y="31973"/>
                      <a:pt x="15370" y="31832"/>
                    </a:cubicBezTo>
                    <a:cubicBezTo>
                      <a:pt x="6007" y="31726"/>
                      <a:pt x="-105" y="27592"/>
                      <a:pt x="1" y="17841"/>
                    </a:cubicBezTo>
                    <a:cubicBezTo>
                      <a:pt x="143" y="8090"/>
                      <a:pt x="3570" y="177"/>
                      <a:pt x="15334" y="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5" name="Freeform: Shape 3504">
                <a:extLst>
                  <a:ext uri="{FF2B5EF4-FFF2-40B4-BE49-F238E27FC236}">
                    <a16:creationId xmlns:a16="http://schemas.microsoft.com/office/drawing/2014/main" id="{3DFA2B98-8082-51BD-D51A-BF6925C82BE5}"/>
                  </a:ext>
                </a:extLst>
              </p:cNvPr>
              <p:cNvSpPr/>
              <p:nvPr/>
            </p:nvSpPr>
            <p:spPr>
              <a:xfrm>
                <a:off x="7199934" y="3734365"/>
                <a:ext cx="15407" cy="17711"/>
              </a:xfrm>
              <a:custGeom>
                <a:avLst/>
                <a:gdLst>
                  <a:gd name="connsiteX0" fmla="*/ 15407 w 15407"/>
                  <a:gd name="connsiteY0" fmla="*/ 8732 h 17711"/>
                  <a:gd name="connsiteX1" fmla="*/ 7246 w 15407"/>
                  <a:gd name="connsiteY1" fmla="*/ 17706 h 17711"/>
                  <a:gd name="connsiteX2" fmla="*/ 3 w 15407"/>
                  <a:gd name="connsiteY2" fmla="*/ 9191 h 17711"/>
                  <a:gd name="connsiteX3" fmla="*/ 8059 w 15407"/>
                  <a:gd name="connsiteY3" fmla="*/ 6 h 17711"/>
                  <a:gd name="connsiteX4" fmla="*/ 15407 w 15407"/>
                  <a:gd name="connsiteY4" fmla="*/ 8767 h 1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7" h="17711">
                    <a:moveTo>
                      <a:pt x="15407" y="8732"/>
                    </a:moveTo>
                    <a:cubicBezTo>
                      <a:pt x="15195" y="13784"/>
                      <a:pt x="13111" y="17882"/>
                      <a:pt x="7246" y="17706"/>
                    </a:cubicBezTo>
                    <a:cubicBezTo>
                      <a:pt x="2335" y="17529"/>
                      <a:pt x="74" y="13890"/>
                      <a:pt x="3" y="9191"/>
                    </a:cubicBezTo>
                    <a:cubicBezTo>
                      <a:pt x="-102" y="3786"/>
                      <a:pt x="2265" y="-171"/>
                      <a:pt x="8059" y="6"/>
                    </a:cubicBezTo>
                    <a:cubicBezTo>
                      <a:pt x="13005" y="147"/>
                      <a:pt x="15054" y="3821"/>
                      <a:pt x="15407" y="876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6" name="Freeform: Shape 3505">
                <a:extLst>
                  <a:ext uri="{FF2B5EF4-FFF2-40B4-BE49-F238E27FC236}">
                    <a16:creationId xmlns:a16="http://schemas.microsoft.com/office/drawing/2014/main" id="{B8265951-0165-D5BA-4292-A0325A5BA9B9}"/>
                  </a:ext>
                </a:extLst>
              </p:cNvPr>
              <p:cNvSpPr/>
              <p:nvPr/>
            </p:nvSpPr>
            <p:spPr>
              <a:xfrm>
                <a:off x="7197050" y="3676924"/>
                <a:ext cx="15040" cy="15016"/>
              </a:xfrm>
              <a:custGeom>
                <a:avLst/>
                <a:gdLst>
                  <a:gd name="connsiteX0" fmla="*/ 8823 w 15040"/>
                  <a:gd name="connsiteY0" fmla="*/ 14981 h 15016"/>
                  <a:gd name="connsiteX1" fmla="*/ 62 w 15040"/>
                  <a:gd name="connsiteY1" fmla="*/ 8091 h 15016"/>
                  <a:gd name="connsiteX2" fmla="*/ 7304 w 15040"/>
                  <a:gd name="connsiteY2" fmla="*/ 1 h 15016"/>
                  <a:gd name="connsiteX3" fmla="*/ 15006 w 15040"/>
                  <a:gd name="connsiteY3" fmla="*/ 7985 h 15016"/>
                  <a:gd name="connsiteX4" fmla="*/ 8823 w 15040"/>
                  <a:gd name="connsiteY4" fmla="*/ 15016 h 15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0" h="15016">
                    <a:moveTo>
                      <a:pt x="8823" y="14981"/>
                    </a:moveTo>
                    <a:cubicBezTo>
                      <a:pt x="4160" y="14875"/>
                      <a:pt x="592" y="13002"/>
                      <a:pt x="62" y="8091"/>
                    </a:cubicBezTo>
                    <a:cubicBezTo>
                      <a:pt x="-468" y="3145"/>
                      <a:pt x="2464" y="72"/>
                      <a:pt x="7304" y="1"/>
                    </a:cubicBezTo>
                    <a:cubicBezTo>
                      <a:pt x="12215" y="-70"/>
                      <a:pt x="14653" y="3322"/>
                      <a:pt x="15006" y="7985"/>
                    </a:cubicBezTo>
                    <a:cubicBezTo>
                      <a:pt x="15324" y="12260"/>
                      <a:pt x="13451" y="14910"/>
                      <a:pt x="8823" y="15016"/>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7" name="Freeform: Shape 3506">
                <a:extLst>
                  <a:ext uri="{FF2B5EF4-FFF2-40B4-BE49-F238E27FC236}">
                    <a16:creationId xmlns:a16="http://schemas.microsoft.com/office/drawing/2014/main" id="{53D5CD34-0F54-99AD-8633-7C9B8CE31052}"/>
                  </a:ext>
                </a:extLst>
              </p:cNvPr>
              <p:cNvSpPr/>
              <p:nvPr/>
            </p:nvSpPr>
            <p:spPr>
              <a:xfrm>
                <a:off x="6536828" y="4611133"/>
                <a:ext cx="24744" cy="24348"/>
              </a:xfrm>
              <a:custGeom>
                <a:avLst/>
                <a:gdLst>
                  <a:gd name="connsiteX0" fmla="*/ 24709 w 24744"/>
                  <a:gd name="connsiteY0" fmla="*/ 13007 h 24348"/>
                  <a:gd name="connsiteX1" fmla="*/ 12414 w 24744"/>
                  <a:gd name="connsiteY1" fmla="*/ 24348 h 24348"/>
                  <a:gd name="connsiteX2" fmla="*/ 49 w 24744"/>
                  <a:gd name="connsiteY2" fmla="*/ 12831 h 24348"/>
                  <a:gd name="connsiteX3" fmla="*/ 10860 w 24744"/>
                  <a:gd name="connsiteY3" fmla="*/ 6 h 24348"/>
                  <a:gd name="connsiteX4" fmla="*/ 24744 w 24744"/>
                  <a:gd name="connsiteY4" fmla="*/ 13007 h 24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44" h="24348">
                    <a:moveTo>
                      <a:pt x="24709" y="13007"/>
                    </a:moveTo>
                    <a:cubicBezTo>
                      <a:pt x="23614" y="19791"/>
                      <a:pt x="19621" y="24313"/>
                      <a:pt x="12414" y="24348"/>
                    </a:cubicBezTo>
                    <a:cubicBezTo>
                      <a:pt x="5136" y="24419"/>
                      <a:pt x="579" y="19896"/>
                      <a:pt x="49" y="12831"/>
                    </a:cubicBezTo>
                    <a:cubicBezTo>
                      <a:pt x="-516" y="5588"/>
                      <a:pt x="3865" y="218"/>
                      <a:pt x="10860" y="6"/>
                    </a:cubicBezTo>
                    <a:cubicBezTo>
                      <a:pt x="18420" y="-206"/>
                      <a:pt x="22907" y="5270"/>
                      <a:pt x="24744" y="1300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8" name="Freeform: Shape 3507">
                <a:extLst>
                  <a:ext uri="{FF2B5EF4-FFF2-40B4-BE49-F238E27FC236}">
                    <a16:creationId xmlns:a16="http://schemas.microsoft.com/office/drawing/2014/main" id="{CD48E8FD-BCBB-DB73-1BB3-DB7E11E7350F}"/>
                  </a:ext>
                </a:extLst>
              </p:cNvPr>
              <p:cNvSpPr/>
              <p:nvPr/>
            </p:nvSpPr>
            <p:spPr>
              <a:xfrm>
                <a:off x="6592100" y="4594727"/>
                <a:ext cx="17272" cy="15326"/>
              </a:xfrm>
              <a:custGeom>
                <a:avLst/>
                <a:gdLst>
                  <a:gd name="connsiteX0" fmla="*/ 17273 w 17272"/>
                  <a:gd name="connsiteY0" fmla="*/ 7862 h 15326"/>
                  <a:gd name="connsiteX1" fmla="*/ 8158 w 17272"/>
                  <a:gd name="connsiteY1" fmla="*/ 15316 h 15326"/>
                  <a:gd name="connsiteX2" fmla="*/ 32 w 17272"/>
                  <a:gd name="connsiteY2" fmla="*/ 5813 h 15326"/>
                  <a:gd name="connsiteX3" fmla="*/ 9571 w 17272"/>
                  <a:gd name="connsiteY3" fmla="*/ 89 h 15326"/>
                  <a:gd name="connsiteX4" fmla="*/ 17273 w 17272"/>
                  <a:gd name="connsiteY4" fmla="*/ 7897 h 15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 h="15326">
                    <a:moveTo>
                      <a:pt x="17273" y="7862"/>
                    </a:moveTo>
                    <a:cubicBezTo>
                      <a:pt x="16142" y="13303"/>
                      <a:pt x="12892" y="15493"/>
                      <a:pt x="8158" y="15316"/>
                    </a:cubicBezTo>
                    <a:cubicBezTo>
                      <a:pt x="2223" y="15069"/>
                      <a:pt x="-321" y="10759"/>
                      <a:pt x="32" y="5813"/>
                    </a:cubicBezTo>
                    <a:cubicBezTo>
                      <a:pt x="421" y="619"/>
                      <a:pt x="5120" y="-335"/>
                      <a:pt x="9571" y="89"/>
                    </a:cubicBezTo>
                    <a:cubicBezTo>
                      <a:pt x="14411" y="549"/>
                      <a:pt x="16955" y="3516"/>
                      <a:pt x="17273" y="789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9" name="Freeform: Shape 3508">
                <a:extLst>
                  <a:ext uri="{FF2B5EF4-FFF2-40B4-BE49-F238E27FC236}">
                    <a16:creationId xmlns:a16="http://schemas.microsoft.com/office/drawing/2014/main" id="{C48A628D-1536-9A58-DD72-58B08AAF4D45}"/>
                  </a:ext>
                </a:extLst>
              </p:cNvPr>
              <p:cNvSpPr/>
              <p:nvPr/>
            </p:nvSpPr>
            <p:spPr>
              <a:xfrm>
                <a:off x="6611133" y="4662728"/>
                <a:ext cx="16484" cy="16808"/>
              </a:xfrm>
              <a:custGeom>
                <a:avLst/>
                <a:gdLst>
                  <a:gd name="connsiteX0" fmla="*/ 8308 w 16484"/>
                  <a:gd name="connsiteY0" fmla="*/ 16808 h 16808"/>
                  <a:gd name="connsiteX1" fmla="*/ 6 w 16484"/>
                  <a:gd name="connsiteY1" fmla="*/ 8718 h 16808"/>
                  <a:gd name="connsiteX2" fmla="*/ 8874 w 16484"/>
                  <a:gd name="connsiteY2" fmla="*/ 27 h 16808"/>
                  <a:gd name="connsiteX3" fmla="*/ 16469 w 16484"/>
                  <a:gd name="connsiteY3" fmla="*/ 8506 h 16808"/>
                  <a:gd name="connsiteX4" fmla="*/ 8308 w 16484"/>
                  <a:gd name="connsiteY4" fmla="*/ 16808 h 16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4" h="16808">
                    <a:moveTo>
                      <a:pt x="8308" y="16808"/>
                    </a:moveTo>
                    <a:cubicBezTo>
                      <a:pt x="3857" y="15748"/>
                      <a:pt x="182" y="12993"/>
                      <a:pt x="6" y="8718"/>
                    </a:cubicBezTo>
                    <a:cubicBezTo>
                      <a:pt x="-171" y="3524"/>
                      <a:pt x="3680" y="-362"/>
                      <a:pt x="8874" y="27"/>
                    </a:cubicBezTo>
                    <a:cubicBezTo>
                      <a:pt x="13007" y="345"/>
                      <a:pt x="16752" y="3878"/>
                      <a:pt x="16469" y="8506"/>
                    </a:cubicBezTo>
                    <a:cubicBezTo>
                      <a:pt x="16222" y="12922"/>
                      <a:pt x="12689" y="15572"/>
                      <a:pt x="8308" y="16808"/>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0" name="Freeform: Shape 3509">
                <a:extLst>
                  <a:ext uri="{FF2B5EF4-FFF2-40B4-BE49-F238E27FC236}">
                    <a16:creationId xmlns:a16="http://schemas.microsoft.com/office/drawing/2014/main" id="{B4BA24A1-D34E-4C5B-1883-5FAA711ED94F}"/>
                  </a:ext>
                </a:extLst>
              </p:cNvPr>
              <p:cNvSpPr/>
              <p:nvPr/>
            </p:nvSpPr>
            <p:spPr>
              <a:xfrm>
                <a:off x="7353042" y="4289848"/>
                <a:ext cx="25034" cy="23896"/>
              </a:xfrm>
              <a:custGeom>
                <a:avLst/>
                <a:gdLst>
                  <a:gd name="connsiteX0" fmla="*/ 25026 w 25034"/>
                  <a:gd name="connsiteY0" fmla="*/ 14455 h 23896"/>
                  <a:gd name="connsiteX1" fmla="*/ 13650 w 25034"/>
                  <a:gd name="connsiteY1" fmla="*/ 23888 h 23896"/>
                  <a:gd name="connsiteX2" fmla="*/ 48 w 25034"/>
                  <a:gd name="connsiteY2" fmla="*/ 11735 h 23896"/>
                  <a:gd name="connsiteX3" fmla="*/ 11954 w 25034"/>
                  <a:gd name="connsiteY3" fmla="*/ 6 h 23896"/>
                  <a:gd name="connsiteX4" fmla="*/ 25026 w 25034"/>
                  <a:gd name="connsiteY4" fmla="*/ 14455 h 23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34" h="23896">
                    <a:moveTo>
                      <a:pt x="25026" y="14455"/>
                    </a:moveTo>
                    <a:cubicBezTo>
                      <a:pt x="25238" y="20214"/>
                      <a:pt x="21458" y="24100"/>
                      <a:pt x="13650" y="23888"/>
                    </a:cubicBezTo>
                    <a:cubicBezTo>
                      <a:pt x="5736" y="23676"/>
                      <a:pt x="684" y="19649"/>
                      <a:pt x="48" y="11735"/>
                    </a:cubicBezTo>
                    <a:cubicBezTo>
                      <a:pt x="-623" y="3644"/>
                      <a:pt x="5842" y="182"/>
                      <a:pt x="11954" y="6"/>
                    </a:cubicBezTo>
                    <a:cubicBezTo>
                      <a:pt x="19055" y="-171"/>
                      <a:pt x="24920" y="3786"/>
                      <a:pt x="25026" y="14455"/>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1" name="Freeform: Shape 3510">
                <a:extLst>
                  <a:ext uri="{FF2B5EF4-FFF2-40B4-BE49-F238E27FC236}">
                    <a16:creationId xmlns:a16="http://schemas.microsoft.com/office/drawing/2014/main" id="{226798DC-DF22-0430-1AED-5642A434B2D8}"/>
                  </a:ext>
                </a:extLst>
              </p:cNvPr>
              <p:cNvSpPr/>
              <p:nvPr/>
            </p:nvSpPr>
            <p:spPr>
              <a:xfrm>
                <a:off x="7305407" y="4253818"/>
                <a:ext cx="15138" cy="17150"/>
              </a:xfrm>
              <a:custGeom>
                <a:avLst/>
                <a:gdLst>
                  <a:gd name="connsiteX0" fmla="*/ 6631 w 15138"/>
                  <a:gd name="connsiteY0" fmla="*/ 35 h 17150"/>
                  <a:gd name="connsiteX1" fmla="*/ 15004 w 15138"/>
                  <a:gd name="connsiteY1" fmla="*/ 7525 h 17150"/>
                  <a:gd name="connsiteX2" fmla="*/ 9634 w 15138"/>
                  <a:gd name="connsiteY2" fmla="*/ 17099 h 17150"/>
                  <a:gd name="connsiteX3" fmla="*/ 201 w 15138"/>
                  <a:gd name="connsiteY3" fmla="*/ 8691 h 17150"/>
                  <a:gd name="connsiteX4" fmla="*/ 6666 w 15138"/>
                  <a:gd name="connsiteY4" fmla="*/ 0 h 1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38" h="17150">
                    <a:moveTo>
                      <a:pt x="6631" y="35"/>
                    </a:moveTo>
                    <a:cubicBezTo>
                      <a:pt x="11824" y="35"/>
                      <a:pt x="14439" y="2932"/>
                      <a:pt x="15004" y="7525"/>
                    </a:cubicBezTo>
                    <a:cubicBezTo>
                      <a:pt x="15534" y="11871"/>
                      <a:pt x="14651" y="16569"/>
                      <a:pt x="9634" y="17099"/>
                    </a:cubicBezTo>
                    <a:cubicBezTo>
                      <a:pt x="4299" y="17665"/>
                      <a:pt x="1190" y="13425"/>
                      <a:pt x="201" y="8691"/>
                    </a:cubicBezTo>
                    <a:cubicBezTo>
                      <a:pt x="-824" y="3851"/>
                      <a:pt x="2180" y="1060"/>
                      <a:pt x="6666" y="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2" name="Freeform: Shape 3511">
                <a:extLst>
                  <a:ext uri="{FF2B5EF4-FFF2-40B4-BE49-F238E27FC236}">
                    <a16:creationId xmlns:a16="http://schemas.microsoft.com/office/drawing/2014/main" id="{BAF7ADB1-A706-AA3E-B7BE-84E354E81C35}"/>
                  </a:ext>
                </a:extLst>
              </p:cNvPr>
              <p:cNvSpPr/>
              <p:nvPr/>
            </p:nvSpPr>
            <p:spPr>
              <a:xfrm>
                <a:off x="7152394" y="4527798"/>
                <a:ext cx="34400" cy="33861"/>
              </a:xfrm>
              <a:custGeom>
                <a:avLst/>
                <a:gdLst>
                  <a:gd name="connsiteX0" fmla="*/ 34401 w 34400"/>
                  <a:gd name="connsiteY0" fmla="*/ 16074 h 33861"/>
                  <a:gd name="connsiteX1" fmla="*/ 16418 w 34400"/>
                  <a:gd name="connsiteY1" fmla="*/ 33845 h 33861"/>
                  <a:gd name="connsiteX2" fmla="*/ 25 w 34400"/>
                  <a:gd name="connsiteY2" fmla="*/ 15756 h 33861"/>
                  <a:gd name="connsiteX3" fmla="*/ 18220 w 34400"/>
                  <a:gd name="connsiteY3" fmla="*/ 70 h 33861"/>
                  <a:gd name="connsiteX4" fmla="*/ 34401 w 34400"/>
                  <a:gd name="connsiteY4" fmla="*/ 16074 h 33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00" h="33861">
                    <a:moveTo>
                      <a:pt x="34401" y="16074"/>
                    </a:moveTo>
                    <a:cubicBezTo>
                      <a:pt x="32210" y="26637"/>
                      <a:pt x="26770" y="34268"/>
                      <a:pt x="16418" y="33845"/>
                    </a:cubicBezTo>
                    <a:cubicBezTo>
                      <a:pt x="6279" y="33421"/>
                      <a:pt x="-469" y="25895"/>
                      <a:pt x="25" y="15756"/>
                    </a:cubicBezTo>
                    <a:cubicBezTo>
                      <a:pt x="555" y="5616"/>
                      <a:pt x="7586" y="-743"/>
                      <a:pt x="18220" y="70"/>
                    </a:cubicBezTo>
                    <a:cubicBezTo>
                      <a:pt x="27865" y="811"/>
                      <a:pt x="32846" y="7383"/>
                      <a:pt x="34401" y="1607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3" name="Freeform: Shape 3512">
                <a:extLst>
                  <a:ext uri="{FF2B5EF4-FFF2-40B4-BE49-F238E27FC236}">
                    <a16:creationId xmlns:a16="http://schemas.microsoft.com/office/drawing/2014/main" id="{5617218D-7D31-038E-8FB4-4BA392644439}"/>
                  </a:ext>
                </a:extLst>
              </p:cNvPr>
              <p:cNvSpPr/>
              <p:nvPr/>
            </p:nvSpPr>
            <p:spPr>
              <a:xfrm>
                <a:off x="7200464" y="4578392"/>
                <a:ext cx="30775" cy="30944"/>
              </a:xfrm>
              <a:custGeom>
                <a:avLst/>
                <a:gdLst>
                  <a:gd name="connsiteX0" fmla="*/ 13570 w 30775"/>
                  <a:gd name="connsiteY0" fmla="*/ 67 h 30944"/>
                  <a:gd name="connsiteX1" fmla="*/ 30775 w 30775"/>
                  <a:gd name="connsiteY1" fmla="*/ 14093 h 30944"/>
                  <a:gd name="connsiteX2" fmla="*/ 15796 w 30775"/>
                  <a:gd name="connsiteY2" fmla="*/ 30945 h 30944"/>
                  <a:gd name="connsiteX3" fmla="*/ 3 w 30775"/>
                  <a:gd name="connsiteY3" fmla="*/ 14340 h 30944"/>
                  <a:gd name="connsiteX4" fmla="*/ 13535 w 30775"/>
                  <a:gd name="connsiteY4" fmla="*/ 67 h 30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5" h="30944">
                    <a:moveTo>
                      <a:pt x="13570" y="67"/>
                    </a:moveTo>
                    <a:cubicBezTo>
                      <a:pt x="24593" y="244"/>
                      <a:pt x="30705" y="4306"/>
                      <a:pt x="30775" y="14093"/>
                    </a:cubicBezTo>
                    <a:cubicBezTo>
                      <a:pt x="30846" y="23808"/>
                      <a:pt x="25087" y="30909"/>
                      <a:pt x="15796" y="30945"/>
                    </a:cubicBezTo>
                    <a:cubicBezTo>
                      <a:pt x="6539" y="30980"/>
                      <a:pt x="-173" y="23737"/>
                      <a:pt x="3" y="14340"/>
                    </a:cubicBezTo>
                    <a:cubicBezTo>
                      <a:pt x="180" y="5967"/>
                      <a:pt x="4985" y="-746"/>
                      <a:pt x="13535" y="6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4" name="Freeform: Shape 3513">
                <a:extLst>
                  <a:ext uri="{FF2B5EF4-FFF2-40B4-BE49-F238E27FC236}">
                    <a16:creationId xmlns:a16="http://schemas.microsoft.com/office/drawing/2014/main" id="{EBDCAD7F-27DA-F207-7AE1-2434471F4167}"/>
                  </a:ext>
                </a:extLst>
              </p:cNvPr>
              <p:cNvSpPr/>
              <p:nvPr/>
            </p:nvSpPr>
            <p:spPr>
              <a:xfrm>
                <a:off x="6443978" y="4409442"/>
                <a:ext cx="35170" cy="35042"/>
              </a:xfrm>
              <a:custGeom>
                <a:avLst/>
                <a:gdLst>
                  <a:gd name="connsiteX0" fmla="*/ 35170 w 35170"/>
                  <a:gd name="connsiteY0" fmla="*/ 17313 h 35042"/>
                  <a:gd name="connsiteX1" fmla="*/ 16658 w 35170"/>
                  <a:gd name="connsiteY1" fmla="*/ 35013 h 35042"/>
                  <a:gd name="connsiteX2" fmla="*/ 18 w 35170"/>
                  <a:gd name="connsiteY2" fmla="*/ 18690 h 35042"/>
                  <a:gd name="connsiteX3" fmla="*/ 17647 w 35170"/>
                  <a:gd name="connsiteY3" fmla="*/ 1 h 35042"/>
                  <a:gd name="connsiteX4" fmla="*/ 35170 w 35170"/>
                  <a:gd name="connsiteY4" fmla="*/ 17313 h 3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35042">
                    <a:moveTo>
                      <a:pt x="35170" y="17313"/>
                    </a:moveTo>
                    <a:cubicBezTo>
                      <a:pt x="34358" y="27275"/>
                      <a:pt x="28846" y="34447"/>
                      <a:pt x="16658" y="35013"/>
                    </a:cubicBezTo>
                    <a:cubicBezTo>
                      <a:pt x="5494" y="35507"/>
                      <a:pt x="335" y="29890"/>
                      <a:pt x="18" y="18690"/>
                    </a:cubicBezTo>
                    <a:cubicBezTo>
                      <a:pt x="-336" y="6255"/>
                      <a:pt x="4610" y="-105"/>
                      <a:pt x="17647" y="1"/>
                    </a:cubicBezTo>
                    <a:cubicBezTo>
                      <a:pt x="28493" y="107"/>
                      <a:pt x="34782" y="4276"/>
                      <a:pt x="35170" y="17313"/>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5" name="Freeform: Shape 3514">
                <a:extLst>
                  <a:ext uri="{FF2B5EF4-FFF2-40B4-BE49-F238E27FC236}">
                    <a16:creationId xmlns:a16="http://schemas.microsoft.com/office/drawing/2014/main" id="{1CB576AE-239D-AF3E-AB68-3B14D9C05D03}"/>
                  </a:ext>
                </a:extLst>
              </p:cNvPr>
              <p:cNvSpPr/>
              <p:nvPr/>
            </p:nvSpPr>
            <p:spPr>
              <a:xfrm>
                <a:off x="6505307" y="4441722"/>
                <a:ext cx="18003" cy="15364"/>
              </a:xfrm>
              <a:custGeom>
                <a:avLst/>
                <a:gdLst>
                  <a:gd name="connsiteX0" fmla="*/ 17968 w 18003"/>
                  <a:gd name="connsiteY0" fmla="*/ 7679 h 15364"/>
                  <a:gd name="connsiteX1" fmla="*/ 7793 w 18003"/>
                  <a:gd name="connsiteY1" fmla="*/ 15310 h 15364"/>
                  <a:gd name="connsiteX2" fmla="*/ 21 w 18003"/>
                  <a:gd name="connsiteY2" fmla="*/ 7396 h 15364"/>
                  <a:gd name="connsiteX3" fmla="*/ 9984 w 18003"/>
                  <a:gd name="connsiteY3" fmla="*/ 48 h 15364"/>
                  <a:gd name="connsiteX4" fmla="*/ 18003 w 18003"/>
                  <a:gd name="connsiteY4" fmla="*/ 7679 h 15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3" h="15364">
                    <a:moveTo>
                      <a:pt x="17968" y="7679"/>
                    </a:moveTo>
                    <a:cubicBezTo>
                      <a:pt x="16908" y="13720"/>
                      <a:pt x="13057" y="15734"/>
                      <a:pt x="7793" y="15310"/>
                    </a:cubicBezTo>
                    <a:cubicBezTo>
                      <a:pt x="3094" y="14921"/>
                      <a:pt x="-297" y="12272"/>
                      <a:pt x="21" y="7396"/>
                    </a:cubicBezTo>
                    <a:cubicBezTo>
                      <a:pt x="409" y="1602"/>
                      <a:pt x="4684" y="-341"/>
                      <a:pt x="9984" y="48"/>
                    </a:cubicBezTo>
                    <a:cubicBezTo>
                      <a:pt x="14753" y="401"/>
                      <a:pt x="17403" y="3227"/>
                      <a:pt x="18003" y="7679"/>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6" name="Freeform: Shape 3515">
                <a:extLst>
                  <a:ext uri="{FF2B5EF4-FFF2-40B4-BE49-F238E27FC236}">
                    <a16:creationId xmlns:a16="http://schemas.microsoft.com/office/drawing/2014/main" id="{969BA174-6CFC-90F9-527E-9F2004BAB21F}"/>
                  </a:ext>
                </a:extLst>
              </p:cNvPr>
              <p:cNvSpPr/>
              <p:nvPr/>
            </p:nvSpPr>
            <p:spPr>
              <a:xfrm>
                <a:off x="6307589" y="3950749"/>
                <a:ext cx="17771" cy="15417"/>
              </a:xfrm>
              <a:custGeom>
                <a:avLst/>
                <a:gdLst>
                  <a:gd name="connsiteX0" fmla="*/ 9362 w 17771"/>
                  <a:gd name="connsiteY0" fmla="*/ 15417 h 15417"/>
                  <a:gd name="connsiteX1" fmla="*/ 0 w 17771"/>
                  <a:gd name="connsiteY1" fmla="*/ 7574 h 15417"/>
                  <a:gd name="connsiteX2" fmla="*/ 8232 w 17771"/>
                  <a:gd name="connsiteY2" fmla="*/ 13 h 15417"/>
                  <a:gd name="connsiteX3" fmla="*/ 17771 w 17771"/>
                  <a:gd name="connsiteY3" fmla="*/ 7821 h 15417"/>
                  <a:gd name="connsiteX4" fmla="*/ 9362 w 17771"/>
                  <a:gd name="connsiteY4" fmla="*/ 15417 h 1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71" h="15417">
                    <a:moveTo>
                      <a:pt x="9362" y="15417"/>
                    </a:moveTo>
                    <a:cubicBezTo>
                      <a:pt x="4204" y="15346"/>
                      <a:pt x="36" y="13368"/>
                      <a:pt x="0" y="7574"/>
                    </a:cubicBezTo>
                    <a:cubicBezTo>
                      <a:pt x="-35" y="2663"/>
                      <a:pt x="3498" y="225"/>
                      <a:pt x="8232" y="13"/>
                    </a:cubicBezTo>
                    <a:cubicBezTo>
                      <a:pt x="13602" y="-199"/>
                      <a:pt x="17700" y="2098"/>
                      <a:pt x="17771" y="7821"/>
                    </a:cubicBezTo>
                    <a:cubicBezTo>
                      <a:pt x="17842" y="12697"/>
                      <a:pt x="14273" y="15028"/>
                      <a:pt x="9362" y="1541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7" name="Freeform: Shape 3516">
                <a:extLst>
                  <a:ext uri="{FF2B5EF4-FFF2-40B4-BE49-F238E27FC236}">
                    <a16:creationId xmlns:a16="http://schemas.microsoft.com/office/drawing/2014/main" id="{59FA9AD5-6BD6-2446-F842-CAFA805CA81A}"/>
                  </a:ext>
                </a:extLst>
              </p:cNvPr>
              <p:cNvSpPr/>
              <p:nvPr/>
            </p:nvSpPr>
            <p:spPr>
              <a:xfrm>
                <a:off x="6326380" y="4581986"/>
                <a:ext cx="14965" cy="14977"/>
              </a:xfrm>
              <a:custGeom>
                <a:avLst/>
                <a:gdLst>
                  <a:gd name="connsiteX0" fmla="*/ 7247 w 14965"/>
                  <a:gd name="connsiteY0" fmla="*/ 6 h 14977"/>
                  <a:gd name="connsiteX1" fmla="*/ 14949 w 14965"/>
                  <a:gd name="connsiteY1" fmla="*/ 7920 h 14977"/>
                  <a:gd name="connsiteX2" fmla="*/ 6646 w 14965"/>
                  <a:gd name="connsiteY2" fmla="*/ 14879 h 14977"/>
                  <a:gd name="connsiteX3" fmla="*/ 4 w 14965"/>
                  <a:gd name="connsiteY3" fmla="*/ 5976 h 14977"/>
                  <a:gd name="connsiteX4" fmla="*/ 7247 w 14965"/>
                  <a:gd name="connsiteY4" fmla="*/ 6 h 14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65" h="14977">
                    <a:moveTo>
                      <a:pt x="7247" y="6"/>
                    </a:moveTo>
                    <a:cubicBezTo>
                      <a:pt x="11840" y="677"/>
                      <a:pt x="15231" y="2973"/>
                      <a:pt x="14949" y="7920"/>
                    </a:cubicBezTo>
                    <a:cubicBezTo>
                      <a:pt x="14701" y="12724"/>
                      <a:pt x="11592" y="15551"/>
                      <a:pt x="6646" y="14879"/>
                    </a:cubicBezTo>
                    <a:cubicBezTo>
                      <a:pt x="1735" y="14243"/>
                      <a:pt x="-102" y="10604"/>
                      <a:pt x="4" y="5976"/>
                    </a:cubicBezTo>
                    <a:cubicBezTo>
                      <a:pt x="110" y="1278"/>
                      <a:pt x="3078" y="-100"/>
                      <a:pt x="7247" y="6"/>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8" name="Freeform: Shape 3517">
                <a:extLst>
                  <a:ext uri="{FF2B5EF4-FFF2-40B4-BE49-F238E27FC236}">
                    <a16:creationId xmlns:a16="http://schemas.microsoft.com/office/drawing/2014/main" id="{140A95D8-81B5-A578-23A7-8B8D80868D6D}"/>
                  </a:ext>
                </a:extLst>
              </p:cNvPr>
              <p:cNvSpPr/>
              <p:nvPr/>
            </p:nvSpPr>
            <p:spPr>
              <a:xfrm>
                <a:off x="6552047" y="3815930"/>
                <a:ext cx="306709" cy="326238"/>
              </a:xfrm>
              <a:custGeom>
                <a:avLst/>
                <a:gdLst>
                  <a:gd name="connsiteX0" fmla="*/ 340 w 306709"/>
                  <a:gd name="connsiteY0" fmla="*/ 210650 h 326238"/>
                  <a:gd name="connsiteX1" fmla="*/ 44890 w 306709"/>
                  <a:gd name="connsiteY1" fmla="*/ 126743 h 326238"/>
                  <a:gd name="connsiteX2" fmla="*/ 139325 w 306709"/>
                  <a:gd name="connsiteY2" fmla="*/ 68343 h 326238"/>
                  <a:gd name="connsiteX3" fmla="*/ 163985 w 306709"/>
                  <a:gd name="connsiteY3" fmla="*/ 43895 h 326238"/>
                  <a:gd name="connsiteX4" fmla="*/ 270750 w 306709"/>
                  <a:gd name="connsiteY4" fmla="*/ 4856 h 326238"/>
                  <a:gd name="connsiteX5" fmla="*/ 304914 w 306709"/>
                  <a:gd name="connsiteY5" fmla="*/ 70322 h 326238"/>
                  <a:gd name="connsiteX6" fmla="*/ 289157 w 306709"/>
                  <a:gd name="connsiteY6" fmla="*/ 101235 h 326238"/>
                  <a:gd name="connsiteX7" fmla="*/ 245914 w 306709"/>
                  <a:gd name="connsiteY7" fmla="*/ 195458 h 326238"/>
                  <a:gd name="connsiteX8" fmla="*/ 196559 w 306709"/>
                  <a:gd name="connsiteY8" fmla="*/ 290318 h 326238"/>
                  <a:gd name="connsiteX9" fmla="*/ 75732 w 306709"/>
                  <a:gd name="connsiteY9" fmla="*/ 316214 h 326238"/>
                  <a:gd name="connsiteX10" fmla="*/ 304 w 306709"/>
                  <a:gd name="connsiteY10" fmla="*/ 210544 h 32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709" h="326238">
                    <a:moveTo>
                      <a:pt x="340" y="210650"/>
                    </a:moveTo>
                    <a:cubicBezTo>
                      <a:pt x="-1498" y="173801"/>
                      <a:pt x="14613" y="146810"/>
                      <a:pt x="44890" y="126743"/>
                    </a:cubicBezTo>
                    <a:cubicBezTo>
                      <a:pt x="75768" y="106287"/>
                      <a:pt x="109472" y="90495"/>
                      <a:pt x="139325" y="68343"/>
                    </a:cubicBezTo>
                    <a:cubicBezTo>
                      <a:pt x="148794" y="61313"/>
                      <a:pt x="156213" y="52622"/>
                      <a:pt x="163985" y="43895"/>
                    </a:cubicBezTo>
                    <a:cubicBezTo>
                      <a:pt x="197159" y="6729"/>
                      <a:pt x="222314" y="-8710"/>
                      <a:pt x="270750" y="4856"/>
                    </a:cubicBezTo>
                    <a:cubicBezTo>
                      <a:pt x="304384" y="14289"/>
                      <a:pt x="310425" y="44991"/>
                      <a:pt x="304914" y="70322"/>
                    </a:cubicBezTo>
                    <a:cubicBezTo>
                      <a:pt x="302370" y="81910"/>
                      <a:pt x="296788" y="92509"/>
                      <a:pt x="289157" y="101235"/>
                    </a:cubicBezTo>
                    <a:cubicBezTo>
                      <a:pt x="265380" y="128474"/>
                      <a:pt x="254640" y="161542"/>
                      <a:pt x="245914" y="195458"/>
                    </a:cubicBezTo>
                    <a:cubicBezTo>
                      <a:pt x="236799" y="231000"/>
                      <a:pt x="220583" y="262725"/>
                      <a:pt x="196559" y="290318"/>
                    </a:cubicBezTo>
                    <a:cubicBezTo>
                      <a:pt x="164056" y="327661"/>
                      <a:pt x="128832" y="335150"/>
                      <a:pt x="75732" y="316214"/>
                    </a:cubicBezTo>
                    <a:cubicBezTo>
                      <a:pt x="33479" y="301128"/>
                      <a:pt x="-3759" y="262443"/>
                      <a:pt x="304" y="21054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19" name="Freeform: Shape 3518">
                <a:extLst>
                  <a:ext uri="{FF2B5EF4-FFF2-40B4-BE49-F238E27FC236}">
                    <a16:creationId xmlns:a16="http://schemas.microsoft.com/office/drawing/2014/main" id="{00961E69-F8AB-0684-6B40-B7436801FD1D}"/>
                  </a:ext>
                </a:extLst>
              </p:cNvPr>
              <p:cNvSpPr/>
              <p:nvPr/>
            </p:nvSpPr>
            <p:spPr>
              <a:xfrm>
                <a:off x="6892926" y="3948886"/>
                <a:ext cx="153653" cy="336177"/>
              </a:xfrm>
              <a:custGeom>
                <a:avLst/>
                <a:gdLst>
                  <a:gd name="connsiteX0" fmla="*/ 10034 w 153653"/>
                  <a:gd name="connsiteY0" fmla="*/ 233249 h 336177"/>
                  <a:gd name="connsiteX1" fmla="*/ 1449 w 153653"/>
                  <a:gd name="connsiteY1" fmla="*/ 118075 h 336177"/>
                  <a:gd name="connsiteX2" fmla="*/ 32856 w 153653"/>
                  <a:gd name="connsiteY2" fmla="*/ 14843 h 336177"/>
                  <a:gd name="connsiteX3" fmla="*/ 107260 w 153653"/>
                  <a:gd name="connsiteY3" fmla="*/ 13854 h 336177"/>
                  <a:gd name="connsiteX4" fmla="*/ 150256 w 153653"/>
                  <a:gd name="connsiteY4" fmla="*/ 101965 h 336177"/>
                  <a:gd name="connsiteX5" fmla="*/ 123794 w 153653"/>
                  <a:gd name="connsiteY5" fmla="*/ 262148 h 336177"/>
                  <a:gd name="connsiteX6" fmla="*/ 91998 w 153653"/>
                  <a:gd name="connsiteY6" fmla="*/ 316520 h 336177"/>
                  <a:gd name="connsiteX7" fmla="*/ 45752 w 153653"/>
                  <a:gd name="connsiteY7" fmla="*/ 334361 h 336177"/>
                  <a:gd name="connsiteX8" fmla="*/ 12471 w 153653"/>
                  <a:gd name="connsiteY8" fmla="*/ 290270 h 336177"/>
                  <a:gd name="connsiteX9" fmla="*/ 10034 w 153653"/>
                  <a:gd name="connsiteY9" fmla="*/ 233214 h 33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653" h="336177">
                    <a:moveTo>
                      <a:pt x="10034" y="233249"/>
                    </a:moveTo>
                    <a:cubicBezTo>
                      <a:pt x="11482" y="193468"/>
                      <a:pt x="5335" y="155913"/>
                      <a:pt x="1449" y="118075"/>
                    </a:cubicBezTo>
                    <a:cubicBezTo>
                      <a:pt x="-2473" y="80061"/>
                      <a:pt x="-388" y="43036"/>
                      <a:pt x="32856" y="14843"/>
                    </a:cubicBezTo>
                    <a:cubicBezTo>
                      <a:pt x="55185" y="-4094"/>
                      <a:pt x="84967" y="-5436"/>
                      <a:pt x="107260" y="13854"/>
                    </a:cubicBezTo>
                    <a:cubicBezTo>
                      <a:pt x="134322" y="37277"/>
                      <a:pt x="144073" y="68861"/>
                      <a:pt x="150256" y="101965"/>
                    </a:cubicBezTo>
                    <a:cubicBezTo>
                      <a:pt x="160784" y="158386"/>
                      <a:pt x="145416" y="210885"/>
                      <a:pt x="123794" y="262148"/>
                    </a:cubicBezTo>
                    <a:cubicBezTo>
                      <a:pt x="115562" y="281650"/>
                      <a:pt x="107790" y="301540"/>
                      <a:pt x="91998" y="316520"/>
                    </a:cubicBezTo>
                    <a:cubicBezTo>
                      <a:pt x="79103" y="328744"/>
                      <a:pt x="64971" y="340862"/>
                      <a:pt x="45752" y="334361"/>
                    </a:cubicBezTo>
                    <a:cubicBezTo>
                      <a:pt x="25543" y="327507"/>
                      <a:pt x="15722" y="312281"/>
                      <a:pt x="12471" y="290270"/>
                    </a:cubicBezTo>
                    <a:cubicBezTo>
                      <a:pt x="9539" y="270557"/>
                      <a:pt x="11835" y="251125"/>
                      <a:pt x="10034" y="23321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20" name="Freeform: Shape 3519">
                <a:extLst>
                  <a:ext uri="{FF2B5EF4-FFF2-40B4-BE49-F238E27FC236}">
                    <a16:creationId xmlns:a16="http://schemas.microsoft.com/office/drawing/2014/main" id="{EFF54D5E-DBAC-C062-8C13-86090832F947}"/>
                  </a:ext>
                </a:extLst>
              </p:cNvPr>
              <p:cNvSpPr/>
              <p:nvPr/>
            </p:nvSpPr>
            <p:spPr>
              <a:xfrm>
                <a:off x="6701990" y="4201333"/>
                <a:ext cx="124006" cy="139542"/>
              </a:xfrm>
              <a:custGeom>
                <a:avLst/>
                <a:gdLst>
                  <a:gd name="connsiteX0" fmla="*/ 158 w 124006"/>
                  <a:gd name="connsiteY0" fmla="*/ 49729 h 139542"/>
                  <a:gd name="connsiteX1" fmla="*/ 30011 w 124006"/>
                  <a:gd name="connsiteY1" fmla="*/ 5285 h 139542"/>
                  <a:gd name="connsiteX2" fmla="*/ 94169 w 124006"/>
                  <a:gd name="connsiteY2" fmla="*/ 13729 h 139542"/>
                  <a:gd name="connsiteX3" fmla="*/ 119147 w 124006"/>
                  <a:gd name="connsiteY3" fmla="*/ 110567 h 139542"/>
                  <a:gd name="connsiteX4" fmla="*/ 67425 w 124006"/>
                  <a:gd name="connsiteY4" fmla="*/ 137381 h 139542"/>
                  <a:gd name="connsiteX5" fmla="*/ 158 w 124006"/>
                  <a:gd name="connsiteY5" fmla="*/ 49729 h 13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006" h="139542">
                    <a:moveTo>
                      <a:pt x="158" y="49729"/>
                    </a:moveTo>
                    <a:cubicBezTo>
                      <a:pt x="-690" y="27048"/>
                      <a:pt x="10227" y="12810"/>
                      <a:pt x="30011" y="5285"/>
                    </a:cubicBezTo>
                    <a:cubicBezTo>
                      <a:pt x="52693" y="-3371"/>
                      <a:pt x="74632" y="-1958"/>
                      <a:pt x="94169" y="13729"/>
                    </a:cubicBezTo>
                    <a:cubicBezTo>
                      <a:pt x="119712" y="34290"/>
                      <a:pt x="131336" y="80254"/>
                      <a:pt x="119147" y="110567"/>
                    </a:cubicBezTo>
                    <a:cubicBezTo>
                      <a:pt x="109785" y="133848"/>
                      <a:pt x="90742" y="144447"/>
                      <a:pt x="67425" y="137381"/>
                    </a:cubicBezTo>
                    <a:cubicBezTo>
                      <a:pt x="37642" y="128337"/>
                      <a:pt x="-2845" y="82692"/>
                      <a:pt x="158" y="49729"/>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grpSp>
        <p:nvGrpSpPr>
          <p:cNvPr id="3521" name="Group 3520">
            <a:extLst>
              <a:ext uri="{FF2B5EF4-FFF2-40B4-BE49-F238E27FC236}">
                <a16:creationId xmlns:a16="http://schemas.microsoft.com/office/drawing/2014/main" id="{536EBD43-87D3-995F-AAB3-10567819F224}"/>
              </a:ext>
            </a:extLst>
          </p:cNvPr>
          <p:cNvGrpSpPr/>
          <p:nvPr/>
        </p:nvGrpSpPr>
        <p:grpSpPr>
          <a:xfrm>
            <a:off x="11063561" y="1886116"/>
            <a:ext cx="368731" cy="354498"/>
            <a:chOff x="10865598" y="1959190"/>
            <a:chExt cx="476346" cy="457959"/>
          </a:xfrm>
        </p:grpSpPr>
        <p:sp>
          <p:nvSpPr>
            <p:cNvPr id="3522" name="Freeform: Shape 3521">
              <a:extLst>
                <a:ext uri="{FF2B5EF4-FFF2-40B4-BE49-F238E27FC236}">
                  <a16:creationId xmlns:a16="http://schemas.microsoft.com/office/drawing/2014/main" id="{7C80F4C8-8801-38F6-76EF-0FE48B94CA49}"/>
                </a:ext>
              </a:extLst>
            </p:cNvPr>
            <p:cNvSpPr/>
            <p:nvPr/>
          </p:nvSpPr>
          <p:spPr>
            <a:xfrm>
              <a:off x="10865598" y="1959190"/>
              <a:ext cx="476346" cy="457959"/>
            </a:xfrm>
            <a:custGeom>
              <a:avLst/>
              <a:gdLst>
                <a:gd name="connsiteX0" fmla="*/ 607785 w 779777"/>
                <a:gd name="connsiteY0" fmla="*/ 634853 h 749677"/>
                <a:gd name="connsiteX1" fmla="*/ 598749 w 779777"/>
                <a:gd name="connsiteY1" fmla="*/ 636282 h 749677"/>
                <a:gd name="connsiteX2" fmla="*/ 601383 w 779777"/>
                <a:gd name="connsiteY2" fmla="*/ 646044 h 749677"/>
                <a:gd name="connsiteX3" fmla="*/ 609827 w 779777"/>
                <a:gd name="connsiteY3" fmla="*/ 643594 h 749677"/>
                <a:gd name="connsiteX4" fmla="*/ 607785 w 779777"/>
                <a:gd name="connsiteY4" fmla="*/ 634853 h 749677"/>
                <a:gd name="connsiteX5" fmla="*/ 186124 w 779777"/>
                <a:gd name="connsiteY5" fmla="*/ 565880 h 749677"/>
                <a:gd name="connsiteX6" fmla="*/ 172618 w 779777"/>
                <a:gd name="connsiteY6" fmla="*/ 575717 h 749677"/>
                <a:gd name="connsiteX7" fmla="*/ 172640 w 779777"/>
                <a:gd name="connsiteY7" fmla="*/ 575729 h 749677"/>
                <a:gd name="connsiteX8" fmla="*/ 185206 w 779777"/>
                <a:gd name="connsiteY8" fmla="*/ 622416 h 749677"/>
                <a:gd name="connsiteX9" fmla="*/ 230147 w 779777"/>
                <a:gd name="connsiteY9" fmla="*/ 613539 h 749677"/>
                <a:gd name="connsiteX10" fmla="*/ 230730 w 779777"/>
                <a:gd name="connsiteY10" fmla="*/ 610123 h 749677"/>
                <a:gd name="connsiteX11" fmla="*/ 214390 w 779777"/>
                <a:gd name="connsiteY11" fmla="*/ 577074 h 749677"/>
                <a:gd name="connsiteX12" fmla="*/ 207885 w 779777"/>
                <a:gd name="connsiteY12" fmla="*/ 576276 h 749677"/>
                <a:gd name="connsiteX13" fmla="*/ 157682 w 779777"/>
                <a:gd name="connsiteY13" fmla="*/ 556106 h 749677"/>
                <a:gd name="connsiteX14" fmla="*/ 148391 w 779777"/>
                <a:gd name="connsiteY14" fmla="*/ 557210 h 749677"/>
                <a:gd name="connsiteX15" fmla="*/ 148412 w 779777"/>
                <a:gd name="connsiteY15" fmla="*/ 557223 h 749677"/>
                <a:gd name="connsiteX16" fmla="*/ 151047 w 779777"/>
                <a:gd name="connsiteY16" fmla="*/ 566984 h 749677"/>
                <a:gd name="connsiteX17" fmla="*/ 158921 w 779777"/>
                <a:gd name="connsiteY17" fmla="*/ 565062 h 749677"/>
                <a:gd name="connsiteX18" fmla="*/ 157682 w 779777"/>
                <a:gd name="connsiteY18" fmla="*/ 556106 h 749677"/>
                <a:gd name="connsiteX19" fmla="*/ 670244 w 779777"/>
                <a:gd name="connsiteY19" fmla="*/ 521044 h 749677"/>
                <a:gd name="connsiteX20" fmla="*/ 657513 w 779777"/>
                <a:gd name="connsiteY20" fmla="*/ 524830 h 749677"/>
                <a:gd name="connsiteX21" fmla="*/ 661245 w 779777"/>
                <a:gd name="connsiteY21" fmla="*/ 536938 h 749677"/>
                <a:gd name="connsiteX22" fmla="*/ 673533 w 779777"/>
                <a:gd name="connsiteY22" fmla="*/ 533458 h 749677"/>
                <a:gd name="connsiteX23" fmla="*/ 670253 w 779777"/>
                <a:gd name="connsiteY23" fmla="*/ 521079 h 749677"/>
                <a:gd name="connsiteX24" fmla="*/ 81417 w 779777"/>
                <a:gd name="connsiteY24" fmla="*/ 435987 h 749677"/>
                <a:gd name="connsiteX25" fmla="*/ 73465 w 779777"/>
                <a:gd name="connsiteY25" fmla="*/ 438249 h 749677"/>
                <a:gd name="connsiteX26" fmla="*/ 76750 w 779777"/>
                <a:gd name="connsiteY26" fmla="*/ 446526 h 749677"/>
                <a:gd name="connsiteX27" fmla="*/ 84926 w 779777"/>
                <a:gd name="connsiteY27" fmla="*/ 444335 h 749677"/>
                <a:gd name="connsiteX28" fmla="*/ 84949 w 779777"/>
                <a:gd name="connsiteY28" fmla="*/ 444348 h 749677"/>
                <a:gd name="connsiteX29" fmla="*/ 81417 w 779777"/>
                <a:gd name="connsiteY29" fmla="*/ 435987 h 749677"/>
                <a:gd name="connsiteX30" fmla="*/ 661636 w 779777"/>
                <a:gd name="connsiteY30" fmla="*/ 421561 h 749677"/>
                <a:gd name="connsiteX31" fmla="*/ 641039 w 779777"/>
                <a:gd name="connsiteY31" fmla="*/ 435953 h 749677"/>
                <a:gd name="connsiteX32" fmla="*/ 656359 w 779777"/>
                <a:gd name="connsiteY32" fmla="*/ 485647 h 749677"/>
                <a:gd name="connsiteX33" fmla="*/ 656346 w 779777"/>
                <a:gd name="connsiteY33" fmla="*/ 485669 h 749677"/>
                <a:gd name="connsiteX34" fmla="*/ 700525 w 779777"/>
                <a:gd name="connsiteY34" fmla="*/ 475348 h 749677"/>
                <a:gd name="connsiteX35" fmla="*/ 688769 w 779777"/>
                <a:gd name="connsiteY35" fmla="*/ 427003 h 749677"/>
                <a:gd name="connsiteX36" fmla="*/ 661636 w 779777"/>
                <a:gd name="connsiteY36" fmla="*/ 421561 h 749677"/>
                <a:gd name="connsiteX37" fmla="*/ 637211 w 779777"/>
                <a:gd name="connsiteY37" fmla="*/ 227458 h 749677"/>
                <a:gd name="connsiteX38" fmla="*/ 623614 w 779777"/>
                <a:gd name="connsiteY38" fmla="*/ 229267 h 749677"/>
                <a:gd name="connsiteX39" fmla="*/ 623637 w 779777"/>
                <a:gd name="connsiteY39" fmla="*/ 229280 h 749677"/>
                <a:gd name="connsiteX40" fmla="*/ 626973 w 779777"/>
                <a:gd name="connsiteY40" fmla="*/ 246831 h 749677"/>
                <a:gd name="connsiteX41" fmla="*/ 641505 w 779777"/>
                <a:gd name="connsiteY41" fmla="*/ 241663 h 749677"/>
                <a:gd name="connsiteX42" fmla="*/ 637211 w 779777"/>
                <a:gd name="connsiteY42" fmla="*/ 227458 h 749677"/>
                <a:gd name="connsiteX43" fmla="*/ 122598 w 779777"/>
                <a:gd name="connsiteY43" fmla="*/ 221106 h 749677"/>
                <a:gd name="connsiteX44" fmla="*/ 117920 w 779777"/>
                <a:gd name="connsiteY44" fmla="*/ 225730 h 749677"/>
                <a:gd name="connsiteX45" fmla="*/ 120981 w 779777"/>
                <a:gd name="connsiteY45" fmla="*/ 237924 h 749677"/>
                <a:gd name="connsiteX46" fmla="*/ 132346 w 779777"/>
                <a:gd name="connsiteY46" fmla="*/ 234355 h 749677"/>
                <a:gd name="connsiteX47" fmla="*/ 128898 w 779777"/>
                <a:gd name="connsiteY47" fmla="*/ 222115 h 749677"/>
                <a:gd name="connsiteX48" fmla="*/ 122598 w 779777"/>
                <a:gd name="connsiteY48" fmla="*/ 221106 h 749677"/>
                <a:gd name="connsiteX49" fmla="*/ 544058 w 779777"/>
                <a:gd name="connsiteY49" fmla="*/ 191280 h 749677"/>
                <a:gd name="connsiteX50" fmla="*/ 533056 w 779777"/>
                <a:gd name="connsiteY50" fmla="*/ 193966 h 749677"/>
                <a:gd name="connsiteX51" fmla="*/ 535732 w 779777"/>
                <a:gd name="connsiteY51" fmla="*/ 204692 h 749677"/>
                <a:gd name="connsiteX52" fmla="*/ 536842 w 779777"/>
                <a:gd name="connsiteY52" fmla="*/ 205941 h 749677"/>
                <a:gd name="connsiteX53" fmla="*/ 547306 w 779777"/>
                <a:gd name="connsiteY53" fmla="*/ 203049 h 749677"/>
                <a:gd name="connsiteX54" fmla="*/ 544058 w 779777"/>
                <a:gd name="connsiteY54" fmla="*/ 191280 h 749677"/>
                <a:gd name="connsiteX55" fmla="*/ 177627 w 779777"/>
                <a:gd name="connsiteY55" fmla="*/ 189236 h 749677"/>
                <a:gd name="connsiteX56" fmla="*/ 161871 w 779777"/>
                <a:gd name="connsiteY56" fmla="*/ 200508 h 749677"/>
                <a:gd name="connsiteX57" fmla="*/ 160744 w 779777"/>
                <a:gd name="connsiteY57" fmla="*/ 212765 h 749677"/>
                <a:gd name="connsiteX58" fmla="*/ 177288 w 779777"/>
                <a:gd name="connsiteY58" fmla="*/ 199191 h 749677"/>
                <a:gd name="connsiteX59" fmla="*/ 195390 w 779777"/>
                <a:gd name="connsiteY59" fmla="*/ 192354 h 749677"/>
                <a:gd name="connsiteX60" fmla="*/ 258702 w 779777"/>
                <a:gd name="connsiteY60" fmla="*/ 152260 h 749677"/>
                <a:gd name="connsiteX61" fmla="*/ 251027 w 779777"/>
                <a:gd name="connsiteY61" fmla="*/ 157407 h 749677"/>
                <a:gd name="connsiteX62" fmla="*/ 255861 w 779777"/>
                <a:gd name="connsiteY62" fmla="*/ 172721 h 749677"/>
                <a:gd name="connsiteX63" fmla="*/ 272071 w 779777"/>
                <a:gd name="connsiteY63" fmla="*/ 167666 h 749677"/>
                <a:gd name="connsiteX64" fmla="*/ 268051 w 779777"/>
                <a:gd name="connsiteY64" fmla="*/ 152733 h 749677"/>
                <a:gd name="connsiteX65" fmla="*/ 258702 w 779777"/>
                <a:gd name="connsiteY65" fmla="*/ 152260 h 749677"/>
                <a:gd name="connsiteX66" fmla="*/ 368586 w 779777"/>
                <a:gd name="connsiteY66" fmla="*/ 146032 h 749677"/>
                <a:gd name="connsiteX67" fmla="*/ 304537 w 779777"/>
                <a:gd name="connsiteY67" fmla="*/ 160240 h 749677"/>
                <a:gd name="connsiteX68" fmla="*/ 265271 w 779777"/>
                <a:gd name="connsiteY68" fmla="*/ 186614 h 749677"/>
                <a:gd name="connsiteX69" fmla="*/ 273587 w 779777"/>
                <a:gd name="connsiteY69" fmla="*/ 187634 h 749677"/>
                <a:gd name="connsiteX70" fmla="*/ 292652 w 779777"/>
                <a:gd name="connsiteY70" fmla="*/ 194835 h 749677"/>
                <a:gd name="connsiteX71" fmla="*/ 323647 w 779777"/>
                <a:gd name="connsiteY71" fmla="*/ 171894 h 749677"/>
                <a:gd name="connsiteX72" fmla="*/ 364692 w 779777"/>
                <a:gd name="connsiteY72" fmla="*/ 154520 h 749677"/>
                <a:gd name="connsiteX73" fmla="*/ 396543 w 779777"/>
                <a:gd name="connsiteY73" fmla="*/ 150141 h 749677"/>
                <a:gd name="connsiteX74" fmla="*/ 436573 w 779777"/>
                <a:gd name="connsiteY74" fmla="*/ 89028 h 749677"/>
                <a:gd name="connsiteX75" fmla="*/ 419797 w 779777"/>
                <a:gd name="connsiteY75" fmla="*/ 100369 h 749677"/>
                <a:gd name="connsiteX76" fmla="*/ 430905 w 779777"/>
                <a:gd name="connsiteY76" fmla="*/ 141192 h 749677"/>
                <a:gd name="connsiteX77" fmla="*/ 467702 w 779777"/>
                <a:gd name="connsiteY77" fmla="*/ 132043 h 749677"/>
                <a:gd name="connsiteX78" fmla="*/ 467715 w 779777"/>
                <a:gd name="connsiteY78" fmla="*/ 132021 h 749677"/>
                <a:gd name="connsiteX79" fmla="*/ 458424 w 779777"/>
                <a:gd name="connsiteY79" fmla="*/ 93221 h 749677"/>
                <a:gd name="connsiteX80" fmla="*/ 436573 w 779777"/>
                <a:gd name="connsiteY80" fmla="*/ 89028 h 749677"/>
                <a:gd name="connsiteX81" fmla="*/ 516060 w 779777"/>
                <a:gd name="connsiteY81" fmla="*/ 72612 h 749677"/>
                <a:gd name="connsiteX82" fmla="*/ 508611 w 779777"/>
                <a:gd name="connsiteY82" fmla="*/ 78069 h 749677"/>
                <a:gd name="connsiteX83" fmla="*/ 507268 w 779777"/>
                <a:gd name="connsiteY83" fmla="*/ 86772 h 749677"/>
                <a:gd name="connsiteX84" fmla="*/ 514488 w 779777"/>
                <a:gd name="connsiteY84" fmla="*/ 94452 h 749677"/>
                <a:gd name="connsiteX85" fmla="*/ 514481 w 779777"/>
                <a:gd name="connsiteY85" fmla="*/ 94455 h 749677"/>
                <a:gd name="connsiteX86" fmla="*/ 514503 w 779777"/>
                <a:gd name="connsiteY86" fmla="*/ 94467 h 749677"/>
                <a:gd name="connsiteX87" fmla="*/ 514488 w 779777"/>
                <a:gd name="connsiteY87" fmla="*/ 94452 h 749677"/>
                <a:gd name="connsiteX88" fmla="*/ 527152 w 779777"/>
                <a:gd name="connsiteY88" fmla="*/ 89749 h 749677"/>
                <a:gd name="connsiteX89" fmla="*/ 524509 w 779777"/>
                <a:gd name="connsiteY89" fmla="*/ 73248 h 749677"/>
                <a:gd name="connsiteX90" fmla="*/ 516060 w 779777"/>
                <a:gd name="connsiteY90" fmla="*/ 72612 h 749677"/>
                <a:gd name="connsiteX91" fmla="*/ 389825 w 779777"/>
                <a:gd name="connsiteY91" fmla="*/ 62883 h 749677"/>
                <a:gd name="connsiteX92" fmla="*/ 384066 w 779777"/>
                <a:gd name="connsiteY92" fmla="*/ 67717 h 749677"/>
                <a:gd name="connsiteX93" fmla="*/ 387008 w 779777"/>
                <a:gd name="connsiteY93" fmla="*/ 80936 h 749677"/>
                <a:gd name="connsiteX94" fmla="*/ 400352 w 779777"/>
                <a:gd name="connsiteY94" fmla="*/ 76854 h 749677"/>
                <a:gd name="connsiteX95" fmla="*/ 396834 w 779777"/>
                <a:gd name="connsiteY95" fmla="*/ 63865 h 749677"/>
                <a:gd name="connsiteX96" fmla="*/ 389825 w 779777"/>
                <a:gd name="connsiteY96" fmla="*/ 62883 h 749677"/>
                <a:gd name="connsiteX97" fmla="*/ 367653 w 779777"/>
                <a:gd name="connsiteY97" fmla="*/ 158 h 749677"/>
                <a:gd name="connsiteX98" fmla="*/ 408387 w 779777"/>
                <a:gd name="connsiteY98" fmla="*/ 9630 h 749677"/>
                <a:gd name="connsiteX99" fmla="*/ 429484 w 779777"/>
                <a:gd name="connsiteY99" fmla="*/ 19950 h 749677"/>
                <a:gd name="connsiteX100" fmla="*/ 464565 w 779777"/>
                <a:gd name="connsiteY100" fmla="*/ 12853 h 749677"/>
                <a:gd name="connsiteX101" fmla="*/ 499180 w 779777"/>
                <a:gd name="connsiteY101" fmla="*/ 10095 h 749677"/>
                <a:gd name="connsiteX102" fmla="*/ 517845 w 779777"/>
                <a:gd name="connsiteY102" fmla="*/ 30205 h 749677"/>
                <a:gd name="connsiteX103" fmla="*/ 522736 w 779777"/>
                <a:gd name="connsiteY103" fmla="*/ 39025 h 749677"/>
                <a:gd name="connsiteX104" fmla="*/ 567728 w 779777"/>
                <a:gd name="connsiteY104" fmla="*/ 58709 h 749677"/>
                <a:gd name="connsiteX105" fmla="*/ 603970 w 779777"/>
                <a:gd name="connsiteY105" fmla="*/ 52312 h 749677"/>
                <a:gd name="connsiteX106" fmla="*/ 670210 w 779777"/>
                <a:gd name="connsiteY106" fmla="*/ 105383 h 749677"/>
                <a:gd name="connsiteX107" fmla="*/ 679435 w 779777"/>
                <a:gd name="connsiteY107" fmla="*/ 146242 h 749677"/>
                <a:gd name="connsiteX108" fmla="*/ 704304 w 779777"/>
                <a:gd name="connsiteY108" fmla="*/ 165532 h 749677"/>
                <a:gd name="connsiteX109" fmla="*/ 729408 w 779777"/>
                <a:gd name="connsiteY109" fmla="*/ 171520 h 749677"/>
                <a:gd name="connsiteX110" fmla="*/ 740466 w 779777"/>
                <a:gd name="connsiteY110" fmla="*/ 198462 h 749677"/>
                <a:gd name="connsiteX111" fmla="*/ 732482 w 779777"/>
                <a:gd name="connsiteY111" fmla="*/ 222267 h 749677"/>
                <a:gd name="connsiteX112" fmla="*/ 743197 w 779777"/>
                <a:gd name="connsiteY112" fmla="*/ 271341 h 749677"/>
                <a:gd name="connsiteX113" fmla="*/ 766426 w 779777"/>
                <a:gd name="connsiteY113" fmla="*/ 296744 h 749677"/>
                <a:gd name="connsiteX114" fmla="*/ 775457 w 779777"/>
                <a:gd name="connsiteY114" fmla="*/ 350576 h 749677"/>
                <a:gd name="connsiteX115" fmla="*/ 757850 w 779777"/>
                <a:gd name="connsiteY115" fmla="*/ 378719 h 749677"/>
                <a:gd name="connsiteX116" fmla="*/ 754264 w 779777"/>
                <a:gd name="connsiteY116" fmla="*/ 427186 h 749677"/>
                <a:gd name="connsiteX117" fmla="*/ 768811 w 779777"/>
                <a:gd name="connsiteY117" fmla="*/ 456527 h 749677"/>
                <a:gd name="connsiteX118" fmla="*/ 751965 w 779777"/>
                <a:gd name="connsiteY118" fmla="*/ 528116 h 749677"/>
                <a:gd name="connsiteX119" fmla="*/ 693577 w 779777"/>
                <a:gd name="connsiteY119" fmla="*/ 574302 h 749677"/>
                <a:gd name="connsiteX120" fmla="*/ 655237 w 779777"/>
                <a:gd name="connsiteY120" fmla="*/ 641426 h 749677"/>
                <a:gd name="connsiteX121" fmla="*/ 650848 w 779777"/>
                <a:gd name="connsiteY121" fmla="*/ 664323 h 749677"/>
                <a:gd name="connsiteX122" fmla="*/ 615076 w 779777"/>
                <a:gd name="connsiteY122" fmla="*/ 683309 h 749677"/>
                <a:gd name="connsiteX123" fmla="*/ 586266 w 779777"/>
                <a:gd name="connsiteY123" fmla="*/ 688444 h 749677"/>
                <a:gd name="connsiteX124" fmla="*/ 557182 w 779777"/>
                <a:gd name="connsiteY124" fmla="*/ 715337 h 749677"/>
                <a:gd name="connsiteX125" fmla="*/ 538530 w 779777"/>
                <a:gd name="connsiteY125" fmla="*/ 740072 h 749677"/>
                <a:gd name="connsiteX126" fmla="*/ 495603 w 779777"/>
                <a:gd name="connsiteY126" fmla="*/ 735639 h 749677"/>
                <a:gd name="connsiteX127" fmla="*/ 493688 w 779777"/>
                <a:gd name="connsiteY127" fmla="*/ 721456 h 749677"/>
                <a:gd name="connsiteX128" fmla="*/ 452828 w 779777"/>
                <a:gd name="connsiteY128" fmla="*/ 738752 h 749677"/>
                <a:gd name="connsiteX129" fmla="*/ 408760 w 779777"/>
                <a:gd name="connsiteY129" fmla="*/ 744810 h 749677"/>
                <a:gd name="connsiteX130" fmla="*/ 364692 w 779777"/>
                <a:gd name="connsiteY130" fmla="*/ 738752 h 749677"/>
                <a:gd name="connsiteX131" fmla="*/ 345073 w 779777"/>
                <a:gd name="connsiteY131" fmla="*/ 730447 h 749677"/>
                <a:gd name="connsiteX132" fmla="*/ 342594 w 779777"/>
                <a:gd name="connsiteY132" fmla="*/ 738213 h 749677"/>
                <a:gd name="connsiteX133" fmla="*/ 312592 w 779777"/>
                <a:gd name="connsiteY133" fmla="*/ 742394 h 749677"/>
                <a:gd name="connsiteX134" fmla="*/ 284477 w 779777"/>
                <a:gd name="connsiteY134" fmla="*/ 724124 h 749677"/>
                <a:gd name="connsiteX135" fmla="*/ 221248 w 779777"/>
                <a:gd name="connsiteY135" fmla="*/ 699552 h 749677"/>
                <a:gd name="connsiteX136" fmla="*/ 182688 w 779777"/>
                <a:gd name="connsiteY136" fmla="*/ 699116 h 749677"/>
                <a:gd name="connsiteX137" fmla="*/ 141726 w 779777"/>
                <a:gd name="connsiteY137" fmla="*/ 662323 h 749677"/>
                <a:gd name="connsiteX138" fmla="*/ 141112 w 779777"/>
                <a:gd name="connsiteY138" fmla="*/ 632077 h 749677"/>
                <a:gd name="connsiteX139" fmla="*/ 115803 w 779777"/>
                <a:gd name="connsiteY139" fmla="*/ 582139 h 749677"/>
                <a:gd name="connsiteX140" fmla="*/ 85334 w 779777"/>
                <a:gd name="connsiteY140" fmla="*/ 555923 h 749677"/>
                <a:gd name="connsiteX141" fmla="*/ 57031 w 779777"/>
                <a:gd name="connsiteY141" fmla="*/ 490758 h 749677"/>
                <a:gd name="connsiteX142" fmla="*/ 47749 w 779777"/>
                <a:gd name="connsiteY142" fmla="*/ 431938 h 749677"/>
                <a:gd name="connsiteX143" fmla="*/ 32529 w 779777"/>
                <a:gd name="connsiteY143" fmla="*/ 403509 h 749677"/>
                <a:gd name="connsiteX144" fmla="*/ 6037 w 779777"/>
                <a:gd name="connsiteY144" fmla="*/ 375572 h 749677"/>
                <a:gd name="connsiteX145" fmla="*/ 10782 w 779777"/>
                <a:gd name="connsiteY145" fmla="*/ 337373 h 749677"/>
                <a:gd name="connsiteX146" fmla="*/ 31184 w 779777"/>
                <a:gd name="connsiteY146" fmla="*/ 319941 h 749677"/>
                <a:gd name="connsiteX147" fmla="*/ 62687 w 779777"/>
                <a:gd name="connsiteY147" fmla="*/ 250847 h 749677"/>
                <a:gd name="connsiteX148" fmla="*/ 63859 w 779777"/>
                <a:gd name="connsiteY148" fmla="*/ 219093 h 749677"/>
                <a:gd name="connsiteX149" fmla="*/ 88323 w 779777"/>
                <a:gd name="connsiteY149" fmla="*/ 188233 h 749677"/>
                <a:gd name="connsiteX150" fmla="*/ 131144 w 779777"/>
                <a:gd name="connsiteY150" fmla="*/ 161591 h 749677"/>
                <a:gd name="connsiteX151" fmla="*/ 164818 w 779777"/>
                <a:gd name="connsiteY151" fmla="*/ 118769 h 749677"/>
                <a:gd name="connsiteX152" fmla="*/ 186841 w 779777"/>
                <a:gd name="connsiteY152" fmla="*/ 69930 h 749677"/>
                <a:gd name="connsiteX153" fmla="*/ 266121 w 779777"/>
                <a:gd name="connsiteY153" fmla="*/ 33856 h 749677"/>
                <a:gd name="connsiteX154" fmla="*/ 329529 w 779777"/>
                <a:gd name="connsiteY154" fmla="*/ 17091 h 749677"/>
                <a:gd name="connsiteX155" fmla="*/ 367653 w 779777"/>
                <a:gd name="connsiteY155" fmla="*/ 158 h 749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779777" h="749677">
                  <a:moveTo>
                    <a:pt x="607785" y="634853"/>
                  </a:moveTo>
                  <a:cubicBezTo>
                    <a:pt x="604606" y="632634"/>
                    <a:pt x="601531" y="633664"/>
                    <a:pt x="598749" y="636282"/>
                  </a:cubicBezTo>
                  <a:cubicBezTo>
                    <a:pt x="597999" y="639984"/>
                    <a:pt x="598341" y="643844"/>
                    <a:pt x="601383" y="646044"/>
                  </a:cubicBezTo>
                  <a:cubicBezTo>
                    <a:pt x="604492" y="648282"/>
                    <a:pt x="607925" y="646838"/>
                    <a:pt x="609827" y="643594"/>
                  </a:cubicBezTo>
                  <a:cubicBezTo>
                    <a:pt x="611733" y="640293"/>
                    <a:pt x="610888" y="636999"/>
                    <a:pt x="607785" y="634853"/>
                  </a:cubicBezTo>
                  <a:close/>
                  <a:moveTo>
                    <a:pt x="186124" y="565880"/>
                  </a:moveTo>
                  <a:lnTo>
                    <a:pt x="172618" y="575717"/>
                  </a:lnTo>
                  <a:lnTo>
                    <a:pt x="172640" y="575729"/>
                  </a:lnTo>
                  <a:cubicBezTo>
                    <a:pt x="163592" y="591299"/>
                    <a:pt x="169993" y="612392"/>
                    <a:pt x="185206" y="622416"/>
                  </a:cubicBezTo>
                  <a:cubicBezTo>
                    <a:pt x="203769" y="634669"/>
                    <a:pt x="222075" y="627930"/>
                    <a:pt x="230147" y="613539"/>
                  </a:cubicBezTo>
                  <a:lnTo>
                    <a:pt x="230730" y="610123"/>
                  </a:lnTo>
                  <a:lnTo>
                    <a:pt x="214390" y="577074"/>
                  </a:lnTo>
                  <a:lnTo>
                    <a:pt x="207885" y="576276"/>
                  </a:lnTo>
                  <a:close/>
                  <a:moveTo>
                    <a:pt x="157682" y="556106"/>
                  </a:moveTo>
                  <a:cubicBezTo>
                    <a:pt x="154869" y="554482"/>
                    <a:pt x="151301" y="554164"/>
                    <a:pt x="148391" y="557210"/>
                  </a:cubicBezTo>
                  <a:lnTo>
                    <a:pt x="148412" y="557223"/>
                  </a:lnTo>
                  <a:cubicBezTo>
                    <a:pt x="147654" y="560890"/>
                    <a:pt x="148046" y="564661"/>
                    <a:pt x="151047" y="566984"/>
                  </a:cubicBezTo>
                  <a:cubicBezTo>
                    <a:pt x="153807" y="569110"/>
                    <a:pt x="157382" y="567984"/>
                    <a:pt x="158921" y="565062"/>
                  </a:cubicBezTo>
                  <a:cubicBezTo>
                    <a:pt x="160422" y="562207"/>
                    <a:pt x="161248" y="558165"/>
                    <a:pt x="157682" y="556106"/>
                  </a:cubicBezTo>
                  <a:close/>
                  <a:moveTo>
                    <a:pt x="670244" y="521044"/>
                  </a:moveTo>
                  <a:cubicBezTo>
                    <a:pt x="664886" y="519221"/>
                    <a:pt x="660129" y="520197"/>
                    <a:pt x="657513" y="524830"/>
                  </a:cubicBezTo>
                  <a:cubicBezTo>
                    <a:pt x="654834" y="529574"/>
                    <a:pt x="656415" y="534356"/>
                    <a:pt x="661245" y="536938"/>
                  </a:cubicBezTo>
                  <a:cubicBezTo>
                    <a:pt x="666030" y="539494"/>
                    <a:pt x="670653" y="538087"/>
                    <a:pt x="673533" y="533458"/>
                  </a:cubicBezTo>
                  <a:cubicBezTo>
                    <a:pt x="676719" y="528298"/>
                    <a:pt x="673334" y="524542"/>
                    <a:pt x="670253" y="521079"/>
                  </a:cubicBezTo>
                  <a:close/>
                  <a:moveTo>
                    <a:pt x="81417" y="435987"/>
                  </a:moveTo>
                  <a:cubicBezTo>
                    <a:pt x="78358" y="434635"/>
                    <a:pt x="74935" y="435139"/>
                    <a:pt x="73465" y="438249"/>
                  </a:cubicBezTo>
                  <a:cubicBezTo>
                    <a:pt x="71864" y="441637"/>
                    <a:pt x="73248" y="444917"/>
                    <a:pt x="76750" y="446526"/>
                  </a:cubicBezTo>
                  <a:cubicBezTo>
                    <a:pt x="79805" y="447935"/>
                    <a:pt x="82669" y="447018"/>
                    <a:pt x="84926" y="444335"/>
                  </a:cubicBezTo>
                  <a:lnTo>
                    <a:pt x="84949" y="444348"/>
                  </a:lnTo>
                  <a:cubicBezTo>
                    <a:pt x="85704" y="440737"/>
                    <a:pt x="84989" y="437577"/>
                    <a:pt x="81417" y="435987"/>
                  </a:cubicBezTo>
                  <a:close/>
                  <a:moveTo>
                    <a:pt x="661636" y="421561"/>
                  </a:moveTo>
                  <a:cubicBezTo>
                    <a:pt x="653237" y="423294"/>
                    <a:pt x="645926" y="428333"/>
                    <a:pt x="641039" y="435953"/>
                  </a:cubicBezTo>
                  <a:cubicBezTo>
                    <a:pt x="630269" y="452714"/>
                    <a:pt x="639586" y="478120"/>
                    <a:pt x="656359" y="485647"/>
                  </a:cubicBezTo>
                  <a:lnTo>
                    <a:pt x="656346" y="485669"/>
                  </a:lnTo>
                  <a:cubicBezTo>
                    <a:pt x="674047" y="497011"/>
                    <a:pt x="691632" y="490801"/>
                    <a:pt x="700525" y="475348"/>
                  </a:cubicBezTo>
                  <a:cubicBezTo>
                    <a:pt x="710981" y="457135"/>
                    <a:pt x="706549" y="437800"/>
                    <a:pt x="688769" y="427003"/>
                  </a:cubicBezTo>
                  <a:cubicBezTo>
                    <a:pt x="679525" y="421400"/>
                    <a:pt x="670036" y="419827"/>
                    <a:pt x="661636" y="421561"/>
                  </a:cubicBezTo>
                  <a:close/>
                  <a:moveTo>
                    <a:pt x="637211" y="227458"/>
                  </a:moveTo>
                  <a:cubicBezTo>
                    <a:pt x="631274" y="224237"/>
                    <a:pt x="626687" y="225429"/>
                    <a:pt x="623614" y="229267"/>
                  </a:cubicBezTo>
                  <a:lnTo>
                    <a:pt x="623637" y="229280"/>
                  </a:lnTo>
                  <a:cubicBezTo>
                    <a:pt x="619894" y="235507"/>
                    <a:pt x="622127" y="244121"/>
                    <a:pt x="626973" y="246831"/>
                  </a:cubicBezTo>
                  <a:cubicBezTo>
                    <a:pt x="630799" y="248951"/>
                    <a:pt x="639536" y="246198"/>
                    <a:pt x="641505" y="241663"/>
                  </a:cubicBezTo>
                  <a:cubicBezTo>
                    <a:pt x="643929" y="236033"/>
                    <a:pt x="643526" y="230898"/>
                    <a:pt x="637211" y="227458"/>
                  </a:cubicBezTo>
                  <a:close/>
                  <a:moveTo>
                    <a:pt x="122598" y="221106"/>
                  </a:moveTo>
                  <a:cubicBezTo>
                    <a:pt x="120771" y="221816"/>
                    <a:pt x="119214" y="223464"/>
                    <a:pt x="117920" y="225730"/>
                  </a:cubicBezTo>
                  <a:cubicBezTo>
                    <a:pt x="115061" y="230784"/>
                    <a:pt x="116598" y="235541"/>
                    <a:pt x="120981" y="237924"/>
                  </a:cubicBezTo>
                  <a:cubicBezTo>
                    <a:pt x="124887" y="240061"/>
                    <a:pt x="129947" y="239379"/>
                    <a:pt x="132346" y="234355"/>
                  </a:cubicBezTo>
                  <a:cubicBezTo>
                    <a:pt x="134655" y="229485"/>
                    <a:pt x="133470" y="224990"/>
                    <a:pt x="128898" y="222115"/>
                  </a:cubicBezTo>
                  <a:cubicBezTo>
                    <a:pt x="126524" y="220625"/>
                    <a:pt x="124426" y="220396"/>
                    <a:pt x="122598" y="221106"/>
                  </a:cubicBezTo>
                  <a:close/>
                  <a:moveTo>
                    <a:pt x="544058" y="191280"/>
                  </a:moveTo>
                  <a:cubicBezTo>
                    <a:pt x="539257" y="188597"/>
                    <a:pt x="535600" y="189764"/>
                    <a:pt x="533056" y="193966"/>
                  </a:cubicBezTo>
                  <a:lnTo>
                    <a:pt x="535732" y="204692"/>
                  </a:lnTo>
                  <a:lnTo>
                    <a:pt x="536842" y="205941"/>
                  </a:lnTo>
                  <a:lnTo>
                    <a:pt x="547306" y="203049"/>
                  </a:lnTo>
                  <a:cubicBezTo>
                    <a:pt x="550305" y="197958"/>
                    <a:pt x="549182" y="194120"/>
                    <a:pt x="544058" y="191280"/>
                  </a:cubicBezTo>
                  <a:close/>
                  <a:moveTo>
                    <a:pt x="177627" y="189236"/>
                  </a:moveTo>
                  <a:cubicBezTo>
                    <a:pt x="170631" y="191167"/>
                    <a:pt x="164799" y="195642"/>
                    <a:pt x="161871" y="200508"/>
                  </a:cubicBezTo>
                  <a:lnTo>
                    <a:pt x="160744" y="212765"/>
                  </a:lnTo>
                  <a:lnTo>
                    <a:pt x="177288" y="199191"/>
                  </a:lnTo>
                  <a:lnTo>
                    <a:pt x="195390" y="192354"/>
                  </a:lnTo>
                  <a:close/>
                  <a:moveTo>
                    <a:pt x="258702" y="152260"/>
                  </a:moveTo>
                  <a:cubicBezTo>
                    <a:pt x="255358" y="153180"/>
                    <a:pt x="252293" y="155036"/>
                    <a:pt x="251027" y="157407"/>
                  </a:cubicBezTo>
                  <a:cubicBezTo>
                    <a:pt x="248586" y="161993"/>
                    <a:pt x="251127" y="170076"/>
                    <a:pt x="255861" y="172721"/>
                  </a:cubicBezTo>
                  <a:cubicBezTo>
                    <a:pt x="262147" y="176261"/>
                    <a:pt x="268314" y="174328"/>
                    <a:pt x="272071" y="167666"/>
                  </a:cubicBezTo>
                  <a:cubicBezTo>
                    <a:pt x="274403" y="163577"/>
                    <a:pt x="272106" y="155073"/>
                    <a:pt x="268051" y="152733"/>
                  </a:cubicBezTo>
                  <a:cubicBezTo>
                    <a:pt x="265670" y="151358"/>
                    <a:pt x="262046" y="151341"/>
                    <a:pt x="258702" y="152260"/>
                  </a:cubicBezTo>
                  <a:close/>
                  <a:moveTo>
                    <a:pt x="368586" y="146032"/>
                  </a:moveTo>
                  <a:cubicBezTo>
                    <a:pt x="347052" y="146765"/>
                    <a:pt x="325675" y="151459"/>
                    <a:pt x="304537" y="160240"/>
                  </a:cubicBezTo>
                  <a:lnTo>
                    <a:pt x="265271" y="186614"/>
                  </a:lnTo>
                  <a:lnTo>
                    <a:pt x="273587" y="187634"/>
                  </a:lnTo>
                  <a:lnTo>
                    <a:pt x="292652" y="194835"/>
                  </a:lnTo>
                  <a:lnTo>
                    <a:pt x="323647" y="171894"/>
                  </a:lnTo>
                  <a:cubicBezTo>
                    <a:pt x="336728" y="164350"/>
                    <a:pt x="350458" y="158492"/>
                    <a:pt x="364692" y="154520"/>
                  </a:cubicBezTo>
                  <a:lnTo>
                    <a:pt x="396543" y="150141"/>
                  </a:lnTo>
                  <a:close/>
                  <a:moveTo>
                    <a:pt x="436573" y="89028"/>
                  </a:moveTo>
                  <a:cubicBezTo>
                    <a:pt x="429657" y="90326"/>
                    <a:pt x="423588" y="94213"/>
                    <a:pt x="419797" y="100369"/>
                  </a:cubicBezTo>
                  <a:cubicBezTo>
                    <a:pt x="410693" y="115168"/>
                    <a:pt x="416946" y="132217"/>
                    <a:pt x="430905" y="141192"/>
                  </a:cubicBezTo>
                  <a:cubicBezTo>
                    <a:pt x="444699" y="150042"/>
                    <a:pt x="461798" y="144880"/>
                    <a:pt x="467702" y="132043"/>
                  </a:cubicBezTo>
                  <a:lnTo>
                    <a:pt x="467715" y="132021"/>
                  </a:lnTo>
                  <a:cubicBezTo>
                    <a:pt x="475753" y="118202"/>
                    <a:pt x="471632" y="100936"/>
                    <a:pt x="458424" y="93221"/>
                  </a:cubicBezTo>
                  <a:cubicBezTo>
                    <a:pt x="451250" y="89020"/>
                    <a:pt x="443488" y="87729"/>
                    <a:pt x="436573" y="89028"/>
                  </a:cubicBezTo>
                  <a:close/>
                  <a:moveTo>
                    <a:pt x="516060" y="72612"/>
                  </a:moveTo>
                  <a:cubicBezTo>
                    <a:pt x="513027" y="73530"/>
                    <a:pt x="510160" y="75464"/>
                    <a:pt x="508611" y="78069"/>
                  </a:cubicBezTo>
                  <a:cubicBezTo>
                    <a:pt x="506821" y="81068"/>
                    <a:pt x="506330" y="84004"/>
                    <a:pt x="507268" y="86772"/>
                  </a:cubicBezTo>
                  <a:lnTo>
                    <a:pt x="514488" y="94452"/>
                  </a:lnTo>
                  <a:lnTo>
                    <a:pt x="514481" y="94455"/>
                  </a:lnTo>
                  <a:lnTo>
                    <a:pt x="514503" y="94467"/>
                  </a:lnTo>
                  <a:lnTo>
                    <a:pt x="514488" y="94452"/>
                  </a:lnTo>
                  <a:lnTo>
                    <a:pt x="527152" y="89749"/>
                  </a:lnTo>
                  <a:cubicBezTo>
                    <a:pt x="530367" y="84486"/>
                    <a:pt x="529062" y="76260"/>
                    <a:pt x="524509" y="73248"/>
                  </a:cubicBezTo>
                  <a:cubicBezTo>
                    <a:pt x="522293" y="71791"/>
                    <a:pt x="519093" y="71694"/>
                    <a:pt x="516060" y="72612"/>
                  </a:cubicBezTo>
                  <a:close/>
                  <a:moveTo>
                    <a:pt x="389825" y="62883"/>
                  </a:moveTo>
                  <a:cubicBezTo>
                    <a:pt x="387658" y="63670"/>
                    <a:pt x="385699" y="65426"/>
                    <a:pt x="384066" y="67717"/>
                  </a:cubicBezTo>
                  <a:cubicBezTo>
                    <a:pt x="381583" y="72989"/>
                    <a:pt x="382009" y="77931"/>
                    <a:pt x="387008" y="80936"/>
                  </a:cubicBezTo>
                  <a:cubicBezTo>
                    <a:pt x="392384" y="84158"/>
                    <a:pt x="397130" y="82231"/>
                    <a:pt x="400352" y="76854"/>
                  </a:cubicBezTo>
                  <a:cubicBezTo>
                    <a:pt x="403663" y="71323"/>
                    <a:pt x="401136" y="66645"/>
                    <a:pt x="396834" y="63865"/>
                  </a:cubicBezTo>
                  <a:cubicBezTo>
                    <a:pt x="394368" y="62279"/>
                    <a:pt x="391992" y="62096"/>
                    <a:pt x="389825" y="62883"/>
                  </a:cubicBezTo>
                  <a:close/>
                  <a:moveTo>
                    <a:pt x="367653" y="158"/>
                  </a:moveTo>
                  <a:cubicBezTo>
                    <a:pt x="380835" y="-804"/>
                    <a:pt x="394453" y="2634"/>
                    <a:pt x="408387" y="9630"/>
                  </a:cubicBezTo>
                  <a:cubicBezTo>
                    <a:pt x="415373" y="13132"/>
                    <a:pt x="422420" y="16581"/>
                    <a:pt x="429484" y="19950"/>
                  </a:cubicBezTo>
                  <a:cubicBezTo>
                    <a:pt x="442943" y="26362"/>
                    <a:pt x="454006" y="20196"/>
                    <a:pt x="464565" y="12853"/>
                  </a:cubicBezTo>
                  <a:cubicBezTo>
                    <a:pt x="475711" y="5111"/>
                    <a:pt x="487437" y="2961"/>
                    <a:pt x="499180" y="10095"/>
                  </a:cubicBezTo>
                  <a:cubicBezTo>
                    <a:pt x="507052" y="14876"/>
                    <a:pt x="513042" y="22204"/>
                    <a:pt x="517845" y="30205"/>
                  </a:cubicBezTo>
                  <a:cubicBezTo>
                    <a:pt x="519574" y="33093"/>
                    <a:pt x="521150" y="36042"/>
                    <a:pt x="522736" y="39025"/>
                  </a:cubicBezTo>
                  <a:cubicBezTo>
                    <a:pt x="533594" y="59560"/>
                    <a:pt x="544852" y="64464"/>
                    <a:pt x="567728" y="58709"/>
                  </a:cubicBezTo>
                  <a:cubicBezTo>
                    <a:pt x="579655" y="55700"/>
                    <a:pt x="591339" y="51577"/>
                    <a:pt x="603970" y="52312"/>
                  </a:cubicBezTo>
                  <a:cubicBezTo>
                    <a:pt x="635455" y="54156"/>
                    <a:pt x="661166" y="75055"/>
                    <a:pt x="670210" y="105383"/>
                  </a:cubicBezTo>
                  <a:cubicBezTo>
                    <a:pt x="674227" y="118838"/>
                    <a:pt x="675253" y="132869"/>
                    <a:pt x="679435" y="146242"/>
                  </a:cubicBezTo>
                  <a:cubicBezTo>
                    <a:pt x="683302" y="158576"/>
                    <a:pt x="692140" y="163885"/>
                    <a:pt x="704304" y="165532"/>
                  </a:cubicBezTo>
                  <a:cubicBezTo>
                    <a:pt x="712830" y="166674"/>
                    <a:pt x="721570" y="166729"/>
                    <a:pt x="729408" y="171520"/>
                  </a:cubicBezTo>
                  <a:cubicBezTo>
                    <a:pt x="739821" y="177887"/>
                    <a:pt x="743863" y="186541"/>
                    <a:pt x="740466" y="198462"/>
                  </a:cubicBezTo>
                  <a:cubicBezTo>
                    <a:pt x="738162" y="206495"/>
                    <a:pt x="735293" y="214379"/>
                    <a:pt x="732482" y="222267"/>
                  </a:cubicBezTo>
                  <a:cubicBezTo>
                    <a:pt x="725841" y="240881"/>
                    <a:pt x="730833" y="256996"/>
                    <a:pt x="743197" y="271341"/>
                  </a:cubicBezTo>
                  <a:cubicBezTo>
                    <a:pt x="750674" y="280029"/>
                    <a:pt x="758525" y="288431"/>
                    <a:pt x="766426" y="296744"/>
                  </a:cubicBezTo>
                  <a:cubicBezTo>
                    <a:pt x="781581" y="312701"/>
                    <a:pt x="782693" y="330828"/>
                    <a:pt x="775457" y="350576"/>
                  </a:cubicBezTo>
                  <a:cubicBezTo>
                    <a:pt x="771538" y="361250"/>
                    <a:pt x="765258" y="370236"/>
                    <a:pt x="757850" y="378719"/>
                  </a:cubicBezTo>
                  <a:cubicBezTo>
                    <a:pt x="744657" y="393846"/>
                    <a:pt x="745595" y="410278"/>
                    <a:pt x="754264" y="427186"/>
                  </a:cubicBezTo>
                  <a:cubicBezTo>
                    <a:pt x="759228" y="436905"/>
                    <a:pt x="764719" y="446425"/>
                    <a:pt x="768811" y="456527"/>
                  </a:cubicBezTo>
                  <a:cubicBezTo>
                    <a:pt x="779999" y="484164"/>
                    <a:pt x="770709" y="507569"/>
                    <a:pt x="751965" y="528116"/>
                  </a:cubicBezTo>
                  <a:cubicBezTo>
                    <a:pt x="735073" y="546629"/>
                    <a:pt x="715556" y="562121"/>
                    <a:pt x="693577" y="574302"/>
                  </a:cubicBezTo>
                  <a:cubicBezTo>
                    <a:pt x="667213" y="588912"/>
                    <a:pt x="652891" y="610240"/>
                    <a:pt x="655237" y="641426"/>
                  </a:cubicBezTo>
                  <a:cubicBezTo>
                    <a:pt x="655823" y="649208"/>
                    <a:pt x="653962" y="656935"/>
                    <a:pt x="650848" y="664323"/>
                  </a:cubicBezTo>
                  <a:cubicBezTo>
                    <a:pt x="644053" y="680544"/>
                    <a:pt x="629085" y="680941"/>
                    <a:pt x="615076" y="683309"/>
                  </a:cubicBezTo>
                  <a:cubicBezTo>
                    <a:pt x="605455" y="684931"/>
                    <a:pt x="595483" y="684963"/>
                    <a:pt x="586266" y="688444"/>
                  </a:cubicBezTo>
                  <a:cubicBezTo>
                    <a:pt x="573052" y="693427"/>
                    <a:pt x="564622" y="704037"/>
                    <a:pt x="557182" y="715337"/>
                  </a:cubicBezTo>
                  <a:cubicBezTo>
                    <a:pt x="551492" y="724015"/>
                    <a:pt x="545345" y="732310"/>
                    <a:pt x="538530" y="740072"/>
                  </a:cubicBezTo>
                  <a:cubicBezTo>
                    <a:pt x="525800" y="754549"/>
                    <a:pt x="504159" y="752334"/>
                    <a:pt x="495603" y="735639"/>
                  </a:cubicBezTo>
                  <a:lnTo>
                    <a:pt x="493688" y="721456"/>
                  </a:lnTo>
                  <a:lnTo>
                    <a:pt x="452828" y="738752"/>
                  </a:lnTo>
                  <a:cubicBezTo>
                    <a:pt x="438593" y="742724"/>
                    <a:pt x="423855" y="744810"/>
                    <a:pt x="408760" y="744810"/>
                  </a:cubicBezTo>
                  <a:cubicBezTo>
                    <a:pt x="393665" y="744810"/>
                    <a:pt x="378927" y="742724"/>
                    <a:pt x="364692" y="738752"/>
                  </a:cubicBezTo>
                  <a:lnTo>
                    <a:pt x="345073" y="730447"/>
                  </a:lnTo>
                  <a:lnTo>
                    <a:pt x="342594" y="738213"/>
                  </a:lnTo>
                  <a:cubicBezTo>
                    <a:pt x="334497" y="746712"/>
                    <a:pt x="324496" y="748174"/>
                    <a:pt x="312592" y="742394"/>
                  </a:cubicBezTo>
                  <a:cubicBezTo>
                    <a:pt x="302458" y="737488"/>
                    <a:pt x="293225" y="731124"/>
                    <a:pt x="284477" y="724124"/>
                  </a:cubicBezTo>
                  <a:cubicBezTo>
                    <a:pt x="265919" y="709304"/>
                    <a:pt x="244040" y="703406"/>
                    <a:pt x="221248" y="699552"/>
                  </a:cubicBezTo>
                  <a:cubicBezTo>
                    <a:pt x="208383" y="697381"/>
                    <a:pt x="195461" y="697866"/>
                    <a:pt x="182688" y="699116"/>
                  </a:cubicBezTo>
                  <a:cubicBezTo>
                    <a:pt x="155907" y="701761"/>
                    <a:pt x="143294" y="685085"/>
                    <a:pt x="141726" y="662323"/>
                  </a:cubicBezTo>
                  <a:cubicBezTo>
                    <a:pt x="141035" y="652266"/>
                    <a:pt x="141159" y="642177"/>
                    <a:pt x="141112" y="632077"/>
                  </a:cubicBezTo>
                  <a:cubicBezTo>
                    <a:pt x="141015" y="611168"/>
                    <a:pt x="131174" y="595267"/>
                    <a:pt x="115803" y="582139"/>
                  </a:cubicBezTo>
                  <a:cubicBezTo>
                    <a:pt x="105622" y="573426"/>
                    <a:pt x="95269" y="564908"/>
                    <a:pt x="85334" y="555923"/>
                  </a:cubicBezTo>
                  <a:cubicBezTo>
                    <a:pt x="66092" y="538552"/>
                    <a:pt x="62549" y="514147"/>
                    <a:pt x="57031" y="490758"/>
                  </a:cubicBezTo>
                  <a:cubicBezTo>
                    <a:pt x="52463" y="471403"/>
                    <a:pt x="51171" y="451488"/>
                    <a:pt x="47749" y="431938"/>
                  </a:cubicBezTo>
                  <a:cubicBezTo>
                    <a:pt x="45884" y="421202"/>
                    <a:pt x="40832" y="411433"/>
                    <a:pt x="32529" y="403509"/>
                  </a:cubicBezTo>
                  <a:cubicBezTo>
                    <a:pt x="23263" y="394643"/>
                    <a:pt x="13143" y="386438"/>
                    <a:pt x="6037" y="375572"/>
                  </a:cubicBezTo>
                  <a:cubicBezTo>
                    <a:pt x="-3367" y="361163"/>
                    <a:pt x="-1786" y="348961"/>
                    <a:pt x="10782" y="337373"/>
                  </a:cubicBezTo>
                  <a:cubicBezTo>
                    <a:pt x="17358" y="331304"/>
                    <a:pt x="23846" y="324978"/>
                    <a:pt x="31184" y="319941"/>
                  </a:cubicBezTo>
                  <a:cubicBezTo>
                    <a:pt x="55665" y="303119"/>
                    <a:pt x="66264" y="280412"/>
                    <a:pt x="62687" y="250847"/>
                  </a:cubicBezTo>
                  <a:cubicBezTo>
                    <a:pt x="61408" y="240274"/>
                    <a:pt x="61025" y="229478"/>
                    <a:pt x="63859" y="219093"/>
                  </a:cubicBezTo>
                  <a:cubicBezTo>
                    <a:pt x="67553" y="205482"/>
                    <a:pt x="77344" y="196249"/>
                    <a:pt x="88323" y="188233"/>
                  </a:cubicBezTo>
                  <a:cubicBezTo>
                    <a:pt x="101937" y="178312"/>
                    <a:pt x="117038" y="170726"/>
                    <a:pt x="131144" y="161591"/>
                  </a:cubicBezTo>
                  <a:cubicBezTo>
                    <a:pt x="147133" y="151239"/>
                    <a:pt x="157629" y="136387"/>
                    <a:pt x="164818" y="118769"/>
                  </a:cubicBezTo>
                  <a:cubicBezTo>
                    <a:pt x="171563" y="102224"/>
                    <a:pt x="178339" y="85578"/>
                    <a:pt x="186841" y="69930"/>
                  </a:cubicBezTo>
                  <a:cubicBezTo>
                    <a:pt x="203249" y="39823"/>
                    <a:pt x="233101" y="25720"/>
                    <a:pt x="266121" y="33856"/>
                  </a:cubicBezTo>
                  <a:cubicBezTo>
                    <a:pt x="291159" y="40012"/>
                    <a:pt x="311064" y="33161"/>
                    <a:pt x="329529" y="17091"/>
                  </a:cubicBezTo>
                  <a:cubicBezTo>
                    <a:pt x="341723" y="6483"/>
                    <a:pt x="354470" y="1120"/>
                    <a:pt x="367653" y="158"/>
                  </a:cubicBezTo>
                  <a:close/>
                </a:path>
              </a:pathLst>
            </a:custGeom>
            <a:solidFill>
              <a:srgbClr val="E1F6FF"/>
            </a:solidFill>
            <a:ln w="6350">
              <a:solidFill>
                <a:srgbClr val="9492C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23" name="Freeform: Shape 3522">
              <a:extLst>
                <a:ext uri="{FF2B5EF4-FFF2-40B4-BE49-F238E27FC236}">
                  <a16:creationId xmlns:a16="http://schemas.microsoft.com/office/drawing/2014/main" id="{726A94B8-34E8-C286-7A71-B85D305DEBC2}"/>
                </a:ext>
              </a:extLst>
            </p:cNvPr>
            <p:cNvSpPr/>
            <p:nvPr/>
          </p:nvSpPr>
          <p:spPr>
            <a:xfrm>
              <a:off x="11000055" y="2097543"/>
              <a:ext cx="198969" cy="211638"/>
            </a:xfrm>
            <a:custGeom>
              <a:avLst/>
              <a:gdLst>
                <a:gd name="connsiteX0" fmla="*/ 340 w 306709"/>
                <a:gd name="connsiteY0" fmla="*/ 210650 h 326238"/>
                <a:gd name="connsiteX1" fmla="*/ 44890 w 306709"/>
                <a:gd name="connsiteY1" fmla="*/ 126743 h 326238"/>
                <a:gd name="connsiteX2" fmla="*/ 139325 w 306709"/>
                <a:gd name="connsiteY2" fmla="*/ 68343 h 326238"/>
                <a:gd name="connsiteX3" fmla="*/ 163985 w 306709"/>
                <a:gd name="connsiteY3" fmla="*/ 43895 h 326238"/>
                <a:gd name="connsiteX4" fmla="*/ 270750 w 306709"/>
                <a:gd name="connsiteY4" fmla="*/ 4856 h 326238"/>
                <a:gd name="connsiteX5" fmla="*/ 304914 w 306709"/>
                <a:gd name="connsiteY5" fmla="*/ 70322 h 326238"/>
                <a:gd name="connsiteX6" fmla="*/ 289157 w 306709"/>
                <a:gd name="connsiteY6" fmla="*/ 101235 h 326238"/>
                <a:gd name="connsiteX7" fmla="*/ 245914 w 306709"/>
                <a:gd name="connsiteY7" fmla="*/ 195458 h 326238"/>
                <a:gd name="connsiteX8" fmla="*/ 196559 w 306709"/>
                <a:gd name="connsiteY8" fmla="*/ 290318 h 326238"/>
                <a:gd name="connsiteX9" fmla="*/ 75732 w 306709"/>
                <a:gd name="connsiteY9" fmla="*/ 316214 h 326238"/>
                <a:gd name="connsiteX10" fmla="*/ 304 w 306709"/>
                <a:gd name="connsiteY10" fmla="*/ 210544 h 32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709" h="326238">
                  <a:moveTo>
                    <a:pt x="340" y="210650"/>
                  </a:moveTo>
                  <a:cubicBezTo>
                    <a:pt x="-1498" y="173801"/>
                    <a:pt x="14613" y="146810"/>
                    <a:pt x="44890" y="126743"/>
                  </a:cubicBezTo>
                  <a:cubicBezTo>
                    <a:pt x="75768" y="106287"/>
                    <a:pt x="109472" y="90495"/>
                    <a:pt x="139325" y="68343"/>
                  </a:cubicBezTo>
                  <a:cubicBezTo>
                    <a:pt x="148794" y="61313"/>
                    <a:pt x="156213" y="52622"/>
                    <a:pt x="163985" y="43895"/>
                  </a:cubicBezTo>
                  <a:cubicBezTo>
                    <a:pt x="197159" y="6729"/>
                    <a:pt x="222314" y="-8710"/>
                    <a:pt x="270750" y="4856"/>
                  </a:cubicBezTo>
                  <a:cubicBezTo>
                    <a:pt x="304384" y="14289"/>
                    <a:pt x="310425" y="44991"/>
                    <a:pt x="304914" y="70322"/>
                  </a:cubicBezTo>
                  <a:cubicBezTo>
                    <a:pt x="302370" y="81910"/>
                    <a:pt x="296788" y="92509"/>
                    <a:pt x="289157" y="101235"/>
                  </a:cubicBezTo>
                  <a:cubicBezTo>
                    <a:pt x="265380" y="128474"/>
                    <a:pt x="254640" y="161542"/>
                    <a:pt x="245914" y="195458"/>
                  </a:cubicBezTo>
                  <a:cubicBezTo>
                    <a:pt x="236799" y="231000"/>
                    <a:pt x="220583" y="262725"/>
                    <a:pt x="196559" y="290318"/>
                  </a:cubicBezTo>
                  <a:cubicBezTo>
                    <a:pt x="164056" y="327661"/>
                    <a:pt x="128832" y="335150"/>
                    <a:pt x="75732" y="316214"/>
                  </a:cubicBezTo>
                  <a:cubicBezTo>
                    <a:pt x="33479" y="301128"/>
                    <a:pt x="-3759" y="262443"/>
                    <a:pt x="304" y="21054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524" name="Group 3523">
            <a:extLst>
              <a:ext uri="{FF2B5EF4-FFF2-40B4-BE49-F238E27FC236}">
                <a16:creationId xmlns:a16="http://schemas.microsoft.com/office/drawing/2014/main" id="{DD41D830-F527-2361-63C3-C4AB6109D0A0}"/>
              </a:ext>
            </a:extLst>
          </p:cNvPr>
          <p:cNvGrpSpPr/>
          <p:nvPr/>
        </p:nvGrpSpPr>
        <p:grpSpPr>
          <a:xfrm>
            <a:off x="9729316" y="1668628"/>
            <a:ext cx="371582" cy="357239"/>
            <a:chOff x="10877904" y="1959190"/>
            <a:chExt cx="476346" cy="457959"/>
          </a:xfrm>
        </p:grpSpPr>
        <p:sp>
          <p:nvSpPr>
            <p:cNvPr id="3525" name="Freeform: Shape 3524">
              <a:extLst>
                <a:ext uri="{FF2B5EF4-FFF2-40B4-BE49-F238E27FC236}">
                  <a16:creationId xmlns:a16="http://schemas.microsoft.com/office/drawing/2014/main" id="{F30624D5-D48D-EA70-EDC8-72CD7D3850A4}"/>
                </a:ext>
              </a:extLst>
            </p:cNvPr>
            <p:cNvSpPr/>
            <p:nvPr/>
          </p:nvSpPr>
          <p:spPr>
            <a:xfrm>
              <a:off x="10877904" y="1959190"/>
              <a:ext cx="476346" cy="457959"/>
            </a:xfrm>
            <a:custGeom>
              <a:avLst/>
              <a:gdLst>
                <a:gd name="connsiteX0" fmla="*/ 607785 w 779777"/>
                <a:gd name="connsiteY0" fmla="*/ 634853 h 749677"/>
                <a:gd name="connsiteX1" fmla="*/ 598749 w 779777"/>
                <a:gd name="connsiteY1" fmla="*/ 636282 h 749677"/>
                <a:gd name="connsiteX2" fmla="*/ 601383 w 779777"/>
                <a:gd name="connsiteY2" fmla="*/ 646044 h 749677"/>
                <a:gd name="connsiteX3" fmla="*/ 609827 w 779777"/>
                <a:gd name="connsiteY3" fmla="*/ 643594 h 749677"/>
                <a:gd name="connsiteX4" fmla="*/ 607785 w 779777"/>
                <a:gd name="connsiteY4" fmla="*/ 634853 h 749677"/>
                <a:gd name="connsiteX5" fmla="*/ 186124 w 779777"/>
                <a:gd name="connsiteY5" fmla="*/ 565880 h 749677"/>
                <a:gd name="connsiteX6" fmla="*/ 172618 w 779777"/>
                <a:gd name="connsiteY6" fmla="*/ 575717 h 749677"/>
                <a:gd name="connsiteX7" fmla="*/ 172640 w 779777"/>
                <a:gd name="connsiteY7" fmla="*/ 575729 h 749677"/>
                <a:gd name="connsiteX8" fmla="*/ 185206 w 779777"/>
                <a:gd name="connsiteY8" fmla="*/ 622416 h 749677"/>
                <a:gd name="connsiteX9" fmla="*/ 230147 w 779777"/>
                <a:gd name="connsiteY9" fmla="*/ 613539 h 749677"/>
                <a:gd name="connsiteX10" fmla="*/ 230730 w 779777"/>
                <a:gd name="connsiteY10" fmla="*/ 610123 h 749677"/>
                <a:gd name="connsiteX11" fmla="*/ 214390 w 779777"/>
                <a:gd name="connsiteY11" fmla="*/ 577074 h 749677"/>
                <a:gd name="connsiteX12" fmla="*/ 207885 w 779777"/>
                <a:gd name="connsiteY12" fmla="*/ 576276 h 749677"/>
                <a:gd name="connsiteX13" fmla="*/ 157682 w 779777"/>
                <a:gd name="connsiteY13" fmla="*/ 556106 h 749677"/>
                <a:gd name="connsiteX14" fmla="*/ 148391 w 779777"/>
                <a:gd name="connsiteY14" fmla="*/ 557210 h 749677"/>
                <a:gd name="connsiteX15" fmla="*/ 148412 w 779777"/>
                <a:gd name="connsiteY15" fmla="*/ 557223 h 749677"/>
                <a:gd name="connsiteX16" fmla="*/ 151047 w 779777"/>
                <a:gd name="connsiteY16" fmla="*/ 566984 h 749677"/>
                <a:gd name="connsiteX17" fmla="*/ 158921 w 779777"/>
                <a:gd name="connsiteY17" fmla="*/ 565062 h 749677"/>
                <a:gd name="connsiteX18" fmla="*/ 157682 w 779777"/>
                <a:gd name="connsiteY18" fmla="*/ 556106 h 749677"/>
                <a:gd name="connsiteX19" fmla="*/ 670244 w 779777"/>
                <a:gd name="connsiteY19" fmla="*/ 521044 h 749677"/>
                <a:gd name="connsiteX20" fmla="*/ 657513 w 779777"/>
                <a:gd name="connsiteY20" fmla="*/ 524830 h 749677"/>
                <a:gd name="connsiteX21" fmla="*/ 661245 w 779777"/>
                <a:gd name="connsiteY21" fmla="*/ 536938 h 749677"/>
                <a:gd name="connsiteX22" fmla="*/ 673533 w 779777"/>
                <a:gd name="connsiteY22" fmla="*/ 533458 h 749677"/>
                <a:gd name="connsiteX23" fmla="*/ 670253 w 779777"/>
                <a:gd name="connsiteY23" fmla="*/ 521079 h 749677"/>
                <a:gd name="connsiteX24" fmla="*/ 81417 w 779777"/>
                <a:gd name="connsiteY24" fmla="*/ 435987 h 749677"/>
                <a:gd name="connsiteX25" fmla="*/ 73465 w 779777"/>
                <a:gd name="connsiteY25" fmla="*/ 438249 h 749677"/>
                <a:gd name="connsiteX26" fmla="*/ 76750 w 779777"/>
                <a:gd name="connsiteY26" fmla="*/ 446526 h 749677"/>
                <a:gd name="connsiteX27" fmla="*/ 84926 w 779777"/>
                <a:gd name="connsiteY27" fmla="*/ 444335 h 749677"/>
                <a:gd name="connsiteX28" fmla="*/ 84949 w 779777"/>
                <a:gd name="connsiteY28" fmla="*/ 444348 h 749677"/>
                <a:gd name="connsiteX29" fmla="*/ 81417 w 779777"/>
                <a:gd name="connsiteY29" fmla="*/ 435987 h 749677"/>
                <a:gd name="connsiteX30" fmla="*/ 661636 w 779777"/>
                <a:gd name="connsiteY30" fmla="*/ 421561 h 749677"/>
                <a:gd name="connsiteX31" fmla="*/ 641039 w 779777"/>
                <a:gd name="connsiteY31" fmla="*/ 435953 h 749677"/>
                <a:gd name="connsiteX32" fmla="*/ 656359 w 779777"/>
                <a:gd name="connsiteY32" fmla="*/ 485647 h 749677"/>
                <a:gd name="connsiteX33" fmla="*/ 656346 w 779777"/>
                <a:gd name="connsiteY33" fmla="*/ 485669 h 749677"/>
                <a:gd name="connsiteX34" fmla="*/ 700525 w 779777"/>
                <a:gd name="connsiteY34" fmla="*/ 475348 h 749677"/>
                <a:gd name="connsiteX35" fmla="*/ 688769 w 779777"/>
                <a:gd name="connsiteY35" fmla="*/ 427003 h 749677"/>
                <a:gd name="connsiteX36" fmla="*/ 661636 w 779777"/>
                <a:gd name="connsiteY36" fmla="*/ 421561 h 749677"/>
                <a:gd name="connsiteX37" fmla="*/ 637211 w 779777"/>
                <a:gd name="connsiteY37" fmla="*/ 227458 h 749677"/>
                <a:gd name="connsiteX38" fmla="*/ 623614 w 779777"/>
                <a:gd name="connsiteY38" fmla="*/ 229267 h 749677"/>
                <a:gd name="connsiteX39" fmla="*/ 623637 w 779777"/>
                <a:gd name="connsiteY39" fmla="*/ 229280 h 749677"/>
                <a:gd name="connsiteX40" fmla="*/ 626973 w 779777"/>
                <a:gd name="connsiteY40" fmla="*/ 246831 h 749677"/>
                <a:gd name="connsiteX41" fmla="*/ 641505 w 779777"/>
                <a:gd name="connsiteY41" fmla="*/ 241663 h 749677"/>
                <a:gd name="connsiteX42" fmla="*/ 637211 w 779777"/>
                <a:gd name="connsiteY42" fmla="*/ 227458 h 749677"/>
                <a:gd name="connsiteX43" fmla="*/ 122598 w 779777"/>
                <a:gd name="connsiteY43" fmla="*/ 221106 h 749677"/>
                <a:gd name="connsiteX44" fmla="*/ 117920 w 779777"/>
                <a:gd name="connsiteY44" fmla="*/ 225730 h 749677"/>
                <a:gd name="connsiteX45" fmla="*/ 120981 w 779777"/>
                <a:gd name="connsiteY45" fmla="*/ 237924 h 749677"/>
                <a:gd name="connsiteX46" fmla="*/ 132346 w 779777"/>
                <a:gd name="connsiteY46" fmla="*/ 234355 h 749677"/>
                <a:gd name="connsiteX47" fmla="*/ 128898 w 779777"/>
                <a:gd name="connsiteY47" fmla="*/ 222115 h 749677"/>
                <a:gd name="connsiteX48" fmla="*/ 122598 w 779777"/>
                <a:gd name="connsiteY48" fmla="*/ 221106 h 749677"/>
                <a:gd name="connsiteX49" fmla="*/ 544058 w 779777"/>
                <a:gd name="connsiteY49" fmla="*/ 191280 h 749677"/>
                <a:gd name="connsiteX50" fmla="*/ 533056 w 779777"/>
                <a:gd name="connsiteY50" fmla="*/ 193966 h 749677"/>
                <a:gd name="connsiteX51" fmla="*/ 535732 w 779777"/>
                <a:gd name="connsiteY51" fmla="*/ 204692 h 749677"/>
                <a:gd name="connsiteX52" fmla="*/ 536842 w 779777"/>
                <a:gd name="connsiteY52" fmla="*/ 205941 h 749677"/>
                <a:gd name="connsiteX53" fmla="*/ 547306 w 779777"/>
                <a:gd name="connsiteY53" fmla="*/ 203049 h 749677"/>
                <a:gd name="connsiteX54" fmla="*/ 544058 w 779777"/>
                <a:gd name="connsiteY54" fmla="*/ 191280 h 749677"/>
                <a:gd name="connsiteX55" fmla="*/ 177627 w 779777"/>
                <a:gd name="connsiteY55" fmla="*/ 189236 h 749677"/>
                <a:gd name="connsiteX56" fmla="*/ 161871 w 779777"/>
                <a:gd name="connsiteY56" fmla="*/ 200508 h 749677"/>
                <a:gd name="connsiteX57" fmla="*/ 160744 w 779777"/>
                <a:gd name="connsiteY57" fmla="*/ 212765 h 749677"/>
                <a:gd name="connsiteX58" fmla="*/ 177288 w 779777"/>
                <a:gd name="connsiteY58" fmla="*/ 199191 h 749677"/>
                <a:gd name="connsiteX59" fmla="*/ 195390 w 779777"/>
                <a:gd name="connsiteY59" fmla="*/ 192354 h 749677"/>
                <a:gd name="connsiteX60" fmla="*/ 258702 w 779777"/>
                <a:gd name="connsiteY60" fmla="*/ 152260 h 749677"/>
                <a:gd name="connsiteX61" fmla="*/ 251027 w 779777"/>
                <a:gd name="connsiteY61" fmla="*/ 157407 h 749677"/>
                <a:gd name="connsiteX62" fmla="*/ 255861 w 779777"/>
                <a:gd name="connsiteY62" fmla="*/ 172721 h 749677"/>
                <a:gd name="connsiteX63" fmla="*/ 272071 w 779777"/>
                <a:gd name="connsiteY63" fmla="*/ 167666 h 749677"/>
                <a:gd name="connsiteX64" fmla="*/ 268051 w 779777"/>
                <a:gd name="connsiteY64" fmla="*/ 152733 h 749677"/>
                <a:gd name="connsiteX65" fmla="*/ 258702 w 779777"/>
                <a:gd name="connsiteY65" fmla="*/ 152260 h 749677"/>
                <a:gd name="connsiteX66" fmla="*/ 368586 w 779777"/>
                <a:gd name="connsiteY66" fmla="*/ 146032 h 749677"/>
                <a:gd name="connsiteX67" fmla="*/ 304537 w 779777"/>
                <a:gd name="connsiteY67" fmla="*/ 160240 h 749677"/>
                <a:gd name="connsiteX68" fmla="*/ 265271 w 779777"/>
                <a:gd name="connsiteY68" fmla="*/ 186614 h 749677"/>
                <a:gd name="connsiteX69" fmla="*/ 273587 w 779777"/>
                <a:gd name="connsiteY69" fmla="*/ 187634 h 749677"/>
                <a:gd name="connsiteX70" fmla="*/ 292652 w 779777"/>
                <a:gd name="connsiteY70" fmla="*/ 194835 h 749677"/>
                <a:gd name="connsiteX71" fmla="*/ 323647 w 779777"/>
                <a:gd name="connsiteY71" fmla="*/ 171894 h 749677"/>
                <a:gd name="connsiteX72" fmla="*/ 364692 w 779777"/>
                <a:gd name="connsiteY72" fmla="*/ 154520 h 749677"/>
                <a:gd name="connsiteX73" fmla="*/ 396543 w 779777"/>
                <a:gd name="connsiteY73" fmla="*/ 150141 h 749677"/>
                <a:gd name="connsiteX74" fmla="*/ 436573 w 779777"/>
                <a:gd name="connsiteY74" fmla="*/ 89028 h 749677"/>
                <a:gd name="connsiteX75" fmla="*/ 419797 w 779777"/>
                <a:gd name="connsiteY75" fmla="*/ 100369 h 749677"/>
                <a:gd name="connsiteX76" fmla="*/ 430905 w 779777"/>
                <a:gd name="connsiteY76" fmla="*/ 141192 h 749677"/>
                <a:gd name="connsiteX77" fmla="*/ 467702 w 779777"/>
                <a:gd name="connsiteY77" fmla="*/ 132043 h 749677"/>
                <a:gd name="connsiteX78" fmla="*/ 467715 w 779777"/>
                <a:gd name="connsiteY78" fmla="*/ 132021 h 749677"/>
                <a:gd name="connsiteX79" fmla="*/ 458424 w 779777"/>
                <a:gd name="connsiteY79" fmla="*/ 93221 h 749677"/>
                <a:gd name="connsiteX80" fmla="*/ 436573 w 779777"/>
                <a:gd name="connsiteY80" fmla="*/ 89028 h 749677"/>
                <a:gd name="connsiteX81" fmla="*/ 516060 w 779777"/>
                <a:gd name="connsiteY81" fmla="*/ 72612 h 749677"/>
                <a:gd name="connsiteX82" fmla="*/ 508611 w 779777"/>
                <a:gd name="connsiteY82" fmla="*/ 78069 h 749677"/>
                <a:gd name="connsiteX83" fmla="*/ 507268 w 779777"/>
                <a:gd name="connsiteY83" fmla="*/ 86772 h 749677"/>
                <a:gd name="connsiteX84" fmla="*/ 514488 w 779777"/>
                <a:gd name="connsiteY84" fmla="*/ 94452 h 749677"/>
                <a:gd name="connsiteX85" fmla="*/ 514481 w 779777"/>
                <a:gd name="connsiteY85" fmla="*/ 94455 h 749677"/>
                <a:gd name="connsiteX86" fmla="*/ 514503 w 779777"/>
                <a:gd name="connsiteY86" fmla="*/ 94467 h 749677"/>
                <a:gd name="connsiteX87" fmla="*/ 514488 w 779777"/>
                <a:gd name="connsiteY87" fmla="*/ 94452 h 749677"/>
                <a:gd name="connsiteX88" fmla="*/ 527152 w 779777"/>
                <a:gd name="connsiteY88" fmla="*/ 89749 h 749677"/>
                <a:gd name="connsiteX89" fmla="*/ 524509 w 779777"/>
                <a:gd name="connsiteY89" fmla="*/ 73248 h 749677"/>
                <a:gd name="connsiteX90" fmla="*/ 516060 w 779777"/>
                <a:gd name="connsiteY90" fmla="*/ 72612 h 749677"/>
                <a:gd name="connsiteX91" fmla="*/ 389825 w 779777"/>
                <a:gd name="connsiteY91" fmla="*/ 62883 h 749677"/>
                <a:gd name="connsiteX92" fmla="*/ 384066 w 779777"/>
                <a:gd name="connsiteY92" fmla="*/ 67717 h 749677"/>
                <a:gd name="connsiteX93" fmla="*/ 387008 w 779777"/>
                <a:gd name="connsiteY93" fmla="*/ 80936 h 749677"/>
                <a:gd name="connsiteX94" fmla="*/ 400352 w 779777"/>
                <a:gd name="connsiteY94" fmla="*/ 76854 h 749677"/>
                <a:gd name="connsiteX95" fmla="*/ 396834 w 779777"/>
                <a:gd name="connsiteY95" fmla="*/ 63865 h 749677"/>
                <a:gd name="connsiteX96" fmla="*/ 389825 w 779777"/>
                <a:gd name="connsiteY96" fmla="*/ 62883 h 749677"/>
                <a:gd name="connsiteX97" fmla="*/ 367653 w 779777"/>
                <a:gd name="connsiteY97" fmla="*/ 158 h 749677"/>
                <a:gd name="connsiteX98" fmla="*/ 408387 w 779777"/>
                <a:gd name="connsiteY98" fmla="*/ 9630 h 749677"/>
                <a:gd name="connsiteX99" fmla="*/ 429484 w 779777"/>
                <a:gd name="connsiteY99" fmla="*/ 19950 h 749677"/>
                <a:gd name="connsiteX100" fmla="*/ 464565 w 779777"/>
                <a:gd name="connsiteY100" fmla="*/ 12853 h 749677"/>
                <a:gd name="connsiteX101" fmla="*/ 499180 w 779777"/>
                <a:gd name="connsiteY101" fmla="*/ 10095 h 749677"/>
                <a:gd name="connsiteX102" fmla="*/ 517845 w 779777"/>
                <a:gd name="connsiteY102" fmla="*/ 30205 h 749677"/>
                <a:gd name="connsiteX103" fmla="*/ 522736 w 779777"/>
                <a:gd name="connsiteY103" fmla="*/ 39025 h 749677"/>
                <a:gd name="connsiteX104" fmla="*/ 567728 w 779777"/>
                <a:gd name="connsiteY104" fmla="*/ 58709 h 749677"/>
                <a:gd name="connsiteX105" fmla="*/ 603970 w 779777"/>
                <a:gd name="connsiteY105" fmla="*/ 52312 h 749677"/>
                <a:gd name="connsiteX106" fmla="*/ 670210 w 779777"/>
                <a:gd name="connsiteY106" fmla="*/ 105383 h 749677"/>
                <a:gd name="connsiteX107" fmla="*/ 679435 w 779777"/>
                <a:gd name="connsiteY107" fmla="*/ 146242 h 749677"/>
                <a:gd name="connsiteX108" fmla="*/ 704304 w 779777"/>
                <a:gd name="connsiteY108" fmla="*/ 165532 h 749677"/>
                <a:gd name="connsiteX109" fmla="*/ 729408 w 779777"/>
                <a:gd name="connsiteY109" fmla="*/ 171520 h 749677"/>
                <a:gd name="connsiteX110" fmla="*/ 740466 w 779777"/>
                <a:gd name="connsiteY110" fmla="*/ 198462 h 749677"/>
                <a:gd name="connsiteX111" fmla="*/ 732482 w 779777"/>
                <a:gd name="connsiteY111" fmla="*/ 222267 h 749677"/>
                <a:gd name="connsiteX112" fmla="*/ 743197 w 779777"/>
                <a:gd name="connsiteY112" fmla="*/ 271341 h 749677"/>
                <a:gd name="connsiteX113" fmla="*/ 766426 w 779777"/>
                <a:gd name="connsiteY113" fmla="*/ 296744 h 749677"/>
                <a:gd name="connsiteX114" fmla="*/ 775457 w 779777"/>
                <a:gd name="connsiteY114" fmla="*/ 350576 h 749677"/>
                <a:gd name="connsiteX115" fmla="*/ 757850 w 779777"/>
                <a:gd name="connsiteY115" fmla="*/ 378719 h 749677"/>
                <a:gd name="connsiteX116" fmla="*/ 754264 w 779777"/>
                <a:gd name="connsiteY116" fmla="*/ 427186 h 749677"/>
                <a:gd name="connsiteX117" fmla="*/ 768811 w 779777"/>
                <a:gd name="connsiteY117" fmla="*/ 456527 h 749677"/>
                <a:gd name="connsiteX118" fmla="*/ 751965 w 779777"/>
                <a:gd name="connsiteY118" fmla="*/ 528116 h 749677"/>
                <a:gd name="connsiteX119" fmla="*/ 693577 w 779777"/>
                <a:gd name="connsiteY119" fmla="*/ 574302 h 749677"/>
                <a:gd name="connsiteX120" fmla="*/ 655237 w 779777"/>
                <a:gd name="connsiteY120" fmla="*/ 641426 h 749677"/>
                <a:gd name="connsiteX121" fmla="*/ 650848 w 779777"/>
                <a:gd name="connsiteY121" fmla="*/ 664323 h 749677"/>
                <a:gd name="connsiteX122" fmla="*/ 615076 w 779777"/>
                <a:gd name="connsiteY122" fmla="*/ 683309 h 749677"/>
                <a:gd name="connsiteX123" fmla="*/ 586266 w 779777"/>
                <a:gd name="connsiteY123" fmla="*/ 688444 h 749677"/>
                <a:gd name="connsiteX124" fmla="*/ 557182 w 779777"/>
                <a:gd name="connsiteY124" fmla="*/ 715337 h 749677"/>
                <a:gd name="connsiteX125" fmla="*/ 538530 w 779777"/>
                <a:gd name="connsiteY125" fmla="*/ 740072 h 749677"/>
                <a:gd name="connsiteX126" fmla="*/ 495603 w 779777"/>
                <a:gd name="connsiteY126" fmla="*/ 735639 h 749677"/>
                <a:gd name="connsiteX127" fmla="*/ 493688 w 779777"/>
                <a:gd name="connsiteY127" fmla="*/ 721456 h 749677"/>
                <a:gd name="connsiteX128" fmla="*/ 452828 w 779777"/>
                <a:gd name="connsiteY128" fmla="*/ 738752 h 749677"/>
                <a:gd name="connsiteX129" fmla="*/ 408760 w 779777"/>
                <a:gd name="connsiteY129" fmla="*/ 744810 h 749677"/>
                <a:gd name="connsiteX130" fmla="*/ 364692 w 779777"/>
                <a:gd name="connsiteY130" fmla="*/ 738752 h 749677"/>
                <a:gd name="connsiteX131" fmla="*/ 345073 w 779777"/>
                <a:gd name="connsiteY131" fmla="*/ 730447 h 749677"/>
                <a:gd name="connsiteX132" fmla="*/ 342594 w 779777"/>
                <a:gd name="connsiteY132" fmla="*/ 738213 h 749677"/>
                <a:gd name="connsiteX133" fmla="*/ 312592 w 779777"/>
                <a:gd name="connsiteY133" fmla="*/ 742394 h 749677"/>
                <a:gd name="connsiteX134" fmla="*/ 284477 w 779777"/>
                <a:gd name="connsiteY134" fmla="*/ 724124 h 749677"/>
                <a:gd name="connsiteX135" fmla="*/ 221248 w 779777"/>
                <a:gd name="connsiteY135" fmla="*/ 699552 h 749677"/>
                <a:gd name="connsiteX136" fmla="*/ 182688 w 779777"/>
                <a:gd name="connsiteY136" fmla="*/ 699116 h 749677"/>
                <a:gd name="connsiteX137" fmla="*/ 141726 w 779777"/>
                <a:gd name="connsiteY137" fmla="*/ 662323 h 749677"/>
                <a:gd name="connsiteX138" fmla="*/ 141112 w 779777"/>
                <a:gd name="connsiteY138" fmla="*/ 632077 h 749677"/>
                <a:gd name="connsiteX139" fmla="*/ 115803 w 779777"/>
                <a:gd name="connsiteY139" fmla="*/ 582139 h 749677"/>
                <a:gd name="connsiteX140" fmla="*/ 85334 w 779777"/>
                <a:gd name="connsiteY140" fmla="*/ 555923 h 749677"/>
                <a:gd name="connsiteX141" fmla="*/ 57031 w 779777"/>
                <a:gd name="connsiteY141" fmla="*/ 490758 h 749677"/>
                <a:gd name="connsiteX142" fmla="*/ 47749 w 779777"/>
                <a:gd name="connsiteY142" fmla="*/ 431938 h 749677"/>
                <a:gd name="connsiteX143" fmla="*/ 32529 w 779777"/>
                <a:gd name="connsiteY143" fmla="*/ 403509 h 749677"/>
                <a:gd name="connsiteX144" fmla="*/ 6037 w 779777"/>
                <a:gd name="connsiteY144" fmla="*/ 375572 h 749677"/>
                <a:gd name="connsiteX145" fmla="*/ 10782 w 779777"/>
                <a:gd name="connsiteY145" fmla="*/ 337373 h 749677"/>
                <a:gd name="connsiteX146" fmla="*/ 31184 w 779777"/>
                <a:gd name="connsiteY146" fmla="*/ 319941 h 749677"/>
                <a:gd name="connsiteX147" fmla="*/ 62687 w 779777"/>
                <a:gd name="connsiteY147" fmla="*/ 250847 h 749677"/>
                <a:gd name="connsiteX148" fmla="*/ 63859 w 779777"/>
                <a:gd name="connsiteY148" fmla="*/ 219093 h 749677"/>
                <a:gd name="connsiteX149" fmla="*/ 88323 w 779777"/>
                <a:gd name="connsiteY149" fmla="*/ 188233 h 749677"/>
                <a:gd name="connsiteX150" fmla="*/ 131144 w 779777"/>
                <a:gd name="connsiteY150" fmla="*/ 161591 h 749677"/>
                <a:gd name="connsiteX151" fmla="*/ 164818 w 779777"/>
                <a:gd name="connsiteY151" fmla="*/ 118769 h 749677"/>
                <a:gd name="connsiteX152" fmla="*/ 186841 w 779777"/>
                <a:gd name="connsiteY152" fmla="*/ 69930 h 749677"/>
                <a:gd name="connsiteX153" fmla="*/ 266121 w 779777"/>
                <a:gd name="connsiteY153" fmla="*/ 33856 h 749677"/>
                <a:gd name="connsiteX154" fmla="*/ 329529 w 779777"/>
                <a:gd name="connsiteY154" fmla="*/ 17091 h 749677"/>
                <a:gd name="connsiteX155" fmla="*/ 367653 w 779777"/>
                <a:gd name="connsiteY155" fmla="*/ 158 h 749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779777" h="749677">
                  <a:moveTo>
                    <a:pt x="607785" y="634853"/>
                  </a:moveTo>
                  <a:cubicBezTo>
                    <a:pt x="604606" y="632634"/>
                    <a:pt x="601531" y="633664"/>
                    <a:pt x="598749" y="636282"/>
                  </a:cubicBezTo>
                  <a:cubicBezTo>
                    <a:pt x="597999" y="639984"/>
                    <a:pt x="598341" y="643844"/>
                    <a:pt x="601383" y="646044"/>
                  </a:cubicBezTo>
                  <a:cubicBezTo>
                    <a:pt x="604492" y="648282"/>
                    <a:pt x="607925" y="646838"/>
                    <a:pt x="609827" y="643594"/>
                  </a:cubicBezTo>
                  <a:cubicBezTo>
                    <a:pt x="611733" y="640293"/>
                    <a:pt x="610888" y="636999"/>
                    <a:pt x="607785" y="634853"/>
                  </a:cubicBezTo>
                  <a:close/>
                  <a:moveTo>
                    <a:pt x="186124" y="565880"/>
                  </a:moveTo>
                  <a:lnTo>
                    <a:pt x="172618" y="575717"/>
                  </a:lnTo>
                  <a:lnTo>
                    <a:pt x="172640" y="575729"/>
                  </a:lnTo>
                  <a:cubicBezTo>
                    <a:pt x="163592" y="591299"/>
                    <a:pt x="169993" y="612392"/>
                    <a:pt x="185206" y="622416"/>
                  </a:cubicBezTo>
                  <a:cubicBezTo>
                    <a:pt x="203769" y="634669"/>
                    <a:pt x="222075" y="627930"/>
                    <a:pt x="230147" y="613539"/>
                  </a:cubicBezTo>
                  <a:lnTo>
                    <a:pt x="230730" y="610123"/>
                  </a:lnTo>
                  <a:lnTo>
                    <a:pt x="214390" y="577074"/>
                  </a:lnTo>
                  <a:lnTo>
                    <a:pt x="207885" y="576276"/>
                  </a:lnTo>
                  <a:close/>
                  <a:moveTo>
                    <a:pt x="157682" y="556106"/>
                  </a:moveTo>
                  <a:cubicBezTo>
                    <a:pt x="154869" y="554482"/>
                    <a:pt x="151301" y="554164"/>
                    <a:pt x="148391" y="557210"/>
                  </a:cubicBezTo>
                  <a:lnTo>
                    <a:pt x="148412" y="557223"/>
                  </a:lnTo>
                  <a:cubicBezTo>
                    <a:pt x="147654" y="560890"/>
                    <a:pt x="148046" y="564661"/>
                    <a:pt x="151047" y="566984"/>
                  </a:cubicBezTo>
                  <a:cubicBezTo>
                    <a:pt x="153807" y="569110"/>
                    <a:pt x="157382" y="567984"/>
                    <a:pt x="158921" y="565062"/>
                  </a:cubicBezTo>
                  <a:cubicBezTo>
                    <a:pt x="160422" y="562207"/>
                    <a:pt x="161248" y="558165"/>
                    <a:pt x="157682" y="556106"/>
                  </a:cubicBezTo>
                  <a:close/>
                  <a:moveTo>
                    <a:pt x="670244" y="521044"/>
                  </a:moveTo>
                  <a:cubicBezTo>
                    <a:pt x="664886" y="519221"/>
                    <a:pt x="660129" y="520197"/>
                    <a:pt x="657513" y="524830"/>
                  </a:cubicBezTo>
                  <a:cubicBezTo>
                    <a:pt x="654834" y="529574"/>
                    <a:pt x="656415" y="534356"/>
                    <a:pt x="661245" y="536938"/>
                  </a:cubicBezTo>
                  <a:cubicBezTo>
                    <a:pt x="666030" y="539494"/>
                    <a:pt x="670653" y="538087"/>
                    <a:pt x="673533" y="533458"/>
                  </a:cubicBezTo>
                  <a:cubicBezTo>
                    <a:pt x="676719" y="528298"/>
                    <a:pt x="673334" y="524542"/>
                    <a:pt x="670253" y="521079"/>
                  </a:cubicBezTo>
                  <a:close/>
                  <a:moveTo>
                    <a:pt x="81417" y="435987"/>
                  </a:moveTo>
                  <a:cubicBezTo>
                    <a:pt x="78358" y="434635"/>
                    <a:pt x="74935" y="435139"/>
                    <a:pt x="73465" y="438249"/>
                  </a:cubicBezTo>
                  <a:cubicBezTo>
                    <a:pt x="71864" y="441637"/>
                    <a:pt x="73248" y="444917"/>
                    <a:pt x="76750" y="446526"/>
                  </a:cubicBezTo>
                  <a:cubicBezTo>
                    <a:pt x="79805" y="447935"/>
                    <a:pt x="82669" y="447018"/>
                    <a:pt x="84926" y="444335"/>
                  </a:cubicBezTo>
                  <a:lnTo>
                    <a:pt x="84949" y="444348"/>
                  </a:lnTo>
                  <a:cubicBezTo>
                    <a:pt x="85704" y="440737"/>
                    <a:pt x="84989" y="437577"/>
                    <a:pt x="81417" y="435987"/>
                  </a:cubicBezTo>
                  <a:close/>
                  <a:moveTo>
                    <a:pt x="661636" y="421561"/>
                  </a:moveTo>
                  <a:cubicBezTo>
                    <a:pt x="653237" y="423294"/>
                    <a:pt x="645926" y="428333"/>
                    <a:pt x="641039" y="435953"/>
                  </a:cubicBezTo>
                  <a:cubicBezTo>
                    <a:pt x="630269" y="452714"/>
                    <a:pt x="639586" y="478120"/>
                    <a:pt x="656359" y="485647"/>
                  </a:cubicBezTo>
                  <a:lnTo>
                    <a:pt x="656346" y="485669"/>
                  </a:lnTo>
                  <a:cubicBezTo>
                    <a:pt x="674047" y="497011"/>
                    <a:pt x="691632" y="490801"/>
                    <a:pt x="700525" y="475348"/>
                  </a:cubicBezTo>
                  <a:cubicBezTo>
                    <a:pt x="710981" y="457135"/>
                    <a:pt x="706549" y="437800"/>
                    <a:pt x="688769" y="427003"/>
                  </a:cubicBezTo>
                  <a:cubicBezTo>
                    <a:pt x="679525" y="421400"/>
                    <a:pt x="670036" y="419827"/>
                    <a:pt x="661636" y="421561"/>
                  </a:cubicBezTo>
                  <a:close/>
                  <a:moveTo>
                    <a:pt x="637211" y="227458"/>
                  </a:moveTo>
                  <a:cubicBezTo>
                    <a:pt x="631274" y="224237"/>
                    <a:pt x="626687" y="225429"/>
                    <a:pt x="623614" y="229267"/>
                  </a:cubicBezTo>
                  <a:lnTo>
                    <a:pt x="623637" y="229280"/>
                  </a:lnTo>
                  <a:cubicBezTo>
                    <a:pt x="619894" y="235507"/>
                    <a:pt x="622127" y="244121"/>
                    <a:pt x="626973" y="246831"/>
                  </a:cubicBezTo>
                  <a:cubicBezTo>
                    <a:pt x="630799" y="248951"/>
                    <a:pt x="639536" y="246198"/>
                    <a:pt x="641505" y="241663"/>
                  </a:cubicBezTo>
                  <a:cubicBezTo>
                    <a:pt x="643929" y="236033"/>
                    <a:pt x="643526" y="230898"/>
                    <a:pt x="637211" y="227458"/>
                  </a:cubicBezTo>
                  <a:close/>
                  <a:moveTo>
                    <a:pt x="122598" y="221106"/>
                  </a:moveTo>
                  <a:cubicBezTo>
                    <a:pt x="120771" y="221816"/>
                    <a:pt x="119214" y="223464"/>
                    <a:pt x="117920" y="225730"/>
                  </a:cubicBezTo>
                  <a:cubicBezTo>
                    <a:pt x="115061" y="230784"/>
                    <a:pt x="116598" y="235541"/>
                    <a:pt x="120981" y="237924"/>
                  </a:cubicBezTo>
                  <a:cubicBezTo>
                    <a:pt x="124887" y="240061"/>
                    <a:pt x="129947" y="239379"/>
                    <a:pt x="132346" y="234355"/>
                  </a:cubicBezTo>
                  <a:cubicBezTo>
                    <a:pt x="134655" y="229485"/>
                    <a:pt x="133470" y="224990"/>
                    <a:pt x="128898" y="222115"/>
                  </a:cubicBezTo>
                  <a:cubicBezTo>
                    <a:pt x="126524" y="220625"/>
                    <a:pt x="124426" y="220396"/>
                    <a:pt x="122598" y="221106"/>
                  </a:cubicBezTo>
                  <a:close/>
                  <a:moveTo>
                    <a:pt x="544058" y="191280"/>
                  </a:moveTo>
                  <a:cubicBezTo>
                    <a:pt x="539257" y="188597"/>
                    <a:pt x="535600" y="189764"/>
                    <a:pt x="533056" y="193966"/>
                  </a:cubicBezTo>
                  <a:lnTo>
                    <a:pt x="535732" y="204692"/>
                  </a:lnTo>
                  <a:lnTo>
                    <a:pt x="536842" y="205941"/>
                  </a:lnTo>
                  <a:lnTo>
                    <a:pt x="547306" y="203049"/>
                  </a:lnTo>
                  <a:cubicBezTo>
                    <a:pt x="550305" y="197958"/>
                    <a:pt x="549182" y="194120"/>
                    <a:pt x="544058" y="191280"/>
                  </a:cubicBezTo>
                  <a:close/>
                  <a:moveTo>
                    <a:pt x="177627" y="189236"/>
                  </a:moveTo>
                  <a:cubicBezTo>
                    <a:pt x="170631" y="191167"/>
                    <a:pt x="164799" y="195642"/>
                    <a:pt x="161871" y="200508"/>
                  </a:cubicBezTo>
                  <a:lnTo>
                    <a:pt x="160744" y="212765"/>
                  </a:lnTo>
                  <a:lnTo>
                    <a:pt x="177288" y="199191"/>
                  </a:lnTo>
                  <a:lnTo>
                    <a:pt x="195390" y="192354"/>
                  </a:lnTo>
                  <a:close/>
                  <a:moveTo>
                    <a:pt x="258702" y="152260"/>
                  </a:moveTo>
                  <a:cubicBezTo>
                    <a:pt x="255358" y="153180"/>
                    <a:pt x="252293" y="155036"/>
                    <a:pt x="251027" y="157407"/>
                  </a:cubicBezTo>
                  <a:cubicBezTo>
                    <a:pt x="248586" y="161993"/>
                    <a:pt x="251127" y="170076"/>
                    <a:pt x="255861" y="172721"/>
                  </a:cubicBezTo>
                  <a:cubicBezTo>
                    <a:pt x="262147" y="176261"/>
                    <a:pt x="268314" y="174328"/>
                    <a:pt x="272071" y="167666"/>
                  </a:cubicBezTo>
                  <a:cubicBezTo>
                    <a:pt x="274403" y="163577"/>
                    <a:pt x="272106" y="155073"/>
                    <a:pt x="268051" y="152733"/>
                  </a:cubicBezTo>
                  <a:cubicBezTo>
                    <a:pt x="265670" y="151358"/>
                    <a:pt x="262046" y="151341"/>
                    <a:pt x="258702" y="152260"/>
                  </a:cubicBezTo>
                  <a:close/>
                  <a:moveTo>
                    <a:pt x="368586" y="146032"/>
                  </a:moveTo>
                  <a:cubicBezTo>
                    <a:pt x="347052" y="146765"/>
                    <a:pt x="325675" y="151459"/>
                    <a:pt x="304537" y="160240"/>
                  </a:cubicBezTo>
                  <a:lnTo>
                    <a:pt x="265271" y="186614"/>
                  </a:lnTo>
                  <a:lnTo>
                    <a:pt x="273587" y="187634"/>
                  </a:lnTo>
                  <a:lnTo>
                    <a:pt x="292652" y="194835"/>
                  </a:lnTo>
                  <a:lnTo>
                    <a:pt x="323647" y="171894"/>
                  </a:lnTo>
                  <a:cubicBezTo>
                    <a:pt x="336728" y="164350"/>
                    <a:pt x="350458" y="158492"/>
                    <a:pt x="364692" y="154520"/>
                  </a:cubicBezTo>
                  <a:lnTo>
                    <a:pt x="396543" y="150141"/>
                  </a:lnTo>
                  <a:close/>
                  <a:moveTo>
                    <a:pt x="436573" y="89028"/>
                  </a:moveTo>
                  <a:cubicBezTo>
                    <a:pt x="429657" y="90326"/>
                    <a:pt x="423588" y="94213"/>
                    <a:pt x="419797" y="100369"/>
                  </a:cubicBezTo>
                  <a:cubicBezTo>
                    <a:pt x="410693" y="115168"/>
                    <a:pt x="416946" y="132217"/>
                    <a:pt x="430905" y="141192"/>
                  </a:cubicBezTo>
                  <a:cubicBezTo>
                    <a:pt x="444699" y="150042"/>
                    <a:pt x="461798" y="144880"/>
                    <a:pt x="467702" y="132043"/>
                  </a:cubicBezTo>
                  <a:lnTo>
                    <a:pt x="467715" y="132021"/>
                  </a:lnTo>
                  <a:cubicBezTo>
                    <a:pt x="475753" y="118202"/>
                    <a:pt x="471632" y="100936"/>
                    <a:pt x="458424" y="93221"/>
                  </a:cubicBezTo>
                  <a:cubicBezTo>
                    <a:pt x="451250" y="89020"/>
                    <a:pt x="443488" y="87729"/>
                    <a:pt x="436573" y="89028"/>
                  </a:cubicBezTo>
                  <a:close/>
                  <a:moveTo>
                    <a:pt x="516060" y="72612"/>
                  </a:moveTo>
                  <a:cubicBezTo>
                    <a:pt x="513027" y="73530"/>
                    <a:pt x="510160" y="75464"/>
                    <a:pt x="508611" y="78069"/>
                  </a:cubicBezTo>
                  <a:cubicBezTo>
                    <a:pt x="506821" y="81068"/>
                    <a:pt x="506330" y="84004"/>
                    <a:pt x="507268" y="86772"/>
                  </a:cubicBezTo>
                  <a:lnTo>
                    <a:pt x="514488" y="94452"/>
                  </a:lnTo>
                  <a:lnTo>
                    <a:pt x="514481" y="94455"/>
                  </a:lnTo>
                  <a:lnTo>
                    <a:pt x="514503" y="94467"/>
                  </a:lnTo>
                  <a:lnTo>
                    <a:pt x="514488" y="94452"/>
                  </a:lnTo>
                  <a:lnTo>
                    <a:pt x="527152" y="89749"/>
                  </a:lnTo>
                  <a:cubicBezTo>
                    <a:pt x="530367" y="84486"/>
                    <a:pt x="529062" y="76260"/>
                    <a:pt x="524509" y="73248"/>
                  </a:cubicBezTo>
                  <a:cubicBezTo>
                    <a:pt x="522293" y="71791"/>
                    <a:pt x="519093" y="71694"/>
                    <a:pt x="516060" y="72612"/>
                  </a:cubicBezTo>
                  <a:close/>
                  <a:moveTo>
                    <a:pt x="389825" y="62883"/>
                  </a:moveTo>
                  <a:cubicBezTo>
                    <a:pt x="387658" y="63670"/>
                    <a:pt x="385699" y="65426"/>
                    <a:pt x="384066" y="67717"/>
                  </a:cubicBezTo>
                  <a:cubicBezTo>
                    <a:pt x="381583" y="72989"/>
                    <a:pt x="382009" y="77931"/>
                    <a:pt x="387008" y="80936"/>
                  </a:cubicBezTo>
                  <a:cubicBezTo>
                    <a:pt x="392384" y="84158"/>
                    <a:pt x="397130" y="82231"/>
                    <a:pt x="400352" y="76854"/>
                  </a:cubicBezTo>
                  <a:cubicBezTo>
                    <a:pt x="403663" y="71323"/>
                    <a:pt x="401136" y="66645"/>
                    <a:pt x="396834" y="63865"/>
                  </a:cubicBezTo>
                  <a:cubicBezTo>
                    <a:pt x="394368" y="62279"/>
                    <a:pt x="391992" y="62096"/>
                    <a:pt x="389825" y="62883"/>
                  </a:cubicBezTo>
                  <a:close/>
                  <a:moveTo>
                    <a:pt x="367653" y="158"/>
                  </a:moveTo>
                  <a:cubicBezTo>
                    <a:pt x="380835" y="-804"/>
                    <a:pt x="394453" y="2634"/>
                    <a:pt x="408387" y="9630"/>
                  </a:cubicBezTo>
                  <a:cubicBezTo>
                    <a:pt x="415373" y="13132"/>
                    <a:pt x="422420" y="16581"/>
                    <a:pt x="429484" y="19950"/>
                  </a:cubicBezTo>
                  <a:cubicBezTo>
                    <a:pt x="442943" y="26362"/>
                    <a:pt x="454006" y="20196"/>
                    <a:pt x="464565" y="12853"/>
                  </a:cubicBezTo>
                  <a:cubicBezTo>
                    <a:pt x="475711" y="5111"/>
                    <a:pt x="487437" y="2961"/>
                    <a:pt x="499180" y="10095"/>
                  </a:cubicBezTo>
                  <a:cubicBezTo>
                    <a:pt x="507052" y="14876"/>
                    <a:pt x="513042" y="22204"/>
                    <a:pt x="517845" y="30205"/>
                  </a:cubicBezTo>
                  <a:cubicBezTo>
                    <a:pt x="519574" y="33093"/>
                    <a:pt x="521150" y="36042"/>
                    <a:pt x="522736" y="39025"/>
                  </a:cubicBezTo>
                  <a:cubicBezTo>
                    <a:pt x="533594" y="59560"/>
                    <a:pt x="544852" y="64464"/>
                    <a:pt x="567728" y="58709"/>
                  </a:cubicBezTo>
                  <a:cubicBezTo>
                    <a:pt x="579655" y="55700"/>
                    <a:pt x="591339" y="51577"/>
                    <a:pt x="603970" y="52312"/>
                  </a:cubicBezTo>
                  <a:cubicBezTo>
                    <a:pt x="635455" y="54156"/>
                    <a:pt x="661166" y="75055"/>
                    <a:pt x="670210" y="105383"/>
                  </a:cubicBezTo>
                  <a:cubicBezTo>
                    <a:pt x="674227" y="118838"/>
                    <a:pt x="675253" y="132869"/>
                    <a:pt x="679435" y="146242"/>
                  </a:cubicBezTo>
                  <a:cubicBezTo>
                    <a:pt x="683302" y="158576"/>
                    <a:pt x="692140" y="163885"/>
                    <a:pt x="704304" y="165532"/>
                  </a:cubicBezTo>
                  <a:cubicBezTo>
                    <a:pt x="712830" y="166674"/>
                    <a:pt x="721570" y="166729"/>
                    <a:pt x="729408" y="171520"/>
                  </a:cubicBezTo>
                  <a:cubicBezTo>
                    <a:pt x="739821" y="177887"/>
                    <a:pt x="743863" y="186541"/>
                    <a:pt x="740466" y="198462"/>
                  </a:cubicBezTo>
                  <a:cubicBezTo>
                    <a:pt x="738162" y="206495"/>
                    <a:pt x="735293" y="214379"/>
                    <a:pt x="732482" y="222267"/>
                  </a:cubicBezTo>
                  <a:cubicBezTo>
                    <a:pt x="725841" y="240881"/>
                    <a:pt x="730833" y="256996"/>
                    <a:pt x="743197" y="271341"/>
                  </a:cubicBezTo>
                  <a:cubicBezTo>
                    <a:pt x="750674" y="280029"/>
                    <a:pt x="758525" y="288431"/>
                    <a:pt x="766426" y="296744"/>
                  </a:cubicBezTo>
                  <a:cubicBezTo>
                    <a:pt x="781581" y="312701"/>
                    <a:pt x="782693" y="330828"/>
                    <a:pt x="775457" y="350576"/>
                  </a:cubicBezTo>
                  <a:cubicBezTo>
                    <a:pt x="771538" y="361250"/>
                    <a:pt x="765258" y="370236"/>
                    <a:pt x="757850" y="378719"/>
                  </a:cubicBezTo>
                  <a:cubicBezTo>
                    <a:pt x="744657" y="393846"/>
                    <a:pt x="745595" y="410278"/>
                    <a:pt x="754264" y="427186"/>
                  </a:cubicBezTo>
                  <a:cubicBezTo>
                    <a:pt x="759228" y="436905"/>
                    <a:pt x="764719" y="446425"/>
                    <a:pt x="768811" y="456527"/>
                  </a:cubicBezTo>
                  <a:cubicBezTo>
                    <a:pt x="779999" y="484164"/>
                    <a:pt x="770709" y="507569"/>
                    <a:pt x="751965" y="528116"/>
                  </a:cubicBezTo>
                  <a:cubicBezTo>
                    <a:pt x="735073" y="546629"/>
                    <a:pt x="715556" y="562121"/>
                    <a:pt x="693577" y="574302"/>
                  </a:cubicBezTo>
                  <a:cubicBezTo>
                    <a:pt x="667213" y="588912"/>
                    <a:pt x="652891" y="610240"/>
                    <a:pt x="655237" y="641426"/>
                  </a:cubicBezTo>
                  <a:cubicBezTo>
                    <a:pt x="655823" y="649208"/>
                    <a:pt x="653962" y="656935"/>
                    <a:pt x="650848" y="664323"/>
                  </a:cubicBezTo>
                  <a:cubicBezTo>
                    <a:pt x="644053" y="680544"/>
                    <a:pt x="629085" y="680941"/>
                    <a:pt x="615076" y="683309"/>
                  </a:cubicBezTo>
                  <a:cubicBezTo>
                    <a:pt x="605455" y="684931"/>
                    <a:pt x="595483" y="684963"/>
                    <a:pt x="586266" y="688444"/>
                  </a:cubicBezTo>
                  <a:cubicBezTo>
                    <a:pt x="573052" y="693427"/>
                    <a:pt x="564622" y="704037"/>
                    <a:pt x="557182" y="715337"/>
                  </a:cubicBezTo>
                  <a:cubicBezTo>
                    <a:pt x="551492" y="724015"/>
                    <a:pt x="545345" y="732310"/>
                    <a:pt x="538530" y="740072"/>
                  </a:cubicBezTo>
                  <a:cubicBezTo>
                    <a:pt x="525800" y="754549"/>
                    <a:pt x="504159" y="752334"/>
                    <a:pt x="495603" y="735639"/>
                  </a:cubicBezTo>
                  <a:lnTo>
                    <a:pt x="493688" y="721456"/>
                  </a:lnTo>
                  <a:lnTo>
                    <a:pt x="452828" y="738752"/>
                  </a:lnTo>
                  <a:cubicBezTo>
                    <a:pt x="438593" y="742724"/>
                    <a:pt x="423855" y="744810"/>
                    <a:pt x="408760" y="744810"/>
                  </a:cubicBezTo>
                  <a:cubicBezTo>
                    <a:pt x="393665" y="744810"/>
                    <a:pt x="378927" y="742724"/>
                    <a:pt x="364692" y="738752"/>
                  </a:cubicBezTo>
                  <a:lnTo>
                    <a:pt x="345073" y="730447"/>
                  </a:lnTo>
                  <a:lnTo>
                    <a:pt x="342594" y="738213"/>
                  </a:lnTo>
                  <a:cubicBezTo>
                    <a:pt x="334497" y="746712"/>
                    <a:pt x="324496" y="748174"/>
                    <a:pt x="312592" y="742394"/>
                  </a:cubicBezTo>
                  <a:cubicBezTo>
                    <a:pt x="302458" y="737488"/>
                    <a:pt x="293225" y="731124"/>
                    <a:pt x="284477" y="724124"/>
                  </a:cubicBezTo>
                  <a:cubicBezTo>
                    <a:pt x="265919" y="709304"/>
                    <a:pt x="244040" y="703406"/>
                    <a:pt x="221248" y="699552"/>
                  </a:cubicBezTo>
                  <a:cubicBezTo>
                    <a:pt x="208383" y="697381"/>
                    <a:pt x="195461" y="697866"/>
                    <a:pt x="182688" y="699116"/>
                  </a:cubicBezTo>
                  <a:cubicBezTo>
                    <a:pt x="155907" y="701761"/>
                    <a:pt x="143294" y="685085"/>
                    <a:pt x="141726" y="662323"/>
                  </a:cubicBezTo>
                  <a:cubicBezTo>
                    <a:pt x="141035" y="652266"/>
                    <a:pt x="141159" y="642177"/>
                    <a:pt x="141112" y="632077"/>
                  </a:cubicBezTo>
                  <a:cubicBezTo>
                    <a:pt x="141015" y="611168"/>
                    <a:pt x="131174" y="595267"/>
                    <a:pt x="115803" y="582139"/>
                  </a:cubicBezTo>
                  <a:cubicBezTo>
                    <a:pt x="105622" y="573426"/>
                    <a:pt x="95269" y="564908"/>
                    <a:pt x="85334" y="555923"/>
                  </a:cubicBezTo>
                  <a:cubicBezTo>
                    <a:pt x="66092" y="538552"/>
                    <a:pt x="62549" y="514147"/>
                    <a:pt x="57031" y="490758"/>
                  </a:cubicBezTo>
                  <a:cubicBezTo>
                    <a:pt x="52463" y="471403"/>
                    <a:pt x="51171" y="451488"/>
                    <a:pt x="47749" y="431938"/>
                  </a:cubicBezTo>
                  <a:cubicBezTo>
                    <a:pt x="45884" y="421202"/>
                    <a:pt x="40832" y="411433"/>
                    <a:pt x="32529" y="403509"/>
                  </a:cubicBezTo>
                  <a:cubicBezTo>
                    <a:pt x="23263" y="394643"/>
                    <a:pt x="13143" y="386438"/>
                    <a:pt x="6037" y="375572"/>
                  </a:cubicBezTo>
                  <a:cubicBezTo>
                    <a:pt x="-3367" y="361163"/>
                    <a:pt x="-1786" y="348961"/>
                    <a:pt x="10782" y="337373"/>
                  </a:cubicBezTo>
                  <a:cubicBezTo>
                    <a:pt x="17358" y="331304"/>
                    <a:pt x="23846" y="324978"/>
                    <a:pt x="31184" y="319941"/>
                  </a:cubicBezTo>
                  <a:cubicBezTo>
                    <a:pt x="55665" y="303119"/>
                    <a:pt x="66264" y="280412"/>
                    <a:pt x="62687" y="250847"/>
                  </a:cubicBezTo>
                  <a:cubicBezTo>
                    <a:pt x="61408" y="240274"/>
                    <a:pt x="61025" y="229478"/>
                    <a:pt x="63859" y="219093"/>
                  </a:cubicBezTo>
                  <a:cubicBezTo>
                    <a:pt x="67553" y="205482"/>
                    <a:pt x="77344" y="196249"/>
                    <a:pt x="88323" y="188233"/>
                  </a:cubicBezTo>
                  <a:cubicBezTo>
                    <a:pt x="101937" y="178312"/>
                    <a:pt x="117038" y="170726"/>
                    <a:pt x="131144" y="161591"/>
                  </a:cubicBezTo>
                  <a:cubicBezTo>
                    <a:pt x="147133" y="151239"/>
                    <a:pt x="157629" y="136387"/>
                    <a:pt x="164818" y="118769"/>
                  </a:cubicBezTo>
                  <a:cubicBezTo>
                    <a:pt x="171563" y="102224"/>
                    <a:pt x="178339" y="85578"/>
                    <a:pt x="186841" y="69930"/>
                  </a:cubicBezTo>
                  <a:cubicBezTo>
                    <a:pt x="203249" y="39823"/>
                    <a:pt x="233101" y="25720"/>
                    <a:pt x="266121" y="33856"/>
                  </a:cubicBezTo>
                  <a:cubicBezTo>
                    <a:pt x="291159" y="40012"/>
                    <a:pt x="311064" y="33161"/>
                    <a:pt x="329529" y="17091"/>
                  </a:cubicBezTo>
                  <a:cubicBezTo>
                    <a:pt x="341723" y="6483"/>
                    <a:pt x="354470" y="1120"/>
                    <a:pt x="367653" y="158"/>
                  </a:cubicBezTo>
                  <a:close/>
                </a:path>
              </a:pathLst>
            </a:custGeom>
            <a:solidFill>
              <a:srgbClr val="E1F6FF"/>
            </a:solidFill>
            <a:ln w="6350">
              <a:solidFill>
                <a:srgbClr val="9492C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26" name="Freeform: Shape 3525">
              <a:extLst>
                <a:ext uri="{FF2B5EF4-FFF2-40B4-BE49-F238E27FC236}">
                  <a16:creationId xmlns:a16="http://schemas.microsoft.com/office/drawing/2014/main" id="{C64FCC8F-A6EB-6617-1DCE-728C4C4B4C12}"/>
                </a:ext>
              </a:extLst>
            </p:cNvPr>
            <p:cNvSpPr/>
            <p:nvPr/>
          </p:nvSpPr>
          <p:spPr>
            <a:xfrm>
              <a:off x="11012362" y="2097544"/>
              <a:ext cx="198969" cy="211638"/>
            </a:xfrm>
            <a:custGeom>
              <a:avLst/>
              <a:gdLst>
                <a:gd name="connsiteX0" fmla="*/ 340 w 306709"/>
                <a:gd name="connsiteY0" fmla="*/ 210650 h 326238"/>
                <a:gd name="connsiteX1" fmla="*/ 44890 w 306709"/>
                <a:gd name="connsiteY1" fmla="*/ 126743 h 326238"/>
                <a:gd name="connsiteX2" fmla="*/ 139325 w 306709"/>
                <a:gd name="connsiteY2" fmla="*/ 68343 h 326238"/>
                <a:gd name="connsiteX3" fmla="*/ 163985 w 306709"/>
                <a:gd name="connsiteY3" fmla="*/ 43895 h 326238"/>
                <a:gd name="connsiteX4" fmla="*/ 270750 w 306709"/>
                <a:gd name="connsiteY4" fmla="*/ 4856 h 326238"/>
                <a:gd name="connsiteX5" fmla="*/ 304914 w 306709"/>
                <a:gd name="connsiteY5" fmla="*/ 70322 h 326238"/>
                <a:gd name="connsiteX6" fmla="*/ 289157 w 306709"/>
                <a:gd name="connsiteY6" fmla="*/ 101235 h 326238"/>
                <a:gd name="connsiteX7" fmla="*/ 245914 w 306709"/>
                <a:gd name="connsiteY7" fmla="*/ 195458 h 326238"/>
                <a:gd name="connsiteX8" fmla="*/ 196559 w 306709"/>
                <a:gd name="connsiteY8" fmla="*/ 290318 h 326238"/>
                <a:gd name="connsiteX9" fmla="*/ 75732 w 306709"/>
                <a:gd name="connsiteY9" fmla="*/ 316214 h 326238"/>
                <a:gd name="connsiteX10" fmla="*/ 304 w 306709"/>
                <a:gd name="connsiteY10" fmla="*/ 210544 h 32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709" h="326238">
                  <a:moveTo>
                    <a:pt x="340" y="210650"/>
                  </a:moveTo>
                  <a:cubicBezTo>
                    <a:pt x="-1498" y="173801"/>
                    <a:pt x="14613" y="146810"/>
                    <a:pt x="44890" y="126743"/>
                  </a:cubicBezTo>
                  <a:cubicBezTo>
                    <a:pt x="75768" y="106287"/>
                    <a:pt x="109472" y="90495"/>
                    <a:pt x="139325" y="68343"/>
                  </a:cubicBezTo>
                  <a:cubicBezTo>
                    <a:pt x="148794" y="61313"/>
                    <a:pt x="156213" y="52622"/>
                    <a:pt x="163985" y="43895"/>
                  </a:cubicBezTo>
                  <a:cubicBezTo>
                    <a:pt x="197159" y="6729"/>
                    <a:pt x="222314" y="-8710"/>
                    <a:pt x="270750" y="4856"/>
                  </a:cubicBezTo>
                  <a:cubicBezTo>
                    <a:pt x="304384" y="14289"/>
                    <a:pt x="310425" y="44991"/>
                    <a:pt x="304914" y="70322"/>
                  </a:cubicBezTo>
                  <a:cubicBezTo>
                    <a:pt x="302370" y="81910"/>
                    <a:pt x="296788" y="92509"/>
                    <a:pt x="289157" y="101235"/>
                  </a:cubicBezTo>
                  <a:cubicBezTo>
                    <a:pt x="265380" y="128474"/>
                    <a:pt x="254640" y="161542"/>
                    <a:pt x="245914" y="195458"/>
                  </a:cubicBezTo>
                  <a:cubicBezTo>
                    <a:pt x="236799" y="231000"/>
                    <a:pt x="220583" y="262725"/>
                    <a:pt x="196559" y="290318"/>
                  </a:cubicBezTo>
                  <a:cubicBezTo>
                    <a:pt x="164056" y="327661"/>
                    <a:pt x="128832" y="335150"/>
                    <a:pt x="75732" y="316214"/>
                  </a:cubicBezTo>
                  <a:cubicBezTo>
                    <a:pt x="33479" y="301128"/>
                    <a:pt x="-3759" y="262443"/>
                    <a:pt x="304" y="21054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527" name="Group 3526">
            <a:extLst>
              <a:ext uri="{FF2B5EF4-FFF2-40B4-BE49-F238E27FC236}">
                <a16:creationId xmlns:a16="http://schemas.microsoft.com/office/drawing/2014/main" id="{F6158C03-1D91-4D6E-2DA5-BE630F778C34}"/>
              </a:ext>
            </a:extLst>
          </p:cNvPr>
          <p:cNvGrpSpPr/>
          <p:nvPr/>
        </p:nvGrpSpPr>
        <p:grpSpPr>
          <a:xfrm>
            <a:off x="8359335" y="2161848"/>
            <a:ext cx="315613" cy="464615"/>
            <a:chOff x="8289384" y="1958923"/>
            <a:chExt cx="315613" cy="464615"/>
          </a:xfrm>
        </p:grpSpPr>
        <p:sp>
          <p:nvSpPr>
            <p:cNvPr id="3528" name="Freeform: Shape 3527">
              <a:extLst>
                <a:ext uri="{FF2B5EF4-FFF2-40B4-BE49-F238E27FC236}">
                  <a16:creationId xmlns:a16="http://schemas.microsoft.com/office/drawing/2014/main" id="{DD9620D1-7E7E-8665-5EEA-BC628AC9ADF5}"/>
                </a:ext>
              </a:extLst>
            </p:cNvPr>
            <p:cNvSpPr/>
            <p:nvPr/>
          </p:nvSpPr>
          <p:spPr>
            <a:xfrm rot="3704076">
              <a:off x="8270201" y="2318016"/>
              <a:ext cx="124705" cy="86339"/>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3529" name="Group 3528">
              <a:extLst>
                <a:ext uri="{FF2B5EF4-FFF2-40B4-BE49-F238E27FC236}">
                  <a16:creationId xmlns:a16="http://schemas.microsoft.com/office/drawing/2014/main" id="{CF06575F-0389-A89A-C270-BEBC6F100C33}"/>
                </a:ext>
              </a:extLst>
            </p:cNvPr>
            <p:cNvGrpSpPr/>
            <p:nvPr/>
          </p:nvGrpSpPr>
          <p:grpSpPr>
            <a:xfrm rot="10646756">
              <a:off x="8303490" y="1958923"/>
              <a:ext cx="301507" cy="379455"/>
              <a:chOff x="7023864" y="4381061"/>
              <a:chExt cx="1454089" cy="1773897"/>
            </a:xfrm>
          </p:grpSpPr>
          <p:sp>
            <p:nvSpPr>
              <p:cNvPr id="3530" name="Freeform: Shape 3529">
                <a:extLst>
                  <a:ext uri="{FF2B5EF4-FFF2-40B4-BE49-F238E27FC236}">
                    <a16:creationId xmlns:a16="http://schemas.microsoft.com/office/drawing/2014/main" id="{A728DAB4-A13D-AFDE-2FAE-78CCFE6D1A31}"/>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31" name="Freeform: Shape 3530">
                <a:extLst>
                  <a:ext uri="{FF2B5EF4-FFF2-40B4-BE49-F238E27FC236}">
                    <a16:creationId xmlns:a16="http://schemas.microsoft.com/office/drawing/2014/main" id="{C485875A-864C-3276-3869-DED8E872B963}"/>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32" name="Rectangle: Rounded Corners 3531">
                <a:extLst>
                  <a:ext uri="{FF2B5EF4-FFF2-40B4-BE49-F238E27FC236}">
                    <a16:creationId xmlns:a16="http://schemas.microsoft.com/office/drawing/2014/main" id="{ECE056ED-E670-A8BB-F855-89F689F7B5A8}"/>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33" name="Freeform: Shape 3532">
                <a:extLst>
                  <a:ext uri="{FF2B5EF4-FFF2-40B4-BE49-F238E27FC236}">
                    <a16:creationId xmlns:a16="http://schemas.microsoft.com/office/drawing/2014/main" id="{E273F98C-88F2-5FE1-ADE3-A855F9E9FA83}"/>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34" name="Freeform: Shape 3533">
                <a:extLst>
                  <a:ext uri="{FF2B5EF4-FFF2-40B4-BE49-F238E27FC236}">
                    <a16:creationId xmlns:a16="http://schemas.microsoft.com/office/drawing/2014/main" id="{75834227-80CA-DE9B-B482-39F97F4B9730}"/>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35" name="Freeform: Shape 3534">
                <a:extLst>
                  <a:ext uri="{FF2B5EF4-FFF2-40B4-BE49-F238E27FC236}">
                    <a16:creationId xmlns:a16="http://schemas.microsoft.com/office/drawing/2014/main" id="{C27836EB-64CF-6B51-496B-D76FCD752361}"/>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36" name="Freeform: Shape 3535">
                <a:extLst>
                  <a:ext uri="{FF2B5EF4-FFF2-40B4-BE49-F238E27FC236}">
                    <a16:creationId xmlns:a16="http://schemas.microsoft.com/office/drawing/2014/main" id="{AB639B11-26D5-7F90-394A-578A8BAA9FF1}"/>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37" name="Rectangle: Rounded Corners 3536">
                <a:extLst>
                  <a:ext uri="{FF2B5EF4-FFF2-40B4-BE49-F238E27FC236}">
                    <a16:creationId xmlns:a16="http://schemas.microsoft.com/office/drawing/2014/main" id="{F9976000-5413-7E67-1369-576714ED0201}"/>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538" name="Group 3537">
                <a:extLst>
                  <a:ext uri="{FF2B5EF4-FFF2-40B4-BE49-F238E27FC236}">
                    <a16:creationId xmlns:a16="http://schemas.microsoft.com/office/drawing/2014/main" id="{5F5665E7-DE0F-0A83-5E91-9FFB12208BE5}"/>
                  </a:ext>
                </a:extLst>
              </p:cNvPr>
              <p:cNvGrpSpPr/>
              <p:nvPr/>
            </p:nvGrpSpPr>
            <p:grpSpPr>
              <a:xfrm rot="18900000">
                <a:off x="7023864" y="4541844"/>
                <a:ext cx="155034" cy="650324"/>
                <a:chOff x="1687853" y="3177376"/>
                <a:chExt cx="389584" cy="2276476"/>
              </a:xfrm>
            </p:grpSpPr>
            <p:sp>
              <p:nvSpPr>
                <p:cNvPr id="3549" name="Freeform: Shape 3548">
                  <a:extLst>
                    <a:ext uri="{FF2B5EF4-FFF2-40B4-BE49-F238E27FC236}">
                      <a16:creationId xmlns:a16="http://schemas.microsoft.com/office/drawing/2014/main" id="{42ED0B20-463F-3971-D317-E1869F0B9BB9}"/>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50" name="Freeform: Shape 3549">
                  <a:extLst>
                    <a:ext uri="{FF2B5EF4-FFF2-40B4-BE49-F238E27FC236}">
                      <a16:creationId xmlns:a16="http://schemas.microsoft.com/office/drawing/2014/main" id="{F38923E8-8CBE-8703-C660-E8AEAD72CFBA}"/>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539" name="Group 3538">
                <a:extLst>
                  <a:ext uri="{FF2B5EF4-FFF2-40B4-BE49-F238E27FC236}">
                    <a16:creationId xmlns:a16="http://schemas.microsoft.com/office/drawing/2014/main" id="{C4227EFC-BFA0-BBF1-0903-749F0C50FD5B}"/>
                  </a:ext>
                </a:extLst>
              </p:cNvPr>
              <p:cNvGrpSpPr/>
              <p:nvPr/>
            </p:nvGrpSpPr>
            <p:grpSpPr>
              <a:xfrm rot="18900000">
                <a:off x="7159822" y="4381061"/>
                <a:ext cx="155034" cy="650324"/>
                <a:chOff x="1687853" y="3177376"/>
                <a:chExt cx="389584" cy="2276476"/>
              </a:xfrm>
            </p:grpSpPr>
            <p:sp>
              <p:nvSpPr>
                <p:cNvPr id="3547" name="Freeform: Shape 3546">
                  <a:extLst>
                    <a:ext uri="{FF2B5EF4-FFF2-40B4-BE49-F238E27FC236}">
                      <a16:creationId xmlns:a16="http://schemas.microsoft.com/office/drawing/2014/main" id="{B06C5DE4-1454-3C6C-4A99-A7777A2A5FFA}"/>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48" name="Freeform: Shape 3547">
                  <a:extLst>
                    <a:ext uri="{FF2B5EF4-FFF2-40B4-BE49-F238E27FC236}">
                      <a16:creationId xmlns:a16="http://schemas.microsoft.com/office/drawing/2014/main" id="{FDD4D6E9-02EB-1127-5AAE-B3220A5BEAD9}"/>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540" name="Rectangle: Rounded Corners 3539">
                <a:extLst>
                  <a:ext uri="{FF2B5EF4-FFF2-40B4-BE49-F238E27FC236}">
                    <a16:creationId xmlns:a16="http://schemas.microsoft.com/office/drawing/2014/main" id="{67F11ED1-7C65-950F-8474-F5DB9AD9BE13}"/>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541" name="Group 3540">
                <a:extLst>
                  <a:ext uri="{FF2B5EF4-FFF2-40B4-BE49-F238E27FC236}">
                    <a16:creationId xmlns:a16="http://schemas.microsoft.com/office/drawing/2014/main" id="{680B08BA-7E77-3728-261F-67A8240087D6}"/>
                  </a:ext>
                </a:extLst>
              </p:cNvPr>
              <p:cNvGrpSpPr/>
              <p:nvPr/>
            </p:nvGrpSpPr>
            <p:grpSpPr>
              <a:xfrm rot="2700000" flipH="1">
                <a:off x="8075274" y="4531570"/>
                <a:ext cx="155034" cy="650324"/>
                <a:chOff x="1687853" y="3177376"/>
                <a:chExt cx="389584" cy="2276476"/>
              </a:xfrm>
            </p:grpSpPr>
            <p:sp>
              <p:nvSpPr>
                <p:cNvPr id="3545" name="Freeform: Shape 3544">
                  <a:extLst>
                    <a:ext uri="{FF2B5EF4-FFF2-40B4-BE49-F238E27FC236}">
                      <a16:creationId xmlns:a16="http://schemas.microsoft.com/office/drawing/2014/main" id="{95E2F227-CA8F-E1A5-CF09-56E6E8C24D61}"/>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46" name="Freeform: Shape 3545">
                  <a:extLst>
                    <a:ext uri="{FF2B5EF4-FFF2-40B4-BE49-F238E27FC236}">
                      <a16:creationId xmlns:a16="http://schemas.microsoft.com/office/drawing/2014/main" id="{8D7AEE8E-393A-D2A2-052B-454C53ED2159}"/>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542" name="Group 3541">
                <a:extLst>
                  <a:ext uri="{FF2B5EF4-FFF2-40B4-BE49-F238E27FC236}">
                    <a16:creationId xmlns:a16="http://schemas.microsoft.com/office/drawing/2014/main" id="{A3D1F200-61C6-7C72-F481-889860CB576C}"/>
                  </a:ext>
                </a:extLst>
              </p:cNvPr>
              <p:cNvGrpSpPr/>
              <p:nvPr/>
            </p:nvGrpSpPr>
            <p:grpSpPr>
              <a:xfrm rot="2700000" flipH="1">
                <a:off x="7938470" y="4374279"/>
                <a:ext cx="155034" cy="650324"/>
                <a:chOff x="1687853" y="3177376"/>
                <a:chExt cx="389584" cy="2276476"/>
              </a:xfrm>
            </p:grpSpPr>
            <p:sp>
              <p:nvSpPr>
                <p:cNvPr id="3543" name="Freeform: Shape 3542">
                  <a:extLst>
                    <a:ext uri="{FF2B5EF4-FFF2-40B4-BE49-F238E27FC236}">
                      <a16:creationId xmlns:a16="http://schemas.microsoft.com/office/drawing/2014/main" id="{BDBF0531-5366-967C-D2D7-A973E976FFC9}"/>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44" name="Freeform: Shape 3543">
                  <a:extLst>
                    <a:ext uri="{FF2B5EF4-FFF2-40B4-BE49-F238E27FC236}">
                      <a16:creationId xmlns:a16="http://schemas.microsoft.com/office/drawing/2014/main" id="{E4865624-26D7-B098-7910-4DECC2BDC461}"/>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grpSp>
        <p:nvGrpSpPr>
          <p:cNvPr id="3551" name="Group 3550">
            <a:extLst>
              <a:ext uri="{FF2B5EF4-FFF2-40B4-BE49-F238E27FC236}">
                <a16:creationId xmlns:a16="http://schemas.microsoft.com/office/drawing/2014/main" id="{F7A6120A-675B-48A6-818A-6DEB1102AA98}"/>
              </a:ext>
            </a:extLst>
          </p:cNvPr>
          <p:cNvGrpSpPr/>
          <p:nvPr/>
        </p:nvGrpSpPr>
        <p:grpSpPr>
          <a:xfrm>
            <a:off x="10190741" y="1765678"/>
            <a:ext cx="776358" cy="820703"/>
            <a:chOff x="10120790" y="1562753"/>
            <a:chExt cx="776358" cy="820703"/>
          </a:xfrm>
        </p:grpSpPr>
        <p:grpSp>
          <p:nvGrpSpPr>
            <p:cNvPr id="3552" name="Group 3551">
              <a:extLst>
                <a:ext uri="{FF2B5EF4-FFF2-40B4-BE49-F238E27FC236}">
                  <a16:creationId xmlns:a16="http://schemas.microsoft.com/office/drawing/2014/main" id="{10E12A03-B0C4-9490-18EE-32A47F94681D}"/>
                </a:ext>
              </a:extLst>
            </p:cNvPr>
            <p:cNvGrpSpPr/>
            <p:nvPr/>
          </p:nvGrpSpPr>
          <p:grpSpPr>
            <a:xfrm rot="12600000">
              <a:off x="10120790" y="1562753"/>
              <a:ext cx="776358" cy="809861"/>
              <a:chOff x="7961364" y="4038541"/>
              <a:chExt cx="1072271" cy="1118543"/>
            </a:xfrm>
          </p:grpSpPr>
          <p:sp>
            <p:nvSpPr>
              <p:cNvPr id="3578" name="Freeform: Shape 3577">
                <a:extLst>
                  <a:ext uri="{FF2B5EF4-FFF2-40B4-BE49-F238E27FC236}">
                    <a16:creationId xmlns:a16="http://schemas.microsoft.com/office/drawing/2014/main" id="{10629EBE-39D3-096E-C8E5-B08284F8CE54}"/>
                  </a:ext>
                </a:extLst>
              </p:cNvPr>
              <p:cNvSpPr/>
              <p:nvPr/>
            </p:nvSpPr>
            <p:spPr>
              <a:xfrm>
                <a:off x="7961364" y="4038541"/>
                <a:ext cx="1072271" cy="1118543"/>
              </a:xfrm>
              <a:custGeom>
                <a:avLst/>
                <a:gdLst>
                  <a:gd name="connsiteX0" fmla="*/ 774623 w 1072271"/>
                  <a:gd name="connsiteY0" fmla="*/ 1024142 h 1118543"/>
                  <a:gd name="connsiteX1" fmla="*/ 733606 w 1072271"/>
                  <a:gd name="connsiteY1" fmla="*/ 1046294 h 1118543"/>
                  <a:gd name="connsiteX2" fmla="*/ 636273 w 1072271"/>
                  <a:gd name="connsiteY2" fmla="*/ 1072897 h 1118543"/>
                  <a:gd name="connsiteX3" fmla="*/ 614299 w 1072271"/>
                  <a:gd name="connsiteY3" fmla="*/ 1059825 h 1118543"/>
                  <a:gd name="connsiteX4" fmla="*/ 584834 w 1072271"/>
                  <a:gd name="connsiteY4" fmla="*/ 1061026 h 1118543"/>
                  <a:gd name="connsiteX5" fmla="*/ 564802 w 1072271"/>
                  <a:gd name="connsiteY5" fmla="*/ 1078655 h 1118543"/>
                  <a:gd name="connsiteX6" fmla="*/ 390593 w 1072271"/>
                  <a:gd name="connsiteY6" fmla="*/ 1077560 h 1118543"/>
                  <a:gd name="connsiteX7" fmla="*/ 367770 w 1072271"/>
                  <a:gd name="connsiteY7" fmla="*/ 1051240 h 1118543"/>
                  <a:gd name="connsiteX8" fmla="*/ 327566 w 1072271"/>
                  <a:gd name="connsiteY8" fmla="*/ 1041665 h 1118543"/>
                  <a:gd name="connsiteX9" fmla="*/ 290964 w 1072271"/>
                  <a:gd name="connsiteY9" fmla="*/ 1051770 h 1118543"/>
                  <a:gd name="connsiteX10" fmla="*/ 246202 w 1072271"/>
                  <a:gd name="connsiteY10" fmla="*/ 1016688 h 1118543"/>
                  <a:gd name="connsiteX11" fmla="*/ 239419 w 1072271"/>
                  <a:gd name="connsiteY11" fmla="*/ 984927 h 1118543"/>
                  <a:gd name="connsiteX12" fmla="*/ 204231 w 1072271"/>
                  <a:gd name="connsiteY12" fmla="*/ 941401 h 1118543"/>
                  <a:gd name="connsiteX13" fmla="*/ 157879 w 1072271"/>
                  <a:gd name="connsiteY13" fmla="*/ 926350 h 1118543"/>
                  <a:gd name="connsiteX14" fmla="*/ 97218 w 1072271"/>
                  <a:gd name="connsiteY14" fmla="*/ 846400 h 1118543"/>
                  <a:gd name="connsiteX15" fmla="*/ 100080 w 1072271"/>
                  <a:gd name="connsiteY15" fmla="*/ 798918 h 1118543"/>
                  <a:gd name="connsiteX16" fmla="*/ 84288 w 1072271"/>
                  <a:gd name="connsiteY16" fmla="*/ 765178 h 1118543"/>
                  <a:gd name="connsiteX17" fmla="*/ 49488 w 1072271"/>
                  <a:gd name="connsiteY17" fmla="*/ 741931 h 1118543"/>
                  <a:gd name="connsiteX18" fmla="*/ 2924 w 1072271"/>
                  <a:gd name="connsiteY18" fmla="*/ 627429 h 1118543"/>
                  <a:gd name="connsiteX19" fmla="*/ 39031 w 1072271"/>
                  <a:gd name="connsiteY19" fmla="*/ 529743 h 1118543"/>
                  <a:gd name="connsiteX20" fmla="*/ 51961 w 1072271"/>
                  <a:gd name="connsiteY20" fmla="*/ 503776 h 1118543"/>
                  <a:gd name="connsiteX21" fmla="*/ 49877 w 1072271"/>
                  <a:gd name="connsiteY21" fmla="*/ 442444 h 1118543"/>
                  <a:gd name="connsiteX22" fmla="*/ 33555 w 1072271"/>
                  <a:gd name="connsiteY22" fmla="*/ 407822 h 1118543"/>
                  <a:gd name="connsiteX23" fmla="*/ 47157 w 1072271"/>
                  <a:gd name="connsiteY23" fmla="*/ 349281 h 1118543"/>
                  <a:gd name="connsiteX24" fmla="*/ 81285 w 1072271"/>
                  <a:gd name="connsiteY24" fmla="*/ 321335 h 1118543"/>
                  <a:gd name="connsiteX25" fmla="*/ 106686 w 1072271"/>
                  <a:gd name="connsiteY25" fmla="*/ 272934 h 1118543"/>
                  <a:gd name="connsiteX26" fmla="*/ 114071 w 1072271"/>
                  <a:gd name="connsiteY26" fmla="*/ 216584 h 1118543"/>
                  <a:gd name="connsiteX27" fmla="*/ 152332 w 1072271"/>
                  <a:gd name="connsiteY27" fmla="*/ 180336 h 1118543"/>
                  <a:gd name="connsiteX28" fmla="*/ 198189 w 1072271"/>
                  <a:gd name="connsiteY28" fmla="*/ 192666 h 1118543"/>
                  <a:gd name="connsiteX29" fmla="*/ 213275 w 1072271"/>
                  <a:gd name="connsiteY29" fmla="*/ 228667 h 1118543"/>
                  <a:gd name="connsiteX30" fmla="*/ 229279 w 1072271"/>
                  <a:gd name="connsiteY30" fmla="*/ 327165 h 1118543"/>
                  <a:gd name="connsiteX31" fmla="*/ 323715 w 1072271"/>
                  <a:gd name="connsiteY31" fmla="*/ 418279 h 1118543"/>
                  <a:gd name="connsiteX32" fmla="*/ 507250 w 1072271"/>
                  <a:gd name="connsiteY32" fmla="*/ 335573 h 1118543"/>
                  <a:gd name="connsiteX33" fmla="*/ 462170 w 1072271"/>
                  <a:gd name="connsiteY33" fmla="*/ 176273 h 1118543"/>
                  <a:gd name="connsiteX34" fmla="*/ 398260 w 1072271"/>
                  <a:gd name="connsiteY34" fmla="*/ 148575 h 1118543"/>
                  <a:gd name="connsiteX35" fmla="*/ 367876 w 1072271"/>
                  <a:gd name="connsiteY35" fmla="*/ 131864 h 1118543"/>
                  <a:gd name="connsiteX36" fmla="*/ 350530 w 1072271"/>
                  <a:gd name="connsiteY36" fmla="*/ 81555 h 1118543"/>
                  <a:gd name="connsiteX37" fmla="*/ 396034 w 1072271"/>
                  <a:gd name="connsiteY37" fmla="*/ 49264 h 1118543"/>
                  <a:gd name="connsiteX38" fmla="*/ 437687 w 1072271"/>
                  <a:gd name="connsiteY38" fmla="*/ 51667 h 1118543"/>
                  <a:gd name="connsiteX39" fmla="*/ 560386 w 1072271"/>
                  <a:gd name="connsiteY39" fmla="*/ 22944 h 1118543"/>
                  <a:gd name="connsiteX40" fmla="*/ 605749 w 1072271"/>
                  <a:gd name="connsiteY40" fmla="*/ 404 h 1118543"/>
                  <a:gd name="connsiteX41" fmla="*/ 669271 w 1072271"/>
                  <a:gd name="connsiteY41" fmla="*/ 35450 h 1118543"/>
                  <a:gd name="connsiteX42" fmla="*/ 689197 w 1072271"/>
                  <a:gd name="connsiteY42" fmla="*/ 68201 h 1118543"/>
                  <a:gd name="connsiteX43" fmla="*/ 741484 w 1072271"/>
                  <a:gd name="connsiteY43" fmla="*/ 104837 h 1118543"/>
                  <a:gd name="connsiteX44" fmla="*/ 798364 w 1072271"/>
                  <a:gd name="connsiteY44" fmla="*/ 116284 h 1118543"/>
                  <a:gd name="connsiteX45" fmla="*/ 856446 w 1072271"/>
                  <a:gd name="connsiteY45" fmla="*/ 148469 h 1118543"/>
                  <a:gd name="connsiteX46" fmla="*/ 929754 w 1072271"/>
                  <a:gd name="connsiteY46" fmla="*/ 232447 h 1118543"/>
                  <a:gd name="connsiteX47" fmla="*/ 979745 w 1072271"/>
                  <a:gd name="connsiteY47" fmla="*/ 265480 h 1118543"/>
                  <a:gd name="connsiteX48" fmla="*/ 1019809 w 1072271"/>
                  <a:gd name="connsiteY48" fmla="*/ 277174 h 1118543"/>
                  <a:gd name="connsiteX49" fmla="*/ 1052595 w 1072271"/>
                  <a:gd name="connsiteY49" fmla="*/ 342957 h 1118543"/>
                  <a:gd name="connsiteX50" fmla="*/ 1036413 w 1072271"/>
                  <a:gd name="connsiteY50" fmla="*/ 388920 h 1118543"/>
                  <a:gd name="connsiteX51" fmla="*/ 1043727 w 1072271"/>
                  <a:gd name="connsiteY51" fmla="*/ 465656 h 1118543"/>
                  <a:gd name="connsiteX52" fmla="*/ 1056269 w 1072271"/>
                  <a:gd name="connsiteY52" fmla="*/ 485228 h 1118543"/>
                  <a:gd name="connsiteX53" fmla="*/ 1066232 w 1072271"/>
                  <a:gd name="connsiteY53" fmla="*/ 567086 h 1118543"/>
                  <a:gd name="connsiteX54" fmla="*/ 1036413 w 1072271"/>
                  <a:gd name="connsiteY54" fmla="*/ 626086 h 1118543"/>
                  <a:gd name="connsiteX55" fmla="*/ 1019632 w 1072271"/>
                  <a:gd name="connsiteY55" fmla="*/ 715364 h 1118543"/>
                  <a:gd name="connsiteX56" fmla="*/ 1025638 w 1072271"/>
                  <a:gd name="connsiteY56" fmla="*/ 796233 h 1118543"/>
                  <a:gd name="connsiteX57" fmla="*/ 957523 w 1072271"/>
                  <a:gd name="connsiteY57" fmla="*/ 891445 h 1118543"/>
                  <a:gd name="connsiteX58" fmla="*/ 947772 w 1072271"/>
                  <a:gd name="connsiteY58" fmla="*/ 895225 h 1118543"/>
                  <a:gd name="connsiteX59" fmla="*/ 892482 w 1072271"/>
                  <a:gd name="connsiteY59" fmla="*/ 947054 h 1118543"/>
                  <a:gd name="connsiteX60" fmla="*/ 774659 w 1072271"/>
                  <a:gd name="connsiteY60" fmla="*/ 1024142 h 1118543"/>
                  <a:gd name="connsiteX61" fmla="*/ 539506 w 1072271"/>
                  <a:gd name="connsiteY61" fmla="*/ 273429 h 1118543"/>
                  <a:gd name="connsiteX62" fmla="*/ 521842 w 1072271"/>
                  <a:gd name="connsiteY62" fmla="*/ 340696 h 1118543"/>
                  <a:gd name="connsiteX63" fmla="*/ 330039 w 1072271"/>
                  <a:gd name="connsiteY63" fmla="*/ 434566 h 1118543"/>
                  <a:gd name="connsiteX64" fmla="*/ 213063 w 1072271"/>
                  <a:gd name="connsiteY64" fmla="*/ 325292 h 1118543"/>
                  <a:gd name="connsiteX65" fmla="*/ 199461 w 1072271"/>
                  <a:gd name="connsiteY65" fmla="*/ 236156 h 1118543"/>
                  <a:gd name="connsiteX66" fmla="*/ 182185 w 1072271"/>
                  <a:gd name="connsiteY66" fmla="*/ 199591 h 1118543"/>
                  <a:gd name="connsiteX67" fmla="*/ 127778 w 1072271"/>
                  <a:gd name="connsiteY67" fmla="*/ 223933 h 1118543"/>
                  <a:gd name="connsiteX68" fmla="*/ 122550 w 1072271"/>
                  <a:gd name="connsiteY68" fmla="*/ 266398 h 1118543"/>
                  <a:gd name="connsiteX69" fmla="*/ 106333 w 1072271"/>
                  <a:gd name="connsiteY69" fmla="*/ 318651 h 1118543"/>
                  <a:gd name="connsiteX70" fmla="*/ 75420 w 1072271"/>
                  <a:gd name="connsiteY70" fmla="*/ 344688 h 1118543"/>
                  <a:gd name="connsiteX71" fmla="*/ 45743 w 1072271"/>
                  <a:gd name="connsiteY71" fmla="*/ 392100 h 1118543"/>
                  <a:gd name="connsiteX72" fmla="*/ 56307 w 1072271"/>
                  <a:gd name="connsiteY72" fmla="*/ 422519 h 1118543"/>
                  <a:gd name="connsiteX73" fmla="*/ 56802 w 1072271"/>
                  <a:gd name="connsiteY73" fmla="*/ 529284 h 1118543"/>
                  <a:gd name="connsiteX74" fmla="*/ 18858 w 1072271"/>
                  <a:gd name="connsiteY74" fmla="*/ 624850 h 1118543"/>
                  <a:gd name="connsiteX75" fmla="*/ 48146 w 1072271"/>
                  <a:gd name="connsiteY75" fmla="*/ 722111 h 1118543"/>
                  <a:gd name="connsiteX76" fmla="*/ 85807 w 1072271"/>
                  <a:gd name="connsiteY76" fmla="*/ 747160 h 1118543"/>
                  <a:gd name="connsiteX77" fmla="*/ 114989 w 1072271"/>
                  <a:gd name="connsiteY77" fmla="*/ 807609 h 1118543"/>
                  <a:gd name="connsiteX78" fmla="*/ 113364 w 1072271"/>
                  <a:gd name="connsiteY78" fmla="*/ 853431 h 1118543"/>
                  <a:gd name="connsiteX79" fmla="*/ 161341 w 1072271"/>
                  <a:gd name="connsiteY79" fmla="*/ 911583 h 1118543"/>
                  <a:gd name="connsiteX80" fmla="*/ 206669 w 1072271"/>
                  <a:gd name="connsiteY80" fmla="*/ 925927 h 1118543"/>
                  <a:gd name="connsiteX81" fmla="*/ 253374 w 1072271"/>
                  <a:gd name="connsiteY81" fmla="*/ 977225 h 1118543"/>
                  <a:gd name="connsiteX82" fmla="*/ 260263 w 1072271"/>
                  <a:gd name="connsiteY82" fmla="*/ 1011212 h 1118543"/>
                  <a:gd name="connsiteX83" fmla="*/ 292095 w 1072271"/>
                  <a:gd name="connsiteY83" fmla="*/ 1035801 h 1118543"/>
                  <a:gd name="connsiteX84" fmla="*/ 326258 w 1072271"/>
                  <a:gd name="connsiteY84" fmla="*/ 1025626 h 1118543"/>
                  <a:gd name="connsiteX85" fmla="*/ 369325 w 1072271"/>
                  <a:gd name="connsiteY85" fmla="*/ 1031526 h 1118543"/>
                  <a:gd name="connsiteX86" fmla="*/ 408576 w 1072271"/>
                  <a:gd name="connsiteY86" fmla="*/ 1074027 h 1118543"/>
                  <a:gd name="connsiteX87" fmla="*/ 524456 w 1072271"/>
                  <a:gd name="connsiteY87" fmla="*/ 1091762 h 1118543"/>
                  <a:gd name="connsiteX88" fmla="*/ 563389 w 1072271"/>
                  <a:gd name="connsiteY88" fmla="*/ 1059083 h 1118543"/>
                  <a:gd name="connsiteX89" fmla="*/ 630798 w 1072271"/>
                  <a:gd name="connsiteY89" fmla="*/ 1051558 h 1118543"/>
                  <a:gd name="connsiteX90" fmla="*/ 642739 w 1072271"/>
                  <a:gd name="connsiteY90" fmla="*/ 1058730 h 1118543"/>
                  <a:gd name="connsiteX91" fmla="*/ 678951 w 1072271"/>
                  <a:gd name="connsiteY91" fmla="*/ 1069894 h 1118543"/>
                  <a:gd name="connsiteX92" fmla="*/ 718449 w 1072271"/>
                  <a:gd name="connsiteY92" fmla="*/ 1042690 h 1118543"/>
                  <a:gd name="connsiteX93" fmla="*/ 755510 w 1072271"/>
                  <a:gd name="connsiteY93" fmla="*/ 1009975 h 1118543"/>
                  <a:gd name="connsiteX94" fmla="*/ 787872 w 1072271"/>
                  <a:gd name="connsiteY94" fmla="*/ 1007749 h 1118543"/>
                  <a:gd name="connsiteX95" fmla="*/ 877043 w 1072271"/>
                  <a:gd name="connsiteY95" fmla="*/ 944369 h 1118543"/>
                  <a:gd name="connsiteX96" fmla="*/ 941307 w 1072271"/>
                  <a:gd name="connsiteY96" fmla="*/ 880528 h 1118543"/>
                  <a:gd name="connsiteX97" fmla="*/ 1011224 w 1072271"/>
                  <a:gd name="connsiteY97" fmla="*/ 782631 h 1118543"/>
                  <a:gd name="connsiteX98" fmla="*/ 1003840 w 1072271"/>
                  <a:gd name="connsiteY98" fmla="*/ 709004 h 1118543"/>
                  <a:gd name="connsiteX99" fmla="*/ 1014545 w 1072271"/>
                  <a:gd name="connsiteY99" fmla="*/ 634530 h 1118543"/>
                  <a:gd name="connsiteX100" fmla="*/ 1047365 w 1072271"/>
                  <a:gd name="connsiteY100" fmla="*/ 573092 h 1118543"/>
                  <a:gd name="connsiteX101" fmla="*/ 1055315 w 1072271"/>
                  <a:gd name="connsiteY101" fmla="*/ 519286 h 1118543"/>
                  <a:gd name="connsiteX102" fmla="*/ 1034788 w 1072271"/>
                  <a:gd name="connsiteY102" fmla="*/ 480494 h 1118543"/>
                  <a:gd name="connsiteX103" fmla="*/ 1024755 w 1072271"/>
                  <a:gd name="connsiteY103" fmla="*/ 376096 h 1118543"/>
                  <a:gd name="connsiteX104" fmla="*/ 1037120 w 1072271"/>
                  <a:gd name="connsiteY104" fmla="*/ 341155 h 1118543"/>
                  <a:gd name="connsiteX105" fmla="*/ 1016417 w 1072271"/>
                  <a:gd name="connsiteY105" fmla="*/ 292189 h 1118543"/>
                  <a:gd name="connsiteX106" fmla="*/ 965437 w 1072271"/>
                  <a:gd name="connsiteY106" fmla="*/ 277068 h 1118543"/>
                  <a:gd name="connsiteX107" fmla="*/ 927599 w 1072271"/>
                  <a:gd name="connsiteY107" fmla="*/ 253574 h 1118543"/>
                  <a:gd name="connsiteX108" fmla="*/ 875877 w 1072271"/>
                  <a:gd name="connsiteY108" fmla="*/ 189628 h 1118543"/>
                  <a:gd name="connsiteX109" fmla="*/ 797022 w 1072271"/>
                  <a:gd name="connsiteY109" fmla="*/ 131228 h 1118543"/>
                  <a:gd name="connsiteX110" fmla="*/ 742474 w 1072271"/>
                  <a:gd name="connsiteY110" fmla="*/ 120912 h 1118543"/>
                  <a:gd name="connsiteX111" fmla="*/ 677715 w 1072271"/>
                  <a:gd name="connsiteY111" fmla="*/ 78658 h 1118543"/>
                  <a:gd name="connsiteX112" fmla="*/ 656093 w 1072271"/>
                  <a:gd name="connsiteY112" fmla="*/ 42905 h 1118543"/>
                  <a:gd name="connsiteX113" fmla="*/ 581690 w 1072271"/>
                  <a:gd name="connsiteY113" fmla="*/ 27183 h 1118543"/>
                  <a:gd name="connsiteX114" fmla="*/ 535267 w 1072271"/>
                  <a:gd name="connsiteY114" fmla="*/ 53292 h 1118543"/>
                  <a:gd name="connsiteX115" fmla="*/ 442669 w 1072271"/>
                  <a:gd name="connsiteY115" fmla="*/ 67565 h 1118543"/>
                  <a:gd name="connsiteX116" fmla="*/ 396422 w 1072271"/>
                  <a:gd name="connsiteY116" fmla="*/ 65127 h 1118543"/>
                  <a:gd name="connsiteX117" fmla="*/ 363425 w 1072271"/>
                  <a:gd name="connsiteY117" fmla="*/ 90847 h 1118543"/>
                  <a:gd name="connsiteX118" fmla="*/ 383492 w 1072271"/>
                  <a:gd name="connsiteY118" fmla="*/ 124516 h 1118543"/>
                  <a:gd name="connsiteX119" fmla="*/ 406633 w 1072271"/>
                  <a:gd name="connsiteY119" fmla="*/ 135291 h 1118543"/>
                  <a:gd name="connsiteX120" fmla="*/ 470402 w 1072271"/>
                  <a:gd name="connsiteY120" fmla="*/ 163201 h 1118543"/>
                  <a:gd name="connsiteX121" fmla="*/ 539577 w 1072271"/>
                  <a:gd name="connsiteY121" fmla="*/ 273394 h 1118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72271" h="1118543">
                    <a:moveTo>
                      <a:pt x="774623" y="1024142"/>
                    </a:moveTo>
                    <a:cubicBezTo>
                      <a:pt x="758089" y="1022340"/>
                      <a:pt x="742261" y="1026227"/>
                      <a:pt x="733606" y="1046294"/>
                    </a:cubicBezTo>
                    <a:cubicBezTo>
                      <a:pt x="713751" y="1092363"/>
                      <a:pt x="672486" y="1091762"/>
                      <a:pt x="636273" y="1072897"/>
                    </a:cubicBezTo>
                    <a:cubicBezTo>
                      <a:pt x="628713" y="1068975"/>
                      <a:pt x="621682" y="1064100"/>
                      <a:pt x="614299" y="1059825"/>
                    </a:cubicBezTo>
                    <a:cubicBezTo>
                      <a:pt x="604301" y="1054066"/>
                      <a:pt x="594550" y="1054490"/>
                      <a:pt x="584834" y="1061026"/>
                    </a:cubicBezTo>
                    <a:cubicBezTo>
                      <a:pt x="577344" y="1066043"/>
                      <a:pt x="570879" y="1072155"/>
                      <a:pt x="564802" y="1078655"/>
                    </a:cubicBezTo>
                    <a:cubicBezTo>
                      <a:pt x="516295" y="1130872"/>
                      <a:pt x="444965" y="1133169"/>
                      <a:pt x="390593" y="1077560"/>
                    </a:cubicBezTo>
                    <a:cubicBezTo>
                      <a:pt x="382467" y="1069258"/>
                      <a:pt x="375366" y="1060001"/>
                      <a:pt x="367770" y="1051240"/>
                    </a:cubicBezTo>
                    <a:cubicBezTo>
                      <a:pt x="353462" y="1034670"/>
                      <a:pt x="347915" y="1033540"/>
                      <a:pt x="327566" y="1041665"/>
                    </a:cubicBezTo>
                    <a:cubicBezTo>
                      <a:pt x="315766" y="1046364"/>
                      <a:pt x="304354" y="1052476"/>
                      <a:pt x="290964" y="1051770"/>
                    </a:cubicBezTo>
                    <a:cubicBezTo>
                      <a:pt x="266976" y="1050498"/>
                      <a:pt x="252632" y="1039722"/>
                      <a:pt x="246202" y="1016688"/>
                    </a:cubicBezTo>
                    <a:cubicBezTo>
                      <a:pt x="243305" y="1006265"/>
                      <a:pt x="240868" y="995631"/>
                      <a:pt x="239419" y="984927"/>
                    </a:cubicBezTo>
                    <a:cubicBezTo>
                      <a:pt x="236451" y="963093"/>
                      <a:pt x="224404" y="949491"/>
                      <a:pt x="204231" y="941401"/>
                    </a:cubicBezTo>
                    <a:cubicBezTo>
                      <a:pt x="189075" y="935324"/>
                      <a:pt x="173212" y="931721"/>
                      <a:pt x="157879" y="926350"/>
                    </a:cubicBezTo>
                    <a:cubicBezTo>
                      <a:pt x="121772" y="913738"/>
                      <a:pt x="100045" y="884945"/>
                      <a:pt x="97218" y="846400"/>
                    </a:cubicBezTo>
                    <a:cubicBezTo>
                      <a:pt x="96017" y="830396"/>
                      <a:pt x="98419" y="814674"/>
                      <a:pt x="100080" y="798918"/>
                    </a:cubicBezTo>
                    <a:cubicBezTo>
                      <a:pt x="101635" y="784327"/>
                      <a:pt x="96476" y="773233"/>
                      <a:pt x="84288" y="765178"/>
                    </a:cubicBezTo>
                    <a:cubicBezTo>
                      <a:pt x="72629" y="757512"/>
                      <a:pt x="61006" y="749810"/>
                      <a:pt x="49488" y="741931"/>
                    </a:cubicBezTo>
                    <a:cubicBezTo>
                      <a:pt x="7729" y="713385"/>
                      <a:pt x="-6862" y="677137"/>
                      <a:pt x="2924" y="627429"/>
                    </a:cubicBezTo>
                    <a:cubicBezTo>
                      <a:pt x="9743" y="592912"/>
                      <a:pt x="22744" y="560727"/>
                      <a:pt x="39031" y="529743"/>
                    </a:cubicBezTo>
                    <a:cubicBezTo>
                      <a:pt x="43518" y="521194"/>
                      <a:pt x="47722" y="512467"/>
                      <a:pt x="51961" y="503776"/>
                    </a:cubicBezTo>
                    <a:cubicBezTo>
                      <a:pt x="62136" y="482967"/>
                      <a:pt x="60335" y="462618"/>
                      <a:pt x="49877" y="442444"/>
                    </a:cubicBezTo>
                    <a:cubicBezTo>
                      <a:pt x="44012" y="431139"/>
                      <a:pt x="37653" y="420081"/>
                      <a:pt x="33555" y="407822"/>
                    </a:cubicBezTo>
                    <a:cubicBezTo>
                      <a:pt x="26030" y="385282"/>
                      <a:pt x="30305" y="366062"/>
                      <a:pt x="47157" y="349281"/>
                    </a:cubicBezTo>
                    <a:cubicBezTo>
                      <a:pt x="57649" y="338823"/>
                      <a:pt x="69237" y="329638"/>
                      <a:pt x="81285" y="321335"/>
                    </a:cubicBezTo>
                    <a:cubicBezTo>
                      <a:pt x="98631" y="309394"/>
                      <a:pt x="105238" y="292931"/>
                      <a:pt x="106686" y="272934"/>
                    </a:cubicBezTo>
                    <a:cubicBezTo>
                      <a:pt x="108064" y="254033"/>
                      <a:pt x="109054" y="235026"/>
                      <a:pt x="114071" y="216584"/>
                    </a:cubicBezTo>
                    <a:cubicBezTo>
                      <a:pt x="119441" y="196799"/>
                      <a:pt x="132300" y="184505"/>
                      <a:pt x="152332" y="180336"/>
                    </a:cubicBezTo>
                    <a:cubicBezTo>
                      <a:pt x="169537" y="176768"/>
                      <a:pt x="185612" y="178640"/>
                      <a:pt x="198189" y="192666"/>
                    </a:cubicBezTo>
                    <a:cubicBezTo>
                      <a:pt x="207340" y="202876"/>
                      <a:pt x="211049" y="215665"/>
                      <a:pt x="213275" y="228667"/>
                    </a:cubicBezTo>
                    <a:cubicBezTo>
                      <a:pt x="218928" y="261452"/>
                      <a:pt x="223733" y="294379"/>
                      <a:pt x="229279" y="327165"/>
                    </a:cubicBezTo>
                    <a:cubicBezTo>
                      <a:pt x="238147" y="379594"/>
                      <a:pt x="281320" y="409624"/>
                      <a:pt x="323715" y="418279"/>
                    </a:cubicBezTo>
                    <a:cubicBezTo>
                      <a:pt x="393349" y="432446"/>
                      <a:pt x="470508" y="396764"/>
                      <a:pt x="507250" y="335573"/>
                    </a:cubicBezTo>
                    <a:cubicBezTo>
                      <a:pt x="540389" y="280424"/>
                      <a:pt x="524279" y="205385"/>
                      <a:pt x="462170" y="176273"/>
                    </a:cubicBezTo>
                    <a:cubicBezTo>
                      <a:pt x="441114" y="166416"/>
                      <a:pt x="419634" y="157584"/>
                      <a:pt x="398260" y="148575"/>
                    </a:cubicBezTo>
                    <a:cubicBezTo>
                      <a:pt x="387555" y="144053"/>
                      <a:pt x="376744" y="139743"/>
                      <a:pt x="367876" y="131864"/>
                    </a:cubicBezTo>
                    <a:cubicBezTo>
                      <a:pt x="352685" y="118333"/>
                      <a:pt x="343464" y="102717"/>
                      <a:pt x="350530" y="81555"/>
                    </a:cubicBezTo>
                    <a:cubicBezTo>
                      <a:pt x="357808" y="59722"/>
                      <a:pt x="375472" y="52232"/>
                      <a:pt x="396034" y="49264"/>
                    </a:cubicBezTo>
                    <a:cubicBezTo>
                      <a:pt x="409989" y="47250"/>
                      <a:pt x="423909" y="49617"/>
                      <a:pt x="437687" y="51667"/>
                    </a:cubicBezTo>
                    <a:cubicBezTo>
                      <a:pt x="482485" y="58344"/>
                      <a:pt x="522760" y="46544"/>
                      <a:pt x="560386" y="22944"/>
                    </a:cubicBezTo>
                    <a:cubicBezTo>
                      <a:pt x="574765" y="13935"/>
                      <a:pt x="588119" y="2347"/>
                      <a:pt x="605749" y="404"/>
                    </a:cubicBezTo>
                    <a:cubicBezTo>
                      <a:pt x="634825" y="-2776"/>
                      <a:pt x="654079" y="13193"/>
                      <a:pt x="669271" y="35450"/>
                    </a:cubicBezTo>
                    <a:cubicBezTo>
                      <a:pt x="676478" y="46014"/>
                      <a:pt x="682944" y="57072"/>
                      <a:pt x="689197" y="68201"/>
                    </a:cubicBezTo>
                    <a:cubicBezTo>
                      <a:pt x="700820" y="88868"/>
                      <a:pt x="718167" y="100774"/>
                      <a:pt x="741484" y="104837"/>
                    </a:cubicBezTo>
                    <a:cubicBezTo>
                      <a:pt x="760527" y="108194"/>
                      <a:pt x="779499" y="112009"/>
                      <a:pt x="798364" y="116284"/>
                    </a:cubicBezTo>
                    <a:cubicBezTo>
                      <a:pt x="820763" y="121336"/>
                      <a:pt x="839982" y="131970"/>
                      <a:pt x="856446" y="148469"/>
                    </a:cubicBezTo>
                    <a:cubicBezTo>
                      <a:pt x="882802" y="174860"/>
                      <a:pt x="908309" y="201852"/>
                      <a:pt x="929754" y="232447"/>
                    </a:cubicBezTo>
                    <a:cubicBezTo>
                      <a:pt x="942084" y="250041"/>
                      <a:pt x="958300" y="261346"/>
                      <a:pt x="979745" y="265480"/>
                    </a:cubicBezTo>
                    <a:cubicBezTo>
                      <a:pt x="993383" y="268094"/>
                      <a:pt x="1006949" y="271627"/>
                      <a:pt x="1019809" y="277174"/>
                    </a:cubicBezTo>
                    <a:cubicBezTo>
                      <a:pt x="1048779" y="289680"/>
                      <a:pt x="1059943" y="312221"/>
                      <a:pt x="1052595" y="342957"/>
                    </a:cubicBezTo>
                    <a:cubicBezTo>
                      <a:pt x="1048814" y="358855"/>
                      <a:pt x="1042631" y="373941"/>
                      <a:pt x="1036413" y="388920"/>
                    </a:cubicBezTo>
                    <a:cubicBezTo>
                      <a:pt x="1025144" y="416053"/>
                      <a:pt x="1025532" y="441491"/>
                      <a:pt x="1043727" y="465656"/>
                    </a:cubicBezTo>
                    <a:cubicBezTo>
                      <a:pt x="1048355" y="471839"/>
                      <a:pt x="1051782" y="478904"/>
                      <a:pt x="1056269" y="485228"/>
                    </a:cubicBezTo>
                    <a:cubicBezTo>
                      <a:pt x="1074251" y="510771"/>
                      <a:pt x="1076336" y="538152"/>
                      <a:pt x="1066232" y="567086"/>
                    </a:cubicBezTo>
                    <a:cubicBezTo>
                      <a:pt x="1058883" y="588072"/>
                      <a:pt x="1048426" y="607609"/>
                      <a:pt x="1036413" y="626086"/>
                    </a:cubicBezTo>
                    <a:cubicBezTo>
                      <a:pt x="1018360" y="653855"/>
                      <a:pt x="1015887" y="683779"/>
                      <a:pt x="1019632" y="715364"/>
                    </a:cubicBezTo>
                    <a:cubicBezTo>
                      <a:pt x="1022812" y="742214"/>
                      <a:pt x="1028288" y="768923"/>
                      <a:pt x="1025638" y="796233"/>
                    </a:cubicBezTo>
                    <a:cubicBezTo>
                      <a:pt x="1021292" y="841101"/>
                      <a:pt x="997869" y="872332"/>
                      <a:pt x="957523" y="891445"/>
                    </a:cubicBezTo>
                    <a:cubicBezTo>
                      <a:pt x="954379" y="892929"/>
                      <a:pt x="951164" y="894519"/>
                      <a:pt x="947772" y="895225"/>
                    </a:cubicBezTo>
                    <a:cubicBezTo>
                      <a:pt x="918626" y="901125"/>
                      <a:pt x="901420" y="919037"/>
                      <a:pt x="892482" y="947054"/>
                    </a:cubicBezTo>
                    <a:cubicBezTo>
                      <a:pt x="873934" y="1005241"/>
                      <a:pt x="820657" y="1023860"/>
                      <a:pt x="774659" y="1024142"/>
                    </a:cubicBezTo>
                    <a:close/>
                    <a:moveTo>
                      <a:pt x="539506" y="273429"/>
                    </a:moveTo>
                    <a:cubicBezTo>
                      <a:pt x="539330" y="298725"/>
                      <a:pt x="534560" y="321441"/>
                      <a:pt x="521842" y="340696"/>
                    </a:cubicBezTo>
                    <a:cubicBezTo>
                      <a:pt x="476549" y="409376"/>
                      <a:pt x="412815" y="443858"/>
                      <a:pt x="330039" y="434566"/>
                    </a:cubicBezTo>
                    <a:cubicBezTo>
                      <a:pt x="275243" y="428419"/>
                      <a:pt x="222991" y="388214"/>
                      <a:pt x="213063" y="325292"/>
                    </a:cubicBezTo>
                    <a:cubicBezTo>
                      <a:pt x="208364" y="295616"/>
                      <a:pt x="204690" y="265762"/>
                      <a:pt x="199461" y="236156"/>
                    </a:cubicBezTo>
                    <a:cubicBezTo>
                      <a:pt x="197059" y="222519"/>
                      <a:pt x="195151" y="207964"/>
                      <a:pt x="182185" y="199591"/>
                    </a:cubicBezTo>
                    <a:cubicBezTo>
                      <a:pt x="160458" y="185529"/>
                      <a:pt x="133007" y="197824"/>
                      <a:pt x="127778" y="223933"/>
                    </a:cubicBezTo>
                    <a:cubicBezTo>
                      <a:pt x="124987" y="237923"/>
                      <a:pt x="123362" y="252090"/>
                      <a:pt x="122550" y="266398"/>
                    </a:cubicBezTo>
                    <a:cubicBezTo>
                      <a:pt x="121454" y="285052"/>
                      <a:pt x="118734" y="303565"/>
                      <a:pt x="106333" y="318651"/>
                    </a:cubicBezTo>
                    <a:cubicBezTo>
                      <a:pt x="97713" y="329179"/>
                      <a:pt x="85842" y="336103"/>
                      <a:pt x="75420" y="344688"/>
                    </a:cubicBezTo>
                    <a:cubicBezTo>
                      <a:pt x="60264" y="357159"/>
                      <a:pt x="42670" y="367970"/>
                      <a:pt x="45743" y="392100"/>
                    </a:cubicBezTo>
                    <a:cubicBezTo>
                      <a:pt x="47157" y="403088"/>
                      <a:pt x="50230" y="413616"/>
                      <a:pt x="56307" y="422519"/>
                    </a:cubicBezTo>
                    <a:cubicBezTo>
                      <a:pt x="80649" y="458201"/>
                      <a:pt x="78247" y="493601"/>
                      <a:pt x="56802" y="529284"/>
                    </a:cubicBezTo>
                    <a:cubicBezTo>
                      <a:pt x="38925" y="559067"/>
                      <a:pt x="26277" y="591040"/>
                      <a:pt x="18858" y="624850"/>
                    </a:cubicBezTo>
                    <a:cubicBezTo>
                      <a:pt x="10626" y="662405"/>
                      <a:pt x="15678" y="696816"/>
                      <a:pt x="48146" y="722111"/>
                    </a:cubicBezTo>
                    <a:cubicBezTo>
                      <a:pt x="60016" y="731368"/>
                      <a:pt x="73159" y="738964"/>
                      <a:pt x="85807" y="747160"/>
                    </a:cubicBezTo>
                    <a:cubicBezTo>
                      <a:pt x="107853" y="761398"/>
                      <a:pt x="120324" y="780405"/>
                      <a:pt x="114989" y="807609"/>
                    </a:cubicBezTo>
                    <a:cubicBezTo>
                      <a:pt x="111986" y="822871"/>
                      <a:pt x="110679" y="837957"/>
                      <a:pt x="113364" y="853431"/>
                    </a:cubicBezTo>
                    <a:cubicBezTo>
                      <a:pt x="118345" y="882048"/>
                      <a:pt x="132195" y="902962"/>
                      <a:pt x="161341" y="911583"/>
                    </a:cubicBezTo>
                    <a:cubicBezTo>
                      <a:pt x="176533" y="916070"/>
                      <a:pt x="191724" y="920698"/>
                      <a:pt x="206669" y="925927"/>
                    </a:cubicBezTo>
                    <a:cubicBezTo>
                      <a:pt x="231328" y="934547"/>
                      <a:pt x="248428" y="950375"/>
                      <a:pt x="253374" y="977225"/>
                    </a:cubicBezTo>
                    <a:cubicBezTo>
                      <a:pt x="255459" y="988601"/>
                      <a:pt x="257437" y="1000012"/>
                      <a:pt x="260263" y="1011212"/>
                    </a:cubicBezTo>
                    <a:cubicBezTo>
                      <a:pt x="264432" y="1027816"/>
                      <a:pt x="275243" y="1035377"/>
                      <a:pt x="292095" y="1035801"/>
                    </a:cubicBezTo>
                    <a:cubicBezTo>
                      <a:pt x="304743" y="1036119"/>
                      <a:pt x="315271" y="1030148"/>
                      <a:pt x="326258" y="1025626"/>
                    </a:cubicBezTo>
                    <a:cubicBezTo>
                      <a:pt x="341945" y="1019196"/>
                      <a:pt x="356182" y="1019443"/>
                      <a:pt x="369325" y="1031526"/>
                    </a:cubicBezTo>
                    <a:cubicBezTo>
                      <a:pt x="383562" y="1044633"/>
                      <a:pt x="394480" y="1060708"/>
                      <a:pt x="408576" y="1074027"/>
                    </a:cubicBezTo>
                    <a:cubicBezTo>
                      <a:pt x="440337" y="1104022"/>
                      <a:pt x="485523" y="1111264"/>
                      <a:pt x="524456" y="1091762"/>
                    </a:cubicBezTo>
                    <a:cubicBezTo>
                      <a:pt x="540072" y="1083919"/>
                      <a:pt x="551200" y="1070918"/>
                      <a:pt x="563389" y="1059083"/>
                    </a:cubicBezTo>
                    <a:cubicBezTo>
                      <a:pt x="586742" y="1036401"/>
                      <a:pt x="603629" y="1034494"/>
                      <a:pt x="630798" y="1051558"/>
                    </a:cubicBezTo>
                    <a:cubicBezTo>
                      <a:pt x="634719" y="1054031"/>
                      <a:pt x="638676" y="1056504"/>
                      <a:pt x="642739" y="1058730"/>
                    </a:cubicBezTo>
                    <a:cubicBezTo>
                      <a:pt x="654044" y="1064983"/>
                      <a:pt x="666268" y="1069611"/>
                      <a:pt x="678951" y="1069894"/>
                    </a:cubicBezTo>
                    <a:cubicBezTo>
                      <a:pt x="697923" y="1070318"/>
                      <a:pt x="710465" y="1059648"/>
                      <a:pt x="718449" y="1042690"/>
                    </a:cubicBezTo>
                    <a:cubicBezTo>
                      <a:pt x="726010" y="1026580"/>
                      <a:pt x="735019" y="1011565"/>
                      <a:pt x="755510" y="1009975"/>
                    </a:cubicBezTo>
                    <a:cubicBezTo>
                      <a:pt x="766285" y="1009127"/>
                      <a:pt x="777061" y="1008350"/>
                      <a:pt x="787872" y="1007749"/>
                    </a:cubicBezTo>
                    <a:cubicBezTo>
                      <a:pt x="830832" y="1005241"/>
                      <a:pt x="862487" y="986587"/>
                      <a:pt x="877043" y="944369"/>
                    </a:cubicBezTo>
                    <a:cubicBezTo>
                      <a:pt x="888066" y="912360"/>
                      <a:pt x="907108" y="890456"/>
                      <a:pt x="941307" y="880528"/>
                    </a:cubicBezTo>
                    <a:cubicBezTo>
                      <a:pt x="986387" y="867421"/>
                      <a:pt x="1012390" y="829972"/>
                      <a:pt x="1011224" y="782631"/>
                    </a:cubicBezTo>
                    <a:cubicBezTo>
                      <a:pt x="1010623" y="758042"/>
                      <a:pt x="1007196" y="733417"/>
                      <a:pt x="1003840" y="709004"/>
                    </a:cubicBezTo>
                    <a:cubicBezTo>
                      <a:pt x="1000272" y="682967"/>
                      <a:pt x="1002568" y="657953"/>
                      <a:pt x="1014545" y="634530"/>
                    </a:cubicBezTo>
                    <a:cubicBezTo>
                      <a:pt x="1025108" y="613863"/>
                      <a:pt x="1037968" y="594361"/>
                      <a:pt x="1047365" y="573092"/>
                    </a:cubicBezTo>
                    <a:cubicBezTo>
                      <a:pt x="1054961" y="555958"/>
                      <a:pt x="1060296" y="538116"/>
                      <a:pt x="1055315" y="519286"/>
                    </a:cubicBezTo>
                    <a:cubicBezTo>
                      <a:pt x="1051535" y="504942"/>
                      <a:pt x="1043621" y="492259"/>
                      <a:pt x="1034788" y="480494"/>
                    </a:cubicBezTo>
                    <a:cubicBezTo>
                      <a:pt x="1010093" y="447603"/>
                      <a:pt x="1007090" y="413121"/>
                      <a:pt x="1024755" y="376096"/>
                    </a:cubicBezTo>
                    <a:cubicBezTo>
                      <a:pt x="1030054" y="365003"/>
                      <a:pt x="1033446" y="352955"/>
                      <a:pt x="1037120" y="341155"/>
                    </a:cubicBezTo>
                    <a:cubicBezTo>
                      <a:pt x="1044151" y="318615"/>
                      <a:pt x="1037615" y="302964"/>
                      <a:pt x="1016417" y="292189"/>
                    </a:cubicBezTo>
                    <a:cubicBezTo>
                      <a:pt x="1000413" y="284063"/>
                      <a:pt x="982642" y="281237"/>
                      <a:pt x="965437" y="277068"/>
                    </a:cubicBezTo>
                    <a:cubicBezTo>
                      <a:pt x="950069" y="273323"/>
                      <a:pt x="937244" y="265126"/>
                      <a:pt x="927599" y="253574"/>
                    </a:cubicBezTo>
                    <a:cubicBezTo>
                      <a:pt x="910040" y="232553"/>
                      <a:pt x="894708" y="209624"/>
                      <a:pt x="875877" y="189628"/>
                    </a:cubicBezTo>
                    <a:cubicBezTo>
                      <a:pt x="853125" y="165462"/>
                      <a:pt x="832069" y="138718"/>
                      <a:pt x="797022" y="131228"/>
                    </a:cubicBezTo>
                    <a:cubicBezTo>
                      <a:pt x="778933" y="127377"/>
                      <a:pt x="760668" y="124304"/>
                      <a:pt x="742474" y="120912"/>
                    </a:cubicBezTo>
                    <a:cubicBezTo>
                      <a:pt x="715023" y="115789"/>
                      <a:pt x="692270" y="103565"/>
                      <a:pt x="677715" y="78658"/>
                    </a:cubicBezTo>
                    <a:cubicBezTo>
                      <a:pt x="670684" y="66646"/>
                      <a:pt x="663866" y="54458"/>
                      <a:pt x="656093" y="42905"/>
                    </a:cubicBezTo>
                    <a:cubicBezTo>
                      <a:pt x="638499" y="16761"/>
                      <a:pt x="611896" y="5526"/>
                      <a:pt x="581690" y="27183"/>
                    </a:cubicBezTo>
                    <a:cubicBezTo>
                      <a:pt x="567310" y="37500"/>
                      <a:pt x="552154" y="47003"/>
                      <a:pt x="535267" y="53292"/>
                    </a:cubicBezTo>
                    <a:cubicBezTo>
                      <a:pt x="505343" y="64456"/>
                      <a:pt x="475101" y="72511"/>
                      <a:pt x="442669" y="67565"/>
                    </a:cubicBezTo>
                    <a:cubicBezTo>
                      <a:pt x="427371" y="65233"/>
                      <a:pt x="411932" y="63997"/>
                      <a:pt x="396422" y="65127"/>
                    </a:cubicBezTo>
                    <a:cubicBezTo>
                      <a:pt x="378193" y="66434"/>
                      <a:pt x="367240" y="75090"/>
                      <a:pt x="363425" y="90847"/>
                    </a:cubicBezTo>
                    <a:cubicBezTo>
                      <a:pt x="360811" y="101552"/>
                      <a:pt x="369890" y="117238"/>
                      <a:pt x="383492" y="124516"/>
                    </a:cubicBezTo>
                    <a:cubicBezTo>
                      <a:pt x="390982" y="128543"/>
                      <a:pt x="398790" y="132006"/>
                      <a:pt x="406633" y="135291"/>
                    </a:cubicBezTo>
                    <a:cubicBezTo>
                      <a:pt x="428042" y="144265"/>
                      <a:pt x="449735" y="152496"/>
                      <a:pt x="470402" y="163201"/>
                    </a:cubicBezTo>
                    <a:cubicBezTo>
                      <a:pt x="516013" y="186801"/>
                      <a:pt x="538234" y="224498"/>
                      <a:pt x="539577" y="273394"/>
                    </a:cubicBezTo>
                    <a:close/>
                  </a:path>
                </a:pathLst>
              </a:custGeom>
              <a:solidFill>
                <a:srgbClr val="8B87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79" name="Freeform: Shape 3578">
                <a:extLst>
                  <a:ext uri="{FF2B5EF4-FFF2-40B4-BE49-F238E27FC236}">
                    <a16:creationId xmlns:a16="http://schemas.microsoft.com/office/drawing/2014/main" id="{8806C753-298E-FDF1-D256-3A4405C2BE25}"/>
                  </a:ext>
                </a:extLst>
              </p:cNvPr>
              <p:cNvSpPr/>
              <p:nvPr/>
            </p:nvSpPr>
            <p:spPr>
              <a:xfrm>
                <a:off x="7976666" y="4054317"/>
                <a:ext cx="1041878" cy="1086914"/>
              </a:xfrm>
              <a:custGeom>
                <a:avLst/>
                <a:gdLst>
                  <a:gd name="connsiteX0" fmla="*/ 524203 w 1041878"/>
                  <a:gd name="connsiteY0" fmla="*/ 257653 h 1086914"/>
                  <a:gd name="connsiteX1" fmla="*/ 455029 w 1041878"/>
                  <a:gd name="connsiteY1" fmla="*/ 147461 h 1086914"/>
                  <a:gd name="connsiteX2" fmla="*/ 391259 w 1041878"/>
                  <a:gd name="connsiteY2" fmla="*/ 119551 h 1086914"/>
                  <a:gd name="connsiteX3" fmla="*/ 368119 w 1041878"/>
                  <a:gd name="connsiteY3" fmla="*/ 108775 h 1086914"/>
                  <a:gd name="connsiteX4" fmla="*/ 348051 w 1041878"/>
                  <a:gd name="connsiteY4" fmla="*/ 75106 h 1086914"/>
                  <a:gd name="connsiteX5" fmla="*/ 381049 w 1041878"/>
                  <a:gd name="connsiteY5" fmla="*/ 49387 h 1086914"/>
                  <a:gd name="connsiteX6" fmla="*/ 427295 w 1041878"/>
                  <a:gd name="connsiteY6" fmla="*/ 51824 h 1086914"/>
                  <a:gd name="connsiteX7" fmla="*/ 519893 w 1041878"/>
                  <a:gd name="connsiteY7" fmla="*/ 37551 h 1086914"/>
                  <a:gd name="connsiteX8" fmla="*/ 566316 w 1041878"/>
                  <a:gd name="connsiteY8" fmla="*/ 11443 h 1086914"/>
                  <a:gd name="connsiteX9" fmla="*/ 640720 w 1041878"/>
                  <a:gd name="connsiteY9" fmla="*/ 27164 h 1086914"/>
                  <a:gd name="connsiteX10" fmla="*/ 662342 w 1041878"/>
                  <a:gd name="connsiteY10" fmla="*/ 62918 h 1086914"/>
                  <a:gd name="connsiteX11" fmla="*/ 727100 w 1041878"/>
                  <a:gd name="connsiteY11" fmla="*/ 105172 h 1086914"/>
                  <a:gd name="connsiteX12" fmla="*/ 781648 w 1041878"/>
                  <a:gd name="connsiteY12" fmla="*/ 115488 h 1086914"/>
                  <a:gd name="connsiteX13" fmla="*/ 860504 w 1041878"/>
                  <a:gd name="connsiteY13" fmla="*/ 173887 h 1086914"/>
                  <a:gd name="connsiteX14" fmla="*/ 912226 w 1041878"/>
                  <a:gd name="connsiteY14" fmla="*/ 237833 h 1086914"/>
                  <a:gd name="connsiteX15" fmla="*/ 950063 w 1041878"/>
                  <a:gd name="connsiteY15" fmla="*/ 261327 h 1086914"/>
                  <a:gd name="connsiteX16" fmla="*/ 1001044 w 1041878"/>
                  <a:gd name="connsiteY16" fmla="*/ 276448 h 1086914"/>
                  <a:gd name="connsiteX17" fmla="*/ 1021747 w 1041878"/>
                  <a:gd name="connsiteY17" fmla="*/ 325415 h 1086914"/>
                  <a:gd name="connsiteX18" fmla="*/ 1009382 w 1041878"/>
                  <a:gd name="connsiteY18" fmla="*/ 360355 h 1086914"/>
                  <a:gd name="connsiteX19" fmla="*/ 1019415 w 1041878"/>
                  <a:gd name="connsiteY19" fmla="*/ 464754 h 1086914"/>
                  <a:gd name="connsiteX20" fmla="*/ 1039942 w 1041878"/>
                  <a:gd name="connsiteY20" fmla="*/ 503545 h 1086914"/>
                  <a:gd name="connsiteX21" fmla="*/ 1031992 w 1041878"/>
                  <a:gd name="connsiteY21" fmla="*/ 557352 h 1086914"/>
                  <a:gd name="connsiteX22" fmla="*/ 999171 w 1041878"/>
                  <a:gd name="connsiteY22" fmla="*/ 618790 h 1086914"/>
                  <a:gd name="connsiteX23" fmla="*/ 988466 w 1041878"/>
                  <a:gd name="connsiteY23" fmla="*/ 693264 h 1086914"/>
                  <a:gd name="connsiteX24" fmla="*/ 995850 w 1041878"/>
                  <a:gd name="connsiteY24" fmla="*/ 766890 h 1086914"/>
                  <a:gd name="connsiteX25" fmla="*/ 925934 w 1041878"/>
                  <a:gd name="connsiteY25" fmla="*/ 864788 h 1086914"/>
                  <a:gd name="connsiteX26" fmla="*/ 861669 w 1041878"/>
                  <a:gd name="connsiteY26" fmla="*/ 928628 h 1086914"/>
                  <a:gd name="connsiteX27" fmla="*/ 772498 w 1041878"/>
                  <a:gd name="connsiteY27" fmla="*/ 992009 h 1086914"/>
                  <a:gd name="connsiteX28" fmla="*/ 740136 w 1041878"/>
                  <a:gd name="connsiteY28" fmla="*/ 994235 h 1086914"/>
                  <a:gd name="connsiteX29" fmla="*/ 703076 w 1041878"/>
                  <a:gd name="connsiteY29" fmla="*/ 1026950 h 1086914"/>
                  <a:gd name="connsiteX30" fmla="*/ 663578 w 1041878"/>
                  <a:gd name="connsiteY30" fmla="*/ 1054153 h 1086914"/>
                  <a:gd name="connsiteX31" fmla="*/ 627365 w 1041878"/>
                  <a:gd name="connsiteY31" fmla="*/ 1042989 h 1086914"/>
                  <a:gd name="connsiteX32" fmla="*/ 615424 w 1041878"/>
                  <a:gd name="connsiteY32" fmla="*/ 1035817 h 1086914"/>
                  <a:gd name="connsiteX33" fmla="*/ 548015 w 1041878"/>
                  <a:gd name="connsiteY33" fmla="*/ 1043342 h 1086914"/>
                  <a:gd name="connsiteX34" fmla="*/ 509083 w 1041878"/>
                  <a:gd name="connsiteY34" fmla="*/ 1076022 h 1086914"/>
                  <a:gd name="connsiteX35" fmla="*/ 393202 w 1041878"/>
                  <a:gd name="connsiteY35" fmla="*/ 1058287 h 1086914"/>
                  <a:gd name="connsiteX36" fmla="*/ 353952 w 1041878"/>
                  <a:gd name="connsiteY36" fmla="*/ 1015786 h 1086914"/>
                  <a:gd name="connsiteX37" fmla="*/ 310885 w 1041878"/>
                  <a:gd name="connsiteY37" fmla="*/ 1009886 h 1086914"/>
                  <a:gd name="connsiteX38" fmla="*/ 276722 w 1041878"/>
                  <a:gd name="connsiteY38" fmla="*/ 1020060 h 1086914"/>
                  <a:gd name="connsiteX39" fmla="*/ 244890 w 1041878"/>
                  <a:gd name="connsiteY39" fmla="*/ 995471 h 1086914"/>
                  <a:gd name="connsiteX40" fmla="*/ 238000 w 1041878"/>
                  <a:gd name="connsiteY40" fmla="*/ 961484 h 1086914"/>
                  <a:gd name="connsiteX41" fmla="*/ 191295 w 1041878"/>
                  <a:gd name="connsiteY41" fmla="*/ 910186 h 1086914"/>
                  <a:gd name="connsiteX42" fmla="*/ 145968 w 1041878"/>
                  <a:gd name="connsiteY42" fmla="*/ 895842 h 1086914"/>
                  <a:gd name="connsiteX43" fmla="*/ 97990 w 1041878"/>
                  <a:gd name="connsiteY43" fmla="*/ 837690 h 1086914"/>
                  <a:gd name="connsiteX44" fmla="*/ 99616 w 1041878"/>
                  <a:gd name="connsiteY44" fmla="*/ 791868 h 1086914"/>
                  <a:gd name="connsiteX45" fmla="*/ 70434 w 1041878"/>
                  <a:gd name="connsiteY45" fmla="*/ 731420 h 1086914"/>
                  <a:gd name="connsiteX46" fmla="*/ 32772 w 1041878"/>
                  <a:gd name="connsiteY46" fmla="*/ 706371 h 1086914"/>
                  <a:gd name="connsiteX47" fmla="*/ 3484 w 1041878"/>
                  <a:gd name="connsiteY47" fmla="*/ 609109 h 1086914"/>
                  <a:gd name="connsiteX48" fmla="*/ 41428 w 1041878"/>
                  <a:gd name="connsiteY48" fmla="*/ 513543 h 1086914"/>
                  <a:gd name="connsiteX49" fmla="*/ 40933 w 1041878"/>
                  <a:gd name="connsiteY49" fmla="*/ 406778 h 1086914"/>
                  <a:gd name="connsiteX50" fmla="*/ 30370 w 1041878"/>
                  <a:gd name="connsiteY50" fmla="*/ 376360 h 1086914"/>
                  <a:gd name="connsiteX51" fmla="*/ 60047 w 1041878"/>
                  <a:gd name="connsiteY51" fmla="*/ 328948 h 1086914"/>
                  <a:gd name="connsiteX52" fmla="*/ 90960 w 1041878"/>
                  <a:gd name="connsiteY52" fmla="*/ 302910 h 1086914"/>
                  <a:gd name="connsiteX53" fmla="*/ 107176 w 1041878"/>
                  <a:gd name="connsiteY53" fmla="*/ 250658 h 1086914"/>
                  <a:gd name="connsiteX54" fmla="*/ 112405 w 1041878"/>
                  <a:gd name="connsiteY54" fmla="*/ 208192 h 1086914"/>
                  <a:gd name="connsiteX55" fmla="*/ 166812 w 1041878"/>
                  <a:gd name="connsiteY55" fmla="*/ 183850 h 1086914"/>
                  <a:gd name="connsiteX56" fmla="*/ 184088 w 1041878"/>
                  <a:gd name="connsiteY56" fmla="*/ 220416 h 1086914"/>
                  <a:gd name="connsiteX57" fmla="*/ 197690 w 1041878"/>
                  <a:gd name="connsiteY57" fmla="*/ 309552 h 1086914"/>
                  <a:gd name="connsiteX58" fmla="*/ 314665 w 1041878"/>
                  <a:gd name="connsiteY58" fmla="*/ 418825 h 1086914"/>
                  <a:gd name="connsiteX59" fmla="*/ 506468 w 1041878"/>
                  <a:gd name="connsiteY59" fmla="*/ 324956 h 1086914"/>
                  <a:gd name="connsiteX60" fmla="*/ 524133 w 1041878"/>
                  <a:gd name="connsiteY60" fmla="*/ 257688 h 1086914"/>
                  <a:gd name="connsiteX61" fmla="*/ 594615 w 1041878"/>
                  <a:gd name="connsiteY61" fmla="*/ 838220 h 1086914"/>
                  <a:gd name="connsiteX62" fmla="*/ 641568 w 1041878"/>
                  <a:gd name="connsiteY62" fmla="*/ 834829 h 1086914"/>
                  <a:gd name="connsiteX63" fmla="*/ 792706 w 1041878"/>
                  <a:gd name="connsiteY63" fmla="*/ 740146 h 1086914"/>
                  <a:gd name="connsiteX64" fmla="*/ 832947 w 1041878"/>
                  <a:gd name="connsiteY64" fmla="*/ 563181 h 1086914"/>
                  <a:gd name="connsiteX65" fmla="*/ 751901 w 1041878"/>
                  <a:gd name="connsiteY65" fmla="*/ 439281 h 1086914"/>
                  <a:gd name="connsiteX66" fmla="*/ 587090 w 1041878"/>
                  <a:gd name="connsiteY66" fmla="*/ 393812 h 1086914"/>
                  <a:gd name="connsiteX67" fmla="*/ 435668 w 1041878"/>
                  <a:gd name="connsiteY67" fmla="*/ 497999 h 1086914"/>
                  <a:gd name="connsiteX68" fmla="*/ 401081 w 1041878"/>
                  <a:gd name="connsiteY68" fmla="*/ 677578 h 1086914"/>
                  <a:gd name="connsiteX69" fmla="*/ 480960 w 1041878"/>
                  <a:gd name="connsiteY69" fmla="*/ 807060 h 1086914"/>
                  <a:gd name="connsiteX70" fmla="*/ 594615 w 1041878"/>
                  <a:gd name="connsiteY70" fmla="*/ 838220 h 1086914"/>
                  <a:gd name="connsiteX71" fmla="*/ 858949 w 1041878"/>
                  <a:gd name="connsiteY71" fmla="*/ 332233 h 1086914"/>
                  <a:gd name="connsiteX72" fmla="*/ 799914 w 1041878"/>
                  <a:gd name="connsiteY72" fmla="*/ 279486 h 1086914"/>
                  <a:gd name="connsiteX73" fmla="*/ 752148 w 1041878"/>
                  <a:gd name="connsiteY73" fmla="*/ 327746 h 1086914"/>
                  <a:gd name="connsiteX74" fmla="*/ 807721 w 1041878"/>
                  <a:gd name="connsiteY74" fmla="*/ 381730 h 1086914"/>
                  <a:gd name="connsiteX75" fmla="*/ 858949 w 1041878"/>
                  <a:gd name="connsiteY75" fmla="*/ 332233 h 1086914"/>
                  <a:gd name="connsiteX76" fmla="*/ 147169 w 1041878"/>
                  <a:gd name="connsiteY76" fmla="*/ 593847 h 1086914"/>
                  <a:gd name="connsiteX77" fmla="*/ 101453 w 1041878"/>
                  <a:gd name="connsiteY77" fmla="*/ 636702 h 1086914"/>
                  <a:gd name="connsiteX78" fmla="*/ 148900 w 1041878"/>
                  <a:gd name="connsiteY78" fmla="*/ 686410 h 1086914"/>
                  <a:gd name="connsiteX79" fmla="*/ 199810 w 1041878"/>
                  <a:gd name="connsiteY79" fmla="*/ 642743 h 1086914"/>
                  <a:gd name="connsiteX80" fmla="*/ 147169 w 1041878"/>
                  <a:gd name="connsiteY80" fmla="*/ 593883 h 1086914"/>
                  <a:gd name="connsiteX81" fmla="*/ 663543 w 1041878"/>
                  <a:gd name="connsiteY81" fmla="*/ 152089 h 1086914"/>
                  <a:gd name="connsiteX82" fmla="*/ 616272 w 1041878"/>
                  <a:gd name="connsiteY82" fmla="*/ 104924 h 1086914"/>
                  <a:gd name="connsiteX83" fmla="*/ 568648 w 1041878"/>
                  <a:gd name="connsiteY83" fmla="*/ 146577 h 1086914"/>
                  <a:gd name="connsiteX84" fmla="*/ 616237 w 1041878"/>
                  <a:gd name="connsiteY84" fmla="*/ 195791 h 1086914"/>
                  <a:gd name="connsiteX85" fmla="*/ 663578 w 1041878"/>
                  <a:gd name="connsiteY85" fmla="*/ 152089 h 1086914"/>
                  <a:gd name="connsiteX86" fmla="*/ 617014 w 1041878"/>
                  <a:gd name="connsiteY86" fmla="*/ 886586 h 1086914"/>
                  <a:gd name="connsiteX87" fmla="*/ 654922 w 1041878"/>
                  <a:gd name="connsiteY87" fmla="*/ 926579 h 1086914"/>
                  <a:gd name="connsiteX88" fmla="*/ 696187 w 1041878"/>
                  <a:gd name="connsiteY88" fmla="*/ 891355 h 1086914"/>
                  <a:gd name="connsiteX89" fmla="*/ 654710 w 1041878"/>
                  <a:gd name="connsiteY89" fmla="*/ 850197 h 1086914"/>
                  <a:gd name="connsiteX90" fmla="*/ 617014 w 1041878"/>
                  <a:gd name="connsiteY90" fmla="*/ 886551 h 1086914"/>
                  <a:gd name="connsiteX91" fmla="*/ 894526 w 1041878"/>
                  <a:gd name="connsiteY91" fmla="*/ 628753 h 1086914"/>
                  <a:gd name="connsiteX92" fmla="*/ 935543 w 1041878"/>
                  <a:gd name="connsiteY92" fmla="*/ 593459 h 1086914"/>
                  <a:gd name="connsiteX93" fmla="*/ 893289 w 1041878"/>
                  <a:gd name="connsiteY93" fmla="*/ 553996 h 1086914"/>
                  <a:gd name="connsiteX94" fmla="*/ 854886 w 1041878"/>
                  <a:gd name="connsiteY94" fmla="*/ 589466 h 1086914"/>
                  <a:gd name="connsiteX95" fmla="*/ 894526 w 1041878"/>
                  <a:gd name="connsiteY95" fmla="*/ 628788 h 1086914"/>
                  <a:gd name="connsiteX96" fmla="*/ 675166 w 1041878"/>
                  <a:gd name="connsiteY96" fmla="*/ 362723 h 1086914"/>
                  <a:gd name="connsiteX97" fmla="*/ 649729 w 1041878"/>
                  <a:gd name="connsiteY97" fmla="*/ 337921 h 1086914"/>
                  <a:gd name="connsiteX98" fmla="*/ 626482 w 1041878"/>
                  <a:gd name="connsiteY98" fmla="*/ 361133 h 1086914"/>
                  <a:gd name="connsiteX99" fmla="*/ 651884 w 1041878"/>
                  <a:gd name="connsiteY99" fmla="*/ 384450 h 1086914"/>
                  <a:gd name="connsiteX100" fmla="*/ 675166 w 1041878"/>
                  <a:gd name="connsiteY100" fmla="*/ 362723 h 1086914"/>
                  <a:gd name="connsiteX101" fmla="*/ 333814 w 1041878"/>
                  <a:gd name="connsiteY101" fmla="*/ 493794 h 1086914"/>
                  <a:gd name="connsiteX102" fmla="*/ 312192 w 1041878"/>
                  <a:gd name="connsiteY102" fmla="*/ 512802 h 1086914"/>
                  <a:gd name="connsiteX103" fmla="*/ 335898 w 1041878"/>
                  <a:gd name="connsiteY103" fmla="*/ 540182 h 1086914"/>
                  <a:gd name="connsiteX104" fmla="*/ 360735 w 1041878"/>
                  <a:gd name="connsiteY104" fmla="*/ 515451 h 1086914"/>
                  <a:gd name="connsiteX105" fmla="*/ 333814 w 1041878"/>
                  <a:gd name="connsiteY105" fmla="*/ 493759 h 1086914"/>
                  <a:gd name="connsiteX106" fmla="*/ 842662 w 1041878"/>
                  <a:gd name="connsiteY106" fmla="*/ 430696 h 1086914"/>
                  <a:gd name="connsiteX107" fmla="*/ 857183 w 1041878"/>
                  <a:gd name="connsiteY107" fmla="*/ 447266 h 1086914"/>
                  <a:gd name="connsiteX108" fmla="*/ 875236 w 1041878"/>
                  <a:gd name="connsiteY108" fmla="*/ 431120 h 1086914"/>
                  <a:gd name="connsiteX109" fmla="*/ 859267 w 1041878"/>
                  <a:gd name="connsiteY109" fmla="*/ 414692 h 1086914"/>
                  <a:gd name="connsiteX110" fmla="*/ 842662 w 1041878"/>
                  <a:gd name="connsiteY110" fmla="*/ 430696 h 1086914"/>
                  <a:gd name="connsiteX111" fmla="*/ 842309 w 1041878"/>
                  <a:gd name="connsiteY111" fmla="*/ 691603 h 1086914"/>
                  <a:gd name="connsiteX112" fmla="*/ 826411 w 1041878"/>
                  <a:gd name="connsiteY112" fmla="*/ 708844 h 1086914"/>
                  <a:gd name="connsiteX113" fmla="*/ 841532 w 1041878"/>
                  <a:gd name="connsiteY113" fmla="*/ 723930 h 1086914"/>
                  <a:gd name="connsiteX114" fmla="*/ 858667 w 1041878"/>
                  <a:gd name="connsiteY114" fmla="*/ 706583 h 1086914"/>
                  <a:gd name="connsiteX115" fmla="*/ 842309 w 1041878"/>
                  <a:gd name="connsiteY115" fmla="*/ 691603 h 1086914"/>
                  <a:gd name="connsiteX116" fmla="*/ 587019 w 1041878"/>
                  <a:gd name="connsiteY116" fmla="*/ 963816 h 1086914"/>
                  <a:gd name="connsiteX117" fmla="*/ 575113 w 1041878"/>
                  <a:gd name="connsiteY117" fmla="*/ 978195 h 1086914"/>
                  <a:gd name="connsiteX118" fmla="*/ 589669 w 1041878"/>
                  <a:gd name="connsiteY118" fmla="*/ 996107 h 1086914"/>
                  <a:gd name="connsiteX119" fmla="*/ 605355 w 1041878"/>
                  <a:gd name="connsiteY119" fmla="*/ 979361 h 1086914"/>
                  <a:gd name="connsiteX120" fmla="*/ 586984 w 1041878"/>
                  <a:gd name="connsiteY120" fmla="*/ 963816 h 1086914"/>
                  <a:gd name="connsiteX121" fmla="*/ 363349 w 1041878"/>
                  <a:gd name="connsiteY121" fmla="*/ 877930 h 1086914"/>
                  <a:gd name="connsiteX122" fmla="*/ 347239 w 1041878"/>
                  <a:gd name="connsiteY122" fmla="*/ 859241 h 1086914"/>
                  <a:gd name="connsiteX123" fmla="*/ 333425 w 1041878"/>
                  <a:gd name="connsiteY123" fmla="*/ 875457 h 1086914"/>
                  <a:gd name="connsiteX124" fmla="*/ 348370 w 1041878"/>
                  <a:gd name="connsiteY124" fmla="*/ 889483 h 1086914"/>
                  <a:gd name="connsiteX125" fmla="*/ 363385 w 1041878"/>
                  <a:gd name="connsiteY125" fmla="*/ 877930 h 1086914"/>
                  <a:gd name="connsiteX126" fmla="*/ 761475 w 1041878"/>
                  <a:gd name="connsiteY126" fmla="*/ 905735 h 1086914"/>
                  <a:gd name="connsiteX127" fmla="*/ 748828 w 1041878"/>
                  <a:gd name="connsiteY127" fmla="*/ 891956 h 1086914"/>
                  <a:gd name="connsiteX128" fmla="*/ 735685 w 1041878"/>
                  <a:gd name="connsiteY128" fmla="*/ 906053 h 1086914"/>
                  <a:gd name="connsiteX129" fmla="*/ 748863 w 1041878"/>
                  <a:gd name="connsiteY129" fmla="*/ 919160 h 1086914"/>
                  <a:gd name="connsiteX130" fmla="*/ 761475 w 1041878"/>
                  <a:gd name="connsiteY130" fmla="*/ 905735 h 1086914"/>
                  <a:gd name="connsiteX131" fmla="*/ 106116 w 1041878"/>
                  <a:gd name="connsiteY131" fmla="*/ 561132 h 1086914"/>
                  <a:gd name="connsiteX132" fmla="*/ 118729 w 1041878"/>
                  <a:gd name="connsiteY132" fmla="*/ 547813 h 1086914"/>
                  <a:gd name="connsiteX133" fmla="*/ 105904 w 1041878"/>
                  <a:gd name="connsiteY133" fmla="*/ 535907 h 1086914"/>
                  <a:gd name="connsiteX134" fmla="*/ 93609 w 1041878"/>
                  <a:gd name="connsiteY134" fmla="*/ 548555 h 1086914"/>
                  <a:gd name="connsiteX135" fmla="*/ 106081 w 1041878"/>
                  <a:gd name="connsiteY135" fmla="*/ 561097 h 1086914"/>
                  <a:gd name="connsiteX136" fmla="*/ 496081 w 1041878"/>
                  <a:gd name="connsiteY136" fmla="*/ 857616 h 1086914"/>
                  <a:gd name="connsiteX137" fmla="*/ 484034 w 1041878"/>
                  <a:gd name="connsiteY137" fmla="*/ 845145 h 1086914"/>
                  <a:gd name="connsiteX138" fmla="*/ 472764 w 1041878"/>
                  <a:gd name="connsiteY138" fmla="*/ 856592 h 1086914"/>
                  <a:gd name="connsiteX139" fmla="*/ 484776 w 1041878"/>
                  <a:gd name="connsiteY139" fmla="*/ 868427 h 1086914"/>
                  <a:gd name="connsiteX140" fmla="*/ 496081 w 1041878"/>
                  <a:gd name="connsiteY140" fmla="*/ 857616 h 1086914"/>
                  <a:gd name="connsiteX141" fmla="*/ 970696 w 1041878"/>
                  <a:gd name="connsiteY141" fmla="*/ 532939 h 1086914"/>
                  <a:gd name="connsiteX142" fmla="*/ 958613 w 1041878"/>
                  <a:gd name="connsiteY142" fmla="*/ 520468 h 1086914"/>
                  <a:gd name="connsiteX143" fmla="*/ 947485 w 1041878"/>
                  <a:gd name="connsiteY143" fmla="*/ 532586 h 1086914"/>
                  <a:gd name="connsiteX144" fmla="*/ 960062 w 1041878"/>
                  <a:gd name="connsiteY144" fmla="*/ 544845 h 1086914"/>
                  <a:gd name="connsiteX145" fmla="*/ 970696 w 1041878"/>
                  <a:gd name="connsiteY145" fmla="*/ 532939 h 1086914"/>
                  <a:gd name="connsiteX146" fmla="*/ 112052 w 1041878"/>
                  <a:gd name="connsiteY146" fmla="*/ 373922 h 1086914"/>
                  <a:gd name="connsiteX147" fmla="*/ 102159 w 1041878"/>
                  <a:gd name="connsiteY147" fmla="*/ 364065 h 1086914"/>
                  <a:gd name="connsiteX148" fmla="*/ 93751 w 1041878"/>
                  <a:gd name="connsiteY148" fmla="*/ 372827 h 1086914"/>
                  <a:gd name="connsiteX149" fmla="*/ 102230 w 1041878"/>
                  <a:gd name="connsiteY149" fmla="*/ 381871 h 1086914"/>
                  <a:gd name="connsiteX150" fmla="*/ 112052 w 1041878"/>
                  <a:gd name="connsiteY150" fmla="*/ 373922 h 1086914"/>
                  <a:gd name="connsiteX151" fmla="*/ 705302 w 1041878"/>
                  <a:gd name="connsiteY151" fmla="*/ 157494 h 1086914"/>
                  <a:gd name="connsiteX152" fmla="*/ 695410 w 1041878"/>
                  <a:gd name="connsiteY152" fmla="*/ 147638 h 1086914"/>
                  <a:gd name="connsiteX153" fmla="*/ 687319 w 1041878"/>
                  <a:gd name="connsiteY153" fmla="*/ 155375 h 1086914"/>
                  <a:gd name="connsiteX154" fmla="*/ 694986 w 1041878"/>
                  <a:gd name="connsiteY154" fmla="*/ 165231 h 1086914"/>
                  <a:gd name="connsiteX155" fmla="*/ 705337 w 1041878"/>
                  <a:gd name="connsiteY155" fmla="*/ 157494 h 1086914"/>
                  <a:gd name="connsiteX156" fmla="*/ 859161 w 1041878"/>
                  <a:gd name="connsiteY156" fmla="*/ 248679 h 1086914"/>
                  <a:gd name="connsiteX157" fmla="*/ 869159 w 1041878"/>
                  <a:gd name="connsiteY157" fmla="*/ 256240 h 1086914"/>
                  <a:gd name="connsiteX158" fmla="*/ 877108 w 1041878"/>
                  <a:gd name="connsiteY158" fmla="*/ 248043 h 1086914"/>
                  <a:gd name="connsiteX159" fmla="*/ 867463 w 1041878"/>
                  <a:gd name="connsiteY159" fmla="*/ 240412 h 1086914"/>
                  <a:gd name="connsiteX160" fmla="*/ 859197 w 1041878"/>
                  <a:gd name="connsiteY160" fmla="*/ 248679 h 1086914"/>
                  <a:gd name="connsiteX161" fmla="*/ 314630 w 1041878"/>
                  <a:gd name="connsiteY161" fmla="*/ 675317 h 1086914"/>
                  <a:gd name="connsiteX162" fmla="*/ 305798 w 1041878"/>
                  <a:gd name="connsiteY162" fmla="*/ 682983 h 1086914"/>
                  <a:gd name="connsiteX163" fmla="*/ 314665 w 1041878"/>
                  <a:gd name="connsiteY163" fmla="*/ 691356 h 1086914"/>
                  <a:gd name="connsiteX164" fmla="*/ 323356 w 1041878"/>
                  <a:gd name="connsiteY164" fmla="*/ 683902 h 1086914"/>
                  <a:gd name="connsiteX165" fmla="*/ 314665 w 1041878"/>
                  <a:gd name="connsiteY165" fmla="*/ 675317 h 1086914"/>
                  <a:gd name="connsiteX166" fmla="*/ 673894 w 1041878"/>
                  <a:gd name="connsiteY166" fmla="*/ 258960 h 1086914"/>
                  <a:gd name="connsiteX167" fmla="*/ 666016 w 1041878"/>
                  <a:gd name="connsiteY167" fmla="*/ 267757 h 1086914"/>
                  <a:gd name="connsiteX168" fmla="*/ 673223 w 1041878"/>
                  <a:gd name="connsiteY168" fmla="*/ 276448 h 1086914"/>
                  <a:gd name="connsiteX169" fmla="*/ 681914 w 1041878"/>
                  <a:gd name="connsiteY169" fmla="*/ 267616 h 1086914"/>
                  <a:gd name="connsiteX170" fmla="*/ 673859 w 1041878"/>
                  <a:gd name="connsiteY170" fmla="*/ 258996 h 108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041878" h="1086914">
                    <a:moveTo>
                      <a:pt x="524203" y="257653"/>
                    </a:moveTo>
                    <a:cubicBezTo>
                      <a:pt x="522896" y="208757"/>
                      <a:pt x="500674" y="171061"/>
                      <a:pt x="455029" y="147461"/>
                    </a:cubicBezTo>
                    <a:cubicBezTo>
                      <a:pt x="434361" y="136756"/>
                      <a:pt x="412669" y="128524"/>
                      <a:pt x="391259" y="119551"/>
                    </a:cubicBezTo>
                    <a:cubicBezTo>
                      <a:pt x="383416" y="116265"/>
                      <a:pt x="375608" y="112768"/>
                      <a:pt x="368119" y="108775"/>
                    </a:cubicBezTo>
                    <a:cubicBezTo>
                      <a:pt x="354517" y="101497"/>
                      <a:pt x="345437" y="85846"/>
                      <a:pt x="348051" y="75106"/>
                    </a:cubicBezTo>
                    <a:cubicBezTo>
                      <a:pt x="351867" y="59349"/>
                      <a:pt x="362819" y="50694"/>
                      <a:pt x="381049" y="49387"/>
                    </a:cubicBezTo>
                    <a:cubicBezTo>
                      <a:pt x="396559" y="48256"/>
                      <a:pt x="411997" y="49493"/>
                      <a:pt x="427295" y="51824"/>
                    </a:cubicBezTo>
                    <a:cubicBezTo>
                      <a:pt x="459727" y="56735"/>
                      <a:pt x="489970" y="48680"/>
                      <a:pt x="519893" y="37551"/>
                    </a:cubicBezTo>
                    <a:cubicBezTo>
                      <a:pt x="536781" y="31263"/>
                      <a:pt x="551902" y="21759"/>
                      <a:pt x="566316" y="11443"/>
                    </a:cubicBezTo>
                    <a:cubicBezTo>
                      <a:pt x="596523" y="-10214"/>
                      <a:pt x="623126" y="1021"/>
                      <a:pt x="640720" y="27164"/>
                    </a:cubicBezTo>
                    <a:cubicBezTo>
                      <a:pt x="648492" y="38717"/>
                      <a:pt x="655311" y="50870"/>
                      <a:pt x="662342" y="62918"/>
                    </a:cubicBezTo>
                    <a:cubicBezTo>
                      <a:pt x="676897" y="87860"/>
                      <a:pt x="699649" y="100084"/>
                      <a:pt x="727100" y="105172"/>
                    </a:cubicBezTo>
                    <a:cubicBezTo>
                      <a:pt x="745295" y="108563"/>
                      <a:pt x="763560" y="111602"/>
                      <a:pt x="781648" y="115488"/>
                    </a:cubicBezTo>
                    <a:cubicBezTo>
                      <a:pt x="816660" y="122978"/>
                      <a:pt x="837751" y="149722"/>
                      <a:pt x="860504" y="173887"/>
                    </a:cubicBezTo>
                    <a:cubicBezTo>
                      <a:pt x="879334" y="193884"/>
                      <a:pt x="894632" y="216812"/>
                      <a:pt x="912226" y="237833"/>
                    </a:cubicBezTo>
                    <a:cubicBezTo>
                      <a:pt x="921871" y="249386"/>
                      <a:pt x="934660" y="257582"/>
                      <a:pt x="950063" y="261327"/>
                    </a:cubicBezTo>
                    <a:cubicBezTo>
                      <a:pt x="967269" y="265532"/>
                      <a:pt x="985040" y="268358"/>
                      <a:pt x="1001044" y="276448"/>
                    </a:cubicBezTo>
                    <a:cubicBezTo>
                      <a:pt x="1022242" y="287188"/>
                      <a:pt x="1028777" y="302875"/>
                      <a:pt x="1021747" y="325415"/>
                    </a:cubicBezTo>
                    <a:cubicBezTo>
                      <a:pt x="1018072" y="337215"/>
                      <a:pt x="1014681" y="349262"/>
                      <a:pt x="1009382" y="360355"/>
                    </a:cubicBezTo>
                    <a:cubicBezTo>
                      <a:pt x="991717" y="397381"/>
                      <a:pt x="994720" y="431862"/>
                      <a:pt x="1019415" y="464754"/>
                    </a:cubicBezTo>
                    <a:cubicBezTo>
                      <a:pt x="1028247" y="476518"/>
                      <a:pt x="1036161" y="489166"/>
                      <a:pt x="1039942" y="503545"/>
                    </a:cubicBezTo>
                    <a:cubicBezTo>
                      <a:pt x="1044923" y="522376"/>
                      <a:pt x="1039588" y="540182"/>
                      <a:pt x="1031992" y="557352"/>
                    </a:cubicBezTo>
                    <a:cubicBezTo>
                      <a:pt x="1022559" y="578620"/>
                      <a:pt x="1009735" y="598122"/>
                      <a:pt x="999171" y="618790"/>
                    </a:cubicBezTo>
                    <a:cubicBezTo>
                      <a:pt x="987195" y="642213"/>
                      <a:pt x="984898" y="667226"/>
                      <a:pt x="988466" y="693264"/>
                    </a:cubicBezTo>
                    <a:cubicBezTo>
                      <a:pt x="991823" y="717712"/>
                      <a:pt x="995214" y="742301"/>
                      <a:pt x="995850" y="766890"/>
                    </a:cubicBezTo>
                    <a:cubicBezTo>
                      <a:pt x="997016" y="814232"/>
                      <a:pt x="971049" y="851716"/>
                      <a:pt x="925934" y="864788"/>
                    </a:cubicBezTo>
                    <a:cubicBezTo>
                      <a:pt x="891735" y="874715"/>
                      <a:pt x="872657" y="896655"/>
                      <a:pt x="861669" y="928628"/>
                    </a:cubicBezTo>
                    <a:cubicBezTo>
                      <a:pt x="847149" y="970846"/>
                      <a:pt x="815494" y="989500"/>
                      <a:pt x="772498" y="992009"/>
                    </a:cubicBezTo>
                    <a:cubicBezTo>
                      <a:pt x="761723" y="992645"/>
                      <a:pt x="750912" y="993387"/>
                      <a:pt x="740136" y="994235"/>
                    </a:cubicBezTo>
                    <a:cubicBezTo>
                      <a:pt x="719610" y="995860"/>
                      <a:pt x="710636" y="1010875"/>
                      <a:pt x="703076" y="1026950"/>
                    </a:cubicBezTo>
                    <a:cubicBezTo>
                      <a:pt x="695091" y="1043908"/>
                      <a:pt x="682550" y="1054577"/>
                      <a:pt x="663578" y="1054153"/>
                    </a:cubicBezTo>
                    <a:cubicBezTo>
                      <a:pt x="650860" y="1053870"/>
                      <a:pt x="638635" y="1049242"/>
                      <a:pt x="627365" y="1042989"/>
                    </a:cubicBezTo>
                    <a:cubicBezTo>
                      <a:pt x="623302" y="1040728"/>
                      <a:pt x="619381" y="1038290"/>
                      <a:pt x="615424" y="1035817"/>
                    </a:cubicBezTo>
                    <a:cubicBezTo>
                      <a:pt x="588256" y="1018753"/>
                      <a:pt x="571403" y="1020661"/>
                      <a:pt x="548015" y="1043342"/>
                    </a:cubicBezTo>
                    <a:cubicBezTo>
                      <a:pt x="535827" y="1055178"/>
                      <a:pt x="524698" y="1068179"/>
                      <a:pt x="509083" y="1076022"/>
                    </a:cubicBezTo>
                    <a:cubicBezTo>
                      <a:pt x="470150" y="1095559"/>
                      <a:pt x="424963" y="1088317"/>
                      <a:pt x="393202" y="1058287"/>
                    </a:cubicBezTo>
                    <a:cubicBezTo>
                      <a:pt x="379106" y="1044968"/>
                      <a:pt x="368189" y="1028893"/>
                      <a:pt x="353952" y="1015786"/>
                    </a:cubicBezTo>
                    <a:cubicBezTo>
                      <a:pt x="340809" y="1003703"/>
                      <a:pt x="326571" y="1003456"/>
                      <a:pt x="310885" y="1009886"/>
                    </a:cubicBezTo>
                    <a:cubicBezTo>
                      <a:pt x="299898" y="1014408"/>
                      <a:pt x="289405" y="1020378"/>
                      <a:pt x="276722" y="1020060"/>
                    </a:cubicBezTo>
                    <a:cubicBezTo>
                      <a:pt x="259870" y="1019636"/>
                      <a:pt x="249059" y="1012076"/>
                      <a:pt x="244890" y="995471"/>
                    </a:cubicBezTo>
                    <a:cubicBezTo>
                      <a:pt x="242099" y="984272"/>
                      <a:pt x="240085" y="972860"/>
                      <a:pt x="238000" y="961484"/>
                    </a:cubicBezTo>
                    <a:cubicBezTo>
                      <a:pt x="233090" y="934634"/>
                      <a:pt x="215990" y="918806"/>
                      <a:pt x="191295" y="910186"/>
                    </a:cubicBezTo>
                    <a:cubicBezTo>
                      <a:pt x="176351" y="904957"/>
                      <a:pt x="161159" y="900329"/>
                      <a:pt x="145968" y="895842"/>
                    </a:cubicBezTo>
                    <a:cubicBezTo>
                      <a:pt x="116821" y="887222"/>
                      <a:pt x="102972" y="866307"/>
                      <a:pt x="97990" y="837690"/>
                    </a:cubicBezTo>
                    <a:cubicBezTo>
                      <a:pt x="95306" y="822216"/>
                      <a:pt x="96613" y="807130"/>
                      <a:pt x="99616" y="791868"/>
                    </a:cubicBezTo>
                    <a:cubicBezTo>
                      <a:pt x="104950" y="764664"/>
                      <a:pt x="92479" y="745657"/>
                      <a:pt x="70434" y="731420"/>
                    </a:cubicBezTo>
                    <a:cubicBezTo>
                      <a:pt x="57786" y="723223"/>
                      <a:pt x="44643" y="715627"/>
                      <a:pt x="32772" y="706371"/>
                    </a:cubicBezTo>
                    <a:cubicBezTo>
                      <a:pt x="305" y="681040"/>
                      <a:pt x="-4747" y="646629"/>
                      <a:pt x="3484" y="609109"/>
                    </a:cubicBezTo>
                    <a:cubicBezTo>
                      <a:pt x="10904" y="575299"/>
                      <a:pt x="23551" y="543291"/>
                      <a:pt x="41428" y="513543"/>
                    </a:cubicBezTo>
                    <a:cubicBezTo>
                      <a:pt x="62873" y="477861"/>
                      <a:pt x="65275" y="442461"/>
                      <a:pt x="40933" y="406778"/>
                    </a:cubicBezTo>
                    <a:cubicBezTo>
                      <a:pt x="34857" y="397875"/>
                      <a:pt x="31748" y="387347"/>
                      <a:pt x="30370" y="376360"/>
                    </a:cubicBezTo>
                    <a:cubicBezTo>
                      <a:pt x="27296" y="352265"/>
                      <a:pt x="44926" y="341454"/>
                      <a:pt x="60047" y="328948"/>
                    </a:cubicBezTo>
                    <a:cubicBezTo>
                      <a:pt x="70434" y="320363"/>
                      <a:pt x="82340" y="313438"/>
                      <a:pt x="90960" y="302910"/>
                    </a:cubicBezTo>
                    <a:cubicBezTo>
                      <a:pt x="103325" y="287824"/>
                      <a:pt x="106081" y="269312"/>
                      <a:pt x="107176" y="250658"/>
                    </a:cubicBezTo>
                    <a:cubicBezTo>
                      <a:pt x="107989" y="236349"/>
                      <a:pt x="109614" y="222182"/>
                      <a:pt x="112405" y="208192"/>
                    </a:cubicBezTo>
                    <a:cubicBezTo>
                      <a:pt x="117634" y="182084"/>
                      <a:pt x="145049" y="169789"/>
                      <a:pt x="166812" y="183850"/>
                    </a:cubicBezTo>
                    <a:cubicBezTo>
                      <a:pt x="179778" y="192223"/>
                      <a:pt x="181686" y="206779"/>
                      <a:pt x="184088" y="220416"/>
                    </a:cubicBezTo>
                    <a:cubicBezTo>
                      <a:pt x="189317" y="250022"/>
                      <a:pt x="193026" y="279875"/>
                      <a:pt x="197690" y="309552"/>
                    </a:cubicBezTo>
                    <a:cubicBezTo>
                      <a:pt x="207617" y="372473"/>
                      <a:pt x="259870" y="412678"/>
                      <a:pt x="314665" y="418825"/>
                    </a:cubicBezTo>
                    <a:cubicBezTo>
                      <a:pt x="397442" y="428117"/>
                      <a:pt x="461176" y="393636"/>
                      <a:pt x="506468" y="324956"/>
                    </a:cubicBezTo>
                    <a:cubicBezTo>
                      <a:pt x="519187" y="305701"/>
                      <a:pt x="523956" y="282984"/>
                      <a:pt x="524133" y="257688"/>
                    </a:cubicBezTo>
                    <a:close/>
                    <a:moveTo>
                      <a:pt x="594615" y="838220"/>
                    </a:moveTo>
                    <a:cubicBezTo>
                      <a:pt x="609382" y="838927"/>
                      <a:pt x="625670" y="838220"/>
                      <a:pt x="641568" y="834829"/>
                    </a:cubicBezTo>
                    <a:cubicBezTo>
                      <a:pt x="703394" y="821651"/>
                      <a:pt x="754268" y="790349"/>
                      <a:pt x="792706" y="740146"/>
                    </a:cubicBezTo>
                    <a:cubicBezTo>
                      <a:pt x="832982" y="687540"/>
                      <a:pt x="848562" y="628258"/>
                      <a:pt x="832947" y="563181"/>
                    </a:cubicBezTo>
                    <a:cubicBezTo>
                      <a:pt x="820829" y="512696"/>
                      <a:pt x="793272" y="471148"/>
                      <a:pt x="751901" y="439281"/>
                    </a:cubicBezTo>
                    <a:cubicBezTo>
                      <a:pt x="703182" y="401726"/>
                      <a:pt x="648987" y="383920"/>
                      <a:pt x="587090" y="393812"/>
                    </a:cubicBezTo>
                    <a:cubicBezTo>
                      <a:pt x="520035" y="404552"/>
                      <a:pt x="470291" y="440412"/>
                      <a:pt x="435668" y="497999"/>
                    </a:cubicBezTo>
                    <a:cubicBezTo>
                      <a:pt x="402247" y="553572"/>
                      <a:pt x="391047" y="613985"/>
                      <a:pt x="401081" y="677578"/>
                    </a:cubicBezTo>
                    <a:cubicBezTo>
                      <a:pt x="409560" y="731314"/>
                      <a:pt x="435103" y="776111"/>
                      <a:pt x="480960" y="807060"/>
                    </a:cubicBezTo>
                    <a:cubicBezTo>
                      <a:pt x="514594" y="829741"/>
                      <a:pt x="552502" y="839457"/>
                      <a:pt x="594615" y="838220"/>
                    </a:cubicBezTo>
                    <a:close/>
                    <a:moveTo>
                      <a:pt x="858949" y="332233"/>
                    </a:moveTo>
                    <a:cubicBezTo>
                      <a:pt x="863118" y="306443"/>
                      <a:pt x="827612" y="278391"/>
                      <a:pt x="799914" y="279486"/>
                    </a:cubicBezTo>
                    <a:cubicBezTo>
                      <a:pt x="771650" y="280617"/>
                      <a:pt x="750877" y="299554"/>
                      <a:pt x="752148" y="327746"/>
                    </a:cubicBezTo>
                    <a:cubicBezTo>
                      <a:pt x="753597" y="359684"/>
                      <a:pt x="773770" y="381588"/>
                      <a:pt x="807721" y="381730"/>
                    </a:cubicBezTo>
                    <a:cubicBezTo>
                      <a:pt x="835420" y="381871"/>
                      <a:pt x="860998" y="355975"/>
                      <a:pt x="858949" y="332233"/>
                    </a:cubicBezTo>
                    <a:close/>
                    <a:moveTo>
                      <a:pt x="147169" y="593847"/>
                    </a:moveTo>
                    <a:cubicBezTo>
                      <a:pt x="118164" y="592505"/>
                      <a:pt x="101418" y="612077"/>
                      <a:pt x="101453" y="636702"/>
                    </a:cubicBezTo>
                    <a:cubicBezTo>
                      <a:pt x="101523" y="665707"/>
                      <a:pt x="120177" y="685774"/>
                      <a:pt x="148900" y="686410"/>
                    </a:cubicBezTo>
                    <a:cubicBezTo>
                      <a:pt x="178753" y="687046"/>
                      <a:pt x="198644" y="667721"/>
                      <a:pt x="199810" y="642743"/>
                    </a:cubicBezTo>
                    <a:cubicBezTo>
                      <a:pt x="201117" y="615257"/>
                      <a:pt x="172429" y="591303"/>
                      <a:pt x="147169" y="593883"/>
                    </a:cubicBezTo>
                    <a:close/>
                    <a:moveTo>
                      <a:pt x="663543" y="152089"/>
                    </a:moveTo>
                    <a:cubicBezTo>
                      <a:pt x="663613" y="127217"/>
                      <a:pt x="641391" y="106408"/>
                      <a:pt x="616272" y="104924"/>
                    </a:cubicBezTo>
                    <a:cubicBezTo>
                      <a:pt x="585606" y="103087"/>
                      <a:pt x="568365" y="123790"/>
                      <a:pt x="568648" y="146577"/>
                    </a:cubicBezTo>
                    <a:cubicBezTo>
                      <a:pt x="569001" y="173675"/>
                      <a:pt x="586524" y="195191"/>
                      <a:pt x="616237" y="195791"/>
                    </a:cubicBezTo>
                    <a:cubicBezTo>
                      <a:pt x="642557" y="196321"/>
                      <a:pt x="663543" y="176290"/>
                      <a:pt x="663578" y="152089"/>
                    </a:cubicBezTo>
                    <a:close/>
                    <a:moveTo>
                      <a:pt x="617014" y="886586"/>
                    </a:moveTo>
                    <a:cubicBezTo>
                      <a:pt x="616943" y="908667"/>
                      <a:pt x="633795" y="926473"/>
                      <a:pt x="654922" y="926579"/>
                    </a:cubicBezTo>
                    <a:cubicBezTo>
                      <a:pt x="677886" y="926720"/>
                      <a:pt x="695622" y="911317"/>
                      <a:pt x="696187" y="891355"/>
                    </a:cubicBezTo>
                    <a:cubicBezTo>
                      <a:pt x="696858" y="867367"/>
                      <a:pt x="677604" y="851292"/>
                      <a:pt x="654710" y="850197"/>
                    </a:cubicBezTo>
                    <a:cubicBezTo>
                      <a:pt x="632099" y="849137"/>
                      <a:pt x="615212" y="867120"/>
                      <a:pt x="617014" y="886551"/>
                    </a:cubicBezTo>
                    <a:close/>
                    <a:moveTo>
                      <a:pt x="894526" y="628753"/>
                    </a:moveTo>
                    <a:cubicBezTo>
                      <a:pt x="919998" y="630978"/>
                      <a:pt x="935261" y="609145"/>
                      <a:pt x="935543" y="593459"/>
                    </a:cubicBezTo>
                    <a:cubicBezTo>
                      <a:pt x="935896" y="572226"/>
                      <a:pt x="915935" y="555515"/>
                      <a:pt x="893289" y="553996"/>
                    </a:cubicBezTo>
                    <a:cubicBezTo>
                      <a:pt x="867004" y="552229"/>
                      <a:pt x="854392" y="573144"/>
                      <a:pt x="854886" y="589466"/>
                    </a:cubicBezTo>
                    <a:cubicBezTo>
                      <a:pt x="855593" y="612430"/>
                      <a:pt x="873151" y="630978"/>
                      <a:pt x="894526" y="628788"/>
                    </a:cubicBezTo>
                    <a:close/>
                    <a:moveTo>
                      <a:pt x="675166" y="362723"/>
                    </a:moveTo>
                    <a:cubicBezTo>
                      <a:pt x="675343" y="349757"/>
                      <a:pt x="663295" y="338027"/>
                      <a:pt x="649729" y="337921"/>
                    </a:cubicBezTo>
                    <a:cubicBezTo>
                      <a:pt x="635738" y="337815"/>
                      <a:pt x="626482" y="347036"/>
                      <a:pt x="626482" y="361133"/>
                    </a:cubicBezTo>
                    <a:cubicBezTo>
                      <a:pt x="626482" y="373321"/>
                      <a:pt x="638600" y="384450"/>
                      <a:pt x="651884" y="384450"/>
                    </a:cubicBezTo>
                    <a:cubicBezTo>
                      <a:pt x="665592" y="384450"/>
                      <a:pt x="675025" y="375688"/>
                      <a:pt x="675166" y="362723"/>
                    </a:cubicBezTo>
                    <a:close/>
                    <a:moveTo>
                      <a:pt x="333814" y="493794"/>
                    </a:moveTo>
                    <a:cubicBezTo>
                      <a:pt x="318834" y="493724"/>
                      <a:pt x="312334" y="499447"/>
                      <a:pt x="312192" y="512802"/>
                    </a:cubicBezTo>
                    <a:cubicBezTo>
                      <a:pt x="312016" y="527817"/>
                      <a:pt x="323074" y="540570"/>
                      <a:pt x="335898" y="540182"/>
                    </a:cubicBezTo>
                    <a:cubicBezTo>
                      <a:pt x="347804" y="539828"/>
                      <a:pt x="361124" y="526615"/>
                      <a:pt x="360735" y="515451"/>
                    </a:cubicBezTo>
                    <a:cubicBezTo>
                      <a:pt x="360346" y="503863"/>
                      <a:pt x="347875" y="493830"/>
                      <a:pt x="333814" y="493759"/>
                    </a:cubicBezTo>
                    <a:close/>
                    <a:moveTo>
                      <a:pt x="842662" y="430696"/>
                    </a:moveTo>
                    <a:cubicBezTo>
                      <a:pt x="842591" y="441719"/>
                      <a:pt x="847220" y="447018"/>
                      <a:pt x="857183" y="447266"/>
                    </a:cubicBezTo>
                    <a:cubicBezTo>
                      <a:pt x="868700" y="447584"/>
                      <a:pt x="875236" y="441719"/>
                      <a:pt x="875236" y="431120"/>
                    </a:cubicBezTo>
                    <a:cubicBezTo>
                      <a:pt x="875236" y="422783"/>
                      <a:pt x="867570" y="414869"/>
                      <a:pt x="859267" y="414692"/>
                    </a:cubicBezTo>
                    <a:cubicBezTo>
                      <a:pt x="848739" y="414445"/>
                      <a:pt x="842733" y="420203"/>
                      <a:pt x="842662" y="430696"/>
                    </a:cubicBezTo>
                    <a:close/>
                    <a:moveTo>
                      <a:pt x="842309" y="691603"/>
                    </a:moveTo>
                    <a:cubicBezTo>
                      <a:pt x="832346" y="691710"/>
                      <a:pt x="826305" y="698281"/>
                      <a:pt x="826411" y="708844"/>
                    </a:cubicBezTo>
                    <a:cubicBezTo>
                      <a:pt x="826446" y="715345"/>
                      <a:pt x="835066" y="723930"/>
                      <a:pt x="841532" y="723930"/>
                    </a:cubicBezTo>
                    <a:cubicBezTo>
                      <a:pt x="849128" y="723930"/>
                      <a:pt x="858914" y="714002"/>
                      <a:pt x="858667" y="706583"/>
                    </a:cubicBezTo>
                    <a:cubicBezTo>
                      <a:pt x="858419" y="699411"/>
                      <a:pt x="849799" y="691498"/>
                      <a:pt x="842309" y="691603"/>
                    </a:cubicBezTo>
                    <a:close/>
                    <a:moveTo>
                      <a:pt x="587019" y="963816"/>
                    </a:moveTo>
                    <a:cubicBezTo>
                      <a:pt x="580448" y="964381"/>
                      <a:pt x="575361" y="968833"/>
                      <a:pt x="575113" y="978195"/>
                    </a:cubicBezTo>
                    <a:cubicBezTo>
                      <a:pt x="574901" y="986710"/>
                      <a:pt x="582144" y="995648"/>
                      <a:pt x="589669" y="996107"/>
                    </a:cubicBezTo>
                    <a:cubicBezTo>
                      <a:pt x="596982" y="996531"/>
                      <a:pt x="605249" y="987734"/>
                      <a:pt x="605355" y="979361"/>
                    </a:cubicBezTo>
                    <a:cubicBezTo>
                      <a:pt x="605496" y="969716"/>
                      <a:pt x="599597" y="963957"/>
                      <a:pt x="586984" y="963816"/>
                    </a:cubicBezTo>
                    <a:close/>
                    <a:moveTo>
                      <a:pt x="363349" y="877930"/>
                    </a:moveTo>
                    <a:cubicBezTo>
                      <a:pt x="363526" y="867897"/>
                      <a:pt x="354906" y="859135"/>
                      <a:pt x="347239" y="859241"/>
                    </a:cubicBezTo>
                    <a:cubicBezTo>
                      <a:pt x="341198" y="859347"/>
                      <a:pt x="332648" y="868674"/>
                      <a:pt x="333425" y="875457"/>
                    </a:cubicBezTo>
                    <a:cubicBezTo>
                      <a:pt x="334414" y="883866"/>
                      <a:pt x="338442" y="889730"/>
                      <a:pt x="348370" y="889483"/>
                    </a:cubicBezTo>
                    <a:cubicBezTo>
                      <a:pt x="357696" y="889236"/>
                      <a:pt x="362360" y="884643"/>
                      <a:pt x="363385" y="877930"/>
                    </a:cubicBezTo>
                    <a:close/>
                    <a:moveTo>
                      <a:pt x="761475" y="905735"/>
                    </a:moveTo>
                    <a:cubicBezTo>
                      <a:pt x="760804" y="897715"/>
                      <a:pt x="756882" y="892097"/>
                      <a:pt x="748828" y="891956"/>
                    </a:cubicBezTo>
                    <a:cubicBezTo>
                      <a:pt x="740172" y="891815"/>
                      <a:pt x="735826" y="897397"/>
                      <a:pt x="735685" y="906053"/>
                    </a:cubicBezTo>
                    <a:cubicBezTo>
                      <a:pt x="735544" y="914956"/>
                      <a:pt x="741797" y="918806"/>
                      <a:pt x="748863" y="919160"/>
                    </a:cubicBezTo>
                    <a:cubicBezTo>
                      <a:pt x="756953" y="919548"/>
                      <a:pt x="760734" y="913472"/>
                      <a:pt x="761475" y="905735"/>
                    </a:cubicBezTo>
                    <a:close/>
                    <a:moveTo>
                      <a:pt x="106116" y="561132"/>
                    </a:moveTo>
                    <a:cubicBezTo>
                      <a:pt x="113783" y="559613"/>
                      <a:pt x="118799" y="555161"/>
                      <a:pt x="118729" y="547813"/>
                    </a:cubicBezTo>
                    <a:cubicBezTo>
                      <a:pt x="118658" y="540288"/>
                      <a:pt x="113464" y="535660"/>
                      <a:pt x="105904" y="535907"/>
                    </a:cubicBezTo>
                    <a:cubicBezTo>
                      <a:pt x="98415" y="536154"/>
                      <a:pt x="93857" y="541030"/>
                      <a:pt x="93609" y="548555"/>
                    </a:cubicBezTo>
                    <a:cubicBezTo>
                      <a:pt x="93362" y="556928"/>
                      <a:pt x="100004" y="559083"/>
                      <a:pt x="106081" y="561097"/>
                    </a:cubicBezTo>
                    <a:close/>
                    <a:moveTo>
                      <a:pt x="496081" y="857616"/>
                    </a:moveTo>
                    <a:cubicBezTo>
                      <a:pt x="496081" y="848925"/>
                      <a:pt x="492160" y="845003"/>
                      <a:pt x="484034" y="845145"/>
                    </a:cubicBezTo>
                    <a:cubicBezTo>
                      <a:pt x="476473" y="845286"/>
                      <a:pt x="472835" y="849066"/>
                      <a:pt x="472764" y="856592"/>
                    </a:cubicBezTo>
                    <a:cubicBezTo>
                      <a:pt x="472693" y="864753"/>
                      <a:pt x="476686" y="868568"/>
                      <a:pt x="484776" y="868427"/>
                    </a:cubicBezTo>
                    <a:cubicBezTo>
                      <a:pt x="492372" y="868321"/>
                      <a:pt x="495940" y="864399"/>
                      <a:pt x="496081" y="857616"/>
                    </a:cubicBezTo>
                    <a:close/>
                    <a:moveTo>
                      <a:pt x="970696" y="532939"/>
                    </a:moveTo>
                    <a:cubicBezTo>
                      <a:pt x="970625" y="524920"/>
                      <a:pt x="965502" y="520291"/>
                      <a:pt x="958613" y="520468"/>
                    </a:cubicBezTo>
                    <a:cubicBezTo>
                      <a:pt x="952466" y="520609"/>
                      <a:pt x="946884" y="524920"/>
                      <a:pt x="947485" y="532586"/>
                    </a:cubicBezTo>
                    <a:cubicBezTo>
                      <a:pt x="948085" y="540005"/>
                      <a:pt x="952607" y="544563"/>
                      <a:pt x="960062" y="544845"/>
                    </a:cubicBezTo>
                    <a:cubicBezTo>
                      <a:pt x="967799" y="545128"/>
                      <a:pt x="970731" y="540147"/>
                      <a:pt x="970696" y="532939"/>
                    </a:cubicBezTo>
                    <a:close/>
                    <a:moveTo>
                      <a:pt x="112052" y="373922"/>
                    </a:moveTo>
                    <a:cubicBezTo>
                      <a:pt x="110391" y="368976"/>
                      <a:pt x="107317" y="364595"/>
                      <a:pt x="102159" y="364065"/>
                    </a:cubicBezTo>
                    <a:cubicBezTo>
                      <a:pt x="96895" y="363535"/>
                      <a:pt x="93786" y="367633"/>
                      <a:pt x="93751" y="372827"/>
                    </a:cubicBezTo>
                    <a:cubicBezTo>
                      <a:pt x="93751" y="378091"/>
                      <a:pt x="97037" y="381447"/>
                      <a:pt x="102230" y="381871"/>
                    </a:cubicBezTo>
                    <a:cubicBezTo>
                      <a:pt x="107565" y="382330"/>
                      <a:pt x="110532" y="378974"/>
                      <a:pt x="112052" y="373922"/>
                    </a:cubicBezTo>
                    <a:close/>
                    <a:moveTo>
                      <a:pt x="705302" y="157494"/>
                    </a:moveTo>
                    <a:cubicBezTo>
                      <a:pt x="703677" y="152584"/>
                      <a:pt x="700603" y="148344"/>
                      <a:pt x="695410" y="147638"/>
                    </a:cubicBezTo>
                    <a:cubicBezTo>
                      <a:pt x="690640" y="147001"/>
                      <a:pt x="687142" y="150817"/>
                      <a:pt x="687319" y="155375"/>
                    </a:cubicBezTo>
                    <a:cubicBezTo>
                      <a:pt x="687496" y="159826"/>
                      <a:pt x="689298" y="165231"/>
                      <a:pt x="694986" y="165231"/>
                    </a:cubicBezTo>
                    <a:cubicBezTo>
                      <a:pt x="699472" y="165231"/>
                      <a:pt x="703959" y="163147"/>
                      <a:pt x="705337" y="157494"/>
                    </a:cubicBezTo>
                    <a:close/>
                    <a:moveTo>
                      <a:pt x="859161" y="248679"/>
                    </a:moveTo>
                    <a:cubicBezTo>
                      <a:pt x="860751" y="253519"/>
                      <a:pt x="863789" y="256805"/>
                      <a:pt x="869159" y="256240"/>
                    </a:cubicBezTo>
                    <a:cubicBezTo>
                      <a:pt x="873752" y="255745"/>
                      <a:pt x="877497" y="252778"/>
                      <a:pt x="877108" y="248043"/>
                    </a:cubicBezTo>
                    <a:cubicBezTo>
                      <a:pt x="876684" y="242885"/>
                      <a:pt x="872763" y="239918"/>
                      <a:pt x="867463" y="240412"/>
                    </a:cubicBezTo>
                    <a:cubicBezTo>
                      <a:pt x="862836" y="240836"/>
                      <a:pt x="860044" y="243910"/>
                      <a:pt x="859197" y="248679"/>
                    </a:cubicBezTo>
                    <a:close/>
                    <a:moveTo>
                      <a:pt x="314630" y="675317"/>
                    </a:moveTo>
                    <a:cubicBezTo>
                      <a:pt x="309755" y="675882"/>
                      <a:pt x="306009" y="678355"/>
                      <a:pt x="305798" y="682983"/>
                    </a:cubicBezTo>
                    <a:cubicBezTo>
                      <a:pt x="305550" y="688318"/>
                      <a:pt x="309437" y="691286"/>
                      <a:pt x="314665" y="691356"/>
                    </a:cubicBezTo>
                    <a:cubicBezTo>
                      <a:pt x="319435" y="691427"/>
                      <a:pt x="323074" y="688459"/>
                      <a:pt x="323356" y="683902"/>
                    </a:cubicBezTo>
                    <a:cubicBezTo>
                      <a:pt x="323674" y="678496"/>
                      <a:pt x="319541" y="676058"/>
                      <a:pt x="314665" y="675317"/>
                    </a:cubicBezTo>
                    <a:close/>
                    <a:moveTo>
                      <a:pt x="673894" y="258960"/>
                    </a:moveTo>
                    <a:cubicBezTo>
                      <a:pt x="669337" y="260197"/>
                      <a:pt x="666192" y="262882"/>
                      <a:pt x="666016" y="267757"/>
                    </a:cubicBezTo>
                    <a:cubicBezTo>
                      <a:pt x="665874" y="272562"/>
                      <a:pt x="668418" y="276660"/>
                      <a:pt x="673223" y="276448"/>
                    </a:cubicBezTo>
                    <a:cubicBezTo>
                      <a:pt x="677816" y="276236"/>
                      <a:pt x="682373" y="273622"/>
                      <a:pt x="681914" y="267616"/>
                    </a:cubicBezTo>
                    <a:cubicBezTo>
                      <a:pt x="681561" y="262811"/>
                      <a:pt x="678522" y="260091"/>
                      <a:pt x="673859" y="258996"/>
                    </a:cubicBezTo>
                    <a:close/>
                  </a:path>
                </a:pathLst>
              </a:custGeom>
              <a:solidFill>
                <a:schemeClr val="accent5">
                  <a:lumMod val="20000"/>
                  <a:lumOff val="8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0" name="Freeform: Shape 3579">
                <a:extLst>
                  <a:ext uri="{FF2B5EF4-FFF2-40B4-BE49-F238E27FC236}">
                    <a16:creationId xmlns:a16="http://schemas.microsoft.com/office/drawing/2014/main" id="{C929E2D4-B701-44AB-3C62-CB11CDC2F45D}"/>
                  </a:ext>
                </a:extLst>
              </p:cNvPr>
              <p:cNvSpPr/>
              <p:nvPr/>
            </p:nvSpPr>
            <p:spPr>
              <a:xfrm>
                <a:off x="8728759" y="4333772"/>
                <a:ext cx="107191" cy="102274"/>
              </a:xfrm>
              <a:custGeom>
                <a:avLst/>
                <a:gdLst>
                  <a:gd name="connsiteX0" fmla="*/ 106856 w 107191"/>
                  <a:gd name="connsiteY0" fmla="*/ 52778 h 102274"/>
                  <a:gd name="connsiteX1" fmla="*/ 55628 w 107191"/>
                  <a:gd name="connsiteY1" fmla="*/ 102274 h 102274"/>
                  <a:gd name="connsiteX2" fmla="*/ 55 w 107191"/>
                  <a:gd name="connsiteY2" fmla="*/ 48291 h 102274"/>
                  <a:gd name="connsiteX3" fmla="*/ 47821 w 107191"/>
                  <a:gd name="connsiteY3" fmla="*/ 31 h 102274"/>
                  <a:gd name="connsiteX4" fmla="*/ 106856 w 107191"/>
                  <a:gd name="connsiteY4" fmla="*/ 52778 h 102274"/>
                  <a:gd name="connsiteX5" fmla="*/ 49234 w 107191"/>
                  <a:gd name="connsiteY5" fmla="*/ 11867 h 102274"/>
                  <a:gd name="connsiteX6" fmla="*/ 11326 w 107191"/>
                  <a:gd name="connsiteY6" fmla="*/ 48680 h 102274"/>
                  <a:gd name="connsiteX7" fmla="*/ 52873 w 107191"/>
                  <a:gd name="connsiteY7" fmla="*/ 91004 h 102274"/>
                  <a:gd name="connsiteX8" fmla="*/ 95728 w 107191"/>
                  <a:gd name="connsiteY8" fmla="*/ 53025 h 102274"/>
                  <a:gd name="connsiteX9" fmla="*/ 49234 w 107191"/>
                  <a:gd name="connsiteY9" fmla="*/ 11831 h 10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91" h="102274">
                    <a:moveTo>
                      <a:pt x="106856" y="52778"/>
                    </a:moveTo>
                    <a:cubicBezTo>
                      <a:pt x="108905" y="76519"/>
                      <a:pt x="83327" y="102416"/>
                      <a:pt x="55628" y="102274"/>
                    </a:cubicBezTo>
                    <a:cubicBezTo>
                      <a:pt x="21677" y="102133"/>
                      <a:pt x="1504" y="80229"/>
                      <a:pt x="55" y="48291"/>
                    </a:cubicBezTo>
                    <a:cubicBezTo>
                      <a:pt x="-1216" y="20098"/>
                      <a:pt x="19522" y="1162"/>
                      <a:pt x="47821" y="31"/>
                    </a:cubicBezTo>
                    <a:cubicBezTo>
                      <a:pt x="75519" y="-1064"/>
                      <a:pt x="111025" y="26987"/>
                      <a:pt x="106856" y="52778"/>
                    </a:cubicBezTo>
                    <a:close/>
                    <a:moveTo>
                      <a:pt x="49234" y="11867"/>
                    </a:moveTo>
                    <a:cubicBezTo>
                      <a:pt x="27259" y="9076"/>
                      <a:pt x="10690" y="27906"/>
                      <a:pt x="11326" y="48680"/>
                    </a:cubicBezTo>
                    <a:cubicBezTo>
                      <a:pt x="12032" y="72103"/>
                      <a:pt x="30015" y="91146"/>
                      <a:pt x="52873" y="91004"/>
                    </a:cubicBezTo>
                    <a:cubicBezTo>
                      <a:pt x="76720" y="90863"/>
                      <a:pt x="93855" y="74117"/>
                      <a:pt x="95728" y="53025"/>
                    </a:cubicBezTo>
                    <a:cubicBezTo>
                      <a:pt x="97635" y="31757"/>
                      <a:pt x="70962" y="8899"/>
                      <a:pt x="49234" y="11831"/>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1" name="Freeform: Shape 3580">
                <a:extLst>
                  <a:ext uri="{FF2B5EF4-FFF2-40B4-BE49-F238E27FC236}">
                    <a16:creationId xmlns:a16="http://schemas.microsoft.com/office/drawing/2014/main" id="{749F7D1A-DC79-A04C-6468-2FE74B8FC9FF}"/>
                  </a:ext>
                </a:extLst>
              </p:cNvPr>
              <p:cNvSpPr/>
              <p:nvPr/>
            </p:nvSpPr>
            <p:spPr>
              <a:xfrm>
                <a:off x="8078119" y="4647973"/>
                <a:ext cx="98400" cy="92733"/>
              </a:xfrm>
              <a:custGeom>
                <a:avLst/>
                <a:gdLst>
                  <a:gd name="connsiteX0" fmla="*/ 45716 w 98400"/>
                  <a:gd name="connsiteY0" fmla="*/ 191 h 92733"/>
                  <a:gd name="connsiteX1" fmla="*/ 98357 w 98400"/>
                  <a:gd name="connsiteY1" fmla="*/ 49051 h 92733"/>
                  <a:gd name="connsiteX2" fmla="*/ 47447 w 98400"/>
                  <a:gd name="connsiteY2" fmla="*/ 92718 h 92733"/>
                  <a:gd name="connsiteX3" fmla="*/ 0 w 98400"/>
                  <a:gd name="connsiteY3" fmla="*/ 43010 h 92733"/>
                  <a:gd name="connsiteX4" fmla="*/ 45716 w 98400"/>
                  <a:gd name="connsiteY4" fmla="*/ 155 h 92733"/>
                  <a:gd name="connsiteX5" fmla="*/ 48578 w 98400"/>
                  <a:gd name="connsiteY5" fmla="*/ 81625 h 92733"/>
                  <a:gd name="connsiteX6" fmla="*/ 87440 w 98400"/>
                  <a:gd name="connsiteY6" fmla="*/ 46507 h 92733"/>
                  <a:gd name="connsiteX7" fmla="*/ 44727 w 98400"/>
                  <a:gd name="connsiteY7" fmla="*/ 9871 h 92733"/>
                  <a:gd name="connsiteX8" fmla="*/ 10811 w 98400"/>
                  <a:gd name="connsiteY8" fmla="*/ 43999 h 92733"/>
                  <a:gd name="connsiteX9" fmla="*/ 48613 w 98400"/>
                  <a:gd name="connsiteY9" fmla="*/ 81625 h 9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400" h="92733">
                    <a:moveTo>
                      <a:pt x="45716" y="191"/>
                    </a:moveTo>
                    <a:cubicBezTo>
                      <a:pt x="70977" y="-2388"/>
                      <a:pt x="99664" y="21565"/>
                      <a:pt x="98357" y="49051"/>
                    </a:cubicBezTo>
                    <a:cubicBezTo>
                      <a:pt x="97191" y="74029"/>
                      <a:pt x="77301" y="93354"/>
                      <a:pt x="47447" y="92718"/>
                    </a:cubicBezTo>
                    <a:cubicBezTo>
                      <a:pt x="18725" y="92082"/>
                      <a:pt x="71" y="72015"/>
                      <a:pt x="0" y="43010"/>
                    </a:cubicBezTo>
                    <a:cubicBezTo>
                      <a:pt x="-71" y="18385"/>
                      <a:pt x="16711" y="-1152"/>
                      <a:pt x="45716" y="155"/>
                    </a:cubicBezTo>
                    <a:close/>
                    <a:moveTo>
                      <a:pt x="48578" y="81625"/>
                    </a:moveTo>
                    <a:cubicBezTo>
                      <a:pt x="69634" y="81342"/>
                      <a:pt x="87687" y="65020"/>
                      <a:pt x="87440" y="46507"/>
                    </a:cubicBezTo>
                    <a:cubicBezTo>
                      <a:pt x="87193" y="29019"/>
                      <a:pt x="65218" y="10189"/>
                      <a:pt x="44727" y="9871"/>
                    </a:cubicBezTo>
                    <a:cubicBezTo>
                      <a:pt x="27416" y="9624"/>
                      <a:pt x="10140" y="27006"/>
                      <a:pt x="10811" y="43999"/>
                    </a:cubicBezTo>
                    <a:cubicBezTo>
                      <a:pt x="11623" y="64843"/>
                      <a:pt x="28723" y="81872"/>
                      <a:pt x="48613" y="81625"/>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2" name="Freeform: Shape 3581">
                <a:extLst>
                  <a:ext uri="{FF2B5EF4-FFF2-40B4-BE49-F238E27FC236}">
                    <a16:creationId xmlns:a16="http://schemas.microsoft.com/office/drawing/2014/main" id="{9C062609-0775-AA04-4039-15936FFA4DFD}"/>
                  </a:ext>
                </a:extLst>
              </p:cNvPr>
              <p:cNvSpPr/>
              <p:nvPr/>
            </p:nvSpPr>
            <p:spPr>
              <a:xfrm>
                <a:off x="8545276" y="4159127"/>
                <a:ext cx="94933" cy="90991"/>
              </a:xfrm>
              <a:custGeom>
                <a:avLst/>
                <a:gdLst>
                  <a:gd name="connsiteX0" fmla="*/ 94933 w 94933"/>
                  <a:gd name="connsiteY0" fmla="*/ 47278 h 90991"/>
                  <a:gd name="connsiteX1" fmla="*/ 47592 w 94933"/>
                  <a:gd name="connsiteY1" fmla="*/ 90981 h 90991"/>
                  <a:gd name="connsiteX2" fmla="*/ 3 w 94933"/>
                  <a:gd name="connsiteY2" fmla="*/ 41767 h 90991"/>
                  <a:gd name="connsiteX3" fmla="*/ 47627 w 94933"/>
                  <a:gd name="connsiteY3" fmla="*/ 114 h 90991"/>
                  <a:gd name="connsiteX4" fmla="*/ 94898 w 94933"/>
                  <a:gd name="connsiteY4" fmla="*/ 47278 h 90991"/>
                  <a:gd name="connsiteX5" fmla="*/ 47486 w 94933"/>
                  <a:gd name="connsiteY5" fmla="*/ 79534 h 90991"/>
                  <a:gd name="connsiteX6" fmla="*/ 84865 w 94933"/>
                  <a:gd name="connsiteY6" fmla="*/ 47031 h 90991"/>
                  <a:gd name="connsiteX7" fmla="*/ 42787 w 94933"/>
                  <a:gd name="connsiteY7" fmla="*/ 10289 h 90991"/>
                  <a:gd name="connsiteX8" fmla="*/ 11062 w 94933"/>
                  <a:gd name="connsiteY8" fmla="*/ 42156 h 90991"/>
                  <a:gd name="connsiteX9" fmla="*/ 47486 w 94933"/>
                  <a:gd name="connsiteY9" fmla="*/ 79534 h 9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933" h="90991">
                    <a:moveTo>
                      <a:pt x="94933" y="47278"/>
                    </a:moveTo>
                    <a:cubicBezTo>
                      <a:pt x="94863" y="71479"/>
                      <a:pt x="73912" y="91511"/>
                      <a:pt x="47592" y="90981"/>
                    </a:cubicBezTo>
                    <a:cubicBezTo>
                      <a:pt x="17915" y="90380"/>
                      <a:pt x="357" y="68865"/>
                      <a:pt x="3" y="41767"/>
                    </a:cubicBezTo>
                    <a:cubicBezTo>
                      <a:pt x="-279" y="18980"/>
                      <a:pt x="16961" y="-1723"/>
                      <a:pt x="47627" y="114"/>
                    </a:cubicBezTo>
                    <a:cubicBezTo>
                      <a:pt x="72746" y="1598"/>
                      <a:pt x="94969" y="22407"/>
                      <a:pt x="94898" y="47278"/>
                    </a:cubicBezTo>
                    <a:close/>
                    <a:moveTo>
                      <a:pt x="47486" y="79534"/>
                    </a:moveTo>
                    <a:cubicBezTo>
                      <a:pt x="66917" y="79464"/>
                      <a:pt x="84758" y="63954"/>
                      <a:pt x="84865" y="47031"/>
                    </a:cubicBezTo>
                    <a:cubicBezTo>
                      <a:pt x="84970" y="28730"/>
                      <a:pt x="63914" y="9511"/>
                      <a:pt x="42787" y="10289"/>
                    </a:cubicBezTo>
                    <a:cubicBezTo>
                      <a:pt x="24239" y="10960"/>
                      <a:pt x="10779" y="25268"/>
                      <a:pt x="11062" y="42156"/>
                    </a:cubicBezTo>
                    <a:cubicBezTo>
                      <a:pt x="11415" y="62788"/>
                      <a:pt x="27419" y="79605"/>
                      <a:pt x="47486" y="79534"/>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3" name="Freeform: Shape 3582">
                <a:extLst>
                  <a:ext uri="{FF2B5EF4-FFF2-40B4-BE49-F238E27FC236}">
                    <a16:creationId xmlns:a16="http://schemas.microsoft.com/office/drawing/2014/main" id="{2A094F6A-F1AB-5029-3E3E-A27327B836D3}"/>
                  </a:ext>
                </a:extLst>
              </p:cNvPr>
              <p:cNvSpPr/>
              <p:nvPr/>
            </p:nvSpPr>
            <p:spPr>
              <a:xfrm>
                <a:off x="8593548" y="4904505"/>
                <a:ext cx="79321" cy="76427"/>
              </a:xfrm>
              <a:custGeom>
                <a:avLst/>
                <a:gdLst>
                  <a:gd name="connsiteX0" fmla="*/ 132 w 79321"/>
                  <a:gd name="connsiteY0" fmla="*/ 36398 h 76427"/>
                  <a:gd name="connsiteX1" fmla="*/ 37828 w 79321"/>
                  <a:gd name="connsiteY1" fmla="*/ 45 h 76427"/>
                  <a:gd name="connsiteX2" fmla="*/ 79305 w 79321"/>
                  <a:gd name="connsiteY2" fmla="*/ 41203 h 76427"/>
                  <a:gd name="connsiteX3" fmla="*/ 38040 w 79321"/>
                  <a:gd name="connsiteY3" fmla="*/ 76427 h 76427"/>
                  <a:gd name="connsiteX4" fmla="*/ 132 w 79321"/>
                  <a:gd name="connsiteY4" fmla="*/ 36434 h 76427"/>
                  <a:gd name="connsiteX5" fmla="*/ 37828 w 79321"/>
                  <a:gd name="connsiteY5" fmla="*/ 64803 h 76427"/>
                  <a:gd name="connsiteX6" fmla="*/ 67646 w 79321"/>
                  <a:gd name="connsiteY6" fmla="*/ 39578 h 76427"/>
                  <a:gd name="connsiteX7" fmla="*/ 37087 w 79321"/>
                  <a:gd name="connsiteY7" fmla="*/ 11244 h 76427"/>
                  <a:gd name="connsiteX8" fmla="*/ 11685 w 79321"/>
                  <a:gd name="connsiteY8" fmla="*/ 34879 h 76427"/>
                  <a:gd name="connsiteX9" fmla="*/ 37793 w 79321"/>
                  <a:gd name="connsiteY9" fmla="*/ 64768 h 76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321" h="76427">
                    <a:moveTo>
                      <a:pt x="132" y="36398"/>
                    </a:moveTo>
                    <a:cubicBezTo>
                      <a:pt x="-1670" y="16967"/>
                      <a:pt x="15217" y="-1015"/>
                      <a:pt x="37828" y="45"/>
                    </a:cubicBezTo>
                    <a:cubicBezTo>
                      <a:pt x="60686" y="1140"/>
                      <a:pt x="79976" y="17215"/>
                      <a:pt x="79305" y="41203"/>
                    </a:cubicBezTo>
                    <a:cubicBezTo>
                      <a:pt x="78740" y="61129"/>
                      <a:pt x="61004" y="76568"/>
                      <a:pt x="38040" y="76427"/>
                    </a:cubicBezTo>
                    <a:cubicBezTo>
                      <a:pt x="16913" y="76321"/>
                      <a:pt x="61" y="58515"/>
                      <a:pt x="132" y="36434"/>
                    </a:cubicBezTo>
                    <a:close/>
                    <a:moveTo>
                      <a:pt x="37828" y="64803"/>
                    </a:moveTo>
                    <a:cubicBezTo>
                      <a:pt x="55352" y="64980"/>
                      <a:pt x="67505" y="54699"/>
                      <a:pt x="67646" y="39578"/>
                    </a:cubicBezTo>
                    <a:cubicBezTo>
                      <a:pt x="67752" y="24174"/>
                      <a:pt x="54362" y="11739"/>
                      <a:pt x="37087" y="11244"/>
                    </a:cubicBezTo>
                    <a:cubicBezTo>
                      <a:pt x="21718" y="10820"/>
                      <a:pt x="11861" y="19970"/>
                      <a:pt x="11685" y="34879"/>
                    </a:cubicBezTo>
                    <a:cubicBezTo>
                      <a:pt x="11473" y="53710"/>
                      <a:pt x="20976" y="64591"/>
                      <a:pt x="37793" y="64768"/>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4" name="Freeform: Shape 3583">
                <a:extLst>
                  <a:ext uri="{FF2B5EF4-FFF2-40B4-BE49-F238E27FC236}">
                    <a16:creationId xmlns:a16="http://schemas.microsoft.com/office/drawing/2014/main" id="{52D9233C-F6DE-4D74-D6C1-2389F954AF56}"/>
                  </a:ext>
                </a:extLst>
              </p:cNvPr>
              <p:cNvSpPr/>
              <p:nvPr/>
            </p:nvSpPr>
            <p:spPr>
              <a:xfrm>
                <a:off x="8831539" y="4608172"/>
                <a:ext cx="80676" cy="75078"/>
              </a:xfrm>
              <a:custGeom>
                <a:avLst/>
                <a:gdLst>
                  <a:gd name="connsiteX0" fmla="*/ 39653 w 80676"/>
                  <a:gd name="connsiteY0" fmla="*/ 74897 h 75078"/>
                  <a:gd name="connsiteX1" fmla="*/ 14 w 80676"/>
                  <a:gd name="connsiteY1" fmla="*/ 35575 h 75078"/>
                  <a:gd name="connsiteX2" fmla="*/ 38417 w 80676"/>
                  <a:gd name="connsiteY2" fmla="*/ 105 h 75078"/>
                  <a:gd name="connsiteX3" fmla="*/ 80671 w 80676"/>
                  <a:gd name="connsiteY3" fmla="*/ 39568 h 75078"/>
                  <a:gd name="connsiteX4" fmla="*/ 39653 w 80676"/>
                  <a:gd name="connsiteY4" fmla="*/ 74862 h 75078"/>
                  <a:gd name="connsiteX5" fmla="*/ 69224 w 80676"/>
                  <a:gd name="connsiteY5" fmla="*/ 40062 h 75078"/>
                  <a:gd name="connsiteX6" fmla="*/ 36827 w 80676"/>
                  <a:gd name="connsiteY6" fmla="*/ 9962 h 75078"/>
                  <a:gd name="connsiteX7" fmla="*/ 11107 w 80676"/>
                  <a:gd name="connsiteY7" fmla="*/ 34657 h 75078"/>
                  <a:gd name="connsiteX8" fmla="*/ 39477 w 80676"/>
                  <a:gd name="connsiteY8" fmla="*/ 65499 h 75078"/>
                  <a:gd name="connsiteX9" fmla="*/ 69224 w 80676"/>
                  <a:gd name="connsiteY9" fmla="*/ 40062 h 7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76" h="75078">
                    <a:moveTo>
                      <a:pt x="39653" y="74897"/>
                    </a:moveTo>
                    <a:cubicBezTo>
                      <a:pt x="18279" y="77123"/>
                      <a:pt x="720" y="58540"/>
                      <a:pt x="14" y="35575"/>
                    </a:cubicBezTo>
                    <a:cubicBezTo>
                      <a:pt x="-481" y="19289"/>
                      <a:pt x="12132" y="-1662"/>
                      <a:pt x="38417" y="105"/>
                    </a:cubicBezTo>
                    <a:cubicBezTo>
                      <a:pt x="61063" y="1624"/>
                      <a:pt x="81059" y="18370"/>
                      <a:pt x="80671" y="39568"/>
                    </a:cubicBezTo>
                    <a:cubicBezTo>
                      <a:pt x="80388" y="55254"/>
                      <a:pt x="65161" y="77087"/>
                      <a:pt x="39653" y="74862"/>
                    </a:cubicBezTo>
                    <a:close/>
                    <a:moveTo>
                      <a:pt x="69224" y="40062"/>
                    </a:moveTo>
                    <a:cubicBezTo>
                      <a:pt x="69330" y="24835"/>
                      <a:pt x="53432" y="10068"/>
                      <a:pt x="36827" y="9962"/>
                    </a:cubicBezTo>
                    <a:cubicBezTo>
                      <a:pt x="23225" y="9856"/>
                      <a:pt x="11531" y="21090"/>
                      <a:pt x="11107" y="34657"/>
                    </a:cubicBezTo>
                    <a:cubicBezTo>
                      <a:pt x="10613" y="50696"/>
                      <a:pt x="23684" y="64934"/>
                      <a:pt x="39477" y="65499"/>
                    </a:cubicBezTo>
                    <a:cubicBezTo>
                      <a:pt x="53608" y="66029"/>
                      <a:pt x="69118" y="52746"/>
                      <a:pt x="69224" y="40062"/>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5" name="Freeform: Shape 3584">
                <a:extLst>
                  <a:ext uri="{FF2B5EF4-FFF2-40B4-BE49-F238E27FC236}">
                    <a16:creationId xmlns:a16="http://schemas.microsoft.com/office/drawing/2014/main" id="{20CB37E8-9897-208F-AF0A-1F057A21EAE1}"/>
                  </a:ext>
                </a:extLst>
              </p:cNvPr>
              <p:cNvSpPr/>
              <p:nvPr/>
            </p:nvSpPr>
            <p:spPr>
              <a:xfrm>
                <a:off x="8603149" y="4392237"/>
                <a:ext cx="48685" cy="46529"/>
              </a:xfrm>
              <a:custGeom>
                <a:avLst/>
                <a:gdLst>
                  <a:gd name="connsiteX0" fmla="*/ 48684 w 48685"/>
                  <a:gd name="connsiteY0" fmla="*/ 24802 h 46529"/>
                  <a:gd name="connsiteX1" fmla="*/ 25402 w 48685"/>
                  <a:gd name="connsiteY1" fmla="*/ 46530 h 46529"/>
                  <a:gd name="connsiteX2" fmla="*/ 0 w 48685"/>
                  <a:gd name="connsiteY2" fmla="*/ 23212 h 46529"/>
                  <a:gd name="connsiteX3" fmla="*/ 23247 w 48685"/>
                  <a:gd name="connsiteY3" fmla="*/ 1 h 46529"/>
                  <a:gd name="connsiteX4" fmla="*/ 48684 w 48685"/>
                  <a:gd name="connsiteY4" fmla="*/ 24802 h 46529"/>
                  <a:gd name="connsiteX5" fmla="*/ 23883 w 48685"/>
                  <a:gd name="connsiteY5" fmla="*/ 34977 h 46529"/>
                  <a:gd name="connsiteX6" fmla="*/ 36884 w 48685"/>
                  <a:gd name="connsiteY6" fmla="*/ 24555 h 46529"/>
                  <a:gd name="connsiteX7" fmla="*/ 22328 w 48685"/>
                  <a:gd name="connsiteY7" fmla="*/ 11660 h 46529"/>
                  <a:gd name="connsiteX8" fmla="*/ 11588 w 48685"/>
                  <a:gd name="connsiteY8" fmla="*/ 22400 h 46529"/>
                  <a:gd name="connsiteX9" fmla="*/ 23847 w 48685"/>
                  <a:gd name="connsiteY9" fmla="*/ 34942 h 46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685" h="46529">
                    <a:moveTo>
                      <a:pt x="48684" y="24802"/>
                    </a:moveTo>
                    <a:cubicBezTo>
                      <a:pt x="48507" y="37733"/>
                      <a:pt x="39109" y="46530"/>
                      <a:pt x="25402" y="46530"/>
                    </a:cubicBezTo>
                    <a:cubicBezTo>
                      <a:pt x="12118" y="46530"/>
                      <a:pt x="-35" y="35401"/>
                      <a:pt x="0" y="23212"/>
                    </a:cubicBezTo>
                    <a:cubicBezTo>
                      <a:pt x="0" y="9151"/>
                      <a:pt x="9256" y="-105"/>
                      <a:pt x="23247" y="1"/>
                    </a:cubicBezTo>
                    <a:cubicBezTo>
                      <a:pt x="36848" y="107"/>
                      <a:pt x="48860" y="11836"/>
                      <a:pt x="48684" y="24802"/>
                    </a:cubicBezTo>
                    <a:close/>
                    <a:moveTo>
                      <a:pt x="23883" y="34977"/>
                    </a:moveTo>
                    <a:cubicBezTo>
                      <a:pt x="31726" y="35083"/>
                      <a:pt x="37167" y="32469"/>
                      <a:pt x="36884" y="24555"/>
                    </a:cubicBezTo>
                    <a:cubicBezTo>
                      <a:pt x="36566" y="15793"/>
                      <a:pt x="30984" y="11589"/>
                      <a:pt x="22328" y="11660"/>
                    </a:cubicBezTo>
                    <a:cubicBezTo>
                      <a:pt x="15333" y="11695"/>
                      <a:pt x="11270" y="15369"/>
                      <a:pt x="11588" y="22400"/>
                    </a:cubicBezTo>
                    <a:cubicBezTo>
                      <a:pt x="11941" y="30278"/>
                      <a:pt x="15333" y="35825"/>
                      <a:pt x="23847" y="34942"/>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6" name="Freeform: Shape 3585">
                <a:extLst>
                  <a:ext uri="{FF2B5EF4-FFF2-40B4-BE49-F238E27FC236}">
                    <a16:creationId xmlns:a16="http://schemas.microsoft.com/office/drawing/2014/main" id="{F9B47159-2FD5-2FE5-3B2C-BB6B05EDCC06}"/>
                  </a:ext>
                </a:extLst>
              </p:cNvPr>
              <p:cNvSpPr/>
              <p:nvPr/>
            </p:nvSpPr>
            <p:spPr>
              <a:xfrm>
                <a:off x="8288857" y="4548111"/>
                <a:ext cx="48552" cy="46431"/>
              </a:xfrm>
              <a:custGeom>
                <a:avLst/>
                <a:gdLst>
                  <a:gd name="connsiteX0" fmla="*/ 21623 w 48552"/>
                  <a:gd name="connsiteY0" fmla="*/ 0 h 46431"/>
                  <a:gd name="connsiteX1" fmla="*/ 48544 w 48552"/>
                  <a:gd name="connsiteY1" fmla="*/ 21692 h 46431"/>
                  <a:gd name="connsiteX2" fmla="*/ 23708 w 48552"/>
                  <a:gd name="connsiteY2" fmla="*/ 46423 h 46431"/>
                  <a:gd name="connsiteX3" fmla="*/ 1 w 48552"/>
                  <a:gd name="connsiteY3" fmla="*/ 19043 h 46431"/>
                  <a:gd name="connsiteX4" fmla="*/ 21623 w 48552"/>
                  <a:gd name="connsiteY4" fmla="*/ 35 h 46431"/>
                  <a:gd name="connsiteX5" fmla="*/ 21694 w 48552"/>
                  <a:gd name="connsiteY5" fmla="*/ 9609 h 46431"/>
                  <a:gd name="connsiteX6" fmla="*/ 9682 w 48552"/>
                  <a:gd name="connsiteY6" fmla="*/ 20880 h 46431"/>
                  <a:gd name="connsiteX7" fmla="*/ 22648 w 48552"/>
                  <a:gd name="connsiteY7" fmla="*/ 34517 h 46431"/>
                  <a:gd name="connsiteX8" fmla="*/ 36991 w 48552"/>
                  <a:gd name="connsiteY8" fmla="*/ 23741 h 46431"/>
                  <a:gd name="connsiteX9" fmla="*/ 21694 w 48552"/>
                  <a:gd name="connsiteY9" fmla="*/ 9574 h 4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552" h="46431">
                    <a:moveTo>
                      <a:pt x="21623" y="0"/>
                    </a:moveTo>
                    <a:cubicBezTo>
                      <a:pt x="35684" y="71"/>
                      <a:pt x="48155" y="10104"/>
                      <a:pt x="48544" y="21692"/>
                    </a:cubicBezTo>
                    <a:cubicBezTo>
                      <a:pt x="48933" y="32821"/>
                      <a:pt x="35614" y="46069"/>
                      <a:pt x="23708" y="46423"/>
                    </a:cubicBezTo>
                    <a:cubicBezTo>
                      <a:pt x="10883" y="46811"/>
                      <a:pt x="-140" y="34022"/>
                      <a:pt x="1" y="19043"/>
                    </a:cubicBezTo>
                    <a:cubicBezTo>
                      <a:pt x="143" y="5688"/>
                      <a:pt x="6643" y="-35"/>
                      <a:pt x="21623" y="35"/>
                    </a:cubicBezTo>
                    <a:close/>
                    <a:moveTo>
                      <a:pt x="21694" y="9609"/>
                    </a:moveTo>
                    <a:cubicBezTo>
                      <a:pt x="16218" y="11270"/>
                      <a:pt x="9682" y="13249"/>
                      <a:pt x="9682" y="20880"/>
                    </a:cubicBezTo>
                    <a:cubicBezTo>
                      <a:pt x="9682" y="28864"/>
                      <a:pt x="14734" y="34199"/>
                      <a:pt x="22648" y="34517"/>
                    </a:cubicBezTo>
                    <a:cubicBezTo>
                      <a:pt x="29537" y="34799"/>
                      <a:pt x="35684" y="31514"/>
                      <a:pt x="36991" y="23741"/>
                    </a:cubicBezTo>
                    <a:cubicBezTo>
                      <a:pt x="37910" y="18336"/>
                      <a:pt x="28583" y="9716"/>
                      <a:pt x="21694" y="9574"/>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7" name="Freeform: Shape 3586">
                <a:extLst>
                  <a:ext uri="{FF2B5EF4-FFF2-40B4-BE49-F238E27FC236}">
                    <a16:creationId xmlns:a16="http://schemas.microsoft.com/office/drawing/2014/main" id="{FEFBE0E8-9A30-5968-C5B7-0787198230F0}"/>
                  </a:ext>
                </a:extLst>
              </p:cNvPr>
              <p:cNvSpPr/>
              <p:nvPr/>
            </p:nvSpPr>
            <p:spPr>
              <a:xfrm>
                <a:off x="8819327" y="4468999"/>
                <a:ext cx="32575" cy="32593"/>
              </a:xfrm>
              <a:custGeom>
                <a:avLst/>
                <a:gdLst>
                  <a:gd name="connsiteX0" fmla="*/ 2 w 32575"/>
                  <a:gd name="connsiteY0" fmla="*/ 16014 h 32593"/>
                  <a:gd name="connsiteX1" fmla="*/ 16607 w 32575"/>
                  <a:gd name="connsiteY1" fmla="*/ 10 h 32593"/>
                  <a:gd name="connsiteX2" fmla="*/ 32575 w 32575"/>
                  <a:gd name="connsiteY2" fmla="*/ 16438 h 32593"/>
                  <a:gd name="connsiteX3" fmla="*/ 14522 w 32575"/>
                  <a:gd name="connsiteY3" fmla="*/ 32584 h 32593"/>
                  <a:gd name="connsiteX4" fmla="*/ 2 w 32575"/>
                  <a:gd name="connsiteY4" fmla="*/ 16014 h 3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5" h="32593">
                    <a:moveTo>
                      <a:pt x="2" y="16014"/>
                    </a:moveTo>
                    <a:cubicBezTo>
                      <a:pt x="72" y="5521"/>
                      <a:pt x="6078" y="-273"/>
                      <a:pt x="16607" y="10"/>
                    </a:cubicBezTo>
                    <a:cubicBezTo>
                      <a:pt x="24909" y="222"/>
                      <a:pt x="32575" y="8100"/>
                      <a:pt x="32575" y="16438"/>
                    </a:cubicBezTo>
                    <a:cubicBezTo>
                      <a:pt x="32575" y="27037"/>
                      <a:pt x="26039" y="32866"/>
                      <a:pt x="14522" y="32584"/>
                    </a:cubicBezTo>
                    <a:cubicBezTo>
                      <a:pt x="4559" y="32336"/>
                      <a:pt x="-104" y="27037"/>
                      <a:pt x="2" y="16014"/>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8" name="Freeform: Shape 3587">
                <a:extLst>
                  <a:ext uri="{FF2B5EF4-FFF2-40B4-BE49-F238E27FC236}">
                    <a16:creationId xmlns:a16="http://schemas.microsoft.com/office/drawing/2014/main" id="{41471AC6-F960-07E8-6DDB-C4C0BEF12BAA}"/>
                  </a:ext>
                </a:extLst>
              </p:cNvPr>
              <p:cNvSpPr/>
              <p:nvPr/>
            </p:nvSpPr>
            <p:spPr>
              <a:xfrm>
                <a:off x="8803077" y="4745920"/>
                <a:ext cx="32260" cy="32326"/>
              </a:xfrm>
              <a:custGeom>
                <a:avLst/>
                <a:gdLst>
                  <a:gd name="connsiteX0" fmla="*/ 15899 w 32260"/>
                  <a:gd name="connsiteY0" fmla="*/ 0 h 32326"/>
                  <a:gd name="connsiteX1" fmla="*/ 32256 w 32260"/>
                  <a:gd name="connsiteY1" fmla="*/ 14980 h 32326"/>
                  <a:gd name="connsiteX2" fmla="*/ 15122 w 32260"/>
                  <a:gd name="connsiteY2" fmla="*/ 32327 h 32326"/>
                  <a:gd name="connsiteX3" fmla="*/ 1 w 32260"/>
                  <a:gd name="connsiteY3" fmla="*/ 17241 h 32326"/>
                  <a:gd name="connsiteX4" fmla="*/ 15899 w 32260"/>
                  <a:gd name="connsiteY4" fmla="*/ 0 h 32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60" h="32326">
                    <a:moveTo>
                      <a:pt x="15899" y="0"/>
                    </a:moveTo>
                    <a:cubicBezTo>
                      <a:pt x="23389" y="-70"/>
                      <a:pt x="32009" y="7844"/>
                      <a:pt x="32256" y="14980"/>
                    </a:cubicBezTo>
                    <a:cubicBezTo>
                      <a:pt x="32503" y="22399"/>
                      <a:pt x="22718" y="32327"/>
                      <a:pt x="15122" y="32327"/>
                    </a:cubicBezTo>
                    <a:cubicBezTo>
                      <a:pt x="8621" y="32327"/>
                      <a:pt x="36" y="23777"/>
                      <a:pt x="1" y="17241"/>
                    </a:cubicBezTo>
                    <a:cubicBezTo>
                      <a:pt x="-70" y="6642"/>
                      <a:pt x="5971" y="107"/>
                      <a:pt x="15899" y="0"/>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9" name="Freeform: Shape 3588">
                <a:extLst>
                  <a:ext uri="{FF2B5EF4-FFF2-40B4-BE49-F238E27FC236}">
                    <a16:creationId xmlns:a16="http://schemas.microsoft.com/office/drawing/2014/main" id="{F5FBA0F1-3ADA-FB93-A5E6-8A0A4B7D52D8}"/>
                  </a:ext>
                </a:extLst>
              </p:cNvPr>
              <p:cNvSpPr/>
              <p:nvPr/>
            </p:nvSpPr>
            <p:spPr>
              <a:xfrm>
                <a:off x="8551810" y="5018133"/>
                <a:ext cx="30249" cy="32305"/>
              </a:xfrm>
              <a:custGeom>
                <a:avLst/>
                <a:gdLst>
                  <a:gd name="connsiteX0" fmla="*/ 11875 w 30249"/>
                  <a:gd name="connsiteY0" fmla="*/ 0 h 32305"/>
                  <a:gd name="connsiteX1" fmla="*/ 30247 w 30249"/>
                  <a:gd name="connsiteY1" fmla="*/ 15545 h 32305"/>
                  <a:gd name="connsiteX2" fmla="*/ 14560 w 30249"/>
                  <a:gd name="connsiteY2" fmla="*/ 32291 h 32305"/>
                  <a:gd name="connsiteX3" fmla="*/ 5 w 30249"/>
                  <a:gd name="connsiteY3" fmla="*/ 14379 h 32305"/>
                  <a:gd name="connsiteX4" fmla="*/ 11911 w 30249"/>
                  <a:gd name="connsiteY4" fmla="*/ 0 h 32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9" h="32305">
                    <a:moveTo>
                      <a:pt x="11875" y="0"/>
                    </a:moveTo>
                    <a:cubicBezTo>
                      <a:pt x="24488" y="141"/>
                      <a:pt x="30388" y="5900"/>
                      <a:pt x="30247" y="15545"/>
                    </a:cubicBezTo>
                    <a:cubicBezTo>
                      <a:pt x="30141" y="23918"/>
                      <a:pt x="21873" y="32715"/>
                      <a:pt x="14560" y="32291"/>
                    </a:cubicBezTo>
                    <a:cubicBezTo>
                      <a:pt x="7000" y="31832"/>
                      <a:pt x="-208" y="22894"/>
                      <a:pt x="5" y="14379"/>
                    </a:cubicBezTo>
                    <a:cubicBezTo>
                      <a:pt x="252" y="5017"/>
                      <a:pt x="5339" y="565"/>
                      <a:pt x="11911" y="0"/>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0" name="Freeform: Shape 3589">
                <a:extLst>
                  <a:ext uri="{FF2B5EF4-FFF2-40B4-BE49-F238E27FC236}">
                    <a16:creationId xmlns:a16="http://schemas.microsoft.com/office/drawing/2014/main" id="{662962A5-3188-C013-217E-E878F3B1DF4B}"/>
                  </a:ext>
                </a:extLst>
              </p:cNvPr>
              <p:cNvSpPr/>
              <p:nvPr/>
            </p:nvSpPr>
            <p:spPr>
              <a:xfrm>
                <a:off x="8310007" y="4913556"/>
                <a:ext cx="30009" cy="30251"/>
              </a:xfrm>
              <a:custGeom>
                <a:avLst/>
                <a:gdLst>
                  <a:gd name="connsiteX0" fmla="*/ 30009 w 30009"/>
                  <a:gd name="connsiteY0" fmla="*/ 18691 h 30251"/>
                  <a:gd name="connsiteX1" fmla="*/ 14994 w 30009"/>
                  <a:gd name="connsiteY1" fmla="*/ 30244 h 30251"/>
                  <a:gd name="connsiteX2" fmla="*/ 49 w 30009"/>
                  <a:gd name="connsiteY2" fmla="*/ 16218 h 30251"/>
                  <a:gd name="connsiteX3" fmla="*/ 13863 w 30009"/>
                  <a:gd name="connsiteY3" fmla="*/ 2 h 30251"/>
                  <a:gd name="connsiteX4" fmla="*/ 29974 w 30009"/>
                  <a:gd name="connsiteY4" fmla="*/ 18691 h 30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09" h="30251">
                    <a:moveTo>
                      <a:pt x="30009" y="18691"/>
                    </a:moveTo>
                    <a:cubicBezTo>
                      <a:pt x="29020" y="25403"/>
                      <a:pt x="24356" y="30032"/>
                      <a:pt x="14994" y="30244"/>
                    </a:cubicBezTo>
                    <a:cubicBezTo>
                      <a:pt x="5066" y="30491"/>
                      <a:pt x="1039" y="24626"/>
                      <a:pt x="49" y="16218"/>
                    </a:cubicBezTo>
                    <a:cubicBezTo>
                      <a:pt x="-728" y="9435"/>
                      <a:pt x="7822" y="108"/>
                      <a:pt x="13863" y="2"/>
                    </a:cubicBezTo>
                    <a:cubicBezTo>
                      <a:pt x="21565" y="-140"/>
                      <a:pt x="30150" y="8657"/>
                      <a:pt x="29974" y="18691"/>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1" name="Freeform: Shape 3590">
                <a:extLst>
                  <a:ext uri="{FF2B5EF4-FFF2-40B4-BE49-F238E27FC236}">
                    <a16:creationId xmlns:a16="http://schemas.microsoft.com/office/drawing/2014/main" id="{F37A3419-780F-D89B-10A6-2A9533015BCC}"/>
                  </a:ext>
                </a:extLst>
              </p:cNvPr>
              <p:cNvSpPr/>
              <p:nvPr/>
            </p:nvSpPr>
            <p:spPr>
              <a:xfrm>
                <a:off x="8712349" y="4946270"/>
                <a:ext cx="25792" cy="27227"/>
              </a:xfrm>
              <a:custGeom>
                <a:avLst/>
                <a:gdLst>
                  <a:gd name="connsiteX0" fmla="*/ 25793 w 25792"/>
                  <a:gd name="connsiteY0" fmla="*/ 13781 h 27227"/>
                  <a:gd name="connsiteX1" fmla="*/ 13181 w 25792"/>
                  <a:gd name="connsiteY1" fmla="*/ 27206 h 27227"/>
                  <a:gd name="connsiteX2" fmla="*/ 2 w 25792"/>
                  <a:gd name="connsiteY2" fmla="*/ 14099 h 27227"/>
                  <a:gd name="connsiteX3" fmla="*/ 13145 w 25792"/>
                  <a:gd name="connsiteY3" fmla="*/ 3 h 27227"/>
                  <a:gd name="connsiteX4" fmla="*/ 25793 w 25792"/>
                  <a:gd name="connsiteY4" fmla="*/ 13781 h 27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92" h="27227">
                    <a:moveTo>
                      <a:pt x="25793" y="13781"/>
                    </a:moveTo>
                    <a:cubicBezTo>
                      <a:pt x="25051" y="21553"/>
                      <a:pt x="21271" y="27630"/>
                      <a:pt x="13181" y="27206"/>
                    </a:cubicBezTo>
                    <a:cubicBezTo>
                      <a:pt x="6079" y="26853"/>
                      <a:pt x="-139" y="22967"/>
                      <a:pt x="2" y="14099"/>
                    </a:cubicBezTo>
                    <a:cubicBezTo>
                      <a:pt x="144" y="5443"/>
                      <a:pt x="4489" y="-139"/>
                      <a:pt x="13145" y="3"/>
                    </a:cubicBezTo>
                    <a:cubicBezTo>
                      <a:pt x="21200" y="144"/>
                      <a:pt x="25122" y="5761"/>
                      <a:pt x="25793" y="13781"/>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2" name="Freeform: Shape 3591">
                <a:extLst>
                  <a:ext uri="{FF2B5EF4-FFF2-40B4-BE49-F238E27FC236}">
                    <a16:creationId xmlns:a16="http://schemas.microsoft.com/office/drawing/2014/main" id="{BB186432-FA6D-4F39-766D-E693D18F22CA}"/>
                  </a:ext>
                </a:extLst>
              </p:cNvPr>
              <p:cNvSpPr/>
              <p:nvPr/>
            </p:nvSpPr>
            <p:spPr>
              <a:xfrm>
                <a:off x="8070305" y="4590250"/>
                <a:ext cx="25126" cy="25234"/>
              </a:xfrm>
              <a:custGeom>
                <a:avLst/>
                <a:gdLst>
                  <a:gd name="connsiteX0" fmla="*/ 12478 w 25126"/>
                  <a:gd name="connsiteY0" fmla="*/ 25199 h 25234"/>
                  <a:gd name="connsiteX1" fmla="*/ 7 w 25126"/>
                  <a:gd name="connsiteY1" fmla="*/ 12657 h 25234"/>
                  <a:gd name="connsiteX2" fmla="*/ 12301 w 25126"/>
                  <a:gd name="connsiteY2" fmla="*/ 9 h 25234"/>
                  <a:gd name="connsiteX3" fmla="*/ 25126 w 25126"/>
                  <a:gd name="connsiteY3" fmla="*/ 11915 h 25234"/>
                  <a:gd name="connsiteX4" fmla="*/ 12513 w 25126"/>
                  <a:gd name="connsiteY4" fmla="*/ 25235 h 25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6" h="25234">
                    <a:moveTo>
                      <a:pt x="12478" y="25199"/>
                    </a:moveTo>
                    <a:cubicBezTo>
                      <a:pt x="6402" y="23150"/>
                      <a:pt x="-240" y="20995"/>
                      <a:pt x="7" y="12657"/>
                    </a:cubicBezTo>
                    <a:cubicBezTo>
                      <a:pt x="219" y="5132"/>
                      <a:pt x="4811" y="221"/>
                      <a:pt x="12301" y="9"/>
                    </a:cubicBezTo>
                    <a:cubicBezTo>
                      <a:pt x="19826" y="-238"/>
                      <a:pt x="25056" y="4390"/>
                      <a:pt x="25126" y="11915"/>
                    </a:cubicBezTo>
                    <a:cubicBezTo>
                      <a:pt x="25197" y="19264"/>
                      <a:pt x="20180" y="23716"/>
                      <a:pt x="12513" y="25235"/>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3" name="Freeform: Shape 3592">
                <a:extLst>
                  <a:ext uri="{FF2B5EF4-FFF2-40B4-BE49-F238E27FC236}">
                    <a16:creationId xmlns:a16="http://schemas.microsoft.com/office/drawing/2014/main" id="{D5895D74-92F4-D502-4464-AC1A45A01D1E}"/>
                  </a:ext>
                </a:extLst>
              </p:cNvPr>
              <p:cNvSpPr/>
              <p:nvPr/>
            </p:nvSpPr>
            <p:spPr>
              <a:xfrm>
                <a:off x="8449430" y="4899458"/>
                <a:ext cx="23318" cy="23287"/>
              </a:xfrm>
              <a:custGeom>
                <a:avLst/>
                <a:gdLst>
                  <a:gd name="connsiteX0" fmla="*/ 23318 w 23318"/>
                  <a:gd name="connsiteY0" fmla="*/ 12475 h 23287"/>
                  <a:gd name="connsiteX1" fmla="*/ 12013 w 23318"/>
                  <a:gd name="connsiteY1" fmla="*/ 23286 h 23287"/>
                  <a:gd name="connsiteX2" fmla="*/ 1 w 23318"/>
                  <a:gd name="connsiteY2" fmla="*/ 11450 h 23287"/>
                  <a:gd name="connsiteX3" fmla="*/ 11271 w 23318"/>
                  <a:gd name="connsiteY3" fmla="*/ 4 h 23287"/>
                  <a:gd name="connsiteX4" fmla="*/ 23318 w 23318"/>
                  <a:gd name="connsiteY4" fmla="*/ 12475 h 23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18" h="23287">
                    <a:moveTo>
                      <a:pt x="23318" y="12475"/>
                    </a:moveTo>
                    <a:cubicBezTo>
                      <a:pt x="23177" y="19293"/>
                      <a:pt x="19608" y="23180"/>
                      <a:pt x="12013" y="23286"/>
                    </a:cubicBezTo>
                    <a:cubicBezTo>
                      <a:pt x="3922" y="23392"/>
                      <a:pt x="-70" y="19576"/>
                      <a:pt x="1" y="11450"/>
                    </a:cubicBezTo>
                    <a:cubicBezTo>
                      <a:pt x="72" y="3925"/>
                      <a:pt x="3710" y="145"/>
                      <a:pt x="11271" y="4"/>
                    </a:cubicBezTo>
                    <a:cubicBezTo>
                      <a:pt x="19397" y="-138"/>
                      <a:pt x="23354" y="3784"/>
                      <a:pt x="23318" y="12475"/>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4" name="Freeform: Shape 3593">
                <a:extLst>
                  <a:ext uri="{FF2B5EF4-FFF2-40B4-BE49-F238E27FC236}">
                    <a16:creationId xmlns:a16="http://schemas.microsoft.com/office/drawing/2014/main" id="{49068A54-F1EF-365C-1D1D-E9C1D56D0BB6}"/>
                  </a:ext>
                </a:extLst>
              </p:cNvPr>
              <p:cNvSpPr/>
              <p:nvPr/>
            </p:nvSpPr>
            <p:spPr>
              <a:xfrm>
                <a:off x="8924102" y="4574780"/>
                <a:ext cx="23260" cy="24393"/>
              </a:xfrm>
              <a:custGeom>
                <a:avLst/>
                <a:gdLst>
                  <a:gd name="connsiteX0" fmla="*/ 23260 w 23260"/>
                  <a:gd name="connsiteY0" fmla="*/ 12476 h 24393"/>
                  <a:gd name="connsiteX1" fmla="*/ 12626 w 23260"/>
                  <a:gd name="connsiteY1" fmla="*/ 24382 h 24393"/>
                  <a:gd name="connsiteX2" fmla="*/ 49 w 23260"/>
                  <a:gd name="connsiteY2" fmla="*/ 12123 h 24393"/>
                  <a:gd name="connsiteX3" fmla="*/ 11178 w 23260"/>
                  <a:gd name="connsiteY3" fmla="*/ 5 h 24393"/>
                  <a:gd name="connsiteX4" fmla="*/ 23260 w 23260"/>
                  <a:gd name="connsiteY4" fmla="*/ 12476 h 24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60" h="24393">
                    <a:moveTo>
                      <a:pt x="23260" y="12476"/>
                    </a:moveTo>
                    <a:cubicBezTo>
                      <a:pt x="23296" y="19683"/>
                      <a:pt x="20364" y="24665"/>
                      <a:pt x="12626" y="24382"/>
                    </a:cubicBezTo>
                    <a:cubicBezTo>
                      <a:pt x="5172" y="24100"/>
                      <a:pt x="650" y="19542"/>
                      <a:pt x="49" y="12123"/>
                    </a:cubicBezTo>
                    <a:cubicBezTo>
                      <a:pt x="-587" y="4456"/>
                      <a:pt x="5031" y="182"/>
                      <a:pt x="11178" y="5"/>
                    </a:cubicBezTo>
                    <a:cubicBezTo>
                      <a:pt x="18067" y="-172"/>
                      <a:pt x="23190" y="4421"/>
                      <a:pt x="23260" y="12476"/>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5" name="Freeform: Shape 3594">
                <a:extLst>
                  <a:ext uri="{FF2B5EF4-FFF2-40B4-BE49-F238E27FC236}">
                    <a16:creationId xmlns:a16="http://schemas.microsoft.com/office/drawing/2014/main" id="{AE6ED982-0D0F-D8F2-FAD0-E60E1C12CF4B}"/>
                  </a:ext>
                </a:extLst>
              </p:cNvPr>
              <p:cNvSpPr/>
              <p:nvPr/>
            </p:nvSpPr>
            <p:spPr>
              <a:xfrm>
                <a:off x="8070417" y="4418336"/>
                <a:ext cx="18301" cy="17893"/>
              </a:xfrm>
              <a:custGeom>
                <a:avLst/>
                <a:gdLst>
                  <a:gd name="connsiteX0" fmla="*/ 18301 w 18301"/>
                  <a:gd name="connsiteY0" fmla="*/ 9903 h 17893"/>
                  <a:gd name="connsiteX1" fmla="*/ 8479 w 18301"/>
                  <a:gd name="connsiteY1" fmla="*/ 17852 h 17893"/>
                  <a:gd name="connsiteX2" fmla="*/ 0 w 18301"/>
                  <a:gd name="connsiteY2" fmla="*/ 8808 h 17893"/>
                  <a:gd name="connsiteX3" fmla="*/ 8409 w 18301"/>
                  <a:gd name="connsiteY3" fmla="*/ 46 h 17893"/>
                  <a:gd name="connsiteX4" fmla="*/ 18301 w 18301"/>
                  <a:gd name="connsiteY4" fmla="*/ 9903 h 17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1" h="17893">
                    <a:moveTo>
                      <a:pt x="18301" y="9903"/>
                    </a:moveTo>
                    <a:cubicBezTo>
                      <a:pt x="16817" y="14955"/>
                      <a:pt x="13814" y="18311"/>
                      <a:pt x="8479" y="17852"/>
                    </a:cubicBezTo>
                    <a:cubicBezTo>
                      <a:pt x="3321" y="17428"/>
                      <a:pt x="-35" y="14072"/>
                      <a:pt x="0" y="8808"/>
                    </a:cubicBezTo>
                    <a:cubicBezTo>
                      <a:pt x="0" y="3649"/>
                      <a:pt x="3145" y="-484"/>
                      <a:pt x="8409" y="46"/>
                    </a:cubicBezTo>
                    <a:cubicBezTo>
                      <a:pt x="13567" y="576"/>
                      <a:pt x="16640" y="4957"/>
                      <a:pt x="18301" y="9903"/>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6" name="Freeform: Shape 3595">
                <a:extLst>
                  <a:ext uri="{FF2B5EF4-FFF2-40B4-BE49-F238E27FC236}">
                    <a16:creationId xmlns:a16="http://schemas.microsoft.com/office/drawing/2014/main" id="{AF0A4021-280C-35C9-9784-DC9A8F302DDF}"/>
                  </a:ext>
                </a:extLst>
              </p:cNvPr>
              <p:cNvSpPr/>
              <p:nvPr/>
            </p:nvSpPr>
            <p:spPr>
              <a:xfrm>
                <a:off x="8663944" y="4201891"/>
                <a:ext cx="18024" cy="17656"/>
              </a:xfrm>
              <a:custGeom>
                <a:avLst/>
                <a:gdLst>
                  <a:gd name="connsiteX0" fmla="*/ 18024 w 18024"/>
                  <a:gd name="connsiteY0" fmla="*/ 9920 h 17656"/>
                  <a:gd name="connsiteX1" fmla="*/ 7673 w 18024"/>
                  <a:gd name="connsiteY1" fmla="*/ 17657 h 17656"/>
                  <a:gd name="connsiteX2" fmla="*/ 6 w 18024"/>
                  <a:gd name="connsiteY2" fmla="*/ 7800 h 17656"/>
                  <a:gd name="connsiteX3" fmla="*/ 8097 w 18024"/>
                  <a:gd name="connsiteY3" fmla="*/ 63 h 17656"/>
                  <a:gd name="connsiteX4" fmla="*/ 17989 w 18024"/>
                  <a:gd name="connsiteY4" fmla="*/ 9920 h 17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24" h="17656">
                    <a:moveTo>
                      <a:pt x="18024" y="9920"/>
                    </a:moveTo>
                    <a:cubicBezTo>
                      <a:pt x="16682" y="15572"/>
                      <a:pt x="12195" y="17657"/>
                      <a:pt x="7673" y="17657"/>
                    </a:cubicBezTo>
                    <a:cubicBezTo>
                      <a:pt x="1985" y="17657"/>
                      <a:pt x="183" y="12251"/>
                      <a:pt x="6" y="7800"/>
                    </a:cubicBezTo>
                    <a:cubicBezTo>
                      <a:pt x="-170" y="3243"/>
                      <a:pt x="3362" y="-538"/>
                      <a:pt x="8097" y="63"/>
                    </a:cubicBezTo>
                    <a:cubicBezTo>
                      <a:pt x="13290" y="734"/>
                      <a:pt x="16364" y="5009"/>
                      <a:pt x="17989" y="9920"/>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7" name="Freeform: Shape 3596">
                <a:extLst>
                  <a:ext uri="{FF2B5EF4-FFF2-40B4-BE49-F238E27FC236}">
                    <a16:creationId xmlns:a16="http://schemas.microsoft.com/office/drawing/2014/main" id="{D8E7993C-AA8F-42B9-075F-11898B29A086}"/>
                  </a:ext>
                </a:extLst>
              </p:cNvPr>
              <p:cNvSpPr/>
              <p:nvPr/>
            </p:nvSpPr>
            <p:spPr>
              <a:xfrm>
                <a:off x="8835792" y="4294676"/>
                <a:ext cx="17974" cy="15943"/>
              </a:xfrm>
              <a:custGeom>
                <a:avLst/>
                <a:gdLst>
                  <a:gd name="connsiteX0" fmla="*/ 35 w 17974"/>
                  <a:gd name="connsiteY0" fmla="*/ 8320 h 15943"/>
                  <a:gd name="connsiteX1" fmla="*/ 8302 w 17974"/>
                  <a:gd name="connsiteY1" fmla="*/ 53 h 15943"/>
                  <a:gd name="connsiteX2" fmla="*/ 17947 w 17974"/>
                  <a:gd name="connsiteY2" fmla="*/ 7684 h 15943"/>
                  <a:gd name="connsiteX3" fmla="*/ 9998 w 17974"/>
                  <a:gd name="connsiteY3" fmla="*/ 15881 h 15943"/>
                  <a:gd name="connsiteX4" fmla="*/ 0 w 17974"/>
                  <a:gd name="connsiteY4" fmla="*/ 8320 h 1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4" h="15943">
                    <a:moveTo>
                      <a:pt x="35" y="8320"/>
                    </a:moveTo>
                    <a:cubicBezTo>
                      <a:pt x="883" y="3551"/>
                      <a:pt x="3674" y="477"/>
                      <a:pt x="8302" y="53"/>
                    </a:cubicBezTo>
                    <a:cubicBezTo>
                      <a:pt x="13602" y="-442"/>
                      <a:pt x="17559" y="2561"/>
                      <a:pt x="17947" y="7684"/>
                    </a:cubicBezTo>
                    <a:cubicBezTo>
                      <a:pt x="18336" y="12454"/>
                      <a:pt x="14591" y="15386"/>
                      <a:pt x="9998" y="15881"/>
                    </a:cubicBezTo>
                    <a:cubicBezTo>
                      <a:pt x="4628" y="16446"/>
                      <a:pt x="1625" y="13160"/>
                      <a:pt x="0" y="8320"/>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8" name="Freeform: Shape 3597">
                <a:extLst>
                  <a:ext uri="{FF2B5EF4-FFF2-40B4-BE49-F238E27FC236}">
                    <a16:creationId xmlns:a16="http://schemas.microsoft.com/office/drawing/2014/main" id="{3BCD7143-63EE-4F82-54E2-2CC7C4CA9689}"/>
                  </a:ext>
                </a:extLst>
              </p:cNvPr>
              <p:cNvSpPr/>
              <p:nvPr/>
            </p:nvSpPr>
            <p:spPr>
              <a:xfrm>
                <a:off x="8282418" y="4729634"/>
                <a:ext cx="17587" cy="16040"/>
              </a:xfrm>
              <a:custGeom>
                <a:avLst/>
                <a:gdLst>
                  <a:gd name="connsiteX0" fmla="*/ 8879 w 17587"/>
                  <a:gd name="connsiteY0" fmla="*/ 0 h 16040"/>
                  <a:gd name="connsiteX1" fmla="*/ 17570 w 17587"/>
                  <a:gd name="connsiteY1" fmla="*/ 8585 h 16040"/>
                  <a:gd name="connsiteX2" fmla="*/ 8879 w 17587"/>
                  <a:gd name="connsiteY2" fmla="*/ 16039 h 16040"/>
                  <a:gd name="connsiteX3" fmla="*/ 11 w 17587"/>
                  <a:gd name="connsiteY3" fmla="*/ 7666 h 16040"/>
                  <a:gd name="connsiteX4" fmla="*/ 8843 w 17587"/>
                  <a:gd name="connsiteY4" fmla="*/ 0 h 1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7" h="16040">
                    <a:moveTo>
                      <a:pt x="8879" y="0"/>
                    </a:moveTo>
                    <a:cubicBezTo>
                      <a:pt x="13790" y="742"/>
                      <a:pt x="17888" y="3180"/>
                      <a:pt x="17570" y="8585"/>
                    </a:cubicBezTo>
                    <a:cubicBezTo>
                      <a:pt x="17323" y="13178"/>
                      <a:pt x="13648" y="16110"/>
                      <a:pt x="8879" y="16039"/>
                    </a:cubicBezTo>
                    <a:cubicBezTo>
                      <a:pt x="3650" y="15969"/>
                      <a:pt x="-236" y="13001"/>
                      <a:pt x="11" y="7666"/>
                    </a:cubicBezTo>
                    <a:cubicBezTo>
                      <a:pt x="223" y="3038"/>
                      <a:pt x="4003" y="565"/>
                      <a:pt x="8843" y="0"/>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9" name="Freeform: Shape 3598">
                <a:extLst>
                  <a:ext uri="{FF2B5EF4-FFF2-40B4-BE49-F238E27FC236}">
                    <a16:creationId xmlns:a16="http://schemas.microsoft.com/office/drawing/2014/main" id="{FA38153B-1626-8D64-FEA4-46E0EF99720E}"/>
                  </a:ext>
                </a:extLst>
              </p:cNvPr>
              <p:cNvSpPr/>
              <p:nvPr/>
            </p:nvSpPr>
            <p:spPr>
              <a:xfrm>
                <a:off x="8642709" y="4313242"/>
                <a:ext cx="15938" cy="17495"/>
              </a:xfrm>
              <a:custGeom>
                <a:avLst/>
                <a:gdLst>
                  <a:gd name="connsiteX0" fmla="*/ 7852 w 15938"/>
                  <a:gd name="connsiteY0" fmla="*/ 35 h 17495"/>
                  <a:gd name="connsiteX1" fmla="*/ 15907 w 15938"/>
                  <a:gd name="connsiteY1" fmla="*/ 8656 h 17495"/>
                  <a:gd name="connsiteX2" fmla="*/ 7216 w 15938"/>
                  <a:gd name="connsiteY2" fmla="*/ 17488 h 17495"/>
                  <a:gd name="connsiteX3" fmla="*/ 9 w 15938"/>
                  <a:gd name="connsiteY3" fmla="*/ 8797 h 17495"/>
                  <a:gd name="connsiteX4" fmla="*/ 7887 w 15938"/>
                  <a:gd name="connsiteY4" fmla="*/ 0 h 17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 h="17495">
                    <a:moveTo>
                      <a:pt x="7852" y="35"/>
                    </a:moveTo>
                    <a:cubicBezTo>
                      <a:pt x="12515" y="1130"/>
                      <a:pt x="15554" y="3851"/>
                      <a:pt x="15907" y="8656"/>
                    </a:cubicBezTo>
                    <a:cubicBezTo>
                      <a:pt x="16366" y="14662"/>
                      <a:pt x="11808" y="17276"/>
                      <a:pt x="7216" y="17488"/>
                    </a:cubicBezTo>
                    <a:cubicBezTo>
                      <a:pt x="2376" y="17700"/>
                      <a:pt x="-168" y="13602"/>
                      <a:pt x="9" y="8797"/>
                    </a:cubicBezTo>
                    <a:cubicBezTo>
                      <a:pt x="150" y="3922"/>
                      <a:pt x="3330" y="1272"/>
                      <a:pt x="7887" y="0"/>
                    </a:cubicBezTo>
                    <a:close/>
                  </a:path>
                </a:pathLst>
              </a:custGeom>
              <a:solidFill>
                <a:srgbClr val="B3AE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0" name="Freeform: Shape 3599">
                <a:extLst>
                  <a:ext uri="{FF2B5EF4-FFF2-40B4-BE49-F238E27FC236}">
                    <a16:creationId xmlns:a16="http://schemas.microsoft.com/office/drawing/2014/main" id="{7D6B0C55-FE93-5905-1AD6-29DE51042092}"/>
                  </a:ext>
                </a:extLst>
              </p:cNvPr>
              <p:cNvSpPr/>
              <p:nvPr/>
            </p:nvSpPr>
            <p:spPr>
              <a:xfrm>
                <a:off x="8387725" y="4454691"/>
                <a:ext cx="417384" cy="424192"/>
              </a:xfrm>
              <a:custGeom>
                <a:avLst/>
                <a:gdLst>
                  <a:gd name="connsiteX0" fmla="*/ 204 w 417384"/>
                  <a:gd name="connsiteY0" fmla="*/ 238786 h 424191"/>
                  <a:gd name="connsiteX1" fmla="*/ 55389 w 417384"/>
                  <a:gd name="connsiteY1" fmla="*/ 72809 h 424191"/>
                  <a:gd name="connsiteX2" fmla="*/ 179324 w 417384"/>
                  <a:gd name="connsiteY2" fmla="*/ 2292 h 424191"/>
                  <a:gd name="connsiteX3" fmla="*/ 309689 w 417384"/>
                  <a:gd name="connsiteY3" fmla="*/ 27481 h 424191"/>
                  <a:gd name="connsiteX4" fmla="*/ 414617 w 417384"/>
                  <a:gd name="connsiteY4" fmla="*/ 175723 h 424191"/>
                  <a:gd name="connsiteX5" fmla="*/ 370950 w 417384"/>
                  <a:gd name="connsiteY5" fmla="*/ 333610 h 424191"/>
                  <a:gd name="connsiteX6" fmla="*/ 234331 w 417384"/>
                  <a:gd name="connsiteY6" fmla="*/ 419566 h 424191"/>
                  <a:gd name="connsiteX7" fmla="*/ 155441 w 417384"/>
                  <a:gd name="connsiteY7" fmla="*/ 421792 h 424191"/>
                  <a:gd name="connsiteX8" fmla="*/ 73265 w 417384"/>
                  <a:gd name="connsiteY8" fmla="*/ 390420 h 424191"/>
                  <a:gd name="connsiteX9" fmla="*/ 5362 w 417384"/>
                  <a:gd name="connsiteY9" fmla="*/ 283160 h 424191"/>
                  <a:gd name="connsiteX10" fmla="*/ 204 w 417384"/>
                  <a:gd name="connsiteY10" fmla="*/ 238822 h 42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384" h="424191">
                    <a:moveTo>
                      <a:pt x="204" y="238786"/>
                    </a:moveTo>
                    <a:cubicBezTo>
                      <a:pt x="275" y="173003"/>
                      <a:pt x="17586" y="118985"/>
                      <a:pt x="55389" y="72809"/>
                    </a:cubicBezTo>
                    <a:cubicBezTo>
                      <a:pt x="87361" y="33770"/>
                      <a:pt x="128556" y="9569"/>
                      <a:pt x="179324" y="2292"/>
                    </a:cubicBezTo>
                    <a:cubicBezTo>
                      <a:pt x="225888" y="-4386"/>
                      <a:pt x="270120" y="3387"/>
                      <a:pt x="309689" y="27481"/>
                    </a:cubicBezTo>
                    <a:cubicBezTo>
                      <a:pt x="365368" y="61362"/>
                      <a:pt x="403736" y="109516"/>
                      <a:pt x="414617" y="175723"/>
                    </a:cubicBezTo>
                    <a:cubicBezTo>
                      <a:pt x="424368" y="234865"/>
                      <a:pt x="408011" y="287152"/>
                      <a:pt x="370950" y="333610"/>
                    </a:cubicBezTo>
                    <a:cubicBezTo>
                      <a:pt x="335374" y="378196"/>
                      <a:pt x="289410" y="406247"/>
                      <a:pt x="234331" y="419566"/>
                    </a:cubicBezTo>
                    <a:cubicBezTo>
                      <a:pt x="208329" y="425855"/>
                      <a:pt x="182080" y="424831"/>
                      <a:pt x="155441" y="421792"/>
                    </a:cubicBezTo>
                    <a:cubicBezTo>
                      <a:pt x="125023" y="418295"/>
                      <a:pt x="97784" y="408049"/>
                      <a:pt x="73265" y="390420"/>
                    </a:cubicBezTo>
                    <a:cubicBezTo>
                      <a:pt x="36311" y="363888"/>
                      <a:pt x="15396" y="326827"/>
                      <a:pt x="5362" y="283160"/>
                    </a:cubicBezTo>
                    <a:cubicBezTo>
                      <a:pt x="1547" y="266590"/>
                      <a:pt x="-714" y="249738"/>
                      <a:pt x="204" y="238822"/>
                    </a:cubicBezTo>
                    <a:close/>
                  </a:path>
                </a:pathLst>
              </a:custGeom>
              <a:solidFill>
                <a:schemeClr val="accent5">
                  <a:lumMod val="20000"/>
                  <a:lumOff val="8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1" name="Freeform: Shape 3600">
                <a:extLst>
                  <a:ext uri="{FF2B5EF4-FFF2-40B4-BE49-F238E27FC236}">
                    <a16:creationId xmlns:a16="http://schemas.microsoft.com/office/drawing/2014/main" id="{DAA5DED7-5525-3901-EDAD-4661141A0D99}"/>
                  </a:ext>
                </a:extLst>
              </p:cNvPr>
              <p:cNvSpPr/>
              <p:nvPr/>
            </p:nvSpPr>
            <p:spPr>
              <a:xfrm>
                <a:off x="8740069" y="4345384"/>
                <a:ext cx="84511" cy="79429"/>
              </a:xfrm>
              <a:custGeom>
                <a:avLst/>
                <a:gdLst>
                  <a:gd name="connsiteX0" fmla="*/ 37924 w 84511"/>
                  <a:gd name="connsiteY0" fmla="*/ 255 h 79429"/>
                  <a:gd name="connsiteX1" fmla="*/ 84418 w 84511"/>
                  <a:gd name="connsiteY1" fmla="*/ 41449 h 79429"/>
                  <a:gd name="connsiteX2" fmla="*/ 41563 w 84511"/>
                  <a:gd name="connsiteY2" fmla="*/ 79428 h 79429"/>
                  <a:gd name="connsiteX3" fmla="*/ 16 w 84511"/>
                  <a:gd name="connsiteY3" fmla="*/ 37104 h 79429"/>
                  <a:gd name="connsiteX4" fmla="*/ 37924 w 84511"/>
                  <a:gd name="connsiteY4" fmla="*/ 291 h 79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11" h="79429">
                    <a:moveTo>
                      <a:pt x="37924" y="255"/>
                    </a:moveTo>
                    <a:cubicBezTo>
                      <a:pt x="59616" y="-2677"/>
                      <a:pt x="86290" y="20181"/>
                      <a:pt x="84418" y="41449"/>
                    </a:cubicBezTo>
                    <a:cubicBezTo>
                      <a:pt x="82545" y="62541"/>
                      <a:pt x="65411" y="79252"/>
                      <a:pt x="41563" y="79428"/>
                    </a:cubicBezTo>
                    <a:cubicBezTo>
                      <a:pt x="18705" y="79570"/>
                      <a:pt x="722" y="60527"/>
                      <a:pt x="16" y="37104"/>
                    </a:cubicBezTo>
                    <a:cubicBezTo>
                      <a:pt x="-585" y="16330"/>
                      <a:pt x="15949" y="-2500"/>
                      <a:pt x="37924" y="291"/>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2" name="Freeform: Shape 3601">
                <a:extLst>
                  <a:ext uri="{FF2B5EF4-FFF2-40B4-BE49-F238E27FC236}">
                    <a16:creationId xmlns:a16="http://schemas.microsoft.com/office/drawing/2014/main" id="{378F9867-02C4-787B-970D-2D8800D00B31}"/>
                  </a:ext>
                </a:extLst>
              </p:cNvPr>
              <p:cNvSpPr/>
              <p:nvPr/>
            </p:nvSpPr>
            <p:spPr>
              <a:xfrm>
                <a:off x="8088876" y="4657841"/>
                <a:ext cx="76651" cy="71759"/>
              </a:xfrm>
              <a:custGeom>
                <a:avLst/>
                <a:gdLst>
                  <a:gd name="connsiteX0" fmla="*/ 37822 w 76651"/>
                  <a:gd name="connsiteY0" fmla="*/ 71757 h 71759"/>
                  <a:gd name="connsiteX1" fmla="*/ 19 w 76651"/>
                  <a:gd name="connsiteY1" fmla="*/ 34131 h 71759"/>
                  <a:gd name="connsiteX2" fmla="*/ 33935 w 76651"/>
                  <a:gd name="connsiteY2" fmla="*/ 3 h 71759"/>
                  <a:gd name="connsiteX3" fmla="*/ 76648 w 76651"/>
                  <a:gd name="connsiteY3" fmla="*/ 36640 h 71759"/>
                  <a:gd name="connsiteX4" fmla="*/ 37786 w 76651"/>
                  <a:gd name="connsiteY4" fmla="*/ 71757 h 71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51" h="71759">
                    <a:moveTo>
                      <a:pt x="37822" y="71757"/>
                    </a:moveTo>
                    <a:cubicBezTo>
                      <a:pt x="17931" y="72005"/>
                      <a:pt x="831" y="55011"/>
                      <a:pt x="19" y="34131"/>
                    </a:cubicBezTo>
                    <a:cubicBezTo>
                      <a:pt x="-652" y="17138"/>
                      <a:pt x="16659" y="-279"/>
                      <a:pt x="33935" y="3"/>
                    </a:cubicBezTo>
                    <a:cubicBezTo>
                      <a:pt x="54426" y="321"/>
                      <a:pt x="76401" y="19152"/>
                      <a:pt x="76648" y="36640"/>
                    </a:cubicBezTo>
                    <a:cubicBezTo>
                      <a:pt x="76931" y="55152"/>
                      <a:pt x="58878" y="71475"/>
                      <a:pt x="37786" y="71757"/>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3" name="Freeform: Shape 3602">
                <a:extLst>
                  <a:ext uri="{FF2B5EF4-FFF2-40B4-BE49-F238E27FC236}">
                    <a16:creationId xmlns:a16="http://schemas.microsoft.com/office/drawing/2014/main" id="{3CF81D25-339C-98DD-9F9A-997EE1E92355}"/>
                  </a:ext>
                </a:extLst>
              </p:cNvPr>
              <p:cNvSpPr/>
              <p:nvPr/>
            </p:nvSpPr>
            <p:spPr>
              <a:xfrm>
                <a:off x="8556333" y="4169393"/>
                <a:ext cx="73807" cy="69268"/>
              </a:xfrm>
              <a:custGeom>
                <a:avLst/>
                <a:gdLst>
                  <a:gd name="connsiteX0" fmla="*/ 36429 w 73807"/>
                  <a:gd name="connsiteY0" fmla="*/ 69268 h 69268"/>
                  <a:gd name="connsiteX1" fmla="*/ 4 w 73807"/>
                  <a:gd name="connsiteY1" fmla="*/ 31890 h 69268"/>
                  <a:gd name="connsiteX2" fmla="*/ 31730 w 73807"/>
                  <a:gd name="connsiteY2" fmla="*/ 23 h 69268"/>
                  <a:gd name="connsiteX3" fmla="*/ 73807 w 73807"/>
                  <a:gd name="connsiteY3" fmla="*/ 36765 h 69268"/>
                  <a:gd name="connsiteX4" fmla="*/ 36429 w 73807"/>
                  <a:gd name="connsiteY4" fmla="*/ 69268 h 69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07" h="69268">
                    <a:moveTo>
                      <a:pt x="36429" y="69268"/>
                    </a:moveTo>
                    <a:cubicBezTo>
                      <a:pt x="16362" y="69339"/>
                      <a:pt x="358" y="52522"/>
                      <a:pt x="4" y="31890"/>
                    </a:cubicBezTo>
                    <a:cubicBezTo>
                      <a:pt x="-279" y="15002"/>
                      <a:pt x="13182" y="694"/>
                      <a:pt x="31730" y="23"/>
                    </a:cubicBezTo>
                    <a:cubicBezTo>
                      <a:pt x="52857" y="-755"/>
                      <a:pt x="73913" y="18465"/>
                      <a:pt x="73807" y="36765"/>
                    </a:cubicBezTo>
                    <a:cubicBezTo>
                      <a:pt x="73701" y="53653"/>
                      <a:pt x="55860" y="69198"/>
                      <a:pt x="36429" y="69268"/>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4" name="Freeform: Shape 3603">
                <a:extLst>
                  <a:ext uri="{FF2B5EF4-FFF2-40B4-BE49-F238E27FC236}">
                    <a16:creationId xmlns:a16="http://schemas.microsoft.com/office/drawing/2014/main" id="{1F13DD26-9FA2-9A99-2570-3C7A63CA95FB}"/>
                  </a:ext>
                </a:extLst>
              </p:cNvPr>
              <p:cNvSpPr/>
              <p:nvPr/>
            </p:nvSpPr>
            <p:spPr>
              <a:xfrm>
                <a:off x="8605264" y="4915767"/>
                <a:ext cx="55966" cy="53577"/>
              </a:xfrm>
              <a:custGeom>
                <a:avLst/>
                <a:gdLst>
                  <a:gd name="connsiteX0" fmla="*/ 26113 w 55966"/>
                  <a:gd name="connsiteY0" fmla="*/ 53540 h 53577"/>
                  <a:gd name="connsiteX1" fmla="*/ 5 w 55966"/>
                  <a:gd name="connsiteY1" fmla="*/ 23652 h 53577"/>
                  <a:gd name="connsiteX2" fmla="*/ 25406 w 55966"/>
                  <a:gd name="connsiteY2" fmla="*/ 16 h 53577"/>
                  <a:gd name="connsiteX3" fmla="*/ 55966 w 55966"/>
                  <a:gd name="connsiteY3" fmla="*/ 28350 h 53577"/>
                  <a:gd name="connsiteX4" fmla="*/ 26149 w 55966"/>
                  <a:gd name="connsiteY4" fmla="*/ 53576 h 5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66" h="53577">
                    <a:moveTo>
                      <a:pt x="26113" y="53540"/>
                    </a:moveTo>
                    <a:cubicBezTo>
                      <a:pt x="9261" y="53364"/>
                      <a:pt x="-242" y="42482"/>
                      <a:pt x="5" y="23652"/>
                    </a:cubicBezTo>
                    <a:cubicBezTo>
                      <a:pt x="182" y="8743"/>
                      <a:pt x="10038" y="-443"/>
                      <a:pt x="25406" y="16"/>
                    </a:cubicBezTo>
                    <a:cubicBezTo>
                      <a:pt x="42647" y="511"/>
                      <a:pt x="56072" y="12947"/>
                      <a:pt x="55966" y="28350"/>
                    </a:cubicBezTo>
                    <a:cubicBezTo>
                      <a:pt x="55860" y="43472"/>
                      <a:pt x="43672" y="53752"/>
                      <a:pt x="26149" y="53576"/>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5" name="Freeform: Shape 3604">
                <a:extLst>
                  <a:ext uri="{FF2B5EF4-FFF2-40B4-BE49-F238E27FC236}">
                    <a16:creationId xmlns:a16="http://schemas.microsoft.com/office/drawing/2014/main" id="{1152F0B3-E324-1BB2-4F23-1F0D5FED833F}"/>
                  </a:ext>
                </a:extLst>
              </p:cNvPr>
              <p:cNvSpPr/>
              <p:nvPr/>
            </p:nvSpPr>
            <p:spPr>
              <a:xfrm>
                <a:off x="8842632" y="4618133"/>
                <a:ext cx="58131" cy="55553"/>
              </a:xfrm>
              <a:custGeom>
                <a:avLst/>
                <a:gdLst>
                  <a:gd name="connsiteX0" fmla="*/ 58131 w 58131"/>
                  <a:gd name="connsiteY0" fmla="*/ 30101 h 55553"/>
                  <a:gd name="connsiteX1" fmla="*/ 28383 w 58131"/>
                  <a:gd name="connsiteY1" fmla="*/ 55538 h 55553"/>
                  <a:gd name="connsiteX2" fmla="*/ 14 w 58131"/>
                  <a:gd name="connsiteY2" fmla="*/ 24696 h 55553"/>
                  <a:gd name="connsiteX3" fmla="*/ 25733 w 58131"/>
                  <a:gd name="connsiteY3" fmla="*/ 1 h 55553"/>
                  <a:gd name="connsiteX4" fmla="*/ 58131 w 58131"/>
                  <a:gd name="connsiteY4" fmla="*/ 30101 h 55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31" h="55553">
                    <a:moveTo>
                      <a:pt x="58131" y="30101"/>
                    </a:moveTo>
                    <a:cubicBezTo>
                      <a:pt x="58025" y="42785"/>
                      <a:pt x="42515" y="56068"/>
                      <a:pt x="28383" y="55538"/>
                    </a:cubicBezTo>
                    <a:cubicBezTo>
                      <a:pt x="12591" y="54973"/>
                      <a:pt x="-481" y="40735"/>
                      <a:pt x="14" y="24696"/>
                    </a:cubicBezTo>
                    <a:cubicBezTo>
                      <a:pt x="438" y="11129"/>
                      <a:pt x="12167" y="-105"/>
                      <a:pt x="25733" y="1"/>
                    </a:cubicBezTo>
                    <a:cubicBezTo>
                      <a:pt x="42338" y="107"/>
                      <a:pt x="58237" y="14910"/>
                      <a:pt x="58131" y="30101"/>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6" name="Freeform: Shape 3605">
                <a:extLst>
                  <a:ext uri="{FF2B5EF4-FFF2-40B4-BE49-F238E27FC236}">
                    <a16:creationId xmlns:a16="http://schemas.microsoft.com/office/drawing/2014/main" id="{9F7C64F0-61E7-62E7-C9EC-50C55575421A}"/>
                  </a:ext>
                </a:extLst>
              </p:cNvPr>
              <p:cNvSpPr/>
              <p:nvPr/>
            </p:nvSpPr>
            <p:spPr>
              <a:xfrm>
                <a:off x="8614754" y="4403931"/>
                <a:ext cx="25323" cy="23375"/>
              </a:xfrm>
              <a:custGeom>
                <a:avLst/>
                <a:gdLst>
                  <a:gd name="connsiteX0" fmla="*/ 12277 w 25323"/>
                  <a:gd name="connsiteY0" fmla="*/ 23283 h 23375"/>
                  <a:gd name="connsiteX1" fmla="*/ 18 w 25323"/>
                  <a:gd name="connsiteY1" fmla="*/ 10741 h 23375"/>
                  <a:gd name="connsiteX2" fmla="*/ 10758 w 25323"/>
                  <a:gd name="connsiteY2" fmla="*/ 1 h 23375"/>
                  <a:gd name="connsiteX3" fmla="*/ 25313 w 25323"/>
                  <a:gd name="connsiteY3" fmla="*/ 12896 h 23375"/>
                  <a:gd name="connsiteX4" fmla="*/ 12312 w 25323"/>
                  <a:gd name="connsiteY4" fmla="*/ 23318 h 2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3" h="23375">
                    <a:moveTo>
                      <a:pt x="12277" y="23283"/>
                    </a:moveTo>
                    <a:cubicBezTo>
                      <a:pt x="3763" y="24166"/>
                      <a:pt x="371" y="18620"/>
                      <a:pt x="18" y="10741"/>
                    </a:cubicBezTo>
                    <a:cubicBezTo>
                      <a:pt x="-300" y="3710"/>
                      <a:pt x="3727" y="36"/>
                      <a:pt x="10758" y="1"/>
                    </a:cubicBezTo>
                    <a:cubicBezTo>
                      <a:pt x="19378" y="-70"/>
                      <a:pt x="24996" y="4099"/>
                      <a:pt x="25313" y="12896"/>
                    </a:cubicBezTo>
                    <a:cubicBezTo>
                      <a:pt x="25596" y="20775"/>
                      <a:pt x="20155" y="23424"/>
                      <a:pt x="12312" y="23318"/>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7" name="Freeform: Shape 3606">
                <a:extLst>
                  <a:ext uri="{FF2B5EF4-FFF2-40B4-BE49-F238E27FC236}">
                    <a16:creationId xmlns:a16="http://schemas.microsoft.com/office/drawing/2014/main" id="{89DFAB72-6C43-6A50-77EE-6DF8B3505176}"/>
                  </a:ext>
                </a:extLst>
              </p:cNvPr>
              <p:cNvSpPr/>
              <p:nvPr/>
            </p:nvSpPr>
            <p:spPr>
              <a:xfrm>
                <a:off x="8298539" y="4557721"/>
                <a:ext cx="27372" cy="24955"/>
              </a:xfrm>
              <a:custGeom>
                <a:avLst/>
                <a:gdLst>
                  <a:gd name="connsiteX0" fmla="*/ 12012 w 27372"/>
                  <a:gd name="connsiteY0" fmla="*/ 0 h 24955"/>
                  <a:gd name="connsiteX1" fmla="*/ 27310 w 27372"/>
                  <a:gd name="connsiteY1" fmla="*/ 14167 h 24955"/>
                  <a:gd name="connsiteX2" fmla="*/ 12966 w 27372"/>
                  <a:gd name="connsiteY2" fmla="*/ 24943 h 24955"/>
                  <a:gd name="connsiteX3" fmla="*/ 0 w 27372"/>
                  <a:gd name="connsiteY3" fmla="*/ 11305 h 24955"/>
                  <a:gd name="connsiteX4" fmla="*/ 12012 w 27372"/>
                  <a:gd name="connsiteY4" fmla="*/ 35 h 24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72" h="24955">
                    <a:moveTo>
                      <a:pt x="12012" y="0"/>
                    </a:moveTo>
                    <a:cubicBezTo>
                      <a:pt x="18866" y="141"/>
                      <a:pt x="28228" y="8762"/>
                      <a:pt x="27310" y="14167"/>
                    </a:cubicBezTo>
                    <a:cubicBezTo>
                      <a:pt x="25967" y="21940"/>
                      <a:pt x="19855" y="25190"/>
                      <a:pt x="12966" y="24943"/>
                    </a:cubicBezTo>
                    <a:cubicBezTo>
                      <a:pt x="5087" y="24625"/>
                      <a:pt x="0" y="19290"/>
                      <a:pt x="0" y="11305"/>
                    </a:cubicBezTo>
                    <a:cubicBezTo>
                      <a:pt x="0" y="3674"/>
                      <a:pt x="6536" y="1696"/>
                      <a:pt x="12012" y="35"/>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3553" name="Freeform: Shape 3552">
              <a:extLst>
                <a:ext uri="{FF2B5EF4-FFF2-40B4-BE49-F238E27FC236}">
                  <a16:creationId xmlns:a16="http://schemas.microsoft.com/office/drawing/2014/main" id="{837CCF6E-E410-E346-D175-8B40E6FB63CD}"/>
                </a:ext>
              </a:extLst>
            </p:cNvPr>
            <p:cNvSpPr/>
            <p:nvPr/>
          </p:nvSpPr>
          <p:spPr>
            <a:xfrm rot="18458249">
              <a:off x="10264903" y="1859023"/>
              <a:ext cx="469240" cy="456796"/>
            </a:xfrm>
            <a:custGeom>
              <a:avLst/>
              <a:gdLst>
                <a:gd name="connsiteX0" fmla="*/ 268025 w 1193631"/>
                <a:gd name="connsiteY0" fmla="*/ 458818 h 1138583"/>
                <a:gd name="connsiteX1" fmla="*/ 335928 w 1193631"/>
                <a:gd name="connsiteY1" fmla="*/ 446735 h 1138583"/>
                <a:gd name="connsiteX2" fmla="*/ 390511 w 1193631"/>
                <a:gd name="connsiteY2" fmla="*/ 432816 h 1138583"/>
                <a:gd name="connsiteX3" fmla="*/ 435168 w 1193631"/>
                <a:gd name="connsiteY3" fmla="*/ 440659 h 1138583"/>
                <a:gd name="connsiteX4" fmla="*/ 537269 w 1193631"/>
                <a:gd name="connsiteY4" fmla="*/ 453801 h 1138583"/>
                <a:gd name="connsiteX5" fmla="*/ 656223 w 1193631"/>
                <a:gd name="connsiteY5" fmla="*/ 449668 h 1138583"/>
                <a:gd name="connsiteX6" fmla="*/ 783409 w 1193631"/>
                <a:gd name="connsiteY6" fmla="*/ 378020 h 1138583"/>
                <a:gd name="connsiteX7" fmla="*/ 861028 w 1193631"/>
                <a:gd name="connsiteY7" fmla="*/ 230802 h 1138583"/>
                <a:gd name="connsiteX8" fmla="*/ 883497 w 1193631"/>
                <a:gd name="connsiteY8" fmla="*/ 124002 h 1138583"/>
                <a:gd name="connsiteX9" fmla="*/ 953767 w 1193631"/>
                <a:gd name="connsiteY9" fmla="*/ 40589 h 1138583"/>
                <a:gd name="connsiteX10" fmla="*/ 1008422 w 1193631"/>
                <a:gd name="connsiteY10" fmla="*/ 15505 h 1138583"/>
                <a:gd name="connsiteX11" fmla="*/ 1146807 w 1193631"/>
                <a:gd name="connsiteY11" fmla="*/ 32463 h 1138583"/>
                <a:gd name="connsiteX12" fmla="*/ 1174540 w 1193631"/>
                <a:gd name="connsiteY12" fmla="*/ 57406 h 1138583"/>
                <a:gd name="connsiteX13" fmla="*/ 1193159 w 1193631"/>
                <a:gd name="connsiteY13" fmla="*/ 105878 h 1138583"/>
                <a:gd name="connsiteX14" fmla="*/ 1191180 w 1193631"/>
                <a:gd name="connsiteY14" fmla="*/ 196144 h 1138583"/>
                <a:gd name="connsiteX15" fmla="*/ 1156416 w 1193631"/>
                <a:gd name="connsiteY15" fmla="*/ 236950 h 1138583"/>
                <a:gd name="connsiteX16" fmla="*/ 1045623 w 1193631"/>
                <a:gd name="connsiteY16" fmla="*/ 270795 h 1138583"/>
                <a:gd name="connsiteX17" fmla="*/ 955640 w 1193631"/>
                <a:gd name="connsiteY17" fmla="*/ 296303 h 1138583"/>
                <a:gd name="connsiteX18" fmla="*/ 828242 w 1193631"/>
                <a:gd name="connsiteY18" fmla="*/ 364595 h 1138583"/>
                <a:gd name="connsiteX19" fmla="*/ 721583 w 1193631"/>
                <a:gd name="connsiteY19" fmla="*/ 497998 h 1138583"/>
                <a:gd name="connsiteX20" fmla="*/ 686854 w 1193631"/>
                <a:gd name="connsiteY20" fmla="*/ 621298 h 1138583"/>
                <a:gd name="connsiteX21" fmla="*/ 676714 w 1193631"/>
                <a:gd name="connsiteY21" fmla="*/ 775863 h 1138583"/>
                <a:gd name="connsiteX22" fmla="*/ 664561 w 1193631"/>
                <a:gd name="connsiteY22" fmla="*/ 841823 h 1138583"/>
                <a:gd name="connsiteX23" fmla="*/ 654174 w 1193631"/>
                <a:gd name="connsiteY23" fmla="*/ 889836 h 1138583"/>
                <a:gd name="connsiteX24" fmla="*/ 655658 w 1193631"/>
                <a:gd name="connsiteY24" fmla="*/ 934104 h 1138583"/>
                <a:gd name="connsiteX25" fmla="*/ 627748 w 1193631"/>
                <a:gd name="connsiteY25" fmla="*/ 983035 h 1138583"/>
                <a:gd name="connsiteX26" fmla="*/ 610048 w 1193631"/>
                <a:gd name="connsiteY26" fmla="*/ 993280 h 1138583"/>
                <a:gd name="connsiteX27" fmla="*/ 561788 w 1193631"/>
                <a:gd name="connsiteY27" fmla="*/ 1042176 h 1138583"/>
                <a:gd name="connsiteX28" fmla="*/ 486890 w 1193631"/>
                <a:gd name="connsiteY28" fmla="*/ 1089058 h 1138583"/>
                <a:gd name="connsiteX29" fmla="*/ 458662 w 1193631"/>
                <a:gd name="connsiteY29" fmla="*/ 1105062 h 1138583"/>
                <a:gd name="connsiteX30" fmla="*/ 454846 w 1193631"/>
                <a:gd name="connsiteY30" fmla="*/ 1109726 h 1138583"/>
                <a:gd name="connsiteX31" fmla="*/ 403159 w 1193631"/>
                <a:gd name="connsiteY31" fmla="*/ 1119336 h 1138583"/>
                <a:gd name="connsiteX32" fmla="*/ 338966 w 1193631"/>
                <a:gd name="connsiteY32" fmla="*/ 1119336 h 1138583"/>
                <a:gd name="connsiteX33" fmla="*/ 310066 w 1193631"/>
                <a:gd name="connsiteY33" fmla="*/ 1134174 h 1138583"/>
                <a:gd name="connsiteX34" fmla="*/ 250113 w 1193631"/>
                <a:gd name="connsiteY34" fmla="*/ 1114319 h 1138583"/>
                <a:gd name="connsiteX35" fmla="*/ 245732 w 1193631"/>
                <a:gd name="connsiteY35" fmla="*/ 1107111 h 1138583"/>
                <a:gd name="connsiteX36" fmla="*/ 199203 w 1193631"/>
                <a:gd name="connsiteY36" fmla="*/ 1089058 h 1138583"/>
                <a:gd name="connsiteX37" fmla="*/ 151226 w 1193631"/>
                <a:gd name="connsiteY37" fmla="*/ 1069274 h 1138583"/>
                <a:gd name="connsiteX38" fmla="*/ 106216 w 1193631"/>
                <a:gd name="connsiteY38" fmla="*/ 1028468 h 1138583"/>
                <a:gd name="connsiteX39" fmla="*/ 64563 w 1193631"/>
                <a:gd name="connsiteY39" fmla="*/ 1007200 h 1138583"/>
                <a:gd name="connsiteX40" fmla="*/ 47923 w 1193631"/>
                <a:gd name="connsiteY40" fmla="*/ 964946 h 1138583"/>
                <a:gd name="connsiteX41" fmla="*/ 27078 w 1193631"/>
                <a:gd name="connsiteY41" fmla="*/ 898386 h 1138583"/>
                <a:gd name="connsiteX42" fmla="*/ 15172 w 1193631"/>
                <a:gd name="connsiteY42" fmla="*/ 886409 h 1138583"/>
                <a:gd name="connsiteX43" fmla="*/ 4114 w 1193631"/>
                <a:gd name="connsiteY43" fmla="*/ 836383 h 1138583"/>
                <a:gd name="connsiteX44" fmla="*/ 17645 w 1193631"/>
                <a:gd name="connsiteY44" fmla="*/ 776888 h 1138583"/>
                <a:gd name="connsiteX45" fmla="*/ 9661 w 1193631"/>
                <a:gd name="connsiteY45" fmla="*/ 717641 h 1138583"/>
                <a:gd name="connsiteX46" fmla="*/ 22662 w 1193631"/>
                <a:gd name="connsiteY46" fmla="*/ 652705 h 1138583"/>
                <a:gd name="connsiteX47" fmla="*/ 56720 w 1193631"/>
                <a:gd name="connsiteY47" fmla="*/ 581693 h 1138583"/>
                <a:gd name="connsiteX48" fmla="*/ 93745 w 1193631"/>
                <a:gd name="connsiteY48" fmla="*/ 539969 h 1138583"/>
                <a:gd name="connsiteX49" fmla="*/ 147728 w 1193631"/>
                <a:gd name="connsiteY49" fmla="*/ 519549 h 1138583"/>
                <a:gd name="connsiteX50" fmla="*/ 188392 w 1193631"/>
                <a:gd name="connsiteY50" fmla="*/ 490438 h 1138583"/>
                <a:gd name="connsiteX51" fmla="*/ 267954 w 1193631"/>
                <a:gd name="connsiteY51" fmla="*/ 458677 h 1138583"/>
                <a:gd name="connsiteX52" fmla="*/ 295511 w 1193631"/>
                <a:gd name="connsiteY52" fmla="*/ 1052422 h 1138583"/>
                <a:gd name="connsiteX53" fmla="*/ 429268 w 1193631"/>
                <a:gd name="connsiteY53" fmla="*/ 1021932 h 1138583"/>
                <a:gd name="connsiteX54" fmla="*/ 500562 w 1193631"/>
                <a:gd name="connsiteY54" fmla="*/ 974061 h 1138583"/>
                <a:gd name="connsiteX55" fmla="*/ 558714 w 1193631"/>
                <a:gd name="connsiteY55" fmla="*/ 820061 h 1138583"/>
                <a:gd name="connsiteX56" fmla="*/ 563908 w 1193631"/>
                <a:gd name="connsiteY56" fmla="*/ 725413 h 1138583"/>
                <a:gd name="connsiteX57" fmla="*/ 569984 w 1193631"/>
                <a:gd name="connsiteY57" fmla="*/ 678001 h 1138583"/>
                <a:gd name="connsiteX58" fmla="*/ 597329 w 1193631"/>
                <a:gd name="connsiteY58" fmla="*/ 581234 h 1138583"/>
                <a:gd name="connsiteX59" fmla="*/ 581855 w 1193631"/>
                <a:gd name="connsiteY59" fmla="*/ 557917 h 1138583"/>
                <a:gd name="connsiteX60" fmla="*/ 549211 w 1193631"/>
                <a:gd name="connsiteY60" fmla="*/ 563817 h 1138583"/>
                <a:gd name="connsiteX61" fmla="*/ 442763 w 1193631"/>
                <a:gd name="connsiteY61" fmla="*/ 657475 h 1138583"/>
                <a:gd name="connsiteX62" fmla="*/ 394963 w 1193631"/>
                <a:gd name="connsiteY62" fmla="*/ 740605 h 1138583"/>
                <a:gd name="connsiteX63" fmla="*/ 360375 w 1193631"/>
                <a:gd name="connsiteY63" fmla="*/ 784201 h 1138583"/>
                <a:gd name="connsiteX64" fmla="*/ 287420 w 1193631"/>
                <a:gd name="connsiteY64" fmla="*/ 795401 h 1138583"/>
                <a:gd name="connsiteX65" fmla="*/ 168714 w 1193631"/>
                <a:gd name="connsiteY65" fmla="*/ 817163 h 1138583"/>
                <a:gd name="connsiteX66" fmla="*/ 126884 w 1193631"/>
                <a:gd name="connsiteY66" fmla="*/ 935411 h 1138583"/>
                <a:gd name="connsiteX67" fmla="*/ 181715 w 1193631"/>
                <a:gd name="connsiteY67" fmla="*/ 1017481 h 1138583"/>
                <a:gd name="connsiteX68" fmla="*/ 295546 w 1193631"/>
                <a:gd name="connsiteY68" fmla="*/ 1052386 h 1138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93631" h="1138583">
                  <a:moveTo>
                    <a:pt x="268025" y="458818"/>
                  </a:moveTo>
                  <a:cubicBezTo>
                    <a:pt x="289257" y="461220"/>
                    <a:pt x="312928" y="455992"/>
                    <a:pt x="335928" y="446735"/>
                  </a:cubicBezTo>
                  <a:cubicBezTo>
                    <a:pt x="353522" y="439669"/>
                    <a:pt x="371857" y="435465"/>
                    <a:pt x="390511" y="432816"/>
                  </a:cubicBezTo>
                  <a:cubicBezTo>
                    <a:pt x="406127" y="430625"/>
                    <a:pt x="420683" y="436349"/>
                    <a:pt x="435168" y="440659"/>
                  </a:cubicBezTo>
                  <a:cubicBezTo>
                    <a:pt x="468554" y="450586"/>
                    <a:pt x="502859" y="453307"/>
                    <a:pt x="537269" y="453801"/>
                  </a:cubicBezTo>
                  <a:cubicBezTo>
                    <a:pt x="576944" y="454366"/>
                    <a:pt x="616584" y="454861"/>
                    <a:pt x="656223" y="449668"/>
                  </a:cubicBezTo>
                  <a:cubicBezTo>
                    <a:pt x="708652" y="442743"/>
                    <a:pt x="751401" y="420380"/>
                    <a:pt x="783409" y="378020"/>
                  </a:cubicBezTo>
                  <a:cubicBezTo>
                    <a:pt x="817290" y="333151"/>
                    <a:pt x="844493" y="284786"/>
                    <a:pt x="861028" y="230802"/>
                  </a:cubicBezTo>
                  <a:cubicBezTo>
                    <a:pt x="871732" y="195897"/>
                    <a:pt x="877491" y="159861"/>
                    <a:pt x="883497" y="124002"/>
                  </a:cubicBezTo>
                  <a:cubicBezTo>
                    <a:pt x="890598" y="81571"/>
                    <a:pt x="910630" y="52036"/>
                    <a:pt x="953767" y="40589"/>
                  </a:cubicBezTo>
                  <a:cubicBezTo>
                    <a:pt x="973304" y="35396"/>
                    <a:pt x="990616" y="24726"/>
                    <a:pt x="1008422" y="15505"/>
                  </a:cubicBezTo>
                  <a:cubicBezTo>
                    <a:pt x="1058519" y="-10462"/>
                    <a:pt x="1104411" y="-3149"/>
                    <a:pt x="1146807" y="32463"/>
                  </a:cubicBezTo>
                  <a:cubicBezTo>
                    <a:pt x="1156310" y="40448"/>
                    <a:pt x="1165143" y="49280"/>
                    <a:pt x="1174540" y="57406"/>
                  </a:cubicBezTo>
                  <a:cubicBezTo>
                    <a:pt x="1189414" y="70301"/>
                    <a:pt x="1195455" y="87083"/>
                    <a:pt x="1193159" y="105878"/>
                  </a:cubicBezTo>
                  <a:cubicBezTo>
                    <a:pt x="1189485" y="135978"/>
                    <a:pt x="1191993" y="166079"/>
                    <a:pt x="1191180" y="196144"/>
                  </a:cubicBezTo>
                  <a:cubicBezTo>
                    <a:pt x="1190544" y="221334"/>
                    <a:pt x="1181677" y="233593"/>
                    <a:pt x="1156416" y="236950"/>
                  </a:cubicBezTo>
                  <a:cubicBezTo>
                    <a:pt x="1117483" y="242143"/>
                    <a:pt x="1080811" y="253272"/>
                    <a:pt x="1045623" y="270795"/>
                  </a:cubicBezTo>
                  <a:cubicBezTo>
                    <a:pt x="1017466" y="284821"/>
                    <a:pt x="985316" y="286340"/>
                    <a:pt x="955640" y="296303"/>
                  </a:cubicBezTo>
                  <a:cubicBezTo>
                    <a:pt x="909146" y="311848"/>
                    <a:pt x="865302" y="332162"/>
                    <a:pt x="828242" y="364595"/>
                  </a:cubicBezTo>
                  <a:cubicBezTo>
                    <a:pt x="784822" y="402609"/>
                    <a:pt x="746560" y="445146"/>
                    <a:pt x="721583" y="497998"/>
                  </a:cubicBezTo>
                  <a:cubicBezTo>
                    <a:pt x="703070" y="537143"/>
                    <a:pt x="693001" y="578690"/>
                    <a:pt x="686854" y="621298"/>
                  </a:cubicBezTo>
                  <a:cubicBezTo>
                    <a:pt x="679435" y="672561"/>
                    <a:pt x="677562" y="724141"/>
                    <a:pt x="676714" y="775863"/>
                  </a:cubicBezTo>
                  <a:cubicBezTo>
                    <a:pt x="676361" y="798227"/>
                    <a:pt x="670638" y="820272"/>
                    <a:pt x="664561" y="841823"/>
                  </a:cubicBezTo>
                  <a:cubicBezTo>
                    <a:pt x="660074" y="857651"/>
                    <a:pt x="655446" y="873549"/>
                    <a:pt x="654174" y="889836"/>
                  </a:cubicBezTo>
                  <a:cubicBezTo>
                    <a:pt x="653044" y="904462"/>
                    <a:pt x="654280" y="919407"/>
                    <a:pt x="655658" y="934104"/>
                  </a:cubicBezTo>
                  <a:cubicBezTo>
                    <a:pt x="657849" y="957280"/>
                    <a:pt x="646578" y="972153"/>
                    <a:pt x="627748" y="983035"/>
                  </a:cubicBezTo>
                  <a:cubicBezTo>
                    <a:pt x="621848" y="986462"/>
                    <a:pt x="616160" y="990348"/>
                    <a:pt x="610048" y="993280"/>
                  </a:cubicBezTo>
                  <a:cubicBezTo>
                    <a:pt x="588038" y="1003808"/>
                    <a:pt x="573659" y="1021862"/>
                    <a:pt x="561788" y="1042176"/>
                  </a:cubicBezTo>
                  <a:cubicBezTo>
                    <a:pt x="544971" y="1071005"/>
                    <a:pt x="520771" y="1087080"/>
                    <a:pt x="486890" y="1089058"/>
                  </a:cubicBezTo>
                  <a:cubicBezTo>
                    <a:pt x="475726" y="1089694"/>
                    <a:pt x="464915" y="1094110"/>
                    <a:pt x="458662" y="1105062"/>
                  </a:cubicBezTo>
                  <a:cubicBezTo>
                    <a:pt x="457672" y="1106793"/>
                    <a:pt x="456047" y="1108101"/>
                    <a:pt x="454846" y="1109726"/>
                  </a:cubicBezTo>
                  <a:cubicBezTo>
                    <a:pt x="436298" y="1134421"/>
                    <a:pt x="427996" y="1136223"/>
                    <a:pt x="403159" y="1119336"/>
                  </a:cubicBezTo>
                  <a:cubicBezTo>
                    <a:pt x="381502" y="1104603"/>
                    <a:pt x="360446" y="1106970"/>
                    <a:pt x="338966" y="1119336"/>
                  </a:cubicBezTo>
                  <a:cubicBezTo>
                    <a:pt x="329568" y="1124741"/>
                    <a:pt x="320100" y="1130217"/>
                    <a:pt x="310066" y="1134174"/>
                  </a:cubicBezTo>
                  <a:cubicBezTo>
                    <a:pt x="284841" y="1144101"/>
                    <a:pt x="264986" y="1137177"/>
                    <a:pt x="250113" y="1114319"/>
                  </a:cubicBezTo>
                  <a:cubicBezTo>
                    <a:pt x="248593" y="1111952"/>
                    <a:pt x="247180" y="1109549"/>
                    <a:pt x="245732" y="1107111"/>
                  </a:cubicBezTo>
                  <a:cubicBezTo>
                    <a:pt x="234002" y="1087221"/>
                    <a:pt x="221496" y="1082381"/>
                    <a:pt x="199203" y="1089058"/>
                  </a:cubicBezTo>
                  <a:cubicBezTo>
                    <a:pt x="171363" y="1097431"/>
                    <a:pt x="161860" y="1094499"/>
                    <a:pt x="151226" y="1069274"/>
                  </a:cubicBezTo>
                  <a:cubicBezTo>
                    <a:pt x="142287" y="1048006"/>
                    <a:pt x="125541" y="1037159"/>
                    <a:pt x="106216" y="1028468"/>
                  </a:cubicBezTo>
                  <a:cubicBezTo>
                    <a:pt x="91978" y="1022074"/>
                    <a:pt x="77211" y="1017057"/>
                    <a:pt x="64563" y="1007200"/>
                  </a:cubicBezTo>
                  <a:cubicBezTo>
                    <a:pt x="50396" y="996177"/>
                    <a:pt x="44390" y="982045"/>
                    <a:pt x="47923" y="964946"/>
                  </a:cubicBezTo>
                  <a:cubicBezTo>
                    <a:pt x="53399" y="938555"/>
                    <a:pt x="46757" y="916616"/>
                    <a:pt x="27078" y="898386"/>
                  </a:cubicBezTo>
                  <a:cubicBezTo>
                    <a:pt x="22945" y="894570"/>
                    <a:pt x="19129" y="890401"/>
                    <a:pt x="15172" y="886409"/>
                  </a:cubicBezTo>
                  <a:cubicBezTo>
                    <a:pt x="935" y="872065"/>
                    <a:pt x="-4471" y="856273"/>
                    <a:pt x="4114" y="836383"/>
                  </a:cubicBezTo>
                  <a:cubicBezTo>
                    <a:pt x="12240" y="817552"/>
                    <a:pt x="16091" y="797238"/>
                    <a:pt x="17645" y="776888"/>
                  </a:cubicBezTo>
                  <a:cubicBezTo>
                    <a:pt x="19200" y="756821"/>
                    <a:pt x="15137" y="736860"/>
                    <a:pt x="9661" y="717641"/>
                  </a:cubicBezTo>
                  <a:cubicBezTo>
                    <a:pt x="2736" y="693370"/>
                    <a:pt x="5987" y="672631"/>
                    <a:pt x="22662" y="652705"/>
                  </a:cubicBezTo>
                  <a:cubicBezTo>
                    <a:pt x="39797" y="632214"/>
                    <a:pt x="50749" y="607837"/>
                    <a:pt x="56720" y="581693"/>
                  </a:cubicBezTo>
                  <a:cubicBezTo>
                    <a:pt x="61525" y="560743"/>
                    <a:pt x="72830" y="546788"/>
                    <a:pt x="93745" y="539969"/>
                  </a:cubicBezTo>
                  <a:cubicBezTo>
                    <a:pt x="112010" y="534034"/>
                    <a:pt x="129639" y="526120"/>
                    <a:pt x="147728" y="519549"/>
                  </a:cubicBezTo>
                  <a:cubicBezTo>
                    <a:pt x="164086" y="513614"/>
                    <a:pt x="176486" y="502626"/>
                    <a:pt x="188392" y="490438"/>
                  </a:cubicBezTo>
                  <a:cubicBezTo>
                    <a:pt x="219517" y="458606"/>
                    <a:pt x="220330" y="458465"/>
                    <a:pt x="267954" y="458677"/>
                  </a:cubicBezTo>
                  <a:close/>
                  <a:moveTo>
                    <a:pt x="295511" y="1052422"/>
                  </a:moveTo>
                  <a:cubicBezTo>
                    <a:pt x="342499" y="1052351"/>
                    <a:pt x="391889" y="1039738"/>
                    <a:pt x="429268" y="1021932"/>
                  </a:cubicBezTo>
                  <a:cubicBezTo>
                    <a:pt x="455447" y="1009461"/>
                    <a:pt x="480601" y="995329"/>
                    <a:pt x="500562" y="974061"/>
                  </a:cubicBezTo>
                  <a:cubicBezTo>
                    <a:pt x="541085" y="930889"/>
                    <a:pt x="553768" y="876693"/>
                    <a:pt x="558714" y="820061"/>
                  </a:cubicBezTo>
                  <a:cubicBezTo>
                    <a:pt x="561470" y="788617"/>
                    <a:pt x="561753" y="756927"/>
                    <a:pt x="563908" y="725413"/>
                  </a:cubicBezTo>
                  <a:cubicBezTo>
                    <a:pt x="565003" y="709550"/>
                    <a:pt x="567229" y="693687"/>
                    <a:pt x="569984" y="678001"/>
                  </a:cubicBezTo>
                  <a:cubicBezTo>
                    <a:pt x="575814" y="644862"/>
                    <a:pt x="586307" y="612960"/>
                    <a:pt x="597329" y="581234"/>
                  </a:cubicBezTo>
                  <a:cubicBezTo>
                    <a:pt x="601675" y="568692"/>
                    <a:pt x="595174" y="558977"/>
                    <a:pt x="581855" y="557917"/>
                  </a:cubicBezTo>
                  <a:cubicBezTo>
                    <a:pt x="570514" y="557033"/>
                    <a:pt x="559527" y="558235"/>
                    <a:pt x="549211" y="563817"/>
                  </a:cubicBezTo>
                  <a:cubicBezTo>
                    <a:pt x="506498" y="586851"/>
                    <a:pt x="472899" y="620238"/>
                    <a:pt x="442763" y="657475"/>
                  </a:cubicBezTo>
                  <a:cubicBezTo>
                    <a:pt x="422414" y="682594"/>
                    <a:pt x="409554" y="712094"/>
                    <a:pt x="394963" y="740605"/>
                  </a:cubicBezTo>
                  <a:cubicBezTo>
                    <a:pt x="386378" y="757386"/>
                    <a:pt x="376097" y="772861"/>
                    <a:pt x="360375" y="784201"/>
                  </a:cubicBezTo>
                  <a:cubicBezTo>
                    <a:pt x="337871" y="800488"/>
                    <a:pt x="314836" y="807377"/>
                    <a:pt x="287420" y="795401"/>
                  </a:cubicBezTo>
                  <a:cubicBezTo>
                    <a:pt x="243471" y="776217"/>
                    <a:pt x="203549" y="789571"/>
                    <a:pt x="168714" y="817163"/>
                  </a:cubicBezTo>
                  <a:cubicBezTo>
                    <a:pt x="130982" y="847052"/>
                    <a:pt x="119288" y="887999"/>
                    <a:pt x="126884" y="935411"/>
                  </a:cubicBezTo>
                  <a:cubicBezTo>
                    <a:pt x="132678" y="971588"/>
                    <a:pt x="152074" y="997414"/>
                    <a:pt x="181715" y="1017481"/>
                  </a:cubicBezTo>
                  <a:cubicBezTo>
                    <a:pt x="218917" y="1042671"/>
                    <a:pt x="260676" y="1050761"/>
                    <a:pt x="295546" y="1052386"/>
                  </a:cubicBezTo>
                  <a:close/>
                </a:path>
              </a:pathLst>
            </a:custGeom>
            <a:solidFill>
              <a:srgbClr val="CB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54" name="Oval 3553">
              <a:extLst>
                <a:ext uri="{FF2B5EF4-FFF2-40B4-BE49-F238E27FC236}">
                  <a16:creationId xmlns:a16="http://schemas.microsoft.com/office/drawing/2014/main" id="{D86EAE1E-6786-670D-C138-14644CA1CC11}"/>
                </a:ext>
              </a:extLst>
            </p:cNvPr>
            <p:cNvSpPr/>
            <p:nvPr/>
          </p:nvSpPr>
          <p:spPr>
            <a:xfrm rot="20390227">
              <a:off x="10425033" y="2098442"/>
              <a:ext cx="192088" cy="230814"/>
            </a:xfrm>
            <a:prstGeom prst="ellipse">
              <a:avLst/>
            </a:prstGeom>
            <a:solidFill>
              <a:srgbClr val="CBB7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55" name="Freeform: Shape 3554">
              <a:extLst>
                <a:ext uri="{FF2B5EF4-FFF2-40B4-BE49-F238E27FC236}">
                  <a16:creationId xmlns:a16="http://schemas.microsoft.com/office/drawing/2014/main" id="{C60B8C04-DBF9-B1A7-ADD8-71AAC50895FD}"/>
                </a:ext>
              </a:extLst>
            </p:cNvPr>
            <p:cNvSpPr/>
            <p:nvPr/>
          </p:nvSpPr>
          <p:spPr>
            <a:xfrm rot="5597451">
              <a:off x="10438724" y="2308213"/>
              <a:ext cx="104214" cy="462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3556" name="Group 3555">
              <a:extLst>
                <a:ext uri="{FF2B5EF4-FFF2-40B4-BE49-F238E27FC236}">
                  <a16:creationId xmlns:a16="http://schemas.microsoft.com/office/drawing/2014/main" id="{2BB9505D-3E97-D125-7D78-BB26444605BF}"/>
                </a:ext>
              </a:extLst>
            </p:cNvPr>
            <p:cNvGrpSpPr/>
            <p:nvPr/>
          </p:nvGrpSpPr>
          <p:grpSpPr>
            <a:xfrm rot="8306406">
              <a:off x="10415314" y="2092997"/>
              <a:ext cx="155328" cy="184773"/>
              <a:chOff x="7023864" y="4381061"/>
              <a:chExt cx="1454089" cy="1773897"/>
            </a:xfrm>
          </p:grpSpPr>
          <p:sp>
            <p:nvSpPr>
              <p:cNvPr id="3557" name="Freeform: Shape 3556">
                <a:extLst>
                  <a:ext uri="{FF2B5EF4-FFF2-40B4-BE49-F238E27FC236}">
                    <a16:creationId xmlns:a16="http://schemas.microsoft.com/office/drawing/2014/main" id="{677DA6FB-708F-3BEF-1CC5-5919F86BFD3D}"/>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58" name="Freeform: Shape 3557">
                <a:extLst>
                  <a:ext uri="{FF2B5EF4-FFF2-40B4-BE49-F238E27FC236}">
                    <a16:creationId xmlns:a16="http://schemas.microsoft.com/office/drawing/2014/main" id="{F9A7385A-B20D-3F0D-707A-9BB34BCBA3F7}"/>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59" name="Rectangle: Rounded Corners 3558">
                <a:extLst>
                  <a:ext uri="{FF2B5EF4-FFF2-40B4-BE49-F238E27FC236}">
                    <a16:creationId xmlns:a16="http://schemas.microsoft.com/office/drawing/2014/main" id="{E4350B10-7884-EEF7-29EE-5D2D4C23A88B}"/>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60" name="Freeform: Shape 3559">
                <a:extLst>
                  <a:ext uri="{FF2B5EF4-FFF2-40B4-BE49-F238E27FC236}">
                    <a16:creationId xmlns:a16="http://schemas.microsoft.com/office/drawing/2014/main" id="{773876E6-DDCE-EE16-44F6-24F2DC982990}"/>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61" name="Freeform: Shape 3560">
                <a:extLst>
                  <a:ext uri="{FF2B5EF4-FFF2-40B4-BE49-F238E27FC236}">
                    <a16:creationId xmlns:a16="http://schemas.microsoft.com/office/drawing/2014/main" id="{08B48E7E-3BA0-B0AB-0C05-AF9D7C435F94}"/>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62" name="Freeform: Shape 3561">
                <a:extLst>
                  <a:ext uri="{FF2B5EF4-FFF2-40B4-BE49-F238E27FC236}">
                    <a16:creationId xmlns:a16="http://schemas.microsoft.com/office/drawing/2014/main" id="{71BC8EA8-489C-E4E0-084B-784B7E3F3160}"/>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63" name="Freeform: Shape 3562">
                <a:extLst>
                  <a:ext uri="{FF2B5EF4-FFF2-40B4-BE49-F238E27FC236}">
                    <a16:creationId xmlns:a16="http://schemas.microsoft.com/office/drawing/2014/main" id="{D0BFA7A2-4ADC-9C21-0E92-23651204A2FE}"/>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64" name="Rectangle: Rounded Corners 3563">
                <a:extLst>
                  <a:ext uri="{FF2B5EF4-FFF2-40B4-BE49-F238E27FC236}">
                    <a16:creationId xmlns:a16="http://schemas.microsoft.com/office/drawing/2014/main" id="{6EEDEE35-D423-9D5D-E90A-E5907AAACFF3}"/>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565" name="Group 3564">
                <a:extLst>
                  <a:ext uri="{FF2B5EF4-FFF2-40B4-BE49-F238E27FC236}">
                    <a16:creationId xmlns:a16="http://schemas.microsoft.com/office/drawing/2014/main" id="{D1ABB9E6-2D38-F5ED-B390-5193910B1895}"/>
                  </a:ext>
                </a:extLst>
              </p:cNvPr>
              <p:cNvGrpSpPr/>
              <p:nvPr/>
            </p:nvGrpSpPr>
            <p:grpSpPr>
              <a:xfrm rot="18900000">
                <a:off x="7023864" y="4541844"/>
                <a:ext cx="155034" cy="650324"/>
                <a:chOff x="1687853" y="3177376"/>
                <a:chExt cx="389584" cy="2276476"/>
              </a:xfrm>
            </p:grpSpPr>
            <p:sp>
              <p:nvSpPr>
                <p:cNvPr id="3576" name="Freeform: Shape 3575">
                  <a:extLst>
                    <a:ext uri="{FF2B5EF4-FFF2-40B4-BE49-F238E27FC236}">
                      <a16:creationId xmlns:a16="http://schemas.microsoft.com/office/drawing/2014/main" id="{9F57098E-AEE8-76A3-8ED5-44D9B4800D6E}"/>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77" name="Freeform: Shape 3576">
                  <a:extLst>
                    <a:ext uri="{FF2B5EF4-FFF2-40B4-BE49-F238E27FC236}">
                      <a16:creationId xmlns:a16="http://schemas.microsoft.com/office/drawing/2014/main" id="{64C812C4-9A65-C8AF-8284-4668AA4C2425}"/>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566" name="Group 3565">
                <a:extLst>
                  <a:ext uri="{FF2B5EF4-FFF2-40B4-BE49-F238E27FC236}">
                    <a16:creationId xmlns:a16="http://schemas.microsoft.com/office/drawing/2014/main" id="{E02A25CC-F5DF-4397-6E7C-3B39E0FE1B0F}"/>
                  </a:ext>
                </a:extLst>
              </p:cNvPr>
              <p:cNvGrpSpPr/>
              <p:nvPr/>
            </p:nvGrpSpPr>
            <p:grpSpPr>
              <a:xfrm rot="18900000">
                <a:off x="7159822" y="4381061"/>
                <a:ext cx="155034" cy="650324"/>
                <a:chOff x="1687853" y="3177376"/>
                <a:chExt cx="389584" cy="2276476"/>
              </a:xfrm>
            </p:grpSpPr>
            <p:sp>
              <p:nvSpPr>
                <p:cNvPr id="3574" name="Freeform: Shape 3573">
                  <a:extLst>
                    <a:ext uri="{FF2B5EF4-FFF2-40B4-BE49-F238E27FC236}">
                      <a16:creationId xmlns:a16="http://schemas.microsoft.com/office/drawing/2014/main" id="{2872E204-BE9F-11B1-CD0A-BFC93CB0D906}"/>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75" name="Freeform: Shape 3574">
                  <a:extLst>
                    <a:ext uri="{FF2B5EF4-FFF2-40B4-BE49-F238E27FC236}">
                      <a16:creationId xmlns:a16="http://schemas.microsoft.com/office/drawing/2014/main" id="{0742E3CE-44DF-E7E4-4B3F-9A7ED9242C29}"/>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567" name="Rectangle: Rounded Corners 3566">
                <a:extLst>
                  <a:ext uri="{FF2B5EF4-FFF2-40B4-BE49-F238E27FC236}">
                    <a16:creationId xmlns:a16="http://schemas.microsoft.com/office/drawing/2014/main" id="{918B86F3-7FBB-86A8-5C3D-A9B76981E53A}"/>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568" name="Group 3567">
                <a:extLst>
                  <a:ext uri="{FF2B5EF4-FFF2-40B4-BE49-F238E27FC236}">
                    <a16:creationId xmlns:a16="http://schemas.microsoft.com/office/drawing/2014/main" id="{9A465DC9-E208-CBA2-C365-2EF5517E809D}"/>
                  </a:ext>
                </a:extLst>
              </p:cNvPr>
              <p:cNvGrpSpPr/>
              <p:nvPr/>
            </p:nvGrpSpPr>
            <p:grpSpPr>
              <a:xfrm rot="2700000" flipH="1">
                <a:off x="8075274" y="4531570"/>
                <a:ext cx="155034" cy="650324"/>
                <a:chOff x="1687853" y="3177376"/>
                <a:chExt cx="389584" cy="2276476"/>
              </a:xfrm>
            </p:grpSpPr>
            <p:sp>
              <p:nvSpPr>
                <p:cNvPr id="3572" name="Freeform: Shape 3571">
                  <a:extLst>
                    <a:ext uri="{FF2B5EF4-FFF2-40B4-BE49-F238E27FC236}">
                      <a16:creationId xmlns:a16="http://schemas.microsoft.com/office/drawing/2014/main" id="{B6C4F8B2-BC80-7A09-96E5-92E7933E53B4}"/>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73" name="Freeform: Shape 3572">
                  <a:extLst>
                    <a:ext uri="{FF2B5EF4-FFF2-40B4-BE49-F238E27FC236}">
                      <a16:creationId xmlns:a16="http://schemas.microsoft.com/office/drawing/2014/main" id="{8BAC656C-7E4E-8918-2FF2-97AF8A71A2F7}"/>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569" name="Group 3568">
                <a:extLst>
                  <a:ext uri="{FF2B5EF4-FFF2-40B4-BE49-F238E27FC236}">
                    <a16:creationId xmlns:a16="http://schemas.microsoft.com/office/drawing/2014/main" id="{8122647D-825F-A1D7-5B93-C3840800F417}"/>
                  </a:ext>
                </a:extLst>
              </p:cNvPr>
              <p:cNvGrpSpPr/>
              <p:nvPr/>
            </p:nvGrpSpPr>
            <p:grpSpPr>
              <a:xfrm rot="2700000" flipH="1">
                <a:off x="7938470" y="4374279"/>
                <a:ext cx="155034" cy="650324"/>
                <a:chOff x="1687853" y="3177376"/>
                <a:chExt cx="389584" cy="2276476"/>
              </a:xfrm>
            </p:grpSpPr>
            <p:sp>
              <p:nvSpPr>
                <p:cNvPr id="3570" name="Freeform: Shape 3569">
                  <a:extLst>
                    <a:ext uri="{FF2B5EF4-FFF2-40B4-BE49-F238E27FC236}">
                      <a16:creationId xmlns:a16="http://schemas.microsoft.com/office/drawing/2014/main" id="{8F435885-E42B-EC10-ABCD-EFD1EDC34769}"/>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71" name="Freeform: Shape 3570">
                  <a:extLst>
                    <a:ext uri="{FF2B5EF4-FFF2-40B4-BE49-F238E27FC236}">
                      <a16:creationId xmlns:a16="http://schemas.microsoft.com/office/drawing/2014/main" id="{BBC2FE7D-EAB6-ABCD-3410-7AA3CA60D7B0}"/>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grpSp>
        <p:nvGrpSpPr>
          <p:cNvPr id="3608" name="Group 3607">
            <a:extLst>
              <a:ext uri="{FF2B5EF4-FFF2-40B4-BE49-F238E27FC236}">
                <a16:creationId xmlns:a16="http://schemas.microsoft.com/office/drawing/2014/main" id="{E5C58DC8-BE3B-1092-63E0-682E926C87C7}"/>
              </a:ext>
            </a:extLst>
          </p:cNvPr>
          <p:cNvGrpSpPr/>
          <p:nvPr/>
        </p:nvGrpSpPr>
        <p:grpSpPr>
          <a:xfrm>
            <a:off x="8259855" y="1631194"/>
            <a:ext cx="544434" cy="506124"/>
            <a:chOff x="8189904" y="1428269"/>
            <a:chExt cx="544434" cy="506124"/>
          </a:xfrm>
        </p:grpSpPr>
        <p:grpSp>
          <p:nvGrpSpPr>
            <p:cNvPr id="3609" name="Group 3608">
              <a:extLst>
                <a:ext uri="{FF2B5EF4-FFF2-40B4-BE49-F238E27FC236}">
                  <a16:creationId xmlns:a16="http://schemas.microsoft.com/office/drawing/2014/main" id="{8ECA4E2D-A006-FFB8-66BA-AA1DED7CED69}"/>
                </a:ext>
              </a:extLst>
            </p:cNvPr>
            <p:cNvGrpSpPr/>
            <p:nvPr/>
          </p:nvGrpSpPr>
          <p:grpSpPr>
            <a:xfrm>
              <a:off x="8225824" y="1512161"/>
              <a:ext cx="432263" cy="422232"/>
              <a:chOff x="6328010" y="2401924"/>
              <a:chExt cx="1029647" cy="1005755"/>
            </a:xfrm>
          </p:grpSpPr>
          <p:sp>
            <p:nvSpPr>
              <p:cNvPr id="3624" name="Freeform: Shape 3623">
                <a:extLst>
                  <a:ext uri="{FF2B5EF4-FFF2-40B4-BE49-F238E27FC236}">
                    <a16:creationId xmlns:a16="http://schemas.microsoft.com/office/drawing/2014/main" id="{D99A251B-5DCD-B08E-DD51-DCFF8DC59092}"/>
                  </a:ext>
                </a:extLst>
              </p:cNvPr>
              <p:cNvSpPr/>
              <p:nvPr/>
            </p:nvSpPr>
            <p:spPr>
              <a:xfrm>
                <a:off x="6436734" y="2448545"/>
                <a:ext cx="920923" cy="948381"/>
              </a:xfrm>
              <a:custGeom>
                <a:avLst/>
                <a:gdLst>
                  <a:gd name="connsiteX0" fmla="*/ 125 w 920923"/>
                  <a:gd name="connsiteY0" fmla="*/ 480282 h 948381"/>
                  <a:gd name="connsiteX1" fmla="*/ 391398 w 920923"/>
                  <a:gd name="connsiteY1" fmla="*/ 7292 h 948381"/>
                  <a:gd name="connsiteX2" fmla="*/ 876575 w 920923"/>
                  <a:gd name="connsiteY2" fmla="*/ 276219 h 948381"/>
                  <a:gd name="connsiteX3" fmla="*/ 823405 w 920923"/>
                  <a:gd name="connsiteY3" fmla="*/ 768781 h 948381"/>
                  <a:gd name="connsiteX4" fmla="*/ 513672 w 920923"/>
                  <a:gd name="connsiteY4" fmla="*/ 946311 h 948381"/>
                  <a:gd name="connsiteX5" fmla="*/ 13550 w 920923"/>
                  <a:gd name="connsiteY5" fmla="*/ 586164 h 948381"/>
                  <a:gd name="connsiteX6" fmla="*/ 4329 w 920923"/>
                  <a:gd name="connsiteY6" fmla="*/ 540942 h 948381"/>
                  <a:gd name="connsiteX7" fmla="*/ 90 w 920923"/>
                  <a:gd name="connsiteY7" fmla="*/ 480282 h 948381"/>
                  <a:gd name="connsiteX8" fmla="*/ 15670 w 920923"/>
                  <a:gd name="connsiteY8" fmla="*/ 486005 h 948381"/>
                  <a:gd name="connsiteX9" fmla="*/ 20581 w 920923"/>
                  <a:gd name="connsiteY9" fmla="*/ 544086 h 948381"/>
                  <a:gd name="connsiteX10" fmla="*/ 175606 w 920923"/>
                  <a:gd name="connsiteY10" fmla="*/ 819832 h 948381"/>
                  <a:gd name="connsiteX11" fmla="*/ 536424 w 920923"/>
                  <a:gd name="connsiteY11" fmla="*/ 927092 h 948381"/>
                  <a:gd name="connsiteX12" fmla="*/ 855908 w 920923"/>
                  <a:gd name="connsiteY12" fmla="*/ 686040 h 948381"/>
                  <a:gd name="connsiteX13" fmla="*/ 897738 w 920923"/>
                  <a:gd name="connsiteY13" fmla="*/ 406090 h 948381"/>
                  <a:gd name="connsiteX14" fmla="*/ 729782 w 920923"/>
                  <a:gd name="connsiteY14" fmla="*/ 106780 h 948381"/>
                  <a:gd name="connsiteX15" fmla="*/ 381682 w 920923"/>
                  <a:gd name="connsiteY15" fmla="*/ 25628 h 948381"/>
                  <a:gd name="connsiteX16" fmla="*/ 127452 w 920923"/>
                  <a:gd name="connsiteY16" fmla="*/ 178922 h 948381"/>
                  <a:gd name="connsiteX17" fmla="*/ 15705 w 920923"/>
                  <a:gd name="connsiteY17" fmla="*/ 485970 h 94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0923" h="948381">
                    <a:moveTo>
                      <a:pt x="125" y="480282"/>
                    </a:moveTo>
                    <a:cubicBezTo>
                      <a:pt x="-122" y="249546"/>
                      <a:pt x="171437" y="46896"/>
                      <a:pt x="391398" y="7292"/>
                    </a:cubicBezTo>
                    <a:cubicBezTo>
                      <a:pt x="602208" y="-30651"/>
                      <a:pt x="795353" y="82508"/>
                      <a:pt x="876575" y="276219"/>
                    </a:cubicBezTo>
                    <a:cubicBezTo>
                      <a:pt x="948930" y="448732"/>
                      <a:pt x="933809" y="615770"/>
                      <a:pt x="823405" y="768781"/>
                    </a:cubicBezTo>
                    <a:cubicBezTo>
                      <a:pt x="747871" y="873462"/>
                      <a:pt x="643261" y="933734"/>
                      <a:pt x="513672" y="946311"/>
                    </a:cubicBezTo>
                    <a:cubicBezTo>
                      <a:pt x="285551" y="968427"/>
                      <a:pt x="67569" y="811070"/>
                      <a:pt x="13550" y="586164"/>
                    </a:cubicBezTo>
                    <a:cubicBezTo>
                      <a:pt x="9947" y="571219"/>
                      <a:pt x="6838" y="556098"/>
                      <a:pt x="4329" y="540942"/>
                    </a:cubicBezTo>
                    <a:cubicBezTo>
                      <a:pt x="690" y="518861"/>
                      <a:pt x="-334" y="496568"/>
                      <a:pt x="90" y="480282"/>
                    </a:cubicBezTo>
                    <a:close/>
                    <a:moveTo>
                      <a:pt x="15670" y="486005"/>
                    </a:moveTo>
                    <a:cubicBezTo>
                      <a:pt x="14645" y="497770"/>
                      <a:pt x="16483" y="521228"/>
                      <a:pt x="20581" y="544086"/>
                    </a:cubicBezTo>
                    <a:cubicBezTo>
                      <a:pt x="40259" y="653819"/>
                      <a:pt x="90745" y="746700"/>
                      <a:pt x="175606" y="819832"/>
                    </a:cubicBezTo>
                    <a:cubicBezTo>
                      <a:pt x="279722" y="909604"/>
                      <a:pt x="399594" y="948819"/>
                      <a:pt x="536424" y="927092"/>
                    </a:cubicBezTo>
                    <a:cubicBezTo>
                      <a:pt x="685090" y="903492"/>
                      <a:pt x="789736" y="818419"/>
                      <a:pt x="855908" y="686040"/>
                    </a:cubicBezTo>
                    <a:cubicBezTo>
                      <a:pt x="899893" y="598070"/>
                      <a:pt x="912788" y="503882"/>
                      <a:pt x="897738" y="406090"/>
                    </a:cubicBezTo>
                    <a:cubicBezTo>
                      <a:pt x="879119" y="285158"/>
                      <a:pt x="825207" y="183974"/>
                      <a:pt x="729782" y="106780"/>
                    </a:cubicBezTo>
                    <a:cubicBezTo>
                      <a:pt x="627221" y="23791"/>
                      <a:pt x="509362" y="-1257"/>
                      <a:pt x="381682" y="25628"/>
                    </a:cubicBezTo>
                    <a:cubicBezTo>
                      <a:pt x="280040" y="47038"/>
                      <a:pt x="195249" y="99431"/>
                      <a:pt x="127452" y="178922"/>
                    </a:cubicBezTo>
                    <a:cubicBezTo>
                      <a:pt x="54815" y="264137"/>
                      <a:pt x="16200" y="361893"/>
                      <a:pt x="15705" y="485970"/>
                    </a:cubicBezTo>
                    <a:close/>
                  </a:path>
                </a:pathLst>
              </a:custGeom>
              <a:solidFill>
                <a:srgbClr val="8877B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5" name="Freeform: Shape 3624">
                <a:extLst>
                  <a:ext uri="{FF2B5EF4-FFF2-40B4-BE49-F238E27FC236}">
                    <a16:creationId xmlns:a16="http://schemas.microsoft.com/office/drawing/2014/main" id="{BEC04066-0027-AD81-201F-DD5CB3747ED2}"/>
                  </a:ext>
                </a:extLst>
              </p:cNvPr>
              <p:cNvSpPr/>
              <p:nvPr/>
            </p:nvSpPr>
            <p:spPr>
              <a:xfrm>
                <a:off x="6452090" y="2463871"/>
                <a:ext cx="888365" cy="917657"/>
              </a:xfrm>
              <a:custGeom>
                <a:avLst/>
                <a:gdLst>
                  <a:gd name="connsiteX0" fmla="*/ 314 w 888365"/>
                  <a:gd name="connsiteY0" fmla="*/ 470678 h 917657"/>
                  <a:gd name="connsiteX1" fmla="*/ 112061 w 888365"/>
                  <a:gd name="connsiteY1" fmla="*/ 163631 h 917657"/>
                  <a:gd name="connsiteX2" fmla="*/ 366291 w 888365"/>
                  <a:gd name="connsiteY2" fmla="*/ 10337 h 917657"/>
                  <a:gd name="connsiteX3" fmla="*/ 714391 w 888365"/>
                  <a:gd name="connsiteY3" fmla="*/ 91488 h 917657"/>
                  <a:gd name="connsiteX4" fmla="*/ 882346 w 888365"/>
                  <a:gd name="connsiteY4" fmla="*/ 390799 h 917657"/>
                  <a:gd name="connsiteX5" fmla="*/ 840516 w 888365"/>
                  <a:gd name="connsiteY5" fmla="*/ 670748 h 917657"/>
                  <a:gd name="connsiteX6" fmla="*/ 521033 w 888365"/>
                  <a:gd name="connsiteY6" fmla="*/ 911800 h 917657"/>
                  <a:gd name="connsiteX7" fmla="*/ 160215 w 888365"/>
                  <a:gd name="connsiteY7" fmla="*/ 804541 h 917657"/>
                  <a:gd name="connsiteX8" fmla="*/ 5189 w 888365"/>
                  <a:gd name="connsiteY8" fmla="*/ 528795 h 917657"/>
                  <a:gd name="connsiteX9" fmla="*/ 279 w 888365"/>
                  <a:gd name="connsiteY9" fmla="*/ 470714 h 917657"/>
                  <a:gd name="connsiteX10" fmla="*/ 770494 w 888365"/>
                  <a:gd name="connsiteY10" fmla="*/ 481984 h 917657"/>
                  <a:gd name="connsiteX11" fmla="*/ 766961 w 888365"/>
                  <a:gd name="connsiteY11" fmla="*/ 429590 h 917657"/>
                  <a:gd name="connsiteX12" fmla="*/ 679838 w 888365"/>
                  <a:gd name="connsiteY12" fmla="*/ 293537 h 917657"/>
                  <a:gd name="connsiteX13" fmla="*/ 542195 w 888365"/>
                  <a:gd name="connsiteY13" fmla="*/ 259903 h 917657"/>
                  <a:gd name="connsiteX14" fmla="*/ 450975 w 888365"/>
                  <a:gd name="connsiteY14" fmla="*/ 278875 h 917657"/>
                  <a:gd name="connsiteX15" fmla="*/ 234442 w 888365"/>
                  <a:gd name="connsiteY15" fmla="*/ 447679 h 917657"/>
                  <a:gd name="connsiteX16" fmla="*/ 191022 w 888365"/>
                  <a:gd name="connsiteY16" fmla="*/ 631603 h 917657"/>
                  <a:gd name="connsiteX17" fmla="*/ 325627 w 888365"/>
                  <a:gd name="connsiteY17" fmla="*/ 785003 h 917657"/>
                  <a:gd name="connsiteX18" fmla="*/ 504075 w 888365"/>
                  <a:gd name="connsiteY18" fmla="*/ 796238 h 917657"/>
                  <a:gd name="connsiteX19" fmla="*/ 689130 w 888365"/>
                  <a:gd name="connsiteY19" fmla="*/ 697563 h 917657"/>
                  <a:gd name="connsiteX20" fmla="*/ 770494 w 888365"/>
                  <a:gd name="connsiteY20" fmla="*/ 481984 h 917657"/>
                  <a:gd name="connsiteX21" fmla="*/ 442178 w 888365"/>
                  <a:gd name="connsiteY21" fmla="*/ 113852 h 917657"/>
                  <a:gd name="connsiteX22" fmla="*/ 412819 w 888365"/>
                  <a:gd name="connsiteY22" fmla="*/ 141197 h 917657"/>
                  <a:gd name="connsiteX23" fmla="*/ 441754 w 888365"/>
                  <a:gd name="connsiteY23" fmla="*/ 171368 h 917657"/>
                  <a:gd name="connsiteX24" fmla="*/ 470335 w 888365"/>
                  <a:gd name="connsiteY24" fmla="*/ 142433 h 917657"/>
                  <a:gd name="connsiteX25" fmla="*/ 442178 w 888365"/>
                  <a:gd name="connsiteY25" fmla="*/ 113852 h 917657"/>
                  <a:gd name="connsiteX26" fmla="*/ 680969 w 888365"/>
                  <a:gd name="connsiteY26" fmla="*/ 236939 h 917657"/>
                  <a:gd name="connsiteX27" fmla="*/ 707925 w 888365"/>
                  <a:gd name="connsiteY27" fmla="*/ 266651 h 917657"/>
                  <a:gd name="connsiteX28" fmla="*/ 741312 w 888365"/>
                  <a:gd name="connsiteY28" fmla="*/ 234572 h 917657"/>
                  <a:gd name="connsiteX29" fmla="*/ 709339 w 888365"/>
                  <a:gd name="connsiteY29" fmla="*/ 206485 h 917657"/>
                  <a:gd name="connsiteX30" fmla="*/ 680969 w 888365"/>
                  <a:gd name="connsiteY30" fmla="*/ 236939 h 917657"/>
                  <a:gd name="connsiteX31" fmla="*/ 90545 w 888365"/>
                  <a:gd name="connsiteY31" fmla="*/ 335508 h 917657"/>
                  <a:gd name="connsiteX32" fmla="*/ 115735 w 888365"/>
                  <a:gd name="connsiteY32" fmla="*/ 362570 h 917657"/>
                  <a:gd name="connsiteX33" fmla="*/ 141561 w 888365"/>
                  <a:gd name="connsiteY33" fmla="*/ 335014 h 917657"/>
                  <a:gd name="connsiteX34" fmla="*/ 114145 w 888365"/>
                  <a:gd name="connsiteY34" fmla="*/ 309011 h 917657"/>
                  <a:gd name="connsiteX35" fmla="*/ 90545 w 888365"/>
                  <a:gd name="connsiteY35" fmla="*/ 335508 h 917657"/>
                  <a:gd name="connsiteX36" fmla="*/ 282030 w 888365"/>
                  <a:gd name="connsiteY36" fmla="*/ 99225 h 917657"/>
                  <a:gd name="connsiteX37" fmla="*/ 308563 w 888365"/>
                  <a:gd name="connsiteY37" fmla="*/ 126535 h 917657"/>
                  <a:gd name="connsiteX38" fmla="*/ 333081 w 888365"/>
                  <a:gd name="connsiteY38" fmla="*/ 99155 h 917657"/>
                  <a:gd name="connsiteX39" fmla="*/ 307538 w 888365"/>
                  <a:gd name="connsiteY39" fmla="*/ 75520 h 917657"/>
                  <a:gd name="connsiteX40" fmla="*/ 282030 w 888365"/>
                  <a:gd name="connsiteY40" fmla="*/ 99190 h 917657"/>
                  <a:gd name="connsiteX41" fmla="*/ 157635 w 888365"/>
                  <a:gd name="connsiteY41" fmla="*/ 483538 h 917657"/>
                  <a:gd name="connsiteX42" fmla="*/ 137427 w 888365"/>
                  <a:gd name="connsiteY42" fmla="*/ 458596 h 917657"/>
                  <a:gd name="connsiteX43" fmla="*/ 116194 w 888365"/>
                  <a:gd name="connsiteY43" fmla="*/ 480076 h 917657"/>
                  <a:gd name="connsiteX44" fmla="*/ 137745 w 888365"/>
                  <a:gd name="connsiteY44" fmla="*/ 500072 h 917657"/>
                  <a:gd name="connsiteX45" fmla="*/ 157635 w 888365"/>
                  <a:gd name="connsiteY45" fmla="*/ 483538 h 917657"/>
                  <a:gd name="connsiteX46" fmla="*/ 168270 w 888365"/>
                  <a:gd name="connsiteY46" fmla="*/ 225740 h 917657"/>
                  <a:gd name="connsiteX47" fmla="*/ 188831 w 888365"/>
                  <a:gd name="connsiteY47" fmla="*/ 206945 h 917657"/>
                  <a:gd name="connsiteX48" fmla="*/ 169400 w 888365"/>
                  <a:gd name="connsiteY48" fmla="*/ 187160 h 917657"/>
                  <a:gd name="connsiteX49" fmla="*/ 148097 w 888365"/>
                  <a:gd name="connsiteY49" fmla="*/ 206697 h 917657"/>
                  <a:gd name="connsiteX50" fmla="*/ 168270 w 888365"/>
                  <a:gd name="connsiteY50" fmla="*/ 225740 h 917657"/>
                  <a:gd name="connsiteX51" fmla="*/ 537285 w 888365"/>
                  <a:gd name="connsiteY51" fmla="*/ 206450 h 917657"/>
                  <a:gd name="connsiteX52" fmla="*/ 517359 w 888365"/>
                  <a:gd name="connsiteY52" fmla="*/ 187443 h 917657"/>
                  <a:gd name="connsiteX53" fmla="*/ 496515 w 888365"/>
                  <a:gd name="connsiteY53" fmla="*/ 207757 h 917657"/>
                  <a:gd name="connsiteX54" fmla="*/ 517394 w 888365"/>
                  <a:gd name="connsiteY54" fmla="*/ 228390 h 917657"/>
                  <a:gd name="connsiteX55" fmla="*/ 537285 w 888365"/>
                  <a:gd name="connsiteY55" fmla="*/ 206450 h 917657"/>
                  <a:gd name="connsiteX56" fmla="*/ 259702 w 888365"/>
                  <a:gd name="connsiteY56" fmla="*/ 344093 h 917657"/>
                  <a:gd name="connsiteX57" fmla="*/ 278957 w 888365"/>
                  <a:gd name="connsiteY57" fmla="*/ 323426 h 917657"/>
                  <a:gd name="connsiteX58" fmla="*/ 258289 w 888365"/>
                  <a:gd name="connsiteY58" fmla="*/ 302793 h 917657"/>
                  <a:gd name="connsiteX59" fmla="*/ 240589 w 888365"/>
                  <a:gd name="connsiteY59" fmla="*/ 323426 h 917657"/>
                  <a:gd name="connsiteX60" fmla="*/ 259702 w 888365"/>
                  <a:gd name="connsiteY60" fmla="*/ 344093 h 917657"/>
                  <a:gd name="connsiteX61" fmla="*/ 772013 w 888365"/>
                  <a:gd name="connsiteY61" fmla="*/ 627576 h 917657"/>
                  <a:gd name="connsiteX62" fmla="*/ 751734 w 888365"/>
                  <a:gd name="connsiteY62" fmla="*/ 646936 h 917657"/>
                  <a:gd name="connsiteX63" fmla="*/ 771977 w 888365"/>
                  <a:gd name="connsiteY63" fmla="*/ 666156 h 917657"/>
                  <a:gd name="connsiteX64" fmla="*/ 791903 w 888365"/>
                  <a:gd name="connsiteY64" fmla="*/ 646654 h 917657"/>
                  <a:gd name="connsiteX65" fmla="*/ 772013 w 888365"/>
                  <a:gd name="connsiteY65" fmla="*/ 627576 h 917657"/>
                  <a:gd name="connsiteX66" fmla="*/ 293336 w 888365"/>
                  <a:gd name="connsiteY66" fmla="*/ 854178 h 917657"/>
                  <a:gd name="connsiteX67" fmla="*/ 313579 w 888365"/>
                  <a:gd name="connsiteY67" fmla="*/ 834323 h 917657"/>
                  <a:gd name="connsiteX68" fmla="*/ 292382 w 888365"/>
                  <a:gd name="connsiteY68" fmla="*/ 815669 h 917657"/>
                  <a:gd name="connsiteX69" fmla="*/ 272950 w 888365"/>
                  <a:gd name="connsiteY69" fmla="*/ 834500 h 917657"/>
                  <a:gd name="connsiteX70" fmla="*/ 293336 w 888365"/>
                  <a:gd name="connsiteY70" fmla="*/ 854178 h 917657"/>
                  <a:gd name="connsiteX71" fmla="*/ 288319 w 888365"/>
                  <a:gd name="connsiteY71" fmla="*/ 213375 h 917657"/>
                  <a:gd name="connsiteX72" fmla="*/ 306584 w 888365"/>
                  <a:gd name="connsiteY72" fmla="*/ 235137 h 917657"/>
                  <a:gd name="connsiteX73" fmla="*/ 326651 w 888365"/>
                  <a:gd name="connsiteY73" fmla="*/ 215954 h 917657"/>
                  <a:gd name="connsiteX74" fmla="*/ 306902 w 888365"/>
                  <a:gd name="connsiteY74" fmla="*/ 196735 h 917657"/>
                  <a:gd name="connsiteX75" fmla="*/ 288319 w 888365"/>
                  <a:gd name="connsiteY75" fmla="*/ 213375 h 917657"/>
                  <a:gd name="connsiteX76" fmla="*/ 729865 w 888365"/>
                  <a:gd name="connsiteY76" fmla="*/ 761721 h 917657"/>
                  <a:gd name="connsiteX77" fmla="*/ 750674 w 888365"/>
                  <a:gd name="connsiteY77" fmla="*/ 742608 h 917657"/>
                  <a:gd name="connsiteX78" fmla="*/ 730006 w 888365"/>
                  <a:gd name="connsiteY78" fmla="*/ 723460 h 917657"/>
                  <a:gd name="connsiteX79" fmla="*/ 710681 w 888365"/>
                  <a:gd name="connsiteY79" fmla="*/ 744198 h 917657"/>
                  <a:gd name="connsiteX80" fmla="*/ 729865 w 888365"/>
                  <a:gd name="connsiteY80" fmla="*/ 761721 h 917657"/>
                  <a:gd name="connsiteX81" fmla="*/ 550180 w 888365"/>
                  <a:gd name="connsiteY81" fmla="*/ 83080 h 917657"/>
                  <a:gd name="connsiteX82" fmla="*/ 532021 w 888365"/>
                  <a:gd name="connsiteY82" fmla="*/ 65839 h 917657"/>
                  <a:gd name="connsiteX83" fmla="*/ 512342 w 888365"/>
                  <a:gd name="connsiteY83" fmla="*/ 85694 h 917657"/>
                  <a:gd name="connsiteX84" fmla="*/ 530501 w 888365"/>
                  <a:gd name="connsiteY84" fmla="*/ 103783 h 917657"/>
                  <a:gd name="connsiteX85" fmla="*/ 550180 w 888365"/>
                  <a:gd name="connsiteY85" fmla="*/ 83080 h 917657"/>
                  <a:gd name="connsiteX86" fmla="*/ 668568 w 888365"/>
                  <a:gd name="connsiteY86" fmla="*/ 126182 h 917657"/>
                  <a:gd name="connsiteX87" fmla="*/ 649773 w 888365"/>
                  <a:gd name="connsiteY87" fmla="*/ 107599 h 917657"/>
                  <a:gd name="connsiteX88" fmla="*/ 630236 w 888365"/>
                  <a:gd name="connsiteY88" fmla="*/ 125369 h 917657"/>
                  <a:gd name="connsiteX89" fmla="*/ 649314 w 888365"/>
                  <a:gd name="connsiteY89" fmla="*/ 145719 h 917657"/>
                  <a:gd name="connsiteX90" fmla="*/ 668568 w 888365"/>
                  <a:gd name="connsiteY90" fmla="*/ 126146 h 91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888365" h="917657">
                    <a:moveTo>
                      <a:pt x="314" y="470678"/>
                    </a:moveTo>
                    <a:cubicBezTo>
                      <a:pt x="809" y="346566"/>
                      <a:pt x="39424" y="248810"/>
                      <a:pt x="112061" y="163631"/>
                    </a:cubicBezTo>
                    <a:cubicBezTo>
                      <a:pt x="179822" y="84140"/>
                      <a:pt x="264648" y="31746"/>
                      <a:pt x="366291" y="10337"/>
                    </a:cubicBezTo>
                    <a:cubicBezTo>
                      <a:pt x="493971" y="-16549"/>
                      <a:pt x="611829" y="8500"/>
                      <a:pt x="714391" y="91488"/>
                    </a:cubicBezTo>
                    <a:cubicBezTo>
                      <a:pt x="809815" y="168683"/>
                      <a:pt x="863728" y="269866"/>
                      <a:pt x="882346" y="390799"/>
                    </a:cubicBezTo>
                    <a:cubicBezTo>
                      <a:pt x="897397" y="488626"/>
                      <a:pt x="884502" y="582814"/>
                      <a:pt x="840516" y="670748"/>
                    </a:cubicBezTo>
                    <a:cubicBezTo>
                      <a:pt x="774344" y="803127"/>
                      <a:pt x="669734" y="888236"/>
                      <a:pt x="521033" y="911800"/>
                    </a:cubicBezTo>
                    <a:cubicBezTo>
                      <a:pt x="384203" y="933493"/>
                      <a:pt x="264330" y="894312"/>
                      <a:pt x="160215" y="804541"/>
                    </a:cubicBezTo>
                    <a:cubicBezTo>
                      <a:pt x="75389" y="731374"/>
                      <a:pt x="24903" y="638528"/>
                      <a:pt x="5189" y="528795"/>
                    </a:cubicBezTo>
                    <a:cubicBezTo>
                      <a:pt x="1091" y="505902"/>
                      <a:pt x="-746" y="482478"/>
                      <a:pt x="279" y="470714"/>
                    </a:cubicBezTo>
                    <a:close/>
                    <a:moveTo>
                      <a:pt x="770494" y="481984"/>
                    </a:moveTo>
                    <a:cubicBezTo>
                      <a:pt x="771023" y="464319"/>
                      <a:pt x="769964" y="446902"/>
                      <a:pt x="766961" y="429590"/>
                    </a:cubicBezTo>
                    <a:cubicBezTo>
                      <a:pt x="756962" y="372074"/>
                      <a:pt x="731031" y="324803"/>
                      <a:pt x="679838" y="293537"/>
                    </a:cubicBezTo>
                    <a:cubicBezTo>
                      <a:pt x="637443" y="267641"/>
                      <a:pt x="592151" y="256865"/>
                      <a:pt x="542195" y="259903"/>
                    </a:cubicBezTo>
                    <a:cubicBezTo>
                      <a:pt x="510470" y="261847"/>
                      <a:pt x="479874" y="266828"/>
                      <a:pt x="450975" y="278875"/>
                    </a:cubicBezTo>
                    <a:cubicBezTo>
                      <a:pt x="363535" y="315300"/>
                      <a:pt x="289096" y="369283"/>
                      <a:pt x="234442" y="447679"/>
                    </a:cubicBezTo>
                    <a:cubicBezTo>
                      <a:pt x="195897" y="502934"/>
                      <a:pt x="180176" y="565361"/>
                      <a:pt x="191022" y="631603"/>
                    </a:cubicBezTo>
                    <a:cubicBezTo>
                      <a:pt x="203740" y="709328"/>
                      <a:pt x="253131" y="758365"/>
                      <a:pt x="325627" y="785003"/>
                    </a:cubicBezTo>
                    <a:cubicBezTo>
                      <a:pt x="383849" y="806378"/>
                      <a:pt x="444086" y="806519"/>
                      <a:pt x="504075" y="796238"/>
                    </a:cubicBezTo>
                    <a:cubicBezTo>
                      <a:pt x="576182" y="783873"/>
                      <a:pt x="641294" y="756316"/>
                      <a:pt x="689130" y="697563"/>
                    </a:cubicBezTo>
                    <a:cubicBezTo>
                      <a:pt x="740287" y="634748"/>
                      <a:pt x="769681" y="563700"/>
                      <a:pt x="770494" y="481984"/>
                    </a:cubicBezTo>
                    <a:close/>
                    <a:moveTo>
                      <a:pt x="442178" y="113852"/>
                    </a:moveTo>
                    <a:cubicBezTo>
                      <a:pt x="423348" y="113675"/>
                      <a:pt x="413208" y="123073"/>
                      <a:pt x="412819" y="141197"/>
                    </a:cubicBezTo>
                    <a:cubicBezTo>
                      <a:pt x="412431" y="158791"/>
                      <a:pt x="424549" y="171403"/>
                      <a:pt x="441754" y="171368"/>
                    </a:cubicBezTo>
                    <a:cubicBezTo>
                      <a:pt x="458006" y="171333"/>
                      <a:pt x="470335" y="158826"/>
                      <a:pt x="470335" y="142433"/>
                    </a:cubicBezTo>
                    <a:cubicBezTo>
                      <a:pt x="470335" y="123885"/>
                      <a:pt x="460620" y="114064"/>
                      <a:pt x="442178" y="113852"/>
                    </a:cubicBezTo>
                    <a:close/>
                    <a:moveTo>
                      <a:pt x="680969" y="236939"/>
                    </a:moveTo>
                    <a:cubicBezTo>
                      <a:pt x="681110" y="248669"/>
                      <a:pt x="697115" y="266298"/>
                      <a:pt x="707925" y="266651"/>
                    </a:cubicBezTo>
                    <a:cubicBezTo>
                      <a:pt x="723788" y="267181"/>
                      <a:pt x="742018" y="249658"/>
                      <a:pt x="741312" y="234572"/>
                    </a:cubicBezTo>
                    <a:cubicBezTo>
                      <a:pt x="740711" y="221924"/>
                      <a:pt x="722834" y="206203"/>
                      <a:pt x="709339" y="206485"/>
                    </a:cubicBezTo>
                    <a:cubicBezTo>
                      <a:pt x="694465" y="206803"/>
                      <a:pt x="680792" y="221465"/>
                      <a:pt x="680969" y="236939"/>
                    </a:cubicBezTo>
                    <a:close/>
                    <a:moveTo>
                      <a:pt x="90545" y="335508"/>
                    </a:moveTo>
                    <a:cubicBezTo>
                      <a:pt x="90475" y="350523"/>
                      <a:pt x="101462" y="362323"/>
                      <a:pt x="115735" y="362570"/>
                    </a:cubicBezTo>
                    <a:cubicBezTo>
                      <a:pt x="127747" y="362782"/>
                      <a:pt x="141949" y="347626"/>
                      <a:pt x="141561" y="335014"/>
                    </a:cubicBezTo>
                    <a:cubicBezTo>
                      <a:pt x="141137" y="322012"/>
                      <a:pt x="127146" y="308729"/>
                      <a:pt x="114145" y="309011"/>
                    </a:cubicBezTo>
                    <a:cubicBezTo>
                      <a:pt x="100261" y="309329"/>
                      <a:pt x="90616" y="320175"/>
                      <a:pt x="90545" y="335508"/>
                    </a:cubicBezTo>
                    <a:close/>
                    <a:moveTo>
                      <a:pt x="282030" y="99225"/>
                    </a:moveTo>
                    <a:cubicBezTo>
                      <a:pt x="281854" y="114876"/>
                      <a:pt x="292806" y="126146"/>
                      <a:pt x="308563" y="126535"/>
                    </a:cubicBezTo>
                    <a:cubicBezTo>
                      <a:pt x="321882" y="126853"/>
                      <a:pt x="333222" y="114205"/>
                      <a:pt x="333081" y="99155"/>
                    </a:cubicBezTo>
                    <a:cubicBezTo>
                      <a:pt x="332940" y="84952"/>
                      <a:pt x="322730" y="75520"/>
                      <a:pt x="307538" y="75520"/>
                    </a:cubicBezTo>
                    <a:cubicBezTo>
                      <a:pt x="292346" y="75520"/>
                      <a:pt x="282207" y="84952"/>
                      <a:pt x="282030" y="99190"/>
                    </a:cubicBezTo>
                    <a:close/>
                    <a:moveTo>
                      <a:pt x="157635" y="483538"/>
                    </a:moveTo>
                    <a:cubicBezTo>
                      <a:pt x="157565" y="467817"/>
                      <a:pt x="149227" y="458772"/>
                      <a:pt x="137427" y="458596"/>
                    </a:cubicBezTo>
                    <a:cubicBezTo>
                      <a:pt x="127323" y="458454"/>
                      <a:pt x="115912" y="470007"/>
                      <a:pt x="116194" y="480076"/>
                    </a:cubicBezTo>
                    <a:cubicBezTo>
                      <a:pt x="116547" y="492335"/>
                      <a:pt x="125203" y="500320"/>
                      <a:pt x="137745" y="500072"/>
                    </a:cubicBezTo>
                    <a:cubicBezTo>
                      <a:pt x="150640" y="499790"/>
                      <a:pt x="156752" y="492794"/>
                      <a:pt x="157635" y="483538"/>
                    </a:cubicBezTo>
                    <a:close/>
                    <a:moveTo>
                      <a:pt x="168270" y="225740"/>
                    </a:moveTo>
                    <a:cubicBezTo>
                      <a:pt x="181872" y="226694"/>
                      <a:pt x="188513" y="218321"/>
                      <a:pt x="188831" y="206945"/>
                    </a:cubicBezTo>
                    <a:cubicBezTo>
                      <a:pt x="189114" y="195569"/>
                      <a:pt x="182931" y="187090"/>
                      <a:pt x="169400" y="187160"/>
                    </a:cubicBezTo>
                    <a:cubicBezTo>
                      <a:pt x="156222" y="187231"/>
                      <a:pt x="147708" y="194544"/>
                      <a:pt x="148097" y="206697"/>
                    </a:cubicBezTo>
                    <a:cubicBezTo>
                      <a:pt x="148521" y="219557"/>
                      <a:pt x="156081" y="225245"/>
                      <a:pt x="168270" y="225740"/>
                    </a:cubicBezTo>
                    <a:close/>
                    <a:moveTo>
                      <a:pt x="537285" y="206450"/>
                    </a:moveTo>
                    <a:cubicBezTo>
                      <a:pt x="536260" y="195710"/>
                      <a:pt x="529936" y="188326"/>
                      <a:pt x="517359" y="187443"/>
                    </a:cubicBezTo>
                    <a:cubicBezTo>
                      <a:pt x="508244" y="186807"/>
                      <a:pt x="495525" y="198678"/>
                      <a:pt x="496515" y="207757"/>
                    </a:cubicBezTo>
                    <a:cubicBezTo>
                      <a:pt x="497786" y="219663"/>
                      <a:pt x="505629" y="226941"/>
                      <a:pt x="517394" y="228390"/>
                    </a:cubicBezTo>
                    <a:cubicBezTo>
                      <a:pt x="527746" y="229661"/>
                      <a:pt x="537285" y="219275"/>
                      <a:pt x="537285" y="206450"/>
                    </a:cubicBezTo>
                    <a:close/>
                    <a:moveTo>
                      <a:pt x="259702" y="344093"/>
                    </a:moveTo>
                    <a:cubicBezTo>
                      <a:pt x="271926" y="342433"/>
                      <a:pt x="278957" y="336391"/>
                      <a:pt x="278957" y="323426"/>
                    </a:cubicBezTo>
                    <a:cubicBezTo>
                      <a:pt x="278957" y="310954"/>
                      <a:pt x="270513" y="301627"/>
                      <a:pt x="258289" y="302793"/>
                    </a:cubicBezTo>
                    <a:cubicBezTo>
                      <a:pt x="246595" y="303888"/>
                      <a:pt x="240942" y="311873"/>
                      <a:pt x="240589" y="323426"/>
                    </a:cubicBezTo>
                    <a:cubicBezTo>
                      <a:pt x="240200" y="336427"/>
                      <a:pt x="247584" y="342327"/>
                      <a:pt x="259702" y="344093"/>
                    </a:cubicBezTo>
                    <a:close/>
                    <a:moveTo>
                      <a:pt x="772013" y="627576"/>
                    </a:moveTo>
                    <a:cubicBezTo>
                      <a:pt x="758199" y="627011"/>
                      <a:pt x="751628" y="635454"/>
                      <a:pt x="751734" y="646936"/>
                    </a:cubicBezTo>
                    <a:cubicBezTo>
                      <a:pt x="751840" y="658418"/>
                      <a:pt x="758446" y="666226"/>
                      <a:pt x="771977" y="666156"/>
                    </a:cubicBezTo>
                    <a:cubicBezTo>
                      <a:pt x="785544" y="666085"/>
                      <a:pt x="791974" y="658100"/>
                      <a:pt x="791903" y="646654"/>
                    </a:cubicBezTo>
                    <a:cubicBezTo>
                      <a:pt x="791833" y="635136"/>
                      <a:pt x="785155" y="626799"/>
                      <a:pt x="772013" y="627576"/>
                    </a:cubicBezTo>
                    <a:close/>
                    <a:moveTo>
                      <a:pt x="293336" y="854178"/>
                    </a:moveTo>
                    <a:cubicBezTo>
                      <a:pt x="304570" y="854143"/>
                      <a:pt x="314992" y="844639"/>
                      <a:pt x="313579" y="834323"/>
                    </a:cubicBezTo>
                    <a:cubicBezTo>
                      <a:pt x="311954" y="822665"/>
                      <a:pt x="305877" y="815316"/>
                      <a:pt x="292382" y="815669"/>
                    </a:cubicBezTo>
                    <a:cubicBezTo>
                      <a:pt x="279487" y="816023"/>
                      <a:pt x="274364" y="823760"/>
                      <a:pt x="272950" y="834500"/>
                    </a:cubicBezTo>
                    <a:cubicBezTo>
                      <a:pt x="271573" y="844887"/>
                      <a:pt x="282030" y="854214"/>
                      <a:pt x="293336" y="854178"/>
                    </a:cubicBezTo>
                    <a:close/>
                    <a:moveTo>
                      <a:pt x="288319" y="213375"/>
                    </a:moveTo>
                    <a:cubicBezTo>
                      <a:pt x="288107" y="226941"/>
                      <a:pt x="293124" y="234961"/>
                      <a:pt x="306584" y="235137"/>
                    </a:cubicBezTo>
                    <a:cubicBezTo>
                      <a:pt x="319303" y="235279"/>
                      <a:pt x="326333" y="228637"/>
                      <a:pt x="326651" y="215954"/>
                    </a:cubicBezTo>
                    <a:cubicBezTo>
                      <a:pt x="327004" y="202776"/>
                      <a:pt x="319762" y="197052"/>
                      <a:pt x="306902" y="196735"/>
                    </a:cubicBezTo>
                    <a:cubicBezTo>
                      <a:pt x="294466" y="196452"/>
                      <a:pt x="287860" y="201539"/>
                      <a:pt x="288319" y="213375"/>
                    </a:cubicBezTo>
                    <a:close/>
                    <a:moveTo>
                      <a:pt x="729865" y="761721"/>
                    </a:moveTo>
                    <a:cubicBezTo>
                      <a:pt x="743820" y="762463"/>
                      <a:pt x="749508" y="754126"/>
                      <a:pt x="750674" y="742608"/>
                    </a:cubicBezTo>
                    <a:cubicBezTo>
                      <a:pt x="751734" y="732257"/>
                      <a:pt x="741170" y="723142"/>
                      <a:pt x="730006" y="723460"/>
                    </a:cubicBezTo>
                    <a:cubicBezTo>
                      <a:pt x="716687" y="723848"/>
                      <a:pt x="710787" y="733670"/>
                      <a:pt x="710681" y="744198"/>
                    </a:cubicBezTo>
                    <a:cubicBezTo>
                      <a:pt x="710575" y="754762"/>
                      <a:pt x="717712" y="762746"/>
                      <a:pt x="729865" y="761721"/>
                    </a:cubicBezTo>
                    <a:close/>
                    <a:moveTo>
                      <a:pt x="550180" y="83080"/>
                    </a:moveTo>
                    <a:cubicBezTo>
                      <a:pt x="550745" y="71315"/>
                      <a:pt x="544704" y="65804"/>
                      <a:pt x="532021" y="65839"/>
                    </a:cubicBezTo>
                    <a:cubicBezTo>
                      <a:pt x="518348" y="65875"/>
                      <a:pt x="512554" y="74177"/>
                      <a:pt x="512342" y="85694"/>
                    </a:cubicBezTo>
                    <a:cubicBezTo>
                      <a:pt x="512130" y="96505"/>
                      <a:pt x="519761" y="103960"/>
                      <a:pt x="530501" y="103783"/>
                    </a:cubicBezTo>
                    <a:cubicBezTo>
                      <a:pt x="542089" y="103606"/>
                      <a:pt x="550604" y="97530"/>
                      <a:pt x="550180" y="83080"/>
                    </a:cubicBezTo>
                    <a:close/>
                    <a:moveTo>
                      <a:pt x="668568" y="126182"/>
                    </a:moveTo>
                    <a:cubicBezTo>
                      <a:pt x="667226" y="115512"/>
                      <a:pt x="661997" y="107881"/>
                      <a:pt x="649773" y="107599"/>
                    </a:cubicBezTo>
                    <a:cubicBezTo>
                      <a:pt x="637903" y="107316"/>
                      <a:pt x="630024" y="113569"/>
                      <a:pt x="630236" y="125369"/>
                    </a:cubicBezTo>
                    <a:cubicBezTo>
                      <a:pt x="630448" y="136639"/>
                      <a:pt x="635571" y="146072"/>
                      <a:pt x="649314" y="145719"/>
                    </a:cubicBezTo>
                    <a:cubicBezTo>
                      <a:pt x="661397" y="145436"/>
                      <a:pt x="667155" y="138406"/>
                      <a:pt x="668568" y="126146"/>
                    </a:cubicBezTo>
                    <a:close/>
                  </a:path>
                </a:pathLst>
              </a:custGeom>
              <a:solidFill>
                <a:srgbClr val="B6B4E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6" name="Freeform: Shape 3625">
                <a:extLst>
                  <a:ext uri="{FF2B5EF4-FFF2-40B4-BE49-F238E27FC236}">
                    <a16:creationId xmlns:a16="http://schemas.microsoft.com/office/drawing/2014/main" id="{6D1FC73B-4C4B-EAFD-0630-61FF268EE6D8}"/>
                  </a:ext>
                </a:extLst>
              </p:cNvPr>
              <p:cNvSpPr/>
              <p:nvPr/>
            </p:nvSpPr>
            <p:spPr>
              <a:xfrm>
                <a:off x="6639759" y="2723275"/>
                <a:ext cx="582956" cy="543468"/>
              </a:xfrm>
              <a:custGeom>
                <a:avLst/>
                <a:gdLst>
                  <a:gd name="connsiteX0" fmla="*/ 582825 w 582956"/>
                  <a:gd name="connsiteY0" fmla="*/ 222580 h 543468"/>
                  <a:gd name="connsiteX1" fmla="*/ 501462 w 582956"/>
                  <a:gd name="connsiteY1" fmla="*/ 438159 h 543468"/>
                  <a:gd name="connsiteX2" fmla="*/ 316407 w 582956"/>
                  <a:gd name="connsiteY2" fmla="*/ 536834 h 543468"/>
                  <a:gd name="connsiteX3" fmla="*/ 137958 w 582956"/>
                  <a:gd name="connsiteY3" fmla="*/ 525600 h 543468"/>
                  <a:gd name="connsiteX4" fmla="*/ 3353 w 582956"/>
                  <a:gd name="connsiteY4" fmla="*/ 372200 h 543468"/>
                  <a:gd name="connsiteX5" fmla="*/ 46773 w 582956"/>
                  <a:gd name="connsiteY5" fmla="*/ 188275 h 543468"/>
                  <a:gd name="connsiteX6" fmla="*/ 263307 w 582956"/>
                  <a:gd name="connsiteY6" fmla="*/ 19471 h 543468"/>
                  <a:gd name="connsiteX7" fmla="*/ 354527 w 582956"/>
                  <a:gd name="connsiteY7" fmla="*/ 499 h 543468"/>
                  <a:gd name="connsiteX8" fmla="*/ 492170 w 582956"/>
                  <a:gd name="connsiteY8" fmla="*/ 34133 h 543468"/>
                  <a:gd name="connsiteX9" fmla="*/ 579292 w 582956"/>
                  <a:gd name="connsiteY9" fmla="*/ 170186 h 543468"/>
                  <a:gd name="connsiteX10" fmla="*/ 582825 w 582956"/>
                  <a:gd name="connsiteY10" fmla="*/ 222580 h 543468"/>
                  <a:gd name="connsiteX11" fmla="*/ 250553 w 582956"/>
                  <a:gd name="connsiteY11" fmla="*/ 531040 h 543468"/>
                  <a:gd name="connsiteX12" fmla="*/ 378975 w 582956"/>
                  <a:gd name="connsiteY12" fmla="*/ 508147 h 543468"/>
                  <a:gd name="connsiteX13" fmla="*/ 531669 w 582956"/>
                  <a:gd name="connsiteY13" fmla="*/ 372729 h 543468"/>
                  <a:gd name="connsiteX14" fmla="*/ 569683 w 582956"/>
                  <a:gd name="connsiteY14" fmla="*/ 192620 h 543468"/>
                  <a:gd name="connsiteX15" fmla="*/ 537427 w 582956"/>
                  <a:gd name="connsiteY15" fmla="*/ 92426 h 543468"/>
                  <a:gd name="connsiteX16" fmla="*/ 377597 w 582956"/>
                  <a:gd name="connsiteY16" fmla="*/ 11275 h 543468"/>
                  <a:gd name="connsiteX17" fmla="*/ 193673 w 582956"/>
                  <a:gd name="connsiteY17" fmla="*/ 67555 h 543468"/>
                  <a:gd name="connsiteX18" fmla="*/ 79206 w 582956"/>
                  <a:gd name="connsiteY18" fmla="*/ 164710 h 543468"/>
                  <a:gd name="connsiteX19" fmla="*/ 30380 w 582956"/>
                  <a:gd name="connsiteY19" fmla="*/ 243742 h 543468"/>
                  <a:gd name="connsiteX20" fmla="*/ 14624 w 582956"/>
                  <a:gd name="connsiteY20" fmla="*/ 366406 h 543468"/>
                  <a:gd name="connsiteX21" fmla="*/ 82385 w 582956"/>
                  <a:gd name="connsiteY21" fmla="*/ 482604 h 543468"/>
                  <a:gd name="connsiteX22" fmla="*/ 250518 w 582956"/>
                  <a:gd name="connsiteY22" fmla="*/ 531076 h 54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82956" h="543468">
                    <a:moveTo>
                      <a:pt x="582825" y="222580"/>
                    </a:moveTo>
                    <a:cubicBezTo>
                      <a:pt x="582013" y="304332"/>
                      <a:pt x="552619" y="375379"/>
                      <a:pt x="501462" y="438159"/>
                    </a:cubicBezTo>
                    <a:cubicBezTo>
                      <a:pt x="453626" y="496912"/>
                      <a:pt x="388514" y="524469"/>
                      <a:pt x="316407" y="536834"/>
                    </a:cubicBezTo>
                    <a:cubicBezTo>
                      <a:pt x="256418" y="547115"/>
                      <a:pt x="196146" y="546939"/>
                      <a:pt x="137958" y="525600"/>
                    </a:cubicBezTo>
                    <a:cubicBezTo>
                      <a:pt x="65463" y="498997"/>
                      <a:pt x="16072" y="449959"/>
                      <a:pt x="3353" y="372200"/>
                    </a:cubicBezTo>
                    <a:cubicBezTo>
                      <a:pt x="-7493" y="305957"/>
                      <a:pt x="8229" y="243565"/>
                      <a:pt x="46773" y="188275"/>
                    </a:cubicBezTo>
                    <a:cubicBezTo>
                      <a:pt x="101428" y="109879"/>
                      <a:pt x="175867" y="55896"/>
                      <a:pt x="263307" y="19471"/>
                    </a:cubicBezTo>
                    <a:cubicBezTo>
                      <a:pt x="292206" y="7424"/>
                      <a:pt x="322801" y="2443"/>
                      <a:pt x="354527" y="499"/>
                    </a:cubicBezTo>
                    <a:cubicBezTo>
                      <a:pt x="404483" y="-2539"/>
                      <a:pt x="449775" y="8237"/>
                      <a:pt x="492170" y="34133"/>
                    </a:cubicBezTo>
                    <a:cubicBezTo>
                      <a:pt x="543398" y="65399"/>
                      <a:pt x="569294" y="112635"/>
                      <a:pt x="579292" y="170186"/>
                    </a:cubicBezTo>
                    <a:cubicBezTo>
                      <a:pt x="582295" y="187498"/>
                      <a:pt x="583355" y="204915"/>
                      <a:pt x="582825" y="222580"/>
                    </a:cubicBezTo>
                    <a:close/>
                    <a:moveTo>
                      <a:pt x="250553" y="531040"/>
                    </a:moveTo>
                    <a:cubicBezTo>
                      <a:pt x="292418" y="532206"/>
                      <a:pt x="336191" y="523232"/>
                      <a:pt x="378975" y="508147"/>
                    </a:cubicBezTo>
                    <a:cubicBezTo>
                      <a:pt x="448327" y="483734"/>
                      <a:pt x="497682" y="437064"/>
                      <a:pt x="531669" y="372729"/>
                    </a:cubicBezTo>
                    <a:cubicBezTo>
                      <a:pt x="561557" y="316238"/>
                      <a:pt x="575336" y="256425"/>
                      <a:pt x="569683" y="192620"/>
                    </a:cubicBezTo>
                    <a:cubicBezTo>
                      <a:pt x="566539" y="156867"/>
                      <a:pt x="558413" y="121926"/>
                      <a:pt x="537427" y="92426"/>
                    </a:cubicBezTo>
                    <a:cubicBezTo>
                      <a:pt x="498671" y="37913"/>
                      <a:pt x="442109" y="14773"/>
                      <a:pt x="377597" y="11275"/>
                    </a:cubicBezTo>
                    <a:cubicBezTo>
                      <a:pt x="309977" y="7601"/>
                      <a:pt x="249422" y="32508"/>
                      <a:pt x="193673" y="67555"/>
                    </a:cubicBezTo>
                    <a:cubicBezTo>
                      <a:pt x="151207" y="94264"/>
                      <a:pt x="112309" y="126307"/>
                      <a:pt x="79206" y="164710"/>
                    </a:cubicBezTo>
                    <a:cubicBezTo>
                      <a:pt x="58714" y="188522"/>
                      <a:pt x="41580" y="214489"/>
                      <a:pt x="30380" y="243742"/>
                    </a:cubicBezTo>
                    <a:cubicBezTo>
                      <a:pt x="15259" y="283170"/>
                      <a:pt x="7699" y="323975"/>
                      <a:pt x="14624" y="366406"/>
                    </a:cubicBezTo>
                    <a:cubicBezTo>
                      <a:pt x="22361" y="413747"/>
                      <a:pt x="43064" y="453492"/>
                      <a:pt x="82385" y="482604"/>
                    </a:cubicBezTo>
                    <a:cubicBezTo>
                      <a:pt x="131352" y="518887"/>
                      <a:pt x="187031" y="531853"/>
                      <a:pt x="250518" y="531076"/>
                    </a:cubicBezTo>
                    <a:close/>
                  </a:path>
                </a:pathLst>
              </a:custGeom>
              <a:solidFill>
                <a:srgbClr val="8F7FB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7" name="Freeform: Shape 3626">
                <a:extLst>
                  <a:ext uri="{FF2B5EF4-FFF2-40B4-BE49-F238E27FC236}">
                    <a16:creationId xmlns:a16="http://schemas.microsoft.com/office/drawing/2014/main" id="{701573D8-6EE7-9510-0029-3C3943ACFB67}"/>
                  </a:ext>
                </a:extLst>
              </p:cNvPr>
              <p:cNvSpPr/>
              <p:nvPr/>
            </p:nvSpPr>
            <p:spPr>
              <a:xfrm>
                <a:off x="6864901" y="2577720"/>
                <a:ext cx="57525" cy="57519"/>
              </a:xfrm>
              <a:custGeom>
                <a:avLst/>
                <a:gdLst>
                  <a:gd name="connsiteX0" fmla="*/ 29368 w 57525"/>
                  <a:gd name="connsiteY0" fmla="*/ 3 h 57519"/>
                  <a:gd name="connsiteX1" fmla="*/ 57525 w 57525"/>
                  <a:gd name="connsiteY1" fmla="*/ 28585 h 57519"/>
                  <a:gd name="connsiteX2" fmla="*/ 28944 w 57525"/>
                  <a:gd name="connsiteY2" fmla="*/ 57520 h 57519"/>
                  <a:gd name="connsiteX3" fmla="*/ 9 w 57525"/>
                  <a:gd name="connsiteY3" fmla="*/ 27348 h 57519"/>
                  <a:gd name="connsiteX4" fmla="*/ 29368 w 57525"/>
                  <a:gd name="connsiteY4" fmla="*/ 3 h 57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25" h="57519">
                    <a:moveTo>
                      <a:pt x="29368" y="3"/>
                    </a:moveTo>
                    <a:cubicBezTo>
                      <a:pt x="47810" y="180"/>
                      <a:pt x="57490" y="10037"/>
                      <a:pt x="57525" y="28585"/>
                    </a:cubicBezTo>
                    <a:cubicBezTo>
                      <a:pt x="57525" y="44978"/>
                      <a:pt x="45195" y="57484"/>
                      <a:pt x="28944" y="57520"/>
                    </a:cubicBezTo>
                    <a:cubicBezTo>
                      <a:pt x="11738" y="57590"/>
                      <a:pt x="-380" y="44942"/>
                      <a:pt x="9" y="27348"/>
                    </a:cubicBezTo>
                    <a:cubicBezTo>
                      <a:pt x="398" y="9224"/>
                      <a:pt x="10537" y="-208"/>
                      <a:pt x="29368" y="3"/>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8" name="Freeform: Shape 3627">
                <a:extLst>
                  <a:ext uri="{FF2B5EF4-FFF2-40B4-BE49-F238E27FC236}">
                    <a16:creationId xmlns:a16="http://schemas.microsoft.com/office/drawing/2014/main" id="{53E22F4D-52D3-AF25-9087-6ADCE8BA1AC7}"/>
                  </a:ext>
                </a:extLst>
              </p:cNvPr>
              <p:cNvSpPr/>
              <p:nvPr/>
            </p:nvSpPr>
            <p:spPr>
              <a:xfrm>
                <a:off x="7133058" y="2670353"/>
                <a:ext cx="60364" cy="60181"/>
              </a:xfrm>
              <a:custGeom>
                <a:avLst/>
                <a:gdLst>
                  <a:gd name="connsiteX0" fmla="*/ 2 w 60364"/>
                  <a:gd name="connsiteY0" fmla="*/ 30458 h 60181"/>
                  <a:gd name="connsiteX1" fmla="*/ 28371 w 60364"/>
                  <a:gd name="connsiteY1" fmla="*/ 4 h 60181"/>
                  <a:gd name="connsiteX2" fmla="*/ 60344 w 60364"/>
                  <a:gd name="connsiteY2" fmla="*/ 28091 h 60181"/>
                  <a:gd name="connsiteX3" fmla="*/ 26958 w 60364"/>
                  <a:gd name="connsiteY3" fmla="*/ 60170 h 60181"/>
                  <a:gd name="connsiteX4" fmla="*/ 2 w 60364"/>
                  <a:gd name="connsiteY4" fmla="*/ 30458 h 60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64" h="60181">
                    <a:moveTo>
                      <a:pt x="2" y="30458"/>
                    </a:moveTo>
                    <a:cubicBezTo>
                      <a:pt x="-175" y="14983"/>
                      <a:pt x="13462" y="322"/>
                      <a:pt x="28371" y="4"/>
                    </a:cubicBezTo>
                    <a:cubicBezTo>
                      <a:pt x="41867" y="-279"/>
                      <a:pt x="59744" y="15443"/>
                      <a:pt x="60344" y="28091"/>
                    </a:cubicBezTo>
                    <a:cubicBezTo>
                      <a:pt x="61051" y="43176"/>
                      <a:pt x="42821" y="60700"/>
                      <a:pt x="26958" y="60170"/>
                    </a:cubicBezTo>
                    <a:cubicBezTo>
                      <a:pt x="16147" y="59816"/>
                      <a:pt x="143" y="42152"/>
                      <a:pt x="2" y="30458"/>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9" name="Freeform: Shape 3628">
                <a:extLst>
                  <a:ext uri="{FF2B5EF4-FFF2-40B4-BE49-F238E27FC236}">
                    <a16:creationId xmlns:a16="http://schemas.microsoft.com/office/drawing/2014/main" id="{B6B77D48-755E-D8FA-1387-C7B3E6240676}"/>
                  </a:ext>
                </a:extLst>
              </p:cNvPr>
              <p:cNvSpPr/>
              <p:nvPr/>
            </p:nvSpPr>
            <p:spPr>
              <a:xfrm>
                <a:off x="6542635" y="2772878"/>
                <a:ext cx="51023" cy="53565"/>
              </a:xfrm>
              <a:custGeom>
                <a:avLst/>
                <a:gdLst>
                  <a:gd name="connsiteX0" fmla="*/ 0 w 51023"/>
                  <a:gd name="connsiteY0" fmla="*/ 26501 h 53565"/>
                  <a:gd name="connsiteX1" fmla="*/ 23600 w 51023"/>
                  <a:gd name="connsiteY1" fmla="*/ 4 h 53565"/>
                  <a:gd name="connsiteX2" fmla="*/ 51016 w 51023"/>
                  <a:gd name="connsiteY2" fmla="*/ 26007 h 53565"/>
                  <a:gd name="connsiteX3" fmla="*/ 25190 w 51023"/>
                  <a:gd name="connsiteY3" fmla="*/ 53564 h 53565"/>
                  <a:gd name="connsiteX4" fmla="*/ 0 w 51023"/>
                  <a:gd name="connsiteY4" fmla="*/ 26501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3" h="53565">
                    <a:moveTo>
                      <a:pt x="0" y="26501"/>
                    </a:moveTo>
                    <a:cubicBezTo>
                      <a:pt x="71" y="11133"/>
                      <a:pt x="9716" y="287"/>
                      <a:pt x="23600" y="4"/>
                    </a:cubicBezTo>
                    <a:cubicBezTo>
                      <a:pt x="36601" y="-278"/>
                      <a:pt x="50592" y="13006"/>
                      <a:pt x="51016" y="26007"/>
                    </a:cubicBezTo>
                    <a:cubicBezTo>
                      <a:pt x="51404" y="38619"/>
                      <a:pt x="37238" y="53776"/>
                      <a:pt x="25190" y="53564"/>
                    </a:cubicBezTo>
                    <a:cubicBezTo>
                      <a:pt x="10882" y="53316"/>
                      <a:pt x="-70" y="41552"/>
                      <a:pt x="0" y="26501"/>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0" name="Freeform: Shape 3629">
                <a:extLst>
                  <a:ext uri="{FF2B5EF4-FFF2-40B4-BE49-F238E27FC236}">
                    <a16:creationId xmlns:a16="http://schemas.microsoft.com/office/drawing/2014/main" id="{7C1DE277-10BC-3B67-DBAB-21D2154EA349}"/>
                  </a:ext>
                </a:extLst>
              </p:cNvPr>
              <p:cNvSpPr/>
              <p:nvPr/>
            </p:nvSpPr>
            <p:spPr>
              <a:xfrm>
                <a:off x="6734118" y="2539426"/>
                <a:ext cx="51054" cy="51021"/>
              </a:xfrm>
              <a:custGeom>
                <a:avLst/>
                <a:gdLst>
                  <a:gd name="connsiteX0" fmla="*/ 2 w 51054"/>
                  <a:gd name="connsiteY0" fmla="*/ 23671 h 51021"/>
                  <a:gd name="connsiteX1" fmla="*/ 25510 w 51054"/>
                  <a:gd name="connsiteY1" fmla="*/ 0 h 51021"/>
                  <a:gd name="connsiteX2" fmla="*/ 51053 w 51054"/>
                  <a:gd name="connsiteY2" fmla="*/ 23635 h 51021"/>
                  <a:gd name="connsiteX3" fmla="*/ 26534 w 51054"/>
                  <a:gd name="connsiteY3" fmla="*/ 51016 h 51021"/>
                  <a:gd name="connsiteX4" fmla="*/ 2 w 51054"/>
                  <a:gd name="connsiteY4" fmla="*/ 23706 h 51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54" h="51021">
                    <a:moveTo>
                      <a:pt x="2" y="23671"/>
                    </a:moveTo>
                    <a:cubicBezTo>
                      <a:pt x="179" y="9433"/>
                      <a:pt x="10318" y="0"/>
                      <a:pt x="25510" y="0"/>
                    </a:cubicBezTo>
                    <a:cubicBezTo>
                      <a:pt x="40702" y="0"/>
                      <a:pt x="50912" y="9433"/>
                      <a:pt x="51053" y="23635"/>
                    </a:cubicBezTo>
                    <a:cubicBezTo>
                      <a:pt x="51194" y="38686"/>
                      <a:pt x="39889" y="51334"/>
                      <a:pt x="26534" y="51016"/>
                    </a:cubicBezTo>
                    <a:cubicBezTo>
                      <a:pt x="10778" y="50627"/>
                      <a:pt x="-174" y="39322"/>
                      <a:pt x="2" y="23706"/>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1" name="Freeform: Shape 3630">
                <a:extLst>
                  <a:ext uri="{FF2B5EF4-FFF2-40B4-BE49-F238E27FC236}">
                    <a16:creationId xmlns:a16="http://schemas.microsoft.com/office/drawing/2014/main" id="{3B0D3324-B3F8-13F0-D302-BDA958F03F44}"/>
                  </a:ext>
                </a:extLst>
              </p:cNvPr>
              <p:cNvSpPr/>
              <p:nvPr/>
            </p:nvSpPr>
            <p:spPr>
              <a:xfrm>
                <a:off x="6568279" y="2922465"/>
                <a:ext cx="41446" cy="41484"/>
              </a:xfrm>
              <a:custGeom>
                <a:avLst/>
                <a:gdLst>
                  <a:gd name="connsiteX0" fmla="*/ 41446 w 41446"/>
                  <a:gd name="connsiteY0" fmla="*/ 24945 h 41484"/>
                  <a:gd name="connsiteX1" fmla="*/ 21556 w 41446"/>
                  <a:gd name="connsiteY1" fmla="*/ 41479 h 41484"/>
                  <a:gd name="connsiteX2" fmla="*/ 5 w 41446"/>
                  <a:gd name="connsiteY2" fmla="*/ 21482 h 41484"/>
                  <a:gd name="connsiteX3" fmla="*/ 21238 w 41446"/>
                  <a:gd name="connsiteY3" fmla="*/ 2 h 41484"/>
                  <a:gd name="connsiteX4" fmla="*/ 41446 w 41446"/>
                  <a:gd name="connsiteY4" fmla="*/ 24945 h 4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6" h="41484">
                    <a:moveTo>
                      <a:pt x="41446" y="24945"/>
                    </a:moveTo>
                    <a:cubicBezTo>
                      <a:pt x="40563" y="34236"/>
                      <a:pt x="34416" y="41231"/>
                      <a:pt x="21556" y="41479"/>
                    </a:cubicBezTo>
                    <a:cubicBezTo>
                      <a:pt x="8979" y="41726"/>
                      <a:pt x="358" y="33777"/>
                      <a:pt x="5" y="21482"/>
                    </a:cubicBezTo>
                    <a:cubicBezTo>
                      <a:pt x="-278" y="11378"/>
                      <a:pt x="11134" y="-175"/>
                      <a:pt x="21238" y="2"/>
                    </a:cubicBezTo>
                    <a:cubicBezTo>
                      <a:pt x="33038" y="179"/>
                      <a:pt x="41376" y="9188"/>
                      <a:pt x="41446" y="24945"/>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2" name="Freeform: Shape 3631">
                <a:extLst>
                  <a:ext uri="{FF2B5EF4-FFF2-40B4-BE49-F238E27FC236}">
                    <a16:creationId xmlns:a16="http://schemas.microsoft.com/office/drawing/2014/main" id="{5E2BEE8A-2E9B-A623-D613-26FDE28F553A}"/>
                  </a:ext>
                </a:extLst>
              </p:cNvPr>
              <p:cNvSpPr/>
              <p:nvPr/>
            </p:nvSpPr>
            <p:spPr>
              <a:xfrm>
                <a:off x="6600172" y="2651031"/>
                <a:ext cx="40758" cy="38654"/>
              </a:xfrm>
              <a:custGeom>
                <a:avLst/>
                <a:gdLst>
                  <a:gd name="connsiteX0" fmla="*/ 20188 w 40758"/>
                  <a:gd name="connsiteY0" fmla="*/ 38580 h 38654"/>
                  <a:gd name="connsiteX1" fmla="*/ 15 w 40758"/>
                  <a:gd name="connsiteY1" fmla="*/ 19538 h 38654"/>
                  <a:gd name="connsiteX2" fmla="*/ 21319 w 40758"/>
                  <a:gd name="connsiteY2" fmla="*/ 0 h 38654"/>
                  <a:gd name="connsiteX3" fmla="*/ 40750 w 40758"/>
                  <a:gd name="connsiteY3" fmla="*/ 19785 h 38654"/>
                  <a:gd name="connsiteX4" fmla="*/ 20188 w 40758"/>
                  <a:gd name="connsiteY4" fmla="*/ 38580 h 38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8" h="38654">
                    <a:moveTo>
                      <a:pt x="20188" y="38580"/>
                    </a:moveTo>
                    <a:cubicBezTo>
                      <a:pt x="7999" y="38085"/>
                      <a:pt x="439" y="32397"/>
                      <a:pt x="15" y="19538"/>
                    </a:cubicBezTo>
                    <a:cubicBezTo>
                      <a:pt x="-409" y="7384"/>
                      <a:pt x="8141" y="71"/>
                      <a:pt x="21319" y="0"/>
                    </a:cubicBezTo>
                    <a:cubicBezTo>
                      <a:pt x="34850" y="-70"/>
                      <a:pt x="41032" y="8409"/>
                      <a:pt x="40750" y="19785"/>
                    </a:cubicBezTo>
                    <a:cubicBezTo>
                      <a:pt x="40467" y="31196"/>
                      <a:pt x="33790" y="39534"/>
                      <a:pt x="20188" y="38580"/>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3" name="Freeform: Shape 3632">
                <a:extLst>
                  <a:ext uri="{FF2B5EF4-FFF2-40B4-BE49-F238E27FC236}">
                    <a16:creationId xmlns:a16="http://schemas.microsoft.com/office/drawing/2014/main" id="{9E42C619-D096-D666-82AE-BBAC4C0F05EF}"/>
                  </a:ext>
                </a:extLst>
              </p:cNvPr>
              <p:cNvSpPr/>
              <p:nvPr/>
            </p:nvSpPr>
            <p:spPr>
              <a:xfrm>
                <a:off x="6948551" y="2651292"/>
                <a:ext cx="40824" cy="41079"/>
              </a:xfrm>
              <a:custGeom>
                <a:avLst/>
                <a:gdLst>
                  <a:gd name="connsiteX0" fmla="*/ 40824 w 40824"/>
                  <a:gd name="connsiteY0" fmla="*/ 19029 h 41079"/>
                  <a:gd name="connsiteX1" fmla="*/ 20934 w 40824"/>
                  <a:gd name="connsiteY1" fmla="*/ 40969 h 41079"/>
                  <a:gd name="connsiteX2" fmla="*/ 54 w 40824"/>
                  <a:gd name="connsiteY2" fmla="*/ 20336 h 41079"/>
                  <a:gd name="connsiteX3" fmla="*/ 20898 w 40824"/>
                  <a:gd name="connsiteY3" fmla="*/ 22 h 41079"/>
                  <a:gd name="connsiteX4" fmla="*/ 40824 w 40824"/>
                  <a:gd name="connsiteY4" fmla="*/ 19029 h 41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24" h="41079">
                    <a:moveTo>
                      <a:pt x="40824" y="19029"/>
                    </a:moveTo>
                    <a:cubicBezTo>
                      <a:pt x="40824" y="31854"/>
                      <a:pt x="31285" y="42276"/>
                      <a:pt x="20934" y="40969"/>
                    </a:cubicBezTo>
                    <a:cubicBezTo>
                      <a:pt x="9134" y="39485"/>
                      <a:pt x="1326" y="32242"/>
                      <a:pt x="54" y="20336"/>
                    </a:cubicBezTo>
                    <a:cubicBezTo>
                      <a:pt x="-935" y="11257"/>
                      <a:pt x="11819" y="-579"/>
                      <a:pt x="20898" y="22"/>
                    </a:cubicBezTo>
                    <a:cubicBezTo>
                      <a:pt x="33476" y="870"/>
                      <a:pt x="39800" y="8254"/>
                      <a:pt x="40824" y="19029"/>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4" name="Freeform: Shape 3633">
                <a:extLst>
                  <a:ext uri="{FF2B5EF4-FFF2-40B4-BE49-F238E27FC236}">
                    <a16:creationId xmlns:a16="http://schemas.microsoft.com/office/drawing/2014/main" id="{E284CEC6-C2E5-8405-DF81-C8971733183B}"/>
                  </a:ext>
                </a:extLst>
              </p:cNvPr>
              <p:cNvSpPr/>
              <p:nvPr/>
            </p:nvSpPr>
            <p:spPr>
              <a:xfrm>
                <a:off x="6692665" y="2766566"/>
                <a:ext cx="38382" cy="41398"/>
              </a:xfrm>
              <a:custGeom>
                <a:avLst/>
                <a:gdLst>
                  <a:gd name="connsiteX0" fmla="*/ 19128 w 38382"/>
                  <a:gd name="connsiteY0" fmla="*/ 41398 h 41398"/>
                  <a:gd name="connsiteX1" fmla="*/ 15 w 38382"/>
                  <a:gd name="connsiteY1" fmla="*/ 20731 h 41398"/>
                  <a:gd name="connsiteX2" fmla="*/ 17715 w 38382"/>
                  <a:gd name="connsiteY2" fmla="*/ 98 h 41398"/>
                  <a:gd name="connsiteX3" fmla="*/ 38382 w 38382"/>
                  <a:gd name="connsiteY3" fmla="*/ 20731 h 41398"/>
                  <a:gd name="connsiteX4" fmla="*/ 19128 w 38382"/>
                  <a:gd name="connsiteY4" fmla="*/ 41398 h 4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82" h="41398">
                    <a:moveTo>
                      <a:pt x="19128" y="41398"/>
                    </a:moveTo>
                    <a:cubicBezTo>
                      <a:pt x="7045" y="39667"/>
                      <a:pt x="-374" y="33732"/>
                      <a:pt x="15" y="20731"/>
                    </a:cubicBezTo>
                    <a:cubicBezTo>
                      <a:pt x="332" y="9178"/>
                      <a:pt x="6020" y="1194"/>
                      <a:pt x="17715" y="98"/>
                    </a:cubicBezTo>
                    <a:cubicBezTo>
                      <a:pt x="29938" y="-1067"/>
                      <a:pt x="38382" y="8260"/>
                      <a:pt x="38382" y="20731"/>
                    </a:cubicBezTo>
                    <a:cubicBezTo>
                      <a:pt x="38382" y="33661"/>
                      <a:pt x="31387" y="39738"/>
                      <a:pt x="19128" y="41398"/>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5" name="Freeform: Shape 3634">
                <a:extLst>
                  <a:ext uri="{FF2B5EF4-FFF2-40B4-BE49-F238E27FC236}">
                    <a16:creationId xmlns:a16="http://schemas.microsoft.com/office/drawing/2014/main" id="{24FA9C32-6B22-7CAA-4D61-B94F72965AD4}"/>
                  </a:ext>
                </a:extLst>
              </p:cNvPr>
              <p:cNvSpPr/>
              <p:nvPr/>
            </p:nvSpPr>
            <p:spPr>
              <a:xfrm>
                <a:off x="7203823" y="3091397"/>
                <a:ext cx="40171" cy="38630"/>
              </a:xfrm>
              <a:custGeom>
                <a:avLst/>
                <a:gdLst>
                  <a:gd name="connsiteX0" fmla="*/ 20280 w 40171"/>
                  <a:gd name="connsiteY0" fmla="*/ 50 h 38630"/>
                  <a:gd name="connsiteX1" fmla="*/ 40171 w 40171"/>
                  <a:gd name="connsiteY1" fmla="*/ 19128 h 38630"/>
                  <a:gd name="connsiteX2" fmla="*/ 20245 w 40171"/>
                  <a:gd name="connsiteY2" fmla="*/ 38630 h 38630"/>
                  <a:gd name="connsiteX3" fmla="*/ 1 w 40171"/>
                  <a:gd name="connsiteY3" fmla="*/ 19411 h 38630"/>
                  <a:gd name="connsiteX4" fmla="*/ 20280 w 40171"/>
                  <a:gd name="connsiteY4" fmla="*/ 50 h 38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1" h="38630">
                    <a:moveTo>
                      <a:pt x="20280" y="50"/>
                    </a:moveTo>
                    <a:cubicBezTo>
                      <a:pt x="33423" y="-727"/>
                      <a:pt x="40100" y="7611"/>
                      <a:pt x="40171" y="19128"/>
                    </a:cubicBezTo>
                    <a:cubicBezTo>
                      <a:pt x="40241" y="30575"/>
                      <a:pt x="33811" y="38559"/>
                      <a:pt x="20245" y="38630"/>
                    </a:cubicBezTo>
                    <a:cubicBezTo>
                      <a:pt x="6714" y="38700"/>
                      <a:pt x="107" y="30893"/>
                      <a:pt x="1" y="19411"/>
                    </a:cubicBezTo>
                    <a:cubicBezTo>
                      <a:pt x="-105" y="7893"/>
                      <a:pt x="6467" y="-515"/>
                      <a:pt x="20280" y="50"/>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6" name="Freeform: Shape 3635">
                <a:extLst>
                  <a:ext uri="{FF2B5EF4-FFF2-40B4-BE49-F238E27FC236}">
                    <a16:creationId xmlns:a16="http://schemas.microsoft.com/office/drawing/2014/main" id="{B80E4F18-CE50-73B2-2345-CEFFE795DFBA}"/>
                  </a:ext>
                </a:extLst>
              </p:cNvPr>
              <p:cNvSpPr/>
              <p:nvPr/>
            </p:nvSpPr>
            <p:spPr>
              <a:xfrm>
                <a:off x="6724918" y="3279528"/>
                <a:ext cx="40880" cy="38521"/>
              </a:xfrm>
              <a:custGeom>
                <a:avLst/>
                <a:gdLst>
                  <a:gd name="connsiteX0" fmla="*/ 20508 w 40880"/>
                  <a:gd name="connsiteY0" fmla="*/ 38521 h 38521"/>
                  <a:gd name="connsiteX1" fmla="*/ 123 w 40880"/>
                  <a:gd name="connsiteY1" fmla="*/ 18843 h 38521"/>
                  <a:gd name="connsiteX2" fmla="*/ 19554 w 40880"/>
                  <a:gd name="connsiteY2" fmla="*/ 12 h 38521"/>
                  <a:gd name="connsiteX3" fmla="*/ 40751 w 40880"/>
                  <a:gd name="connsiteY3" fmla="*/ 18666 h 38521"/>
                  <a:gd name="connsiteX4" fmla="*/ 20508 w 40880"/>
                  <a:gd name="connsiteY4" fmla="*/ 38521 h 3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0" h="38521">
                    <a:moveTo>
                      <a:pt x="20508" y="38521"/>
                    </a:moveTo>
                    <a:cubicBezTo>
                      <a:pt x="9202" y="38557"/>
                      <a:pt x="-1255" y="29230"/>
                      <a:pt x="123" y="18843"/>
                    </a:cubicBezTo>
                    <a:cubicBezTo>
                      <a:pt x="1536" y="8138"/>
                      <a:pt x="6659" y="366"/>
                      <a:pt x="19554" y="12"/>
                    </a:cubicBezTo>
                    <a:cubicBezTo>
                      <a:pt x="33050" y="-341"/>
                      <a:pt x="39126" y="7007"/>
                      <a:pt x="40751" y="18666"/>
                    </a:cubicBezTo>
                    <a:cubicBezTo>
                      <a:pt x="42165" y="28947"/>
                      <a:pt x="31742" y="38451"/>
                      <a:pt x="20508" y="38521"/>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7" name="Freeform: Shape 3636">
                <a:extLst>
                  <a:ext uri="{FF2B5EF4-FFF2-40B4-BE49-F238E27FC236}">
                    <a16:creationId xmlns:a16="http://schemas.microsoft.com/office/drawing/2014/main" id="{548662B4-4B4A-E413-3511-B524A241B6BD}"/>
                  </a:ext>
                </a:extLst>
              </p:cNvPr>
              <p:cNvSpPr/>
              <p:nvPr/>
            </p:nvSpPr>
            <p:spPr>
              <a:xfrm>
                <a:off x="6740387" y="2660592"/>
                <a:ext cx="38367" cy="38420"/>
              </a:xfrm>
              <a:custGeom>
                <a:avLst/>
                <a:gdLst>
                  <a:gd name="connsiteX0" fmla="*/ 22 w 38367"/>
                  <a:gd name="connsiteY0" fmla="*/ 16654 h 38420"/>
                  <a:gd name="connsiteX1" fmla="*/ 18605 w 38367"/>
                  <a:gd name="connsiteY1" fmla="*/ 14 h 38420"/>
                  <a:gd name="connsiteX2" fmla="*/ 38355 w 38367"/>
                  <a:gd name="connsiteY2" fmla="*/ 19233 h 38420"/>
                  <a:gd name="connsiteX3" fmla="*/ 18288 w 38367"/>
                  <a:gd name="connsiteY3" fmla="*/ 38417 h 38420"/>
                  <a:gd name="connsiteX4" fmla="*/ 22 w 38367"/>
                  <a:gd name="connsiteY4" fmla="*/ 16654 h 3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67" h="38420">
                    <a:moveTo>
                      <a:pt x="22" y="16654"/>
                    </a:moveTo>
                    <a:cubicBezTo>
                      <a:pt x="-437" y="4819"/>
                      <a:pt x="6170" y="-304"/>
                      <a:pt x="18605" y="14"/>
                    </a:cubicBezTo>
                    <a:cubicBezTo>
                      <a:pt x="31465" y="332"/>
                      <a:pt x="38708" y="6020"/>
                      <a:pt x="38355" y="19233"/>
                    </a:cubicBezTo>
                    <a:cubicBezTo>
                      <a:pt x="38001" y="31916"/>
                      <a:pt x="31006" y="38594"/>
                      <a:pt x="18288" y="38417"/>
                    </a:cubicBezTo>
                    <a:cubicBezTo>
                      <a:pt x="4827" y="38240"/>
                      <a:pt x="-190" y="30220"/>
                      <a:pt x="22" y="16654"/>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8" name="Freeform: Shape 3637">
                <a:extLst>
                  <a:ext uri="{FF2B5EF4-FFF2-40B4-BE49-F238E27FC236}">
                    <a16:creationId xmlns:a16="http://schemas.microsoft.com/office/drawing/2014/main" id="{54449D3F-5A0E-27E9-36B1-08B44F1D6FD3}"/>
                  </a:ext>
                </a:extLst>
              </p:cNvPr>
              <p:cNvSpPr/>
              <p:nvPr/>
            </p:nvSpPr>
            <p:spPr>
              <a:xfrm>
                <a:off x="7162770" y="3187323"/>
                <a:ext cx="40067" cy="38358"/>
              </a:xfrm>
              <a:custGeom>
                <a:avLst/>
                <a:gdLst>
                  <a:gd name="connsiteX0" fmla="*/ 19185 w 40067"/>
                  <a:gd name="connsiteY0" fmla="*/ 38270 h 38358"/>
                  <a:gd name="connsiteX1" fmla="*/ 1 w 40067"/>
                  <a:gd name="connsiteY1" fmla="*/ 20746 h 38358"/>
                  <a:gd name="connsiteX2" fmla="*/ 19326 w 40067"/>
                  <a:gd name="connsiteY2" fmla="*/ 8 h 38358"/>
                  <a:gd name="connsiteX3" fmla="*/ 39994 w 40067"/>
                  <a:gd name="connsiteY3" fmla="*/ 19157 h 38358"/>
                  <a:gd name="connsiteX4" fmla="*/ 19185 w 40067"/>
                  <a:gd name="connsiteY4" fmla="*/ 38270 h 3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7" h="38358">
                    <a:moveTo>
                      <a:pt x="19185" y="38270"/>
                    </a:moveTo>
                    <a:cubicBezTo>
                      <a:pt x="6996" y="39294"/>
                      <a:pt x="-105" y="31310"/>
                      <a:pt x="1" y="20746"/>
                    </a:cubicBezTo>
                    <a:cubicBezTo>
                      <a:pt x="107" y="10218"/>
                      <a:pt x="5972" y="397"/>
                      <a:pt x="19326" y="8"/>
                    </a:cubicBezTo>
                    <a:cubicBezTo>
                      <a:pt x="30490" y="-310"/>
                      <a:pt x="41054" y="8805"/>
                      <a:pt x="39994" y="19157"/>
                    </a:cubicBezTo>
                    <a:cubicBezTo>
                      <a:pt x="38828" y="30674"/>
                      <a:pt x="33175" y="39012"/>
                      <a:pt x="19185" y="38270"/>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9" name="Freeform: Shape 3638">
                <a:extLst>
                  <a:ext uri="{FF2B5EF4-FFF2-40B4-BE49-F238E27FC236}">
                    <a16:creationId xmlns:a16="http://schemas.microsoft.com/office/drawing/2014/main" id="{8F2151E7-9FCC-2A72-6ECE-72EBB561C663}"/>
                  </a:ext>
                </a:extLst>
              </p:cNvPr>
              <p:cNvSpPr/>
              <p:nvPr/>
            </p:nvSpPr>
            <p:spPr>
              <a:xfrm>
                <a:off x="6964429" y="2529710"/>
                <a:ext cx="37877" cy="37946"/>
              </a:xfrm>
              <a:custGeom>
                <a:avLst/>
                <a:gdLst>
                  <a:gd name="connsiteX0" fmla="*/ 37841 w 37877"/>
                  <a:gd name="connsiteY0" fmla="*/ 17241 h 37946"/>
                  <a:gd name="connsiteX1" fmla="*/ 18162 w 37877"/>
                  <a:gd name="connsiteY1" fmla="*/ 37944 h 37946"/>
                  <a:gd name="connsiteX2" fmla="*/ 3 w 37877"/>
                  <a:gd name="connsiteY2" fmla="*/ 19855 h 37946"/>
                  <a:gd name="connsiteX3" fmla="*/ 19681 w 37877"/>
                  <a:gd name="connsiteY3" fmla="*/ 0 h 37946"/>
                  <a:gd name="connsiteX4" fmla="*/ 37841 w 37877"/>
                  <a:gd name="connsiteY4" fmla="*/ 17241 h 37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7" h="37946">
                    <a:moveTo>
                      <a:pt x="37841" y="17241"/>
                    </a:moveTo>
                    <a:cubicBezTo>
                      <a:pt x="38229" y="31691"/>
                      <a:pt x="29750" y="37767"/>
                      <a:pt x="18162" y="37944"/>
                    </a:cubicBezTo>
                    <a:cubicBezTo>
                      <a:pt x="7422" y="38121"/>
                      <a:pt x="-174" y="30666"/>
                      <a:pt x="3" y="19855"/>
                    </a:cubicBezTo>
                    <a:cubicBezTo>
                      <a:pt x="215" y="8338"/>
                      <a:pt x="6009" y="36"/>
                      <a:pt x="19681" y="0"/>
                    </a:cubicBezTo>
                    <a:cubicBezTo>
                      <a:pt x="32365" y="-35"/>
                      <a:pt x="38406" y="5476"/>
                      <a:pt x="37841" y="17241"/>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40" name="Freeform: Shape 3639">
                <a:extLst>
                  <a:ext uri="{FF2B5EF4-FFF2-40B4-BE49-F238E27FC236}">
                    <a16:creationId xmlns:a16="http://schemas.microsoft.com/office/drawing/2014/main" id="{B7864D7E-D4ED-151D-9D69-B4147D3FE39E}"/>
                  </a:ext>
                </a:extLst>
              </p:cNvPr>
              <p:cNvSpPr/>
              <p:nvPr/>
            </p:nvSpPr>
            <p:spPr>
              <a:xfrm>
                <a:off x="7082322" y="2571496"/>
                <a:ext cx="38336" cy="38137"/>
              </a:xfrm>
              <a:custGeom>
                <a:avLst/>
                <a:gdLst>
                  <a:gd name="connsiteX0" fmla="*/ 38336 w 38336"/>
                  <a:gd name="connsiteY0" fmla="*/ 18557 h 38137"/>
                  <a:gd name="connsiteX1" fmla="*/ 19082 w 38336"/>
                  <a:gd name="connsiteY1" fmla="*/ 38130 h 38137"/>
                  <a:gd name="connsiteX2" fmla="*/ 4 w 38336"/>
                  <a:gd name="connsiteY2" fmla="*/ 17780 h 38137"/>
                  <a:gd name="connsiteX3" fmla="*/ 19541 w 38336"/>
                  <a:gd name="connsiteY3" fmla="*/ 9 h 38137"/>
                  <a:gd name="connsiteX4" fmla="*/ 38336 w 38336"/>
                  <a:gd name="connsiteY4" fmla="*/ 18592 h 38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6" h="38137">
                    <a:moveTo>
                      <a:pt x="38336" y="18557"/>
                    </a:moveTo>
                    <a:cubicBezTo>
                      <a:pt x="36923" y="30816"/>
                      <a:pt x="31165" y="37812"/>
                      <a:pt x="19082" y="38130"/>
                    </a:cubicBezTo>
                    <a:cubicBezTo>
                      <a:pt x="5339" y="38448"/>
                      <a:pt x="216" y="29050"/>
                      <a:pt x="4" y="17780"/>
                    </a:cubicBezTo>
                    <a:cubicBezTo>
                      <a:pt x="-208" y="5945"/>
                      <a:pt x="7671" y="-273"/>
                      <a:pt x="19541" y="9"/>
                    </a:cubicBezTo>
                    <a:cubicBezTo>
                      <a:pt x="31765" y="292"/>
                      <a:pt x="36959" y="7923"/>
                      <a:pt x="38336" y="18592"/>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41" name="Freeform: Shape 3640">
                <a:extLst>
                  <a:ext uri="{FF2B5EF4-FFF2-40B4-BE49-F238E27FC236}">
                    <a16:creationId xmlns:a16="http://schemas.microsoft.com/office/drawing/2014/main" id="{CA8AB16C-8D15-3AD1-3B6A-912F1983DE11}"/>
                  </a:ext>
                </a:extLst>
              </p:cNvPr>
              <p:cNvSpPr/>
              <p:nvPr/>
            </p:nvSpPr>
            <p:spPr>
              <a:xfrm>
                <a:off x="6651831" y="2734161"/>
                <a:ext cx="558876" cy="520214"/>
              </a:xfrm>
              <a:custGeom>
                <a:avLst/>
                <a:gdLst>
                  <a:gd name="connsiteX0" fmla="*/ 238481 w 558876"/>
                  <a:gd name="connsiteY0" fmla="*/ 520154 h 520214"/>
                  <a:gd name="connsiteX1" fmla="*/ 70348 w 558876"/>
                  <a:gd name="connsiteY1" fmla="*/ 471682 h 520214"/>
                  <a:gd name="connsiteX2" fmla="*/ 2586 w 558876"/>
                  <a:gd name="connsiteY2" fmla="*/ 355484 h 520214"/>
                  <a:gd name="connsiteX3" fmla="*/ 18343 w 558876"/>
                  <a:gd name="connsiteY3" fmla="*/ 232820 h 520214"/>
                  <a:gd name="connsiteX4" fmla="*/ 67168 w 558876"/>
                  <a:gd name="connsiteY4" fmla="*/ 153789 h 520214"/>
                  <a:gd name="connsiteX5" fmla="*/ 181636 w 558876"/>
                  <a:gd name="connsiteY5" fmla="*/ 56633 h 520214"/>
                  <a:gd name="connsiteX6" fmla="*/ 365560 w 558876"/>
                  <a:gd name="connsiteY6" fmla="*/ 353 h 520214"/>
                  <a:gd name="connsiteX7" fmla="*/ 525390 w 558876"/>
                  <a:gd name="connsiteY7" fmla="*/ 81505 h 520214"/>
                  <a:gd name="connsiteX8" fmla="*/ 557646 w 558876"/>
                  <a:gd name="connsiteY8" fmla="*/ 181699 h 520214"/>
                  <a:gd name="connsiteX9" fmla="*/ 519631 w 558876"/>
                  <a:gd name="connsiteY9" fmla="*/ 361808 h 520214"/>
                  <a:gd name="connsiteX10" fmla="*/ 366938 w 558876"/>
                  <a:gd name="connsiteY10" fmla="*/ 497225 h 520214"/>
                  <a:gd name="connsiteX11" fmla="*/ 238516 w 558876"/>
                  <a:gd name="connsiteY11" fmla="*/ 520119 h 52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8876" h="520214">
                    <a:moveTo>
                      <a:pt x="238481" y="520154"/>
                    </a:moveTo>
                    <a:cubicBezTo>
                      <a:pt x="174994" y="520931"/>
                      <a:pt x="119315" y="507965"/>
                      <a:pt x="70348" y="471682"/>
                    </a:cubicBezTo>
                    <a:cubicBezTo>
                      <a:pt x="31062" y="442571"/>
                      <a:pt x="10324" y="402861"/>
                      <a:pt x="2586" y="355484"/>
                    </a:cubicBezTo>
                    <a:cubicBezTo>
                      <a:pt x="-4338" y="313053"/>
                      <a:pt x="3222" y="272248"/>
                      <a:pt x="18343" y="232820"/>
                    </a:cubicBezTo>
                    <a:cubicBezTo>
                      <a:pt x="29543" y="203568"/>
                      <a:pt x="46677" y="177601"/>
                      <a:pt x="67168" y="153789"/>
                    </a:cubicBezTo>
                    <a:cubicBezTo>
                      <a:pt x="100272" y="115386"/>
                      <a:pt x="139170" y="83307"/>
                      <a:pt x="181636" y="56633"/>
                    </a:cubicBezTo>
                    <a:cubicBezTo>
                      <a:pt x="237421" y="21586"/>
                      <a:pt x="297975" y="-3286"/>
                      <a:pt x="365560" y="353"/>
                    </a:cubicBezTo>
                    <a:cubicBezTo>
                      <a:pt x="430072" y="3851"/>
                      <a:pt x="486634" y="26992"/>
                      <a:pt x="525390" y="81505"/>
                    </a:cubicBezTo>
                    <a:cubicBezTo>
                      <a:pt x="546376" y="111005"/>
                      <a:pt x="554501" y="145945"/>
                      <a:pt x="557646" y="181699"/>
                    </a:cubicBezTo>
                    <a:cubicBezTo>
                      <a:pt x="563263" y="245504"/>
                      <a:pt x="549485" y="305316"/>
                      <a:pt x="519631" y="361808"/>
                    </a:cubicBezTo>
                    <a:cubicBezTo>
                      <a:pt x="485609" y="426107"/>
                      <a:pt x="436254" y="472777"/>
                      <a:pt x="366938" y="497225"/>
                    </a:cubicBezTo>
                    <a:cubicBezTo>
                      <a:pt x="324154" y="512311"/>
                      <a:pt x="280381" y="521249"/>
                      <a:pt x="238516" y="520119"/>
                    </a:cubicBezTo>
                    <a:close/>
                  </a:path>
                </a:pathLst>
              </a:custGeom>
              <a:solidFill>
                <a:srgbClr val="A192C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42" name="Freeform: Shape 3641">
                <a:extLst>
                  <a:ext uri="{FF2B5EF4-FFF2-40B4-BE49-F238E27FC236}">
                    <a16:creationId xmlns:a16="http://schemas.microsoft.com/office/drawing/2014/main" id="{7D0BA084-1731-B875-434D-16AFC9DE71D5}"/>
                  </a:ext>
                </a:extLst>
              </p:cNvPr>
              <p:cNvSpPr/>
              <p:nvPr/>
            </p:nvSpPr>
            <p:spPr>
              <a:xfrm>
                <a:off x="6328010" y="2401924"/>
                <a:ext cx="1002540" cy="1005755"/>
              </a:xfrm>
              <a:custGeom>
                <a:avLst/>
                <a:gdLst>
                  <a:gd name="connsiteX0" fmla="*/ 0 w 1002540"/>
                  <a:gd name="connsiteY0" fmla="*/ 0 h 1005755"/>
                  <a:gd name="connsiteX1" fmla="*/ 1002541 w 1002540"/>
                  <a:gd name="connsiteY1" fmla="*/ 0 h 1005755"/>
                  <a:gd name="connsiteX2" fmla="*/ 1002541 w 1002540"/>
                  <a:gd name="connsiteY2" fmla="*/ 1005756 h 1005755"/>
                  <a:gd name="connsiteX3" fmla="*/ 0 w 1002540"/>
                  <a:gd name="connsiteY3" fmla="*/ 1005756 h 1005755"/>
                </a:gdLst>
                <a:ahLst/>
                <a:cxnLst>
                  <a:cxn ang="0">
                    <a:pos x="connsiteX0" y="connsiteY0"/>
                  </a:cxn>
                  <a:cxn ang="0">
                    <a:pos x="connsiteX1" y="connsiteY1"/>
                  </a:cxn>
                  <a:cxn ang="0">
                    <a:pos x="connsiteX2" y="connsiteY2"/>
                  </a:cxn>
                  <a:cxn ang="0">
                    <a:pos x="connsiteX3" y="connsiteY3"/>
                  </a:cxn>
                </a:cxnLst>
                <a:rect l="l" t="t" r="r" b="b"/>
                <a:pathLst>
                  <a:path w="1002540" h="1005755">
                    <a:moveTo>
                      <a:pt x="0" y="0"/>
                    </a:moveTo>
                    <a:lnTo>
                      <a:pt x="1002541" y="0"/>
                    </a:lnTo>
                    <a:lnTo>
                      <a:pt x="1002541" y="1005756"/>
                    </a:lnTo>
                    <a:lnTo>
                      <a:pt x="0" y="1005756"/>
                    </a:lnTo>
                    <a:close/>
                  </a:path>
                </a:pathLst>
              </a:custGeom>
              <a:no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610" name="Group 3609">
              <a:extLst>
                <a:ext uri="{FF2B5EF4-FFF2-40B4-BE49-F238E27FC236}">
                  <a16:creationId xmlns:a16="http://schemas.microsoft.com/office/drawing/2014/main" id="{CA3346D5-5F83-9B2C-CEFE-823EAFC88675}"/>
                </a:ext>
              </a:extLst>
            </p:cNvPr>
            <p:cNvGrpSpPr/>
            <p:nvPr/>
          </p:nvGrpSpPr>
          <p:grpSpPr>
            <a:xfrm>
              <a:off x="8189904" y="1428269"/>
              <a:ext cx="544434" cy="474252"/>
              <a:chOff x="12875339" y="692664"/>
              <a:chExt cx="273212" cy="237993"/>
            </a:xfrm>
          </p:grpSpPr>
          <p:sp>
            <p:nvSpPr>
              <p:cNvPr id="3611" name="Freeform: Shape 3610">
                <a:extLst>
                  <a:ext uri="{FF2B5EF4-FFF2-40B4-BE49-F238E27FC236}">
                    <a16:creationId xmlns:a16="http://schemas.microsoft.com/office/drawing/2014/main" id="{C0C8976E-F1C3-92E7-6BA6-281613041225}"/>
                  </a:ext>
                </a:extLst>
              </p:cNvPr>
              <p:cNvSpPr/>
              <p:nvPr/>
            </p:nvSpPr>
            <p:spPr>
              <a:xfrm>
                <a:off x="13010632" y="712819"/>
                <a:ext cx="24150" cy="24147"/>
              </a:xfrm>
              <a:custGeom>
                <a:avLst/>
                <a:gdLst>
                  <a:gd name="connsiteX0" fmla="*/ 29368 w 57525"/>
                  <a:gd name="connsiteY0" fmla="*/ 3 h 57519"/>
                  <a:gd name="connsiteX1" fmla="*/ 57525 w 57525"/>
                  <a:gd name="connsiteY1" fmla="*/ 28585 h 57519"/>
                  <a:gd name="connsiteX2" fmla="*/ 28944 w 57525"/>
                  <a:gd name="connsiteY2" fmla="*/ 57520 h 57519"/>
                  <a:gd name="connsiteX3" fmla="*/ 9 w 57525"/>
                  <a:gd name="connsiteY3" fmla="*/ 27348 h 57519"/>
                  <a:gd name="connsiteX4" fmla="*/ 29368 w 57525"/>
                  <a:gd name="connsiteY4" fmla="*/ 3 h 57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25" h="57519">
                    <a:moveTo>
                      <a:pt x="29368" y="3"/>
                    </a:moveTo>
                    <a:cubicBezTo>
                      <a:pt x="47810" y="180"/>
                      <a:pt x="57490" y="10037"/>
                      <a:pt x="57525" y="28585"/>
                    </a:cubicBezTo>
                    <a:cubicBezTo>
                      <a:pt x="57525" y="44978"/>
                      <a:pt x="45195" y="57484"/>
                      <a:pt x="28944" y="57520"/>
                    </a:cubicBezTo>
                    <a:cubicBezTo>
                      <a:pt x="11738" y="57590"/>
                      <a:pt x="-380" y="44942"/>
                      <a:pt x="9" y="27348"/>
                    </a:cubicBezTo>
                    <a:cubicBezTo>
                      <a:pt x="398" y="9224"/>
                      <a:pt x="10537" y="-208"/>
                      <a:pt x="29368" y="3"/>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12" name="Freeform: Shape 3611">
                <a:extLst>
                  <a:ext uri="{FF2B5EF4-FFF2-40B4-BE49-F238E27FC236}">
                    <a16:creationId xmlns:a16="http://schemas.microsoft.com/office/drawing/2014/main" id="{1D04312F-1794-3BC5-2FF3-BF5B7C714EE5}"/>
                  </a:ext>
                </a:extLst>
              </p:cNvPr>
              <p:cNvSpPr/>
              <p:nvPr/>
            </p:nvSpPr>
            <p:spPr>
              <a:xfrm>
                <a:off x="13123209" y="751708"/>
                <a:ext cx="25342" cy="25265"/>
              </a:xfrm>
              <a:custGeom>
                <a:avLst/>
                <a:gdLst>
                  <a:gd name="connsiteX0" fmla="*/ 2 w 60364"/>
                  <a:gd name="connsiteY0" fmla="*/ 30458 h 60181"/>
                  <a:gd name="connsiteX1" fmla="*/ 28371 w 60364"/>
                  <a:gd name="connsiteY1" fmla="*/ 4 h 60181"/>
                  <a:gd name="connsiteX2" fmla="*/ 60344 w 60364"/>
                  <a:gd name="connsiteY2" fmla="*/ 28091 h 60181"/>
                  <a:gd name="connsiteX3" fmla="*/ 26958 w 60364"/>
                  <a:gd name="connsiteY3" fmla="*/ 60170 h 60181"/>
                  <a:gd name="connsiteX4" fmla="*/ 2 w 60364"/>
                  <a:gd name="connsiteY4" fmla="*/ 30458 h 60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64" h="60181">
                    <a:moveTo>
                      <a:pt x="2" y="30458"/>
                    </a:moveTo>
                    <a:cubicBezTo>
                      <a:pt x="-175" y="14983"/>
                      <a:pt x="13462" y="322"/>
                      <a:pt x="28371" y="4"/>
                    </a:cubicBezTo>
                    <a:cubicBezTo>
                      <a:pt x="41867" y="-279"/>
                      <a:pt x="59744" y="15443"/>
                      <a:pt x="60344" y="28091"/>
                    </a:cubicBezTo>
                    <a:cubicBezTo>
                      <a:pt x="61051" y="43176"/>
                      <a:pt x="42821" y="60700"/>
                      <a:pt x="26958" y="60170"/>
                    </a:cubicBezTo>
                    <a:cubicBezTo>
                      <a:pt x="16147" y="59816"/>
                      <a:pt x="143" y="42152"/>
                      <a:pt x="2" y="30458"/>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13" name="Freeform: Shape 3612">
                <a:extLst>
                  <a:ext uri="{FF2B5EF4-FFF2-40B4-BE49-F238E27FC236}">
                    <a16:creationId xmlns:a16="http://schemas.microsoft.com/office/drawing/2014/main" id="{F36D1E80-01B0-EF35-0D36-CF8E1423BDE5}"/>
                  </a:ext>
                </a:extLst>
              </p:cNvPr>
              <p:cNvSpPr/>
              <p:nvPr/>
            </p:nvSpPr>
            <p:spPr>
              <a:xfrm>
                <a:off x="12875339" y="794749"/>
                <a:ext cx="21420" cy="22487"/>
              </a:xfrm>
              <a:custGeom>
                <a:avLst/>
                <a:gdLst>
                  <a:gd name="connsiteX0" fmla="*/ 0 w 51023"/>
                  <a:gd name="connsiteY0" fmla="*/ 26501 h 53565"/>
                  <a:gd name="connsiteX1" fmla="*/ 23600 w 51023"/>
                  <a:gd name="connsiteY1" fmla="*/ 4 h 53565"/>
                  <a:gd name="connsiteX2" fmla="*/ 51016 w 51023"/>
                  <a:gd name="connsiteY2" fmla="*/ 26007 h 53565"/>
                  <a:gd name="connsiteX3" fmla="*/ 25190 w 51023"/>
                  <a:gd name="connsiteY3" fmla="*/ 53564 h 53565"/>
                  <a:gd name="connsiteX4" fmla="*/ 0 w 51023"/>
                  <a:gd name="connsiteY4" fmla="*/ 26501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3" h="53565">
                    <a:moveTo>
                      <a:pt x="0" y="26501"/>
                    </a:moveTo>
                    <a:cubicBezTo>
                      <a:pt x="71" y="11133"/>
                      <a:pt x="9716" y="287"/>
                      <a:pt x="23600" y="4"/>
                    </a:cubicBezTo>
                    <a:cubicBezTo>
                      <a:pt x="36601" y="-278"/>
                      <a:pt x="50592" y="13006"/>
                      <a:pt x="51016" y="26007"/>
                    </a:cubicBezTo>
                    <a:cubicBezTo>
                      <a:pt x="51404" y="38619"/>
                      <a:pt x="37238" y="53776"/>
                      <a:pt x="25190" y="53564"/>
                    </a:cubicBezTo>
                    <a:cubicBezTo>
                      <a:pt x="10882" y="53316"/>
                      <a:pt x="-70" y="41552"/>
                      <a:pt x="0" y="26501"/>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14" name="Freeform: Shape 3613">
                <a:extLst>
                  <a:ext uri="{FF2B5EF4-FFF2-40B4-BE49-F238E27FC236}">
                    <a16:creationId xmlns:a16="http://schemas.microsoft.com/office/drawing/2014/main" id="{8F929EED-32B7-3C1D-ADC2-4DBEBAB5A93B}"/>
                  </a:ext>
                </a:extLst>
              </p:cNvPr>
              <p:cNvSpPr/>
              <p:nvPr/>
            </p:nvSpPr>
            <p:spPr>
              <a:xfrm>
                <a:off x="12955727" y="696743"/>
                <a:ext cx="21433" cy="21419"/>
              </a:xfrm>
              <a:custGeom>
                <a:avLst/>
                <a:gdLst>
                  <a:gd name="connsiteX0" fmla="*/ 2 w 51054"/>
                  <a:gd name="connsiteY0" fmla="*/ 23671 h 51021"/>
                  <a:gd name="connsiteX1" fmla="*/ 25510 w 51054"/>
                  <a:gd name="connsiteY1" fmla="*/ 0 h 51021"/>
                  <a:gd name="connsiteX2" fmla="*/ 51053 w 51054"/>
                  <a:gd name="connsiteY2" fmla="*/ 23635 h 51021"/>
                  <a:gd name="connsiteX3" fmla="*/ 26534 w 51054"/>
                  <a:gd name="connsiteY3" fmla="*/ 51016 h 51021"/>
                  <a:gd name="connsiteX4" fmla="*/ 2 w 51054"/>
                  <a:gd name="connsiteY4" fmla="*/ 23706 h 51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54" h="51021">
                    <a:moveTo>
                      <a:pt x="2" y="23671"/>
                    </a:moveTo>
                    <a:cubicBezTo>
                      <a:pt x="179" y="9433"/>
                      <a:pt x="10318" y="0"/>
                      <a:pt x="25510" y="0"/>
                    </a:cubicBezTo>
                    <a:cubicBezTo>
                      <a:pt x="40702" y="0"/>
                      <a:pt x="50912" y="9433"/>
                      <a:pt x="51053" y="23635"/>
                    </a:cubicBezTo>
                    <a:cubicBezTo>
                      <a:pt x="51194" y="38686"/>
                      <a:pt x="39889" y="51334"/>
                      <a:pt x="26534" y="51016"/>
                    </a:cubicBezTo>
                    <a:cubicBezTo>
                      <a:pt x="10778" y="50627"/>
                      <a:pt x="-174" y="39322"/>
                      <a:pt x="2" y="23706"/>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15" name="Freeform: Shape 3614">
                <a:extLst>
                  <a:ext uri="{FF2B5EF4-FFF2-40B4-BE49-F238E27FC236}">
                    <a16:creationId xmlns:a16="http://schemas.microsoft.com/office/drawing/2014/main" id="{114B218E-C6E7-D36F-D3D4-3C3F54626039}"/>
                  </a:ext>
                </a:extLst>
              </p:cNvPr>
              <p:cNvSpPr/>
              <p:nvPr/>
            </p:nvSpPr>
            <p:spPr>
              <a:xfrm>
                <a:off x="12886105" y="857548"/>
                <a:ext cx="17400" cy="17416"/>
              </a:xfrm>
              <a:custGeom>
                <a:avLst/>
                <a:gdLst>
                  <a:gd name="connsiteX0" fmla="*/ 41446 w 41446"/>
                  <a:gd name="connsiteY0" fmla="*/ 24945 h 41484"/>
                  <a:gd name="connsiteX1" fmla="*/ 21556 w 41446"/>
                  <a:gd name="connsiteY1" fmla="*/ 41479 h 41484"/>
                  <a:gd name="connsiteX2" fmla="*/ 5 w 41446"/>
                  <a:gd name="connsiteY2" fmla="*/ 21482 h 41484"/>
                  <a:gd name="connsiteX3" fmla="*/ 21238 w 41446"/>
                  <a:gd name="connsiteY3" fmla="*/ 2 h 41484"/>
                  <a:gd name="connsiteX4" fmla="*/ 41446 w 41446"/>
                  <a:gd name="connsiteY4" fmla="*/ 24945 h 4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6" h="41484">
                    <a:moveTo>
                      <a:pt x="41446" y="24945"/>
                    </a:moveTo>
                    <a:cubicBezTo>
                      <a:pt x="40563" y="34236"/>
                      <a:pt x="34416" y="41231"/>
                      <a:pt x="21556" y="41479"/>
                    </a:cubicBezTo>
                    <a:cubicBezTo>
                      <a:pt x="8979" y="41726"/>
                      <a:pt x="358" y="33777"/>
                      <a:pt x="5" y="21482"/>
                    </a:cubicBezTo>
                    <a:cubicBezTo>
                      <a:pt x="-278" y="11378"/>
                      <a:pt x="11134" y="-175"/>
                      <a:pt x="21238" y="2"/>
                    </a:cubicBezTo>
                    <a:cubicBezTo>
                      <a:pt x="33038" y="179"/>
                      <a:pt x="41376" y="9188"/>
                      <a:pt x="41446" y="24945"/>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16" name="Freeform: Shape 3615">
                <a:extLst>
                  <a:ext uri="{FF2B5EF4-FFF2-40B4-BE49-F238E27FC236}">
                    <a16:creationId xmlns:a16="http://schemas.microsoft.com/office/drawing/2014/main" id="{6E86E04E-8BCC-E060-4D8F-9179F7D63453}"/>
                  </a:ext>
                </a:extLst>
              </p:cNvPr>
              <p:cNvSpPr/>
              <p:nvPr/>
            </p:nvSpPr>
            <p:spPr>
              <a:xfrm>
                <a:off x="12899494" y="743596"/>
                <a:ext cx="17111" cy="16228"/>
              </a:xfrm>
              <a:custGeom>
                <a:avLst/>
                <a:gdLst>
                  <a:gd name="connsiteX0" fmla="*/ 20188 w 40758"/>
                  <a:gd name="connsiteY0" fmla="*/ 38580 h 38654"/>
                  <a:gd name="connsiteX1" fmla="*/ 15 w 40758"/>
                  <a:gd name="connsiteY1" fmla="*/ 19538 h 38654"/>
                  <a:gd name="connsiteX2" fmla="*/ 21319 w 40758"/>
                  <a:gd name="connsiteY2" fmla="*/ 0 h 38654"/>
                  <a:gd name="connsiteX3" fmla="*/ 40750 w 40758"/>
                  <a:gd name="connsiteY3" fmla="*/ 19785 h 38654"/>
                  <a:gd name="connsiteX4" fmla="*/ 20188 w 40758"/>
                  <a:gd name="connsiteY4" fmla="*/ 38580 h 38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8" h="38654">
                    <a:moveTo>
                      <a:pt x="20188" y="38580"/>
                    </a:moveTo>
                    <a:cubicBezTo>
                      <a:pt x="7999" y="38085"/>
                      <a:pt x="439" y="32397"/>
                      <a:pt x="15" y="19538"/>
                    </a:cubicBezTo>
                    <a:cubicBezTo>
                      <a:pt x="-409" y="7384"/>
                      <a:pt x="8141" y="71"/>
                      <a:pt x="21319" y="0"/>
                    </a:cubicBezTo>
                    <a:cubicBezTo>
                      <a:pt x="34850" y="-70"/>
                      <a:pt x="41032" y="8409"/>
                      <a:pt x="40750" y="19785"/>
                    </a:cubicBezTo>
                    <a:cubicBezTo>
                      <a:pt x="40467" y="31196"/>
                      <a:pt x="33790" y="39534"/>
                      <a:pt x="20188" y="38580"/>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17" name="Freeform: Shape 3616">
                <a:extLst>
                  <a:ext uri="{FF2B5EF4-FFF2-40B4-BE49-F238E27FC236}">
                    <a16:creationId xmlns:a16="http://schemas.microsoft.com/office/drawing/2014/main" id="{83C39B35-93D6-BF83-1C0E-11D540920110}"/>
                  </a:ext>
                </a:extLst>
              </p:cNvPr>
              <p:cNvSpPr/>
              <p:nvPr/>
            </p:nvSpPr>
            <p:spPr>
              <a:xfrm>
                <a:off x="13045749" y="743706"/>
                <a:ext cx="17139" cy="17246"/>
              </a:xfrm>
              <a:custGeom>
                <a:avLst/>
                <a:gdLst>
                  <a:gd name="connsiteX0" fmla="*/ 40824 w 40824"/>
                  <a:gd name="connsiteY0" fmla="*/ 19029 h 41079"/>
                  <a:gd name="connsiteX1" fmla="*/ 20934 w 40824"/>
                  <a:gd name="connsiteY1" fmla="*/ 40969 h 41079"/>
                  <a:gd name="connsiteX2" fmla="*/ 54 w 40824"/>
                  <a:gd name="connsiteY2" fmla="*/ 20336 h 41079"/>
                  <a:gd name="connsiteX3" fmla="*/ 20898 w 40824"/>
                  <a:gd name="connsiteY3" fmla="*/ 22 h 41079"/>
                  <a:gd name="connsiteX4" fmla="*/ 40824 w 40824"/>
                  <a:gd name="connsiteY4" fmla="*/ 19029 h 41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24" h="41079">
                    <a:moveTo>
                      <a:pt x="40824" y="19029"/>
                    </a:moveTo>
                    <a:cubicBezTo>
                      <a:pt x="40824" y="31854"/>
                      <a:pt x="31285" y="42276"/>
                      <a:pt x="20934" y="40969"/>
                    </a:cubicBezTo>
                    <a:cubicBezTo>
                      <a:pt x="9134" y="39485"/>
                      <a:pt x="1326" y="32242"/>
                      <a:pt x="54" y="20336"/>
                    </a:cubicBezTo>
                    <a:cubicBezTo>
                      <a:pt x="-935" y="11257"/>
                      <a:pt x="11819" y="-579"/>
                      <a:pt x="20898" y="22"/>
                    </a:cubicBezTo>
                    <a:cubicBezTo>
                      <a:pt x="33476" y="870"/>
                      <a:pt x="39800" y="8254"/>
                      <a:pt x="40824" y="19029"/>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18" name="Freeform: Shape 3617">
                <a:extLst>
                  <a:ext uri="{FF2B5EF4-FFF2-40B4-BE49-F238E27FC236}">
                    <a16:creationId xmlns:a16="http://schemas.microsoft.com/office/drawing/2014/main" id="{AE97320C-BA27-F222-AA21-CE86A029160E}"/>
                  </a:ext>
                </a:extLst>
              </p:cNvPr>
              <p:cNvSpPr/>
              <p:nvPr/>
            </p:nvSpPr>
            <p:spPr>
              <a:xfrm>
                <a:off x="12938324" y="792100"/>
                <a:ext cx="16113" cy="17380"/>
              </a:xfrm>
              <a:custGeom>
                <a:avLst/>
                <a:gdLst>
                  <a:gd name="connsiteX0" fmla="*/ 19128 w 38382"/>
                  <a:gd name="connsiteY0" fmla="*/ 41398 h 41398"/>
                  <a:gd name="connsiteX1" fmla="*/ 15 w 38382"/>
                  <a:gd name="connsiteY1" fmla="*/ 20731 h 41398"/>
                  <a:gd name="connsiteX2" fmla="*/ 17715 w 38382"/>
                  <a:gd name="connsiteY2" fmla="*/ 98 h 41398"/>
                  <a:gd name="connsiteX3" fmla="*/ 38382 w 38382"/>
                  <a:gd name="connsiteY3" fmla="*/ 20731 h 41398"/>
                  <a:gd name="connsiteX4" fmla="*/ 19128 w 38382"/>
                  <a:gd name="connsiteY4" fmla="*/ 41398 h 4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82" h="41398">
                    <a:moveTo>
                      <a:pt x="19128" y="41398"/>
                    </a:moveTo>
                    <a:cubicBezTo>
                      <a:pt x="7045" y="39667"/>
                      <a:pt x="-374" y="33732"/>
                      <a:pt x="15" y="20731"/>
                    </a:cubicBezTo>
                    <a:cubicBezTo>
                      <a:pt x="332" y="9178"/>
                      <a:pt x="6020" y="1194"/>
                      <a:pt x="17715" y="98"/>
                    </a:cubicBezTo>
                    <a:cubicBezTo>
                      <a:pt x="29938" y="-1067"/>
                      <a:pt x="38382" y="8260"/>
                      <a:pt x="38382" y="20731"/>
                    </a:cubicBezTo>
                    <a:cubicBezTo>
                      <a:pt x="38382" y="33661"/>
                      <a:pt x="31387" y="39738"/>
                      <a:pt x="19128" y="41398"/>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19" name="Freeform: Shape 3618">
                <a:extLst>
                  <a:ext uri="{FF2B5EF4-FFF2-40B4-BE49-F238E27FC236}">
                    <a16:creationId xmlns:a16="http://schemas.microsoft.com/office/drawing/2014/main" id="{785BFC8E-59BA-228D-2086-1B3603AC9B7D}"/>
                  </a:ext>
                </a:extLst>
              </p:cNvPr>
              <p:cNvSpPr/>
              <p:nvPr/>
            </p:nvSpPr>
            <p:spPr>
              <a:xfrm>
                <a:off x="13110026" y="899383"/>
                <a:ext cx="16864" cy="16217"/>
              </a:xfrm>
              <a:custGeom>
                <a:avLst/>
                <a:gdLst>
                  <a:gd name="connsiteX0" fmla="*/ 20280 w 40171"/>
                  <a:gd name="connsiteY0" fmla="*/ 50 h 38630"/>
                  <a:gd name="connsiteX1" fmla="*/ 40171 w 40171"/>
                  <a:gd name="connsiteY1" fmla="*/ 19128 h 38630"/>
                  <a:gd name="connsiteX2" fmla="*/ 20245 w 40171"/>
                  <a:gd name="connsiteY2" fmla="*/ 38630 h 38630"/>
                  <a:gd name="connsiteX3" fmla="*/ 1 w 40171"/>
                  <a:gd name="connsiteY3" fmla="*/ 19411 h 38630"/>
                  <a:gd name="connsiteX4" fmla="*/ 20280 w 40171"/>
                  <a:gd name="connsiteY4" fmla="*/ 50 h 38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1" h="38630">
                    <a:moveTo>
                      <a:pt x="20280" y="50"/>
                    </a:moveTo>
                    <a:cubicBezTo>
                      <a:pt x="33423" y="-727"/>
                      <a:pt x="40100" y="7611"/>
                      <a:pt x="40171" y="19128"/>
                    </a:cubicBezTo>
                    <a:cubicBezTo>
                      <a:pt x="40241" y="30575"/>
                      <a:pt x="33811" y="38559"/>
                      <a:pt x="20245" y="38630"/>
                    </a:cubicBezTo>
                    <a:cubicBezTo>
                      <a:pt x="6714" y="38700"/>
                      <a:pt x="107" y="30893"/>
                      <a:pt x="1" y="19411"/>
                    </a:cubicBezTo>
                    <a:cubicBezTo>
                      <a:pt x="-105" y="7893"/>
                      <a:pt x="6467" y="-515"/>
                      <a:pt x="20280" y="50"/>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0" name="Freeform: Shape 3619">
                <a:extLst>
                  <a:ext uri="{FF2B5EF4-FFF2-40B4-BE49-F238E27FC236}">
                    <a16:creationId xmlns:a16="http://schemas.microsoft.com/office/drawing/2014/main" id="{D36BE041-86A2-B812-CB56-3B0EE69732B0}"/>
                  </a:ext>
                </a:extLst>
              </p:cNvPr>
              <p:cNvSpPr/>
              <p:nvPr/>
            </p:nvSpPr>
            <p:spPr>
              <a:xfrm>
                <a:off x="12909355" y="914485"/>
                <a:ext cx="17162" cy="16172"/>
              </a:xfrm>
              <a:custGeom>
                <a:avLst/>
                <a:gdLst>
                  <a:gd name="connsiteX0" fmla="*/ 20508 w 40880"/>
                  <a:gd name="connsiteY0" fmla="*/ 38521 h 38521"/>
                  <a:gd name="connsiteX1" fmla="*/ 123 w 40880"/>
                  <a:gd name="connsiteY1" fmla="*/ 18843 h 38521"/>
                  <a:gd name="connsiteX2" fmla="*/ 19554 w 40880"/>
                  <a:gd name="connsiteY2" fmla="*/ 12 h 38521"/>
                  <a:gd name="connsiteX3" fmla="*/ 40751 w 40880"/>
                  <a:gd name="connsiteY3" fmla="*/ 18666 h 38521"/>
                  <a:gd name="connsiteX4" fmla="*/ 20508 w 40880"/>
                  <a:gd name="connsiteY4" fmla="*/ 38521 h 3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0" h="38521">
                    <a:moveTo>
                      <a:pt x="20508" y="38521"/>
                    </a:moveTo>
                    <a:cubicBezTo>
                      <a:pt x="9202" y="38557"/>
                      <a:pt x="-1255" y="29230"/>
                      <a:pt x="123" y="18843"/>
                    </a:cubicBezTo>
                    <a:cubicBezTo>
                      <a:pt x="1536" y="8138"/>
                      <a:pt x="6659" y="366"/>
                      <a:pt x="19554" y="12"/>
                    </a:cubicBezTo>
                    <a:cubicBezTo>
                      <a:pt x="33050" y="-341"/>
                      <a:pt x="39126" y="7007"/>
                      <a:pt x="40751" y="18666"/>
                    </a:cubicBezTo>
                    <a:cubicBezTo>
                      <a:pt x="42165" y="28947"/>
                      <a:pt x="31742" y="38451"/>
                      <a:pt x="20508" y="38521"/>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1" name="Freeform: Shape 3620">
                <a:extLst>
                  <a:ext uri="{FF2B5EF4-FFF2-40B4-BE49-F238E27FC236}">
                    <a16:creationId xmlns:a16="http://schemas.microsoft.com/office/drawing/2014/main" id="{18D6BEFD-8E1D-5037-AAB8-169E5DEF3592}"/>
                  </a:ext>
                </a:extLst>
              </p:cNvPr>
              <p:cNvSpPr/>
              <p:nvPr/>
            </p:nvSpPr>
            <p:spPr>
              <a:xfrm>
                <a:off x="12958359" y="747610"/>
                <a:ext cx="16107" cy="16129"/>
              </a:xfrm>
              <a:custGeom>
                <a:avLst/>
                <a:gdLst>
                  <a:gd name="connsiteX0" fmla="*/ 22 w 38367"/>
                  <a:gd name="connsiteY0" fmla="*/ 16654 h 38420"/>
                  <a:gd name="connsiteX1" fmla="*/ 18605 w 38367"/>
                  <a:gd name="connsiteY1" fmla="*/ 14 h 38420"/>
                  <a:gd name="connsiteX2" fmla="*/ 38355 w 38367"/>
                  <a:gd name="connsiteY2" fmla="*/ 19233 h 38420"/>
                  <a:gd name="connsiteX3" fmla="*/ 18288 w 38367"/>
                  <a:gd name="connsiteY3" fmla="*/ 38417 h 38420"/>
                  <a:gd name="connsiteX4" fmla="*/ 22 w 38367"/>
                  <a:gd name="connsiteY4" fmla="*/ 16654 h 3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67" h="38420">
                    <a:moveTo>
                      <a:pt x="22" y="16654"/>
                    </a:moveTo>
                    <a:cubicBezTo>
                      <a:pt x="-437" y="4819"/>
                      <a:pt x="6170" y="-304"/>
                      <a:pt x="18605" y="14"/>
                    </a:cubicBezTo>
                    <a:cubicBezTo>
                      <a:pt x="31465" y="332"/>
                      <a:pt x="38708" y="6020"/>
                      <a:pt x="38355" y="19233"/>
                    </a:cubicBezTo>
                    <a:cubicBezTo>
                      <a:pt x="38001" y="31916"/>
                      <a:pt x="31006" y="38594"/>
                      <a:pt x="18288" y="38417"/>
                    </a:cubicBezTo>
                    <a:cubicBezTo>
                      <a:pt x="4827" y="38240"/>
                      <a:pt x="-190" y="30220"/>
                      <a:pt x="22" y="16654"/>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2" name="Freeform: Shape 3621">
                <a:extLst>
                  <a:ext uri="{FF2B5EF4-FFF2-40B4-BE49-F238E27FC236}">
                    <a16:creationId xmlns:a16="http://schemas.microsoft.com/office/drawing/2014/main" id="{59E8C5EA-F320-5826-0CF9-E76E9B9EE26D}"/>
                  </a:ext>
                </a:extLst>
              </p:cNvPr>
              <p:cNvSpPr/>
              <p:nvPr/>
            </p:nvSpPr>
            <p:spPr>
              <a:xfrm>
                <a:off x="13052415" y="692664"/>
                <a:ext cx="15901" cy="15930"/>
              </a:xfrm>
              <a:custGeom>
                <a:avLst/>
                <a:gdLst>
                  <a:gd name="connsiteX0" fmla="*/ 37841 w 37877"/>
                  <a:gd name="connsiteY0" fmla="*/ 17241 h 37946"/>
                  <a:gd name="connsiteX1" fmla="*/ 18162 w 37877"/>
                  <a:gd name="connsiteY1" fmla="*/ 37944 h 37946"/>
                  <a:gd name="connsiteX2" fmla="*/ 3 w 37877"/>
                  <a:gd name="connsiteY2" fmla="*/ 19855 h 37946"/>
                  <a:gd name="connsiteX3" fmla="*/ 19681 w 37877"/>
                  <a:gd name="connsiteY3" fmla="*/ 0 h 37946"/>
                  <a:gd name="connsiteX4" fmla="*/ 37841 w 37877"/>
                  <a:gd name="connsiteY4" fmla="*/ 17241 h 37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7" h="37946">
                    <a:moveTo>
                      <a:pt x="37841" y="17241"/>
                    </a:moveTo>
                    <a:cubicBezTo>
                      <a:pt x="38229" y="31691"/>
                      <a:pt x="29750" y="37767"/>
                      <a:pt x="18162" y="37944"/>
                    </a:cubicBezTo>
                    <a:cubicBezTo>
                      <a:pt x="7422" y="38121"/>
                      <a:pt x="-174" y="30666"/>
                      <a:pt x="3" y="19855"/>
                    </a:cubicBezTo>
                    <a:cubicBezTo>
                      <a:pt x="215" y="8338"/>
                      <a:pt x="6009" y="36"/>
                      <a:pt x="19681" y="0"/>
                    </a:cubicBezTo>
                    <a:cubicBezTo>
                      <a:pt x="32365" y="-35"/>
                      <a:pt x="38406" y="5476"/>
                      <a:pt x="37841" y="17241"/>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3" name="Freeform: Shape 3622">
                <a:extLst>
                  <a:ext uri="{FF2B5EF4-FFF2-40B4-BE49-F238E27FC236}">
                    <a16:creationId xmlns:a16="http://schemas.microsoft.com/office/drawing/2014/main" id="{CB33F628-1316-9854-9C06-17B389443823}"/>
                  </a:ext>
                </a:extLst>
              </p:cNvPr>
              <p:cNvSpPr/>
              <p:nvPr/>
            </p:nvSpPr>
            <p:spPr>
              <a:xfrm>
                <a:off x="13101909" y="710206"/>
                <a:ext cx="16094" cy="16011"/>
              </a:xfrm>
              <a:custGeom>
                <a:avLst/>
                <a:gdLst>
                  <a:gd name="connsiteX0" fmla="*/ 38336 w 38336"/>
                  <a:gd name="connsiteY0" fmla="*/ 18557 h 38137"/>
                  <a:gd name="connsiteX1" fmla="*/ 19082 w 38336"/>
                  <a:gd name="connsiteY1" fmla="*/ 38130 h 38137"/>
                  <a:gd name="connsiteX2" fmla="*/ 4 w 38336"/>
                  <a:gd name="connsiteY2" fmla="*/ 17780 h 38137"/>
                  <a:gd name="connsiteX3" fmla="*/ 19541 w 38336"/>
                  <a:gd name="connsiteY3" fmla="*/ 9 h 38137"/>
                  <a:gd name="connsiteX4" fmla="*/ 38336 w 38336"/>
                  <a:gd name="connsiteY4" fmla="*/ 18592 h 38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6" h="38137">
                    <a:moveTo>
                      <a:pt x="38336" y="18557"/>
                    </a:moveTo>
                    <a:cubicBezTo>
                      <a:pt x="36923" y="30816"/>
                      <a:pt x="31165" y="37812"/>
                      <a:pt x="19082" y="38130"/>
                    </a:cubicBezTo>
                    <a:cubicBezTo>
                      <a:pt x="5339" y="38448"/>
                      <a:pt x="216" y="29050"/>
                      <a:pt x="4" y="17780"/>
                    </a:cubicBezTo>
                    <a:cubicBezTo>
                      <a:pt x="-208" y="5945"/>
                      <a:pt x="7671" y="-273"/>
                      <a:pt x="19541" y="9"/>
                    </a:cubicBezTo>
                    <a:cubicBezTo>
                      <a:pt x="31765" y="292"/>
                      <a:pt x="36959" y="7923"/>
                      <a:pt x="38336" y="18592"/>
                    </a:cubicBezTo>
                    <a:close/>
                  </a:path>
                </a:pathLst>
              </a:custGeom>
              <a:solidFill>
                <a:srgbClr val="A293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grpSp>
        <p:nvGrpSpPr>
          <p:cNvPr id="3643" name="Group 3642">
            <a:extLst>
              <a:ext uri="{FF2B5EF4-FFF2-40B4-BE49-F238E27FC236}">
                <a16:creationId xmlns:a16="http://schemas.microsoft.com/office/drawing/2014/main" id="{DA1DEB6A-CF15-FFF8-5BCB-96DD1121F151}"/>
              </a:ext>
            </a:extLst>
          </p:cNvPr>
          <p:cNvGrpSpPr/>
          <p:nvPr/>
        </p:nvGrpSpPr>
        <p:grpSpPr>
          <a:xfrm>
            <a:off x="8749980" y="1745688"/>
            <a:ext cx="785721" cy="313264"/>
            <a:chOff x="8680029" y="1542763"/>
            <a:chExt cx="785721" cy="313264"/>
          </a:xfrm>
        </p:grpSpPr>
        <p:sp>
          <p:nvSpPr>
            <p:cNvPr id="3644" name="Rectangle 3643">
              <a:extLst>
                <a:ext uri="{FF2B5EF4-FFF2-40B4-BE49-F238E27FC236}">
                  <a16:creationId xmlns:a16="http://schemas.microsoft.com/office/drawing/2014/main" id="{8A1D18C6-4252-4A0A-E9C6-E0872178BF57}"/>
                </a:ext>
              </a:extLst>
            </p:cNvPr>
            <p:cNvSpPr/>
            <p:nvPr/>
          </p:nvSpPr>
          <p:spPr>
            <a:xfrm>
              <a:off x="8680029" y="1542763"/>
              <a:ext cx="785721" cy="313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K cell</a:t>
              </a:r>
            </a:p>
          </p:txBody>
        </p:sp>
        <p:cxnSp>
          <p:nvCxnSpPr>
            <p:cNvPr id="3645" name="Straight Connector 3644">
              <a:extLst>
                <a:ext uri="{FF2B5EF4-FFF2-40B4-BE49-F238E27FC236}">
                  <a16:creationId xmlns:a16="http://schemas.microsoft.com/office/drawing/2014/main" id="{77DDD351-055C-065B-53D6-ED4D7BD98855}"/>
                </a:ext>
              </a:extLst>
            </p:cNvPr>
            <p:cNvCxnSpPr>
              <a:cxnSpLocks/>
            </p:cNvCxnSpPr>
            <p:nvPr/>
          </p:nvCxnSpPr>
          <p:spPr>
            <a:xfrm>
              <a:off x="8685548" y="1704890"/>
              <a:ext cx="126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3646" name="Group 3645">
            <a:extLst>
              <a:ext uri="{FF2B5EF4-FFF2-40B4-BE49-F238E27FC236}">
                <a16:creationId xmlns:a16="http://schemas.microsoft.com/office/drawing/2014/main" id="{F5F51BB8-C3FA-F6DD-F287-7F321BAAA777}"/>
              </a:ext>
            </a:extLst>
          </p:cNvPr>
          <p:cNvGrpSpPr/>
          <p:nvPr/>
        </p:nvGrpSpPr>
        <p:grpSpPr>
          <a:xfrm>
            <a:off x="9109673" y="2087160"/>
            <a:ext cx="1285184" cy="398119"/>
            <a:chOff x="9039722" y="1884235"/>
            <a:chExt cx="1285184" cy="398119"/>
          </a:xfrm>
        </p:grpSpPr>
        <p:sp>
          <p:nvSpPr>
            <p:cNvPr id="3647" name="Rectangle 3646">
              <a:extLst>
                <a:ext uri="{FF2B5EF4-FFF2-40B4-BE49-F238E27FC236}">
                  <a16:creationId xmlns:a16="http://schemas.microsoft.com/office/drawing/2014/main" id="{27A16C20-F5EE-2404-6068-5EEF8FE52231}"/>
                </a:ext>
              </a:extLst>
            </p:cNvPr>
            <p:cNvSpPr/>
            <p:nvPr/>
          </p:nvSpPr>
          <p:spPr>
            <a:xfrm>
              <a:off x="9039722" y="1969090"/>
              <a:ext cx="1285184" cy="313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crophage</a:t>
              </a:r>
            </a:p>
          </p:txBody>
        </p:sp>
        <p:cxnSp>
          <p:nvCxnSpPr>
            <p:cNvPr id="3648" name="Straight Connector 3647">
              <a:extLst>
                <a:ext uri="{FF2B5EF4-FFF2-40B4-BE49-F238E27FC236}">
                  <a16:creationId xmlns:a16="http://schemas.microsoft.com/office/drawing/2014/main" id="{B14EC012-2BA5-A468-9E45-8015A90D37C3}"/>
                </a:ext>
              </a:extLst>
            </p:cNvPr>
            <p:cNvCxnSpPr>
              <a:cxnSpLocks/>
            </p:cNvCxnSpPr>
            <p:nvPr/>
          </p:nvCxnSpPr>
          <p:spPr>
            <a:xfrm flipH="1" flipV="1">
              <a:off x="9886928" y="1884235"/>
              <a:ext cx="0" cy="180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649" name="Straight Connector 3648">
              <a:extLst>
                <a:ext uri="{FF2B5EF4-FFF2-40B4-BE49-F238E27FC236}">
                  <a16:creationId xmlns:a16="http://schemas.microsoft.com/office/drawing/2014/main" id="{E65F6421-6061-CF68-913C-9E76C3CE401A}"/>
                </a:ext>
              </a:extLst>
            </p:cNvPr>
            <p:cNvCxnSpPr>
              <a:cxnSpLocks/>
            </p:cNvCxnSpPr>
            <p:nvPr/>
          </p:nvCxnSpPr>
          <p:spPr>
            <a:xfrm>
              <a:off x="9883130" y="1887410"/>
              <a:ext cx="216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3650" name="Group 3649">
            <a:extLst>
              <a:ext uri="{FF2B5EF4-FFF2-40B4-BE49-F238E27FC236}">
                <a16:creationId xmlns:a16="http://schemas.microsoft.com/office/drawing/2014/main" id="{87EB4E8A-C78B-B953-E39D-824AEAADF689}"/>
              </a:ext>
            </a:extLst>
          </p:cNvPr>
          <p:cNvGrpSpPr/>
          <p:nvPr/>
        </p:nvGrpSpPr>
        <p:grpSpPr>
          <a:xfrm>
            <a:off x="10989956" y="2072982"/>
            <a:ext cx="804164" cy="409884"/>
            <a:chOff x="10920005" y="1870057"/>
            <a:chExt cx="804164" cy="409884"/>
          </a:xfrm>
        </p:grpSpPr>
        <p:sp>
          <p:nvSpPr>
            <p:cNvPr id="3651" name="Rectangle 3650">
              <a:extLst>
                <a:ext uri="{FF2B5EF4-FFF2-40B4-BE49-F238E27FC236}">
                  <a16:creationId xmlns:a16="http://schemas.microsoft.com/office/drawing/2014/main" id="{724A85BC-86E5-CF8C-C47D-48A747FB5F82}"/>
                </a:ext>
              </a:extLst>
            </p:cNvPr>
            <p:cNvSpPr/>
            <p:nvPr/>
          </p:nvSpPr>
          <p:spPr>
            <a:xfrm>
              <a:off x="10920005" y="1966677"/>
              <a:ext cx="804164" cy="313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onocyte</a:t>
              </a:r>
            </a:p>
          </p:txBody>
        </p:sp>
        <p:cxnSp>
          <p:nvCxnSpPr>
            <p:cNvPr id="3652" name="Straight Connector 3651">
              <a:extLst>
                <a:ext uri="{FF2B5EF4-FFF2-40B4-BE49-F238E27FC236}">
                  <a16:creationId xmlns:a16="http://schemas.microsoft.com/office/drawing/2014/main" id="{C3FAEF50-3EEF-4D21-CFB5-7FDC1BCA1DA1}"/>
                </a:ext>
              </a:extLst>
            </p:cNvPr>
            <p:cNvCxnSpPr>
              <a:cxnSpLocks/>
            </p:cNvCxnSpPr>
            <p:nvPr/>
          </p:nvCxnSpPr>
          <p:spPr>
            <a:xfrm flipV="1">
              <a:off x="11484144" y="1870057"/>
              <a:ext cx="0" cy="180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653" name="Straight Connector 3652">
              <a:extLst>
                <a:ext uri="{FF2B5EF4-FFF2-40B4-BE49-F238E27FC236}">
                  <a16:creationId xmlns:a16="http://schemas.microsoft.com/office/drawing/2014/main" id="{5B01392A-B8C7-F208-9D1F-CBA6041813F1}"/>
                </a:ext>
              </a:extLst>
            </p:cNvPr>
            <p:cNvCxnSpPr>
              <a:cxnSpLocks/>
            </p:cNvCxnSpPr>
            <p:nvPr/>
          </p:nvCxnSpPr>
          <p:spPr>
            <a:xfrm>
              <a:off x="11377219" y="1873361"/>
              <a:ext cx="108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3654" name="Rectangle 3653">
            <a:extLst>
              <a:ext uri="{FF2B5EF4-FFF2-40B4-BE49-F238E27FC236}">
                <a16:creationId xmlns:a16="http://schemas.microsoft.com/office/drawing/2014/main" id="{4B6CFB66-0E5B-D6D1-B9EB-5078DE5897A0}"/>
              </a:ext>
            </a:extLst>
          </p:cNvPr>
          <p:cNvSpPr/>
          <p:nvPr/>
        </p:nvSpPr>
        <p:spPr>
          <a:xfrm>
            <a:off x="388850" y="1098471"/>
            <a:ext cx="3428112" cy="430887"/>
          </a:xfrm>
          <a:prstGeom prst="rect">
            <a:avLst/>
          </a:prstGeom>
          <a:noFill/>
        </p:spPr>
        <p:txBody>
          <a:bodyPr wrap="square" lIns="108000" tIns="0" rIns="108000" bIns="0" anchor="ctr" anchorCtr="0">
            <a:no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hibition of ligand binding </a:t>
            </a:r>
            <a:b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ia amivantamab + lazertinib</a:t>
            </a:r>
            <a:r>
              <a:rPr kumimoji="0" lang="en-GB" sz="14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2,3</a:t>
            </a:r>
          </a:p>
        </p:txBody>
      </p:sp>
      <p:grpSp>
        <p:nvGrpSpPr>
          <p:cNvPr id="3655" name="Graphic 6">
            <a:extLst>
              <a:ext uri="{FF2B5EF4-FFF2-40B4-BE49-F238E27FC236}">
                <a16:creationId xmlns:a16="http://schemas.microsoft.com/office/drawing/2014/main" id="{38F813C5-50D7-9BA4-9B83-C4B04662F717}"/>
              </a:ext>
            </a:extLst>
          </p:cNvPr>
          <p:cNvGrpSpPr/>
          <p:nvPr/>
        </p:nvGrpSpPr>
        <p:grpSpPr>
          <a:xfrm>
            <a:off x="1798421" y="4339201"/>
            <a:ext cx="630651" cy="632238"/>
            <a:chOff x="6272470" y="3565294"/>
            <a:chExt cx="1159192" cy="1162108"/>
          </a:xfrm>
        </p:grpSpPr>
        <p:sp>
          <p:nvSpPr>
            <p:cNvPr id="3656" name="Freeform: Shape 3655">
              <a:extLst>
                <a:ext uri="{FF2B5EF4-FFF2-40B4-BE49-F238E27FC236}">
                  <a16:creationId xmlns:a16="http://schemas.microsoft.com/office/drawing/2014/main" id="{F2A9D9EA-8542-F508-6FA6-2C96B52CD14C}"/>
                </a:ext>
              </a:extLst>
            </p:cNvPr>
            <p:cNvSpPr/>
            <p:nvPr/>
          </p:nvSpPr>
          <p:spPr>
            <a:xfrm>
              <a:off x="6315748" y="3610187"/>
              <a:ext cx="1016714" cy="1011039"/>
            </a:xfrm>
            <a:custGeom>
              <a:avLst/>
              <a:gdLst>
                <a:gd name="connsiteX0" fmla="*/ 367922 w 1016714"/>
                <a:gd name="connsiteY0" fmla="*/ 94366 h 1011039"/>
                <a:gd name="connsiteX1" fmla="*/ 404665 w 1016714"/>
                <a:gd name="connsiteY1" fmla="*/ 98994 h 1011039"/>
                <a:gd name="connsiteX2" fmla="*/ 479422 w 1016714"/>
                <a:gd name="connsiteY2" fmla="*/ 71861 h 1011039"/>
                <a:gd name="connsiteX3" fmla="*/ 506908 w 1016714"/>
                <a:gd name="connsiteY3" fmla="*/ 32822 h 1011039"/>
                <a:gd name="connsiteX4" fmla="*/ 620315 w 1016714"/>
                <a:gd name="connsiteY4" fmla="*/ 36143 h 1011039"/>
                <a:gd name="connsiteX5" fmla="*/ 642784 w 1016714"/>
                <a:gd name="connsiteY5" fmla="*/ 76454 h 1011039"/>
                <a:gd name="connsiteX6" fmla="*/ 717718 w 1016714"/>
                <a:gd name="connsiteY6" fmla="*/ 126551 h 1011039"/>
                <a:gd name="connsiteX7" fmla="*/ 816004 w 1016714"/>
                <a:gd name="connsiteY7" fmla="*/ 195443 h 1011039"/>
                <a:gd name="connsiteX8" fmla="*/ 909309 w 1016714"/>
                <a:gd name="connsiteY8" fmla="*/ 233352 h 1011039"/>
                <a:gd name="connsiteX9" fmla="*/ 971418 w 1016714"/>
                <a:gd name="connsiteY9" fmla="*/ 231161 h 1011039"/>
                <a:gd name="connsiteX10" fmla="*/ 1014414 w 1016714"/>
                <a:gd name="connsiteY10" fmla="*/ 308603 h 1011039"/>
                <a:gd name="connsiteX11" fmla="*/ 998445 w 1016714"/>
                <a:gd name="connsiteY11" fmla="*/ 344886 h 1011039"/>
                <a:gd name="connsiteX12" fmla="*/ 981487 w 1016714"/>
                <a:gd name="connsiteY12" fmla="*/ 369899 h 1011039"/>
                <a:gd name="connsiteX13" fmla="*/ 973361 w 1016714"/>
                <a:gd name="connsiteY13" fmla="*/ 467408 h 1011039"/>
                <a:gd name="connsiteX14" fmla="*/ 987387 w 1016714"/>
                <a:gd name="connsiteY14" fmla="*/ 504469 h 1011039"/>
                <a:gd name="connsiteX15" fmla="*/ 948984 w 1016714"/>
                <a:gd name="connsiteY15" fmla="*/ 569192 h 1011039"/>
                <a:gd name="connsiteX16" fmla="*/ 918318 w 1016714"/>
                <a:gd name="connsiteY16" fmla="*/ 577495 h 1011039"/>
                <a:gd name="connsiteX17" fmla="*/ 894047 w 1016714"/>
                <a:gd name="connsiteY17" fmla="*/ 639074 h 1011039"/>
                <a:gd name="connsiteX18" fmla="*/ 919519 w 1016714"/>
                <a:gd name="connsiteY18" fmla="*/ 679420 h 1011039"/>
                <a:gd name="connsiteX19" fmla="*/ 908779 w 1016714"/>
                <a:gd name="connsiteY19" fmla="*/ 794099 h 1011039"/>
                <a:gd name="connsiteX20" fmla="*/ 819572 w 1016714"/>
                <a:gd name="connsiteY20" fmla="*/ 846987 h 1011039"/>
                <a:gd name="connsiteX21" fmla="*/ 762374 w 1016714"/>
                <a:gd name="connsiteY21" fmla="*/ 906729 h 1011039"/>
                <a:gd name="connsiteX22" fmla="*/ 755485 w 1016714"/>
                <a:gd name="connsiteY22" fmla="*/ 931212 h 1011039"/>
                <a:gd name="connsiteX23" fmla="*/ 713054 w 1016714"/>
                <a:gd name="connsiteY23" fmla="*/ 977423 h 1011039"/>
                <a:gd name="connsiteX24" fmla="*/ 572691 w 1016714"/>
                <a:gd name="connsiteY24" fmla="*/ 986008 h 1011039"/>
                <a:gd name="connsiteX25" fmla="*/ 480305 w 1016714"/>
                <a:gd name="connsiteY25" fmla="*/ 997596 h 1011039"/>
                <a:gd name="connsiteX26" fmla="*/ 427240 w 1016714"/>
                <a:gd name="connsiteY26" fmla="*/ 1010385 h 1011039"/>
                <a:gd name="connsiteX27" fmla="*/ 379475 w 1016714"/>
                <a:gd name="connsiteY27" fmla="*/ 969615 h 1011039"/>
                <a:gd name="connsiteX28" fmla="*/ 374458 w 1016714"/>
                <a:gd name="connsiteY28" fmla="*/ 951244 h 1011039"/>
                <a:gd name="connsiteX29" fmla="*/ 326975 w 1016714"/>
                <a:gd name="connsiteY29" fmla="*/ 907683 h 1011039"/>
                <a:gd name="connsiteX30" fmla="*/ 259850 w 1016714"/>
                <a:gd name="connsiteY30" fmla="*/ 853699 h 1011039"/>
                <a:gd name="connsiteX31" fmla="*/ 256105 w 1016714"/>
                <a:gd name="connsiteY31" fmla="*/ 826955 h 1011039"/>
                <a:gd name="connsiteX32" fmla="*/ 178274 w 1016714"/>
                <a:gd name="connsiteY32" fmla="*/ 751562 h 1011039"/>
                <a:gd name="connsiteX33" fmla="*/ 118073 w 1016714"/>
                <a:gd name="connsiteY33" fmla="*/ 756226 h 1011039"/>
                <a:gd name="connsiteX34" fmla="*/ 14311 w 1016714"/>
                <a:gd name="connsiteY34" fmla="*/ 712559 h 1011039"/>
                <a:gd name="connsiteX35" fmla="*/ 19963 w 1016714"/>
                <a:gd name="connsiteY35" fmla="*/ 606606 h 1011039"/>
                <a:gd name="connsiteX36" fmla="*/ 33706 w 1016714"/>
                <a:gd name="connsiteY36" fmla="*/ 587104 h 1011039"/>
                <a:gd name="connsiteX37" fmla="*/ 58260 w 1016714"/>
                <a:gd name="connsiteY37" fmla="*/ 493093 h 1011039"/>
                <a:gd name="connsiteX38" fmla="*/ 98606 w 1016714"/>
                <a:gd name="connsiteY38" fmla="*/ 420456 h 1011039"/>
                <a:gd name="connsiteX39" fmla="*/ 117826 w 1016714"/>
                <a:gd name="connsiteY39" fmla="*/ 412825 h 1011039"/>
                <a:gd name="connsiteX40" fmla="*/ 135243 w 1016714"/>
                <a:gd name="connsiteY40" fmla="*/ 371701 h 1011039"/>
                <a:gd name="connsiteX41" fmla="*/ 105178 w 1016714"/>
                <a:gd name="connsiteY41" fmla="*/ 321322 h 1011039"/>
                <a:gd name="connsiteX42" fmla="*/ 157536 w 1016714"/>
                <a:gd name="connsiteY42" fmla="*/ 193111 h 1011039"/>
                <a:gd name="connsiteX43" fmla="*/ 210919 w 1016714"/>
                <a:gd name="connsiteY43" fmla="*/ 184880 h 1011039"/>
                <a:gd name="connsiteX44" fmla="*/ 264160 w 1016714"/>
                <a:gd name="connsiteY44" fmla="*/ 149444 h 1011039"/>
                <a:gd name="connsiteX45" fmla="*/ 367993 w 1016714"/>
                <a:gd name="connsiteY45" fmla="*/ 94366 h 1011039"/>
                <a:gd name="connsiteX46" fmla="*/ 633881 w 1016714"/>
                <a:gd name="connsiteY46" fmla="*/ 977670 h 1011039"/>
                <a:gd name="connsiteX47" fmla="*/ 674757 w 1016714"/>
                <a:gd name="connsiteY47" fmla="*/ 974243 h 1011039"/>
                <a:gd name="connsiteX48" fmla="*/ 746299 w 1016714"/>
                <a:gd name="connsiteY48" fmla="*/ 908884 h 1011039"/>
                <a:gd name="connsiteX49" fmla="*/ 752694 w 1016714"/>
                <a:gd name="connsiteY49" fmla="*/ 885990 h 1011039"/>
                <a:gd name="connsiteX50" fmla="*/ 796396 w 1016714"/>
                <a:gd name="connsiteY50" fmla="*/ 839533 h 1011039"/>
                <a:gd name="connsiteX51" fmla="*/ 889100 w 1016714"/>
                <a:gd name="connsiteY51" fmla="*/ 792226 h 1011039"/>
                <a:gd name="connsiteX52" fmla="*/ 906977 w 1016714"/>
                <a:gd name="connsiteY52" fmla="*/ 687192 h 1011039"/>
                <a:gd name="connsiteX53" fmla="*/ 890549 w 1016714"/>
                <a:gd name="connsiteY53" fmla="*/ 663769 h 1011039"/>
                <a:gd name="connsiteX54" fmla="*/ 896096 w 1016714"/>
                <a:gd name="connsiteY54" fmla="*/ 572584 h 1011039"/>
                <a:gd name="connsiteX55" fmla="*/ 941529 w 1016714"/>
                <a:gd name="connsiteY55" fmla="*/ 554672 h 1011039"/>
                <a:gd name="connsiteX56" fmla="*/ 971135 w 1016714"/>
                <a:gd name="connsiteY56" fmla="*/ 502172 h 1011039"/>
                <a:gd name="connsiteX57" fmla="*/ 949690 w 1016714"/>
                <a:gd name="connsiteY57" fmla="*/ 452605 h 1011039"/>
                <a:gd name="connsiteX58" fmla="*/ 949690 w 1016714"/>
                <a:gd name="connsiteY58" fmla="*/ 393287 h 1011039"/>
                <a:gd name="connsiteX59" fmla="*/ 986044 w 1016714"/>
                <a:gd name="connsiteY59" fmla="*/ 335418 h 1011039"/>
                <a:gd name="connsiteX60" fmla="*/ 1001236 w 1016714"/>
                <a:gd name="connsiteY60" fmla="*/ 286346 h 1011039"/>
                <a:gd name="connsiteX61" fmla="*/ 932238 w 1016714"/>
                <a:gd name="connsiteY61" fmla="*/ 242784 h 1011039"/>
                <a:gd name="connsiteX62" fmla="*/ 895990 w 1016714"/>
                <a:gd name="connsiteY62" fmla="*/ 254408 h 1011039"/>
                <a:gd name="connsiteX63" fmla="*/ 815333 w 1016714"/>
                <a:gd name="connsiteY63" fmla="*/ 228653 h 1011039"/>
                <a:gd name="connsiteX64" fmla="*/ 802544 w 1016714"/>
                <a:gd name="connsiteY64" fmla="*/ 204911 h 1011039"/>
                <a:gd name="connsiteX65" fmla="*/ 720791 w 1016714"/>
                <a:gd name="connsiteY65" fmla="*/ 142520 h 1011039"/>
                <a:gd name="connsiteX66" fmla="*/ 628335 w 1016714"/>
                <a:gd name="connsiteY66" fmla="*/ 81753 h 1011039"/>
                <a:gd name="connsiteX67" fmla="*/ 604099 w 1016714"/>
                <a:gd name="connsiteY67" fmla="*/ 38899 h 1011039"/>
                <a:gd name="connsiteX68" fmla="*/ 529059 w 1016714"/>
                <a:gd name="connsiteY68" fmla="*/ 30066 h 1011039"/>
                <a:gd name="connsiteX69" fmla="*/ 501326 w 1016714"/>
                <a:gd name="connsiteY69" fmla="*/ 68681 h 1011039"/>
                <a:gd name="connsiteX70" fmla="*/ 394878 w 1016714"/>
                <a:gd name="connsiteY70" fmla="*/ 113338 h 1011039"/>
                <a:gd name="connsiteX71" fmla="*/ 342697 w 1016714"/>
                <a:gd name="connsiteY71" fmla="*/ 111077 h 1011039"/>
                <a:gd name="connsiteX72" fmla="*/ 277903 w 1016714"/>
                <a:gd name="connsiteY72" fmla="*/ 155450 h 1011039"/>
                <a:gd name="connsiteX73" fmla="*/ 214416 w 1016714"/>
                <a:gd name="connsiteY73" fmla="*/ 200001 h 1011039"/>
                <a:gd name="connsiteX74" fmla="*/ 168947 w 1016714"/>
                <a:gd name="connsiteY74" fmla="*/ 206395 h 1011039"/>
                <a:gd name="connsiteX75" fmla="*/ 108075 w 1016714"/>
                <a:gd name="connsiteY75" fmla="*/ 246671 h 1011039"/>
                <a:gd name="connsiteX76" fmla="*/ 119309 w 1016714"/>
                <a:gd name="connsiteY76" fmla="*/ 314786 h 1011039"/>
                <a:gd name="connsiteX77" fmla="*/ 151353 w 1016714"/>
                <a:gd name="connsiteY77" fmla="*/ 372902 h 1011039"/>
                <a:gd name="connsiteX78" fmla="*/ 125139 w 1016714"/>
                <a:gd name="connsiteY78" fmla="*/ 426638 h 1011039"/>
                <a:gd name="connsiteX79" fmla="*/ 98783 w 1016714"/>
                <a:gd name="connsiteY79" fmla="*/ 437767 h 1011039"/>
                <a:gd name="connsiteX80" fmla="*/ 72816 w 1016714"/>
                <a:gd name="connsiteY80" fmla="*/ 490690 h 1011039"/>
                <a:gd name="connsiteX81" fmla="*/ 51194 w 1016714"/>
                <a:gd name="connsiteY81" fmla="*/ 588517 h 1011039"/>
                <a:gd name="connsiteX82" fmla="*/ 28230 w 1016714"/>
                <a:gd name="connsiteY82" fmla="*/ 620915 h 1011039"/>
                <a:gd name="connsiteX83" fmla="*/ 19292 w 1016714"/>
                <a:gd name="connsiteY83" fmla="*/ 686521 h 1011039"/>
                <a:gd name="connsiteX84" fmla="*/ 121677 w 1016714"/>
                <a:gd name="connsiteY84" fmla="*/ 740716 h 1011039"/>
                <a:gd name="connsiteX85" fmla="*/ 211166 w 1016714"/>
                <a:gd name="connsiteY85" fmla="*/ 742059 h 1011039"/>
                <a:gd name="connsiteX86" fmla="*/ 255433 w 1016714"/>
                <a:gd name="connsiteY86" fmla="*/ 771099 h 1011039"/>
                <a:gd name="connsiteX87" fmla="*/ 271791 w 1016714"/>
                <a:gd name="connsiteY87" fmla="*/ 829640 h 1011039"/>
                <a:gd name="connsiteX88" fmla="*/ 325032 w 1016714"/>
                <a:gd name="connsiteY88" fmla="*/ 891855 h 1011039"/>
                <a:gd name="connsiteX89" fmla="*/ 326622 w 1016714"/>
                <a:gd name="connsiteY89" fmla="*/ 891997 h 1011039"/>
                <a:gd name="connsiteX90" fmla="*/ 390921 w 1016714"/>
                <a:gd name="connsiteY90" fmla="*/ 953894 h 1011039"/>
                <a:gd name="connsiteX91" fmla="*/ 426321 w 1016714"/>
                <a:gd name="connsiteY91" fmla="*/ 995794 h 1011039"/>
                <a:gd name="connsiteX92" fmla="*/ 465961 w 1016714"/>
                <a:gd name="connsiteY92" fmla="*/ 987386 h 1011039"/>
                <a:gd name="connsiteX93" fmla="*/ 591345 w 1016714"/>
                <a:gd name="connsiteY93" fmla="*/ 973749 h 1011039"/>
                <a:gd name="connsiteX94" fmla="*/ 633917 w 1016714"/>
                <a:gd name="connsiteY94" fmla="*/ 977635 h 1011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16714" h="1011039">
                  <a:moveTo>
                    <a:pt x="367922" y="94366"/>
                  </a:moveTo>
                  <a:cubicBezTo>
                    <a:pt x="378733" y="93165"/>
                    <a:pt x="391699" y="96344"/>
                    <a:pt x="404665" y="98994"/>
                  </a:cubicBezTo>
                  <a:cubicBezTo>
                    <a:pt x="435260" y="105247"/>
                    <a:pt x="460273" y="96097"/>
                    <a:pt x="479422" y="71861"/>
                  </a:cubicBezTo>
                  <a:cubicBezTo>
                    <a:pt x="489278" y="59390"/>
                    <a:pt x="497687" y="45788"/>
                    <a:pt x="506908" y="32822"/>
                  </a:cubicBezTo>
                  <a:cubicBezTo>
                    <a:pt x="538951" y="-12187"/>
                    <a:pt x="591168" y="-10739"/>
                    <a:pt x="620315" y="36143"/>
                  </a:cubicBezTo>
                  <a:cubicBezTo>
                    <a:pt x="628441" y="49215"/>
                    <a:pt x="636284" y="62534"/>
                    <a:pt x="642784" y="76454"/>
                  </a:cubicBezTo>
                  <a:cubicBezTo>
                    <a:pt x="657764" y="108568"/>
                    <a:pt x="682671" y="124643"/>
                    <a:pt x="717718" y="126551"/>
                  </a:cubicBezTo>
                  <a:cubicBezTo>
                    <a:pt x="764600" y="129130"/>
                    <a:pt x="796361" y="152200"/>
                    <a:pt x="816004" y="195443"/>
                  </a:cubicBezTo>
                  <a:cubicBezTo>
                    <a:pt x="841512" y="251652"/>
                    <a:pt x="850203" y="254337"/>
                    <a:pt x="909309" y="233352"/>
                  </a:cubicBezTo>
                  <a:cubicBezTo>
                    <a:pt x="929977" y="226003"/>
                    <a:pt x="950256" y="224025"/>
                    <a:pt x="971418" y="231161"/>
                  </a:cubicBezTo>
                  <a:cubicBezTo>
                    <a:pt x="1006005" y="242820"/>
                    <a:pt x="1023281" y="273132"/>
                    <a:pt x="1014414" y="308603"/>
                  </a:cubicBezTo>
                  <a:cubicBezTo>
                    <a:pt x="1011163" y="321569"/>
                    <a:pt x="1005652" y="333651"/>
                    <a:pt x="998445" y="344886"/>
                  </a:cubicBezTo>
                  <a:cubicBezTo>
                    <a:pt x="993004" y="353365"/>
                    <a:pt x="987952" y="362268"/>
                    <a:pt x="981487" y="369899"/>
                  </a:cubicBezTo>
                  <a:cubicBezTo>
                    <a:pt x="955378" y="400601"/>
                    <a:pt x="950609" y="432432"/>
                    <a:pt x="973361" y="467408"/>
                  </a:cubicBezTo>
                  <a:cubicBezTo>
                    <a:pt x="980533" y="478431"/>
                    <a:pt x="984419" y="491468"/>
                    <a:pt x="987387" y="504469"/>
                  </a:cubicBezTo>
                  <a:cubicBezTo>
                    <a:pt x="994453" y="535523"/>
                    <a:pt x="979614" y="560643"/>
                    <a:pt x="948984" y="569192"/>
                  </a:cubicBezTo>
                  <a:cubicBezTo>
                    <a:pt x="938773" y="572054"/>
                    <a:pt x="928281" y="573997"/>
                    <a:pt x="918318" y="577495"/>
                  </a:cubicBezTo>
                  <a:cubicBezTo>
                    <a:pt x="891185" y="586998"/>
                    <a:pt x="880515" y="613495"/>
                    <a:pt x="894047" y="639074"/>
                  </a:cubicBezTo>
                  <a:cubicBezTo>
                    <a:pt x="901466" y="653099"/>
                    <a:pt x="910722" y="666171"/>
                    <a:pt x="919519" y="679420"/>
                  </a:cubicBezTo>
                  <a:cubicBezTo>
                    <a:pt x="947641" y="721921"/>
                    <a:pt x="944744" y="757498"/>
                    <a:pt x="908779" y="794099"/>
                  </a:cubicBezTo>
                  <a:cubicBezTo>
                    <a:pt x="883836" y="819501"/>
                    <a:pt x="854619" y="839179"/>
                    <a:pt x="819572" y="846987"/>
                  </a:cubicBezTo>
                  <a:cubicBezTo>
                    <a:pt x="786292" y="854406"/>
                    <a:pt x="767885" y="873625"/>
                    <a:pt x="762374" y="906729"/>
                  </a:cubicBezTo>
                  <a:cubicBezTo>
                    <a:pt x="760996" y="915031"/>
                    <a:pt x="757993" y="923122"/>
                    <a:pt x="755485" y="931212"/>
                  </a:cubicBezTo>
                  <a:cubicBezTo>
                    <a:pt x="748666" y="953293"/>
                    <a:pt x="734958" y="968449"/>
                    <a:pt x="713054" y="977423"/>
                  </a:cubicBezTo>
                  <a:cubicBezTo>
                    <a:pt x="667020" y="996289"/>
                    <a:pt x="620032" y="998302"/>
                    <a:pt x="572691" y="986008"/>
                  </a:cubicBezTo>
                  <a:cubicBezTo>
                    <a:pt x="539764" y="977458"/>
                    <a:pt x="509946" y="983005"/>
                    <a:pt x="480305" y="997596"/>
                  </a:cubicBezTo>
                  <a:cubicBezTo>
                    <a:pt x="463806" y="1005722"/>
                    <a:pt x="446954" y="1013353"/>
                    <a:pt x="427240" y="1010385"/>
                  </a:cubicBezTo>
                  <a:cubicBezTo>
                    <a:pt x="402439" y="1006676"/>
                    <a:pt x="386929" y="993074"/>
                    <a:pt x="379475" y="969615"/>
                  </a:cubicBezTo>
                  <a:cubicBezTo>
                    <a:pt x="377567" y="963574"/>
                    <a:pt x="375906" y="957427"/>
                    <a:pt x="374458" y="951244"/>
                  </a:cubicBezTo>
                  <a:cubicBezTo>
                    <a:pt x="367004" y="919377"/>
                    <a:pt x="359549" y="912523"/>
                    <a:pt x="326975" y="907683"/>
                  </a:cubicBezTo>
                  <a:cubicBezTo>
                    <a:pt x="284121" y="901324"/>
                    <a:pt x="267233" y="887898"/>
                    <a:pt x="259850" y="853699"/>
                  </a:cubicBezTo>
                  <a:cubicBezTo>
                    <a:pt x="257942" y="844902"/>
                    <a:pt x="256705" y="835893"/>
                    <a:pt x="256105" y="826955"/>
                  </a:cubicBezTo>
                  <a:cubicBezTo>
                    <a:pt x="252678" y="776364"/>
                    <a:pt x="229148" y="753505"/>
                    <a:pt x="178274" y="751562"/>
                  </a:cubicBezTo>
                  <a:cubicBezTo>
                    <a:pt x="158030" y="750785"/>
                    <a:pt x="137928" y="752693"/>
                    <a:pt x="118073" y="756226"/>
                  </a:cubicBezTo>
                  <a:cubicBezTo>
                    <a:pt x="73840" y="764104"/>
                    <a:pt x="38087" y="752304"/>
                    <a:pt x="14311" y="712559"/>
                  </a:cubicBezTo>
                  <a:cubicBezTo>
                    <a:pt x="-7452" y="676169"/>
                    <a:pt x="-3460" y="640770"/>
                    <a:pt x="19963" y="606606"/>
                  </a:cubicBezTo>
                  <a:cubicBezTo>
                    <a:pt x="24450" y="600035"/>
                    <a:pt x="28336" y="592863"/>
                    <a:pt x="33706" y="587104"/>
                  </a:cubicBezTo>
                  <a:cubicBezTo>
                    <a:pt x="58932" y="560077"/>
                    <a:pt x="65856" y="529411"/>
                    <a:pt x="58260" y="493093"/>
                  </a:cubicBezTo>
                  <a:cubicBezTo>
                    <a:pt x="50523" y="455997"/>
                    <a:pt x="63878" y="434729"/>
                    <a:pt x="98606" y="420456"/>
                  </a:cubicBezTo>
                  <a:cubicBezTo>
                    <a:pt x="104966" y="417841"/>
                    <a:pt x="111537" y="415616"/>
                    <a:pt x="117826" y="412825"/>
                  </a:cubicBezTo>
                  <a:cubicBezTo>
                    <a:pt x="136621" y="404487"/>
                    <a:pt x="142026" y="391662"/>
                    <a:pt x="135243" y="371701"/>
                  </a:cubicBezTo>
                  <a:cubicBezTo>
                    <a:pt x="128813" y="352765"/>
                    <a:pt x="117084" y="336760"/>
                    <a:pt x="105178" y="321322"/>
                  </a:cubicBezTo>
                  <a:cubicBezTo>
                    <a:pt x="60415" y="263311"/>
                    <a:pt x="103341" y="203110"/>
                    <a:pt x="157536" y="193111"/>
                  </a:cubicBezTo>
                  <a:cubicBezTo>
                    <a:pt x="175236" y="189826"/>
                    <a:pt x="193077" y="187211"/>
                    <a:pt x="210919" y="184880"/>
                  </a:cubicBezTo>
                  <a:cubicBezTo>
                    <a:pt x="234624" y="181771"/>
                    <a:pt x="253632" y="170995"/>
                    <a:pt x="264160" y="149444"/>
                  </a:cubicBezTo>
                  <a:cubicBezTo>
                    <a:pt x="285039" y="106731"/>
                    <a:pt x="321747" y="94578"/>
                    <a:pt x="367993" y="94366"/>
                  </a:cubicBezTo>
                  <a:close/>
                  <a:moveTo>
                    <a:pt x="633881" y="977670"/>
                  </a:moveTo>
                  <a:cubicBezTo>
                    <a:pt x="647695" y="979861"/>
                    <a:pt x="661368" y="976928"/>
                    <a:pt x="674757" y="974243"/>
                  </a:cubicBezTo>
                  <a:cubicBezTo>
                    <a:pt x="711394" y="966895"/>
                    <a:pt x="740576" y="950678"/>
                    <a:pt x="746299" y="908884"/>
                  </a:cubicBezTo>
                  <a:cubicBezTo>
                    <a:pt x="747359" y="901112"/>
                    <a:pt x="750221" y="893516"/>
                    <a:pt x="752694" y="885990"/>
                  </a:cubicBezTo>
                  <a:cubicBezTo>
                    <a:pt x="760042" y="863804"/>
                    <a:pt x="772337" y="846952"/>
                    <a:pt x="796396" y="839533"/>
                  </a:cubicBezTo>
                  <a:cubicBezTo>
                    <a:pt x="829888" y="829216"/>
                    <a:pt x="861367" y="814837"/>
                    <a:pt x="889100" y="792226"/>
                  </a:cubicBezTo>
                  <a:cubicBezTo>
                    <a:pt x="924465" y="763362"/>
                    <a:pt x="931884" y="725313"/>
                    <a:pt x="906977" y="687192"/>
                  </a:cubicBezTo>
                  <a:cubicBezTo>
                    <a:pt x="901748" y="679208"/>
                    <a:pt x="895707" y="671789"/>
                    <a:pt x="890549" y="663769"/>
                  </a:cubicBezTo>
                  <a:cubicBezTo>
                    <a:pt x="865642" y="625225"/>
                    <a:pt x="863946" y="600247"/>
                    <a:pt x="896096" y="572584"/>
                  </a:cubicBezTo>
                  <a:cubicBezTo>
                    <a:pt x="908708" y="561738"/>
                    <a:pt x="925384" y="557392"/>
                    <a:pt x="941529" y="554672"/>
                  </a:cubicBezTo>
                  <a:cubicBezTo>
                    <a:pt x="973008" y="549337"/>
                    <a:pt x="977247" y="524324"/>
                    <a:pt x="971135" y="502172"/>
                  </a:cubicBezTo>
                  <a:cubicBezTo>
                    <a:pt x="966295" y="484720"/>
                    <a:pt x="957957" y="468645"/>
                    <a:pt x="949690" y="452605"/>
                  </a:cubicBezTo>
                  <a:cubicBezTo>
                    <a:pt x="939445" y="432750"/>
                    <a:pt x="939763" y="413354"/>
                    <a:pt x="949690" y="393287"/>
                  </a:cubicBezTo>
                  <a:cubicBezTo>
                    <a:pt x="959830" y="372690"/>
                    <a:pt x="974067" y="354814"/>
                    <a:pt x="986044" y="335418"/>
                  </a:cubicBezTo>
                  <a:cubicBezTo>
                    <a:pt x="995371" y="320332"/>
                    <a:pt x="1003744" y="304575"/>
                    <a:pt x="1001236" y="286346"/>
                  </a:cubicBezTo>
                  <a:cubicBezTo>
                    <a:pt x="996961" y="255362"/>
                    <a:pt x="964423" y="234977"/>
                    <a:pt x="932238" y="242784"/>
                  </a:cubicBezTo>
                  <a:cubicBezTo>
                    <a:pt x="919943" y="245752"/>
                    <a:pt x="907825" y="249921"/>
                    <a:pt x="895990" y="254408"/>
                  </a:cubicBezTo>
                  <a:cubicBezTo>
                    <a:pt x="860484" y="267904"/>
                    <a:pt x="835894" y="260343"/>
                    <a:pt x="815333" y="228653"/>
                  </a:cubicBezTo>
                  <a:cubicBezTo>
                    <a:pt x="810457" y="221127"/>
                    <a:pt x="805405" y="213320"/>
                    <a:pt x="802544" y="204911"/>
                  </a:cubicBezTo>
                  <a:cubicBezTo>
                    <a:pt x="789118" y="165696"/>
                    <a:pt x="760820" y="146123"/>
                    <a:pt x="720791" y="142520"/>
                  </a:cubicBezTo>
                  <a:cubicBezTo>
                    <a:pt x="678891" y="138740"/>
                    <a:pt x="645646" y="123301"/>
                    <a:pt x="628335" y="81753"/>
                  </a:cubicBezTo>
                  <a:cubicBezTo>
                    <a:pt x="622081" y="66703"/>
                    <a:pt x="613143" y="52571"/>
                    <a:pt x="604099" y="38899"/>
                  </a:cubicBezTo>
                  <a:cubicBezTo>
                    <a:pt x="585445" y="10600"/>
                    <a:pt x="554249" y="7456"/>
                    <a:pt x="529059" y="30066"/>
                  </a:cubicBezTo>
                  <a:cubicBezTo>
                    <a:pt x="516906" y="40983"/>
                    <a:pt x="510688" y="55928"/>
                    <a:pt x="501326" y="68681"/>
                  </a:cubicBezTo>
                  <a:cubicBezTo>
                    <a:pt x="474793" y="104753"/>
                    <a:pt x="441654" y="125915"/>
                    <a:pt x="394878" y="113338"/>
                  </a:cubicBezTo>
                  <a:cubicBezTo>
                    <a:pt x="377496" y="108674"/>
                    <a:pt x="359938" y="109381"/>
                    <a:pt x="342697" y="111077"/>
                  </a:cubicBezTo>
                  <a:cubicBezTo>
                    <a:pt x="313550" y="113903"/>
                    <a:pt x="291081" y="127787"/>
                    <a:pt x="277903" y="155450"/>
                  </a:cubicBezTo>
                  <a:cubicBezTo>
                    <a:pt x="265290" y="181912"/>
                    <a:pt x="242785" y="195549"/>
                    <a:pt x="214416" y="200001"/>
                  </a:cubicBezTo>
                  <a:cubicBezTo>
                    <a:pt x="199295" y="202368"/>
                    <a:pt x="183962" y="203604"/>
                    <a:pt x="168947" y="206395"/>
                  </a:cubicBezTo>
                  <a:cubicBezTo>
                    <a:pt x="143121" y="211200"/>
                    <a:pt x="119875" y="220633"/>
                    <a:pt x="108075" y="246671"/>
                  </a:cubicBezTo>
                  <a:cubicBezTo>
                    <a:pt x="96699" y="271754"/>
                    <a:pt x="103446" y="293517"/>
                    <a:pt x="119309" y="314786"/>
                  </a:cubicBezTo>
                  <a:cubicBezTo>
                    <a:pt x="132523" y="332521"/>
                    <a:pt x="145594" y="350610"/>
                    <a:pt x="151353" y="372902"/>
                  </a:cubicBezTo>
                  <a:cubicBezTo>
                    <a:pt x="157783" y="397951"/>
                    <a:pt x="149233" y="416640"/>
                    <a:pt x="125139" y="426638"/>
                  </a:cubicBezTo>
                  <a:cubicBezTo>
                    <a:pt x="116342" y="430277"/>
                    <a:pt x="107368" y="433634"/>
                    <a:pt x="98783" y="437767"/>
                  </a:cubicBezTo>
                  <a:cubicBezTo>
                    <a:pt x="75148" y="449037"/>
                    <a:pt x="66527" y="465430"/>
                    <a:pt x="72816" y="490690"/>
                  </a:cubicBezTo>
                  <a:cubicBezTo>
                    <a:pt x="81896" y="527186"/>
                    <a:pt x="76632" y="559689"/>
                    <a:pt x="51194" y="588517"/>
                  </a:cubicBezTo>
                  <a:cubicBezTo>
                    <a:pt x="42503" y="598374"/>
                    <a:pt x="35473" y="609821"/>
                    <a:pt x="28230" y="620915"/>
                  </a:cubicBezTo>
                  <a:cubicBezTo>
                    <a:pt x="14911" y="641264"/>
                    <a:pt x="12509" y="663804"/>
                    <a:pt x="19292" y="686521"/>
                  </a:cubicBezTo>
                  <a:cubicBezTo>
                    <a:pt x="32540" y="731071"/>
                    <a:pt x="70802" y="750291"/>
                    <a:pt x="121677" y="740716"/>
                  </a:cubicBezTo>
                  <a:cubicBezTo>
                    <a:pt x="151388" y="735099"/>
                    <a:pt x="181524" y="732696"/>
                    <a:pt x="211166" y="742059"/>
                  </a:cubicBezTo>
                  <a:cubicBezTo>
                    <a:pt x="228548" y="747535"/>
                    <a:pt x="244057" y="755625"/>
                    <a:pt x="255433" y="771099"/>
                  </a:cubicBezTo>
                  <a:cubicBezTo>
                    <a:pt x="268505" y="788835"/>
                    <a:pt x="269989" y="809078"/>
                    <a:pt x="271791" y="829640"/>
                  </a:cubicBezTo>
                  <a:cubicBezTo>
                    <a:pt x="276066" y="878536"/>
                    <a:pt x="289385" y="885779"/>
                    <a:pt x="325032" y="891855"/>
                  </a:cubicBezTo>
                  <a:cubicBezTo>
                    <a:pt x="325562" y="891961"/>
                    <a:pt x="326092" y="891926"/>
                    <a:pt x="326622" y="891997"/>
                  </a:cubicBezTo>
                  <a:cubicBezTo>
                    <a:pt x="364000" y="896059"/>
                    <a:pt x="386717" y="914678"/>
                    <a:pt x="390921" y="953894"/>
                  </a:cubicBezTo>
                  <a:cubicBezTo>
                    <a:pt x="393182" y="974985"/>
                    <a:pt x="404241" y="990919"/>
                    <a:pt x="426321" y="995794"/>
                  </a:cubicBezTo>
                  <a:cubicBezTo>
                    <a:pt x="440453" y="998903"/>
                    <a:pt x="454020" y="993816"/>
                    <a:pt x="465961" y="987386"/>
                  </a:cubicBezTo>
                  <a:cubicBezTo>
                    <a:pt x="506095" y="965729"/>
                    <a:pt x="546936" y="958592"/>
                    <a:pt x="591345" y="973749"/>
                  </a:cubicBezTo>
                  <a:cubicBezTo>
                    <a:pt x="604417" y="978200"/>
                    <a:pt x="619290" y="980037"/>
                    <a:pt x="633917" y="977635"/>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57" name="Freeform: Shape 3656">
              <a:extLst>
                <a:ext uri="{FF2B5EF4-FFF2-40B4-BE49-F238E27FC236}">
                  <a16:creationId xmlns:a16="http://schemas.microsoft.com/office/drawing/2014/main" id="{2422AC0C-79A4-CD33-AB11-4ECEF1D9ED81}"/>
                </a:ext>
              </a:extLst>
            </p:cNvPr>
            <p:cNvSpPr/>
            <p:nvPr/>
          </p:nvSpPr>
          <p:spPr>
            <a:xfrm>
              <a:off x="6329512" y="3565294"/>
              <a:ext cx="222551" cy="190768"/>
            </a:xfrm>
            <a:custGeom>
              <a:avLst/>
              <a:gdLst>
                <a:gd name="connsiteX0" fmla="*/ 112293 w 222551"/>
                <a:gd name="connsiteY0" fmla="*/ 190768 h 190768"/>
                <a:gd name="connsiteX1" fmla="*/ 1712 w 222551"/>
                <a:gd name="connsiteY1" fmla="*/ 110641 h 190768"/>
                <a:gd name="connsiteX2" fmla="*/ 108442 w 222551"/>
                <a:gd name="connsiteY2" fmla="*/ 1120 h 190768"/>
                <a:gd name="connsiteX3" fmla="*/ 181751 w 222551"/>
                <a:gd name="connsiteY3" fmla="*/ 29419 h 190768"/>
                <a:gd name="connsiteX4" fmla="*/ 177334 w 222551"/>
                <a:gd name="connsiteY4" fmla="*/ 169959 h 190768"/>
                <a:gd name="connsiteX5" fmla="*/ 112258 w 222551"/>
                <a:gd name="connsiteY5" fmla="*/ 190768 h 190768"/>
                <a:gd name="connsiteX6" fmla="*/ 97455 w 222551"/>
                <a:gd name="connsiteY6" fmla="*/ 175153 h 190768"/>
                <a:gd name="connsiteX7" fmla="*/ 170904 w 222551"/>
                <a:gd name="connsiteY7" fmla="*/ 156287 h 190768"/>
                <a:gd name="connsiteX8" fmla="*/ 191608 w 222551"/>
                <a:gd name="connsiteY8" fmla="*/ 59378 h 190768"/>
                <a:gd name="connsiteX9" fmla="*/ 96430 w 222551"/>
                <a:gd name="connsiteY9" fmla="*/ 15888 h 190768"/>
                <a:gd name="connsiteX10" fmla="*/ 32449 w 222551"/>
                <a:gd name="connsiteY10" fmla="*/ 45989 h 190768"/>
                <a:gd name="connsiteX11" fmla="*/ 23581 w 222551"/>
                <a:gd name="connsiteY11" fmla="*/ 129861 h 190768"/>
                <a:gd name="connsiteX12" fmla="*/ 97490 w 222551"/>
                <a:gd name="connsiteY12" fmla="*/ 175223 h 19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551" h="190768">
                  <a:moveTo>
                    <a:pt x="112293" y="190768"/>
                  </a:moveTo>
                  <a:cubicBezTo>
                    <a:pt x="48524" y="190168"/>
                    <a:pt x="12205" y="162010"/>
                    <a:pt x="1712" y="110641"/>
                  </a:cubicBezTo>
                  <a:cubicBezTo>
                    <a:pt x="-10759" y="49698"/>
                    <a:pt x="46934" y="-8878"/>
                    <a:pt x="108442" y="1120"/>
                  </a:cubicBezTo>
                  <a:cubicBezTo>
                    <a:pt x="135151" y="5466"/>
                    <a:pt x="159634" y="13733"/>
                    <a:pt x="181751" y="29419"/>
                  </a:cubicBezTo>
                  <a:cubicBezTo>
                    <a:pt x="237712" y="69200"/>
                    <a:pt x="235981" y="133994"/>
                    <a:pt x="177334" y="169959"/>
                  </a:cubicBezTo>
                  <a:cubicBezTo>
                    <a:pt x="155324" y="183455"/>
                    <a:pt x="130947" y="190556"/>
                    <a:pt x="112258" y="190768"/>
                  </a:cubicBezTo>
                  <a:close/>
                  <a:moveTo>
                    <a:pt x="97455" y="175153"/>
                  </a:moveTo>
                  <a:cubicBezTo>
                    <a:pt x="126178" y="174870"/>
                    <a:pt x="149460" y="169500"/>
                    <a:pt x="170904" y="156287"/>
                  </a:cubicBezTo>
                  <a:cubicBezTo>
                    <a:pt x="209873" y="132263"/>
                    <a:pt x="219164" y="92235"/>
                    <a:pt x="191608" y="59378"/>
                  </a:cubicBezTo>
                  <a:cubicBezTo>
                    <a:pt x="167054" y="30090"/>
                    <a:pt x="134091" y="15888"/>
                    <a:pt x="96430" y="15888"/>
                  </a:cubicBezTo>
                  <a:cubicBezTo>
                    <a:pt x="71417" y="15888"/>
                    <a:pt x="48347" y="25074"/>
                    <a:pt x="32449" y="45989"/>
                  </a:cubicBezTo>
                  <a:cubicBezTo>
                    <a:pt x="12770" y="71920"/>
                    <a:pt x="9626" y="100573"/>
                    <a:pt x="23581" y="129861"/>
                  </a:cubicBezTo>
                  <a:cubicBezTo>
                    <a:pt x="38949" y="162152"/>
                    <a:pt x="66895" y="174658"/>
                    <a:pt x="97490" y="175223"/>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58" name="Freeform: Shape 3657">
              <a:extLst>
                <a:ext uri="{FF2B5EF4-FFF2-40B4-BE49-F238E27FC236}">
                  <a16:creationId xmlns:a16="http://schemas.microsoft.com/office/drawing/2014/main" id="{522F0085-1353-C05D-8244-BA44D0CB0B7C}"/>
                </a:ext>
              </a:extLst>
            </p:cNvPr>
            <p:cNvSpPr/>
            <p:nvPr/>
          </p:nvSpPr>
          <p:spPr>
            <a:xfrm>
              <a:off x="7136497" y="3631986"/>
              <a:ext cx="200439" cy="177094"/>
            </a:xfrm>
            <a:custGeom>
              <a:avLst/>
              <a:gdLst>
                <a:gd name="connsiteX0" fmla="*/ 71814 w 200439"/>
                <a:gd name="connsiteY0" fmla="*/ 0 h 177094"/>
                <a:gd name="connsiteX1" fmla="*/ 163140 w 200439"/>
                <a:gd name="connsiteY1" fmla="*/ 24766 h 177094"/>
                <a:gd name="connsiteX2" fmla="*/ 179003 w 200439"/>
                <a:gd name="connsiteY2" fmla="*/ 135700 h 177094"/>
                <a:gd name="connsiteX3" fmla="*/ 90397 w 200439"/>
                <a:gd name="connsiteY3" fmla="*/ 176965 h 177094"/>
                <a:gd name="connsiteX4" fmla="*/ 44187 w 200439"/>
                <a:gd name="connsiteY4" fmla="*/ 153506 h 177094"/>
                <a:gd name="connsiteX5" fmla="*/ 3063 w 200439"/>
                <a:gd name="connsiteY5" fmla="*/ 69669 h 177094"/>
                <a:gd name="connsiteX6" fmla="*/ 37862 w 200439"/>
                <a:gd name="connsiteY6" fmla="*/ 5476 h 177094"/>
                <a:gd name="connsiteX7" fmla="*/ 71849 w 200439"/>
                <a:gd name="connsiteY7" fmla="*/ 0 h 177094"/>
                <a:gd name="connsiteX8" fmla="*/ 71779 w 200439"/>
                <a:gd name="connsiteY8" fmla="*/ 15686 h 177094"/>
                <a:gd name="connsiteX9" fmla="*/ 57435 w 200439"/>
                <a:gd name="connsiteY9" fmla="*/ 15757 h 177094"/>
                <a:gd name="connsiteX10" fmla="*/ 19209 w 200439"/>
                <a:gd name="connsiteY10" fmla="*/ 70164 h 177094"/>
                <a:gd name="connsiteX11" fmla="*/ 53443 w 200439"/>
                <a:gd name="connsiteY11" fmla="*/ 140081 h 177094"/>
                <a:gd name="connsiteX12" fmla="*/ 93330 w 200439"/>
                <a:gd name="connsiteY12" fmla="*/ 161172 h 177094"/>
                <a:gd name="connsiteX13" fmla="*/ 159749 w 200439"/>
                <a:gd name="connsiteY13" fmla="*/ 133227 h 177094"/>
                <a:gd name="connsiteX14" fmla="*/ 152506 w 200439"/>
                <a:gd name="connsiteY14" fmla="*/ 36177 h 177094"/>
                <a:gd name="connsiteX15" fmla="*/ 71814 w 200439"/>
                <a:gd name="connsiteY15" fmla="*/ 15686 h 177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439" h="177094">
                  <a:moveTo>
                    <a:pt x="71814" y="0"/>
                  </a:moveTo>
                  <a:cubicBezTo>
                    <a:pt x="103080" y="2155"/>
                    <a:pt x="134700" y="7278"/>
                    <a:pt x="163140" y="24766"/>
                  </a:cubicBezTo>
                  <a:cubicBezTo>
                    <a:pt x="205536" y="50804"/>
                    <a:pt x="213131" y="99664"/>
                    <a:pt x="179003" y="135700"/>
                  </a:cubicBezTo>
                  <a:cubicBezTo>
                    <a:pt x="155191" y="160855"/>
                    <a:pt x="124949" y="174598"/>
                    <a:pt x="90397" y="176965"/>
                  </a:cubicBezTo>
                  <a:cubicBezTo>
                    <a:pt x="71001" y="178307"/>
                    <a:pt x="54927" y="169157"/>
                    <a:pt x="44187" y="153506"/>
                  </a:cubicBezTo>
                  <a:cubicBezTo>
                    <a:pt x="26451" y="127680"/>
                    <a:pt x="12708" y="99346"/>
                    <a:pt x="3063" y="69669"/>
                  </a:cubicBezTo>
                  <a:cubicBezTo>
                    <a:pt x="-6759" y="39392"/>
                    <a:pt x="7621" y="15368"/>
                    <a:pt x="37862" y="5476"/>
                  </a:cubicBezTo>
                  <a:cubicBezTo>
                    <a:pt x="48532" y="1978"/>
                    <a:pt x="59413" y="212"/>
                    <a:pt x="71849" y="0"/>
                  </a:cubicBezTo>
                  <a:close/>
                  <a:moveTo>
                    <a:pt x="71779" y="15686"/>
                  </a:moveTo>
                  <a:cubicBezTo>
                    <a:pt x="67009" y="15686"/>
                    <a:pt x="62169" y="15262"/>
                    <a:pt x="57435" y="15757"/>
                  </a:cubicBezTo>
                  <a:cubicBezTo>
                    <a:pt x="24119" y="19184"/>
                    <a:pt x="7267" y="42042"/>
                    <a:pt x="19209" y="70164"/>
                  </a:cubicBezTo>
                  <a:cubicBezTo>
                    <a:pt x="29313" y="94011"/>
                    <a:pt x="38675" y="118424"/>
                    <a:pt x="53443" y="140081"/>
                  </a:cubicBezTo>
                  <a:cubicBezTo>
                    <a:pt x="63052" y="154142"/>
                    <a:pt x="75771" y="163222"/>
                    <a:pt x="93330" y="161172"/>
                  </a:cubicBezTo>
                  <a:cubicBezTo>
                    <a:pt x="117989" y="158275"/>
                    <a:pt x="139964" y="148560"/>
                    <a:pt x="159749" y="133227"/>
                  </a:cubicBezTo>
                  <a:cubicBezTo>
                    <a:pt x="195679" y="105387"/>
                    <a:pt x="192322" y="58117"/>
                    <a:pt x="152506" y="36177"/>
                  </a:cubicBezTo>
                  <a:cubicBezTo>
                    <a:pt x="127352" y="22328"/>
                    <a:pt x="100148" y="16711"/>
                    <a:pt x="71814" y="15686"/>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59" name="Freeform: Shape 3658">
              <a:extLst>
                <a:ext uri="{FF2B5EF4-FFF2-40B4-BE49-F238E27FC236}">
                  <a16:creationId xmlns:a16="http://schemas.microsoft.com/office/drawing/2014/main" id="{26373A7F-E107-AE95-3025-A9CCDE67C25A}"/>
                </a:ext>
              </a:extLst>
            </p:cNvPr>
            <p:cNvSpPr/>
            <p:nvPr/>
          </p:nvSpPr>
          <p:spPr>
            <a:xfrm>
              <a:off x="6491858" y="4553564"/>
              <a:ext cx="196434" cy="173838"/>
            </a:xfrm>
            <a:custGeom>
              <a:avLst/>
              <a:gdLst>
                <a:gd name="connsiteX0" fmla="*/ 44 w 196434"/>
                <a:gd name="connsiteY0" fmla="*/ 95448 h 173838"/>
                <a:gd name="connsiteX1" fmla="*/ 91017 w 196434"/>
                <a:gd name="connsiteY1" fmla="*/ 59 h 173838"/>
                <a:gd name="connsiteX2" fmla="*/ 136239 w 196434"/>
                <a:gd name="connsiteY2" fmla="*/ 20126 h 173838"/>
                <a:gd name="connsiteX3" fmla="*/ 192872 w 196434"/>
                <a:gd name="connsiteY3" fmla="*/ 115091 h 173838"/>
                <a:gd name="connsiteX4" fmla="*/ 156871 w 196434"/>
                <a:gd name="connsiteY4" fmla="*/ 172113 h 173838"/>
                <a:gd name="connsiteX5" fmla="*/ 45937 w 196434"/>
                <a:gd name="connsiteY5" fmla="*/ 159182 h 173838"/>
                <a:gd name="connsiteX6" fmla="*/ 9 w 196434"/>
                <a:gd name="connsiteY6" fmla="*/ 95448 h 173838"/>
                <a:gd name="connsiteX7" fmla="*/ 132847 w 196434"/>
                <a:gd name="connsiteY7" fmla="*/ 158793 h 173838"/>
                <a:gd name="connsiteX8" fmla="*/ 145460 w 196434"/>
                <a:gd name="connsiteY8" fmla="*/ 158793 h 173838"/>
                <a:gd name="connsiteX9" fmla="*/ 175242 w 196434"/>
                <a:gd name="connsiteY9" fmla="*/ 110887 h 173838"/>
                <a:gd name="connsiteX10" fmla="*/ 138394 w 196434"/>
                <a:gd name="connsiteY10" fmla="*/ 46093 h 173838"/>
                <a:gd name="connsiteX11" fmla="*/ 50777 w 196434"/>
                <a:gd name="connsiteY11" fmla="*/ 32102 h 173838"/>
                <a:gd name="connsiteX12" fmla="*/ 29544 w 196434"/>
                <a:gd name="connsiteY12" fmla="*/ 55349 h 173838"/>
                <a:gd name="connsiteX13" fmla="*/ 60775 w 196434"/>
                <a:gd name="connsiteY13" fmla="*/ 148972 h 173838"/>
                <a:gd name="connsiteX14" fmla="*/ 132847 w 196434"/>
                <a:gd name="connsiteY14" fmla="*/ 158829 h 17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434" h="173838">
                  <a:moveTo>
                    <a:pt x="44" y="95448"/>
                  </a:moveTo>
                  <a:cubicBezTo>
                    <a:pt x="645" y="49979"/>
                    <a:pt x="45972" y="2178"/>
                    <a:pt x="91017" y="59"/>
                  </a:cubicBezTo>
                  <a:cubicBezTo>
                    <a:pt x="109106" y="-789"/>
                    <a:pt x="124015" y="7619"/>
                    <a:pt x="136239" y="20126"/>
                  </a:cubicBezTo>
                  <a:cubicBezTo>
                    <a:pt x="162665" y="47188"/>
                    <a:pt x="180082" y="80221"/>
                    <a:pt x="192872" y="115091"/>
                  </a:cubicBezTo>
                  <a:cubicBezTo>
                    <a:pt x="203894" y="145156"/>
                    <a:pt x="188632" y="168474"/>
                    <a:pt x="156871" y="172113"/>
                  </a:cubicBezTo>
                  <a:cubicBezTo>
                    <a:pt x="119174" y="176423"/>
                    <a:pt x="81584" y="172854"/>
                    <a:pt x="45937" y="159182"/>
                  </a:cubicBezTo>
                  <a:cubicBezTo>
                    <a:pt x="14706" y="147206"/>
                    <a:pt x="-415" y="124701"/>
                    <a:pt x="9" y="95448"/>
                  </a:cubicBezTo>
                  <a:close/>
                  <a:moveTo>
                    <a:pt x="132847" y="158793"/>
                  </a:moveTo>
                  <a:cubicBezTo>
                    <a:pt x="140160" y="158793"/>
                    <a:pt x="142810" y="158864"/>
                    <a:pt x="145460" y="158793"/>
                  </a:cubicBezTo>
                  <a:cubicBezTo>
                    <a:pt x="176585" y="157663"/>
                    <a:pt x="188173" y="139398"/>
                    <a:pt x="175242" y="110887"/>
                  </a:cubicBezTo>
                  <a:cubicBezTo>
                    <a:pt x="164961" y="88206"/>
                    <a:pt x="152702" y="66549"/>
                    <a:pt x="138394" y="46093"/>
                  </a:cubicBezTo>
                  <a:cubicBezTo>
                    <a:pt x="113381" y="10304"/>
                    <a:pt x="86318" y="6277"/>
                    <a:pt x="50777" y="32102"/>
                  </a:cubicBezTo>
                  <a:cubicBezTo>
                    <a:pt x="41839" y="38603"/>
                    <a:pt x="35621" y="46906"/>
                    <a:pt x="29544" y="55349"/>
                  </a:cubicBezTo>
                  <a:cubicBezTo>
                    <a:pt x="1704" y="94247"/>
                    <a:pt x="15165" y="134522"/>
                    <a:pt x="60775" y="148972"/>
                  </a:cubicBezTo>
                  <a:cubicBezTo>
                    <a:pt x="85682" y="156850"/>
                    <a:pt x="111897" y="155861"/>
                    <a:pt x="132847" y="158829"/>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0" name="Freeform: Shape 3659">
              <a:extLst>
                <a:ext uri="{FF2B5EF4-FFF2-40B4-BE49-F238E27FC236}">
                  <a16:creationId xmlns:a16="http://schemas.microsoft.com/office/drawing/2014/main" id="{223B6683-DFBB-BCB9-4C6E-ED8D6A03390F}"/>
                </a:ext>
              </a:extLst>
            </p:cNvPr>
            <p:cNvSpPr/>
            <p:nvPr/>
          </p:nvSpPr>
          <p:spPr>
            <a:xfrm>
              <a:off x="7253493" y="4201494"/>
              <a:ext cx="178169" cy="162318"/>
            </a:xfrm>
            <a:custGeom>
              <a:avLst/>
              <a:gdLst>
                <a:gd name="connsiteX0" fmla="*/ 178170 w 178169"/>
                <a:gd name="connsiteY0" fmla="*/ 90091 h 162318"/>
                <a:gd name="connsiteX1" fmla="*/ 155665 w 178169"/>
                <a:gd name="connsiteY1" fmla="*/ 145841 h 162318"/>
                <a:gd name="connsiteX2" fmla="*/ 87338 w 178169"/>
                <a:gd name="connsiteY2" fmla="*/ 148738 h 162318"/>
                <a:gd name="connsiteX3" fmla="*/ 15302 w 178169"/>
                <a:gd name="connsiteY3" fmla="*/ 84050 h 162318"/>
                <a:gd name="connsiteX4" fmla="*/ 34415 w 178169"/>
                <a:gd name="connsiteY4" fmla="*/ 4947 h 162318"/>
                <a:gd name="connsiteX5" fmla="*/ 163755 w 178169"/>
                <a:gd name="connsiteY5" fmla="*/ 41619 h 162318"/>
                <a:gd name="connsiteX6" fmla="*/ 178170 w 178169"/>
                <a:gd name="connsiteY6" fmla="*/ 90056 h 162318"/>
                <a:gd name="connsiteX7" fmla="*/ 67977 w 178169"/>
                <a:gd name="connsiteY7" fmla="*/ 16606 h 162318"/>
                <a:gd name="connsiteX8" fmla="*/ 56849 w 178169"/>
                <a:gd name="connsiteY8" fmla="*/ 16606 h 162318"/>
                <a:gd name="connsiteX9" fmla="*/ 17315 w 178169"/>
                <a:gd name="connsiteY9" fmla="*/ 40029 h 162318"/>
                <a:gd name="connsiteX10" fmla="*/ 35616 w 178169"/>
                <a:gd name="connsiteY10" fmla="*/ 83838 h 162318"/>
                <a:gd name="connsiteX11" fmla="*/ 56884 w 178169"/>
                <a:gd name="connsiteY11" fmla="*/ 100337 h 162318"/>
                <a:gd name="connsiteX12" fmla="*/ 96418 w 178169"/>
                <a:gd name="connsiteY12" fmla="*/ 136584 h 162318"/>
                <a:gd name="connsiteX13" fmla="*/ 139519 w 178169"/>
                <a:gd name="connsiteY13" fmla="*/ 140435 h 162318"/>
                <a:gd name="connsiteX14" fmla="*/ 146161 w 178169"/>
                <a:gd name="connsiteY14" fmla="*/ 45329 h 162318"/>
                <a:gd name="connsiteX15" fmla="*/ 67977 w 178169"/>
                <a:gd name="connsiteY15" fmla="*/ 16641 h 162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8169" h="162318">
                  <a:moveTo>
                    <a:pt x="178170" y="90091"/>
                  </a:moveTo>
                  <a:cubicBezTo>
                    <a:pt x="177357" y="108568"/>
                    <a:pt x="170468" y="128777"/>
                    <a:pt x="155665" y="145841"/>
                  </a:cubicBezTo>
                  <a:cubicBezTo>
                    <a:pt x="138248" y="165908"/>
                    <a:pt x="110090" y="168557"/>
                    <a:pt x="87338" y="148738"/>
                  </a:cubicBezTo>
                  <a:cubicBezTo>
                    <a:pt x="63031" y="127576"/>
                    <a:pt x="38124" y="106766"/>
                    <a:pt x="15302" y="84050"/>
                  </a:cubicBezTo>
                  <a:cubicBezTo>
                    <a:pt x="-11761" y="57129"/>
                    <a:pt x="-1409" y="18302"/>
                    <a:pt x="34415" y="4947"/>
                  </a:cubicBezTo>
                  <a:cubicBezTo>
                    <a:pt x="73100" y="-9467"/>
                    <a:pt x="138495" y="9081"/>
                    <a:pt x="163755" y="41619"/>
                  </a:cubicBezTo>
                  <a:cubicBezTo>
                    <a:pt x="173542" y="54196"/>
                    <a:pt x="177958" y="67869"/>
                    <a:pt x="178170" y="90056"/>
                  </a:cubicBezTo>
                  <a:close/>
                  <a:moveTo>
                    <a:pt x="67977" y="16606"/>
                  </a:moveTo>
                  <a:cubicBezTo>
                    <a:pt x="64268" y="16606"/>
                    <a:pt x="60558" y="16535"/>
                    <a:pt x="56849" y="16606"/>
                  </a:cubicBezTo>
                  <a:cubicBezTo>
                    <a:pt x="36676" y="16995"/>
                    <a:pt x="22226" y="25544"/>
                    <a:pt x="17315" y="40029"/>
                  </a:cubicBezTo>
                  <a:cubicBezTo>
                    <a:pt x="12369" y="54691"/>
                    <a:pt x="19824" y="72320"/>
                    <a:pt x="35616" y="83838"/>
                  </a:cubicBezTo>
                  <a:cubicBezTo>
                    <a:pt x="42858" y="89137"/>
                    <a:pt x="50172" y="94401"/>
                    <a:pt x="56884" y="100337"/>
                  </a:cubicBezTo>
                  <a:cubicBezTo>
                    <a:pt x="70239" y="112207"/>
                    <a:pt x="82886" y="124926"/>
                    <a:pt x="96418" y="136584"/>
                  </a:cubicBezTo>
                  <a:cubicBezTo>
                    <a:pt x="107546" y="146159"/>
                    <a:pt x="130157" y="147819"/>
                    <a:pt x="139519" y="140435"/>
                  </a:cubicBezTo>
                  <a:cubicBezTo>
                    <a:pt x="162095" y="122594"/>
                    <a:pt x="173930" y="69353"/>
                    <a:pt x="146161" y="45329"/>
                  </a:cubicBezTo>
                  <a:cubicBezTo>
                    <a:pt x="123268" y="25509"/>
                    <a:pt x="97866" y="15758"/>
                    <a:pt x="67977" y="16641"/>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1" name="Freeform: Shape 3660">
              <a:extLst>
                <a:ext uri="{FF2B5EF4-FFF2-40B4-BE49-F238E27FC236}">
                  <a16:creationId xmlns:a16="http://schemas.microsoft.com/office/drawing/2014/main" id="{D25EA1B4-0C81-6D10-3220-1D7C626D0A1B}"/>
                </a:ext>
              </a:extLst>
            </p:cNvPr>
            <p:cNvSpPr/>
            <p:nvPr/>
          </p:nvSpPr>
          <p:spPr>
            <a:xfrm>
              <a:off x="7113552" y="4492429"/>
              <a:ext cx="162344" cy="153446"/>
            </a:xfrm>
            <a:custGeom>
              <a:avLst/>
              <a:gdLst>
                <a:gd name="connsiteX0" fmla="*/ 87340 w 162344"/>
                <a:gd name="connsiteY0" fmla="*/ 153439 h 153446"/>
                <a:gd name="connsiteX1" fmla="*/ 6 w 162344"/>
                <a:gd name="connsiteY1" fmla="*/ 81438 h 153446"/>
                <a:gd name="connsiteX2" fmla="*/ 76706 w 162344"/>
                <a:gd name="connsiteY2" fmla="*/ 4 h 153446"/>
                <a:gd name="connsiteX3" fmla="*/ 162344 w 162344"/>
                <a:gd name="connsiteY3" fmla="*/ 82568 h 153446"/>
                <a:gd name="connsiteX4" fmla="*/ 87340 w 162344"/>
                <a:gd name="connsiteY4" fmla="*/ 153404 h 153446"/>
                <a:gd name="connsiteX5" fmla="*/ 86457 w 162344"/>
                <a:gd name="connsiteY5" fmla="*/ 137399 h 153446"/>
                <a:gd name="connsiteX6" fmla="*/ 146729 w 162344"/>
                <a:gd name="connsiteY6" fmla="*/ 81932 h 153446"/>
                <a:gd name="connsiteX7" fmla="*/ 77907 w 162344"/>
                <a:gd name="connsiteY7" fmla="*/ 15902 h 153446"/>
                <a:gd name="connsiteX8" fmla="*/ 15798 w 162344"/>
                <a:gd name="connsiteY8" fmla="*/ 80484 h 153446"/>
                <a:gd name="connsiteX9" fmla="*/ 86457 w 162344"/>
                <a:gd name="connsiteY9" fmla="*/ 137399 h 15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344" h="153446">
                  <a:moveTo>
                    <a:pt x="87340" y="153439"/>
                  </a:moveTo>
                  <a:cubicBezTo>
                    <a:pt x="39257" y="154004"/>
                    <a:pt x="465" y="122031"/>
                    <a:pt x="6" y="81438"/>
                  </a:cubicBezTo>
                  <a:cubicBezTo>
                    <a:pt x="-524" y="37347"/>
                    <a:pt x="34275" y="392"/>
                    <a:pt x="76706" y="4"/>
                  </a:cubicBezTo>
                  <a:cubicBezTo>
                    <a:pt x="123411" y="-420"/>
                    <a:pt x="162168" y="36923"/>
                    <a:pt x="162344" y="82568"/>
                  </a:cubicBezTo>
                  <a:cubicBezTo>
                    <a:pt x="162521" y="124787"/>
                    <a:pt x="132773" y="152874"/>
                    <a:pt x="87340" y="153404"/>
                  </a:cubicBezTo>
                  <a:close/>
                  <a:moveTo>
                    <a:pt x="86457" y="137399"/>
                  </a:moveTo>
                  <a:cubicBezTo>
                    <a:pt x="125248" y="137435"/>
                    <a:pt x="146658" y="117721"/>
                    <a:pt x="146729" y="81932"/>
                  </a:cubicBezTo>
                  <a:cubicBezTo>
                    <a:pt x="146764" y="45155"/>
                    <a:pt x="116169" y="15796"/>
                    <a:pt x="77907" y="15902"/>
                  </a:cubicBezTo>
                  <a:cubicBezTo>
                    <a:pt x="43002" y="16008"/>
                    <a:pt x="15727" y="44377"/>
                    <a:pt x="15798" y="80484"/>
                  </a:cubicBezTo>
                  <a:cubicBezTo>
                    <a:pt x="15869" y="113552"/>
                    <a:pt x="45439" y="137329"/>
                    <a:pt x="86457" y="137399"/>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2" name="Freeform: Shape 3661">
              <a:extLst>
                <a:ext uri="{FF2B5EF4-FFF2-40B4-BE49-F238E27FC236}">
                  <a16:creationId xmlns:a16="http://schemas.microsoft.com/office/drawing/2014/main" id="{DA83F68F-9686-4531-AF97-F861F9337A72}"/>
                </a:ext>
              </a:extLst>
            </p:cNvPr>
            <p:cNvSpPr/>
            <p:nvPr/>
          </p:nvSpPr>
          <p:spPr>
            <a:xfrm>
              <a:off x="6388091" y="4385334"/>
              <a:ext cx="163456" cy="129533"/>
            </a:xfrm>
            <a:custGeom>
              <a:avLst/>
              <a:gdLst>
                <a:gd name="connsiteX0" fmla="*/ 114622 w 163456"/>
                <a:gd name="connsiteY0" fmla="*/ 129426 h 129533"/>
                <a:gd name="connsiteX1" fmla="*/ 91376 w 163456"/>
                <a:gd name="connsiteY1" fmla="*/ 122113 h 129533"/>
                <a:gd name="connsiteX2" fmla="*/ 27394 w 163456"/>
                <a:gd name="connsiteY2" fmla="*/ 87102 h 129533"/>
                <a:gd name="connsiteX3" fmla="*/ 85 w 163456"/>
                <a:gd name="connsiteY3" fmla="*/ 51172 h 129533"/>
                <a:gd name="connsiteX4" fmla="*/ 24815 w 163456"/>
                <a:gd name="connsiteY4" fmla="*/ 15277 h 129533"/>
                <a:gd name="connsiteX5" fmla="*/ 158219 w 163456"/>
                <a:gd name="connsiteY5" fmla="*/ 51490 h 129533"/>
                <a:gd name="connsiteX6" fmla="*/ 114658 w 163456"/>
                <a:gd name="connsiteY6" fmla="*/ 129426 h 129533"/>
                <a:gd name="connsiteX7" fmla="*/ 81590 w 163456"/>
                <a:gd name="connsiteY7" fmla="*/ 14677 h 129533"/>
                <a:gd name="connsiteX8" fmla="*/ 30150 w 163456"/>
                <a:gd name="connsiteY8" fmla="*/ 29480 h 129533"/>
                <a:gd name="connsiteX9" fmla="*/ 15736 w 163456"/>
                <a:gd name="connsiteY9" fmla="*/ 50783 h 129533"/>
                <a:gd name="connsiteX10" fmla="*/ 33294 w 163456"/>
                <a:gd name="connsiteY10" fmla="*/ 73288 h 129533"/>
                <a:gd name="connsiteX11" fmla="*/ 97134 w 163456"/>
                <a:gd name="connsiteY11" fmla="*/ 107981 h 129533"/>
                <a:gd name="connsiteX12" fmla="*/ 144758 w 163456"/>
                <a:gd name="connsiteY12" fmla="*/ 91589 h 129533"/>
                <a:gd name="connsiteX13" fmla="*/ 81554 w 163456"/>
                <a:gd name="connsiteY13" fmla="*/ 14712 h 12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456" h="129533">
                  <a:moveTo>
                    <a:pt x="114622" y="129426"/>
                  </a:moveTo>
                  <a:cubicBezTo>
                    <a:pt x="106320" y="130203"/>
                    <a:pt x="98760" y="126671"/>
                    <a:pt x="91376" y="122113"/>
                  </a:cubicBezTo>
                  <a:cubicBezTo>
                    <a:pt x="70673" y="109324"/>
                    <a:pt x="51136" y="94804"/>
                    <a:pt x="27394" y="87102"/>
                  </a:cubicBezTo>
                  <a:cubicBezTo>
                    <a:pt x="11072" y="81802"/>
                    <a:pt x="1215" y="68589"/>
                    <a:pt x="85" y="51172"/>
                  </a:cubicBezTo>
                  <a:cubicBezTo>
                    <a:pt x="-1117" y="33366"/>
                    <a:pt x="10613" y="22237"/>
                    <a:pt x="24815" y="15277"/>
                  </a:cubicBezTo>
                  <a:cubicBezTo>
                    <a:pt x="81907" y="-12704"/>
                    <a:pt x="133559" y="-3165"/>
                    <a:pt x="158219" y="51490"/>
                  </a:cubicBezTo>
                  <a:cubicBezTo>
                    <a:pt x="174470" y="87490"/>
                    <a:pt x="150941" y="129214"/>
                    <a:pt x="114658" y="129426"/>
                  </a:cubicBezTo>
                  <a:close/>
                  <a:moveTo>
                    <a:pt x="81590" y="14677"/>
                  </a:moveTo>
                  <a:cubicBezTo>
                    <a:pt x="65797" y="16902"/>
                    <a:pt x="47002" y="19764"/>
                    <a:pt x="30150" y="29480"/>
                  </a:cubicBezTo>
                  <a:cubicBezTo>
                    <a:pt x="22024" y="34143"/>
                    <a:pt x="15170" y="41032"/>
                    <a:pt x="15736" y="50783"/>
                  </a:cubicBezTo>
                  <a:cubicBezTo>
                    <a:pt x="16372" y="61488"/>
                    <a:pt x="22872" y="70002"/>
                    <a:pt x="33294" y="73288"/>
                  </a:cubicBezTo>
                  <a:cubicBezTo>
                    <a:pt x="56930" y="80707"/>
                    <a:pt x="76820" y="94592"/>
                    <a:pt x="97134" y="107981"/>
                  </a:cubicBezTo>
                  <a:cubicBezTo>
                    <a:pt x="115824" y="120311"/>
                    <a:pt x="136633" y="112680"/>
                    <a:pt x="144758" y="91589"/>
                  </a:cubicBezTo>
                  <a:cubicBezTo>
                    <a:pt x="157795" y="57708"/>
                    <a:pt x="124338" y="14853"/>
                    <a:pt x="81554" y="14712"/>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3" name="Freeform: Shape 3662">
              <a:extLst>
                <a:ext uri="{FF2B5EF4-FFF2-40B4-BE49-F238E27FC236}">
                  <a16:creationId xmlns:a16="http://schemas.microsoft.com/office/drawing/2014/main" id="{80CB6A28-CECD-2ECF-5AAE-C493B0756E27}"/>
                </a:ext>
              </a:extLst>
            </p:cNvPr>
            <p:cNvSpPr/>
            <p:nvPr/>
          </p:nvSpPr>
          <p:spPr>
            <a:xfrm>
              <a:off x="6272470" y="3905538"/>
              <a:ext cx="114508" cy="118503"/>
            </a:xfrm>
            <a:custGeom>
              <a:avLst/>
              <a:gdLst>
                <a:gd name="connsiteX0" fmla="*/ 114504 w 114508"/>
                <a:gd name="connsiteY0" fmla="*/ 59285 h 118503"/>
                <a:gd name="connsiteX1" fmla="*/ 55327 w 114508"/>
                <a:gd name="connsiteY1" fmla="*/ 118497 h 118503"/>
                <a:gd name="connsiteX2" fmla="*/ 2 w 114508"/>
                <a:gd name="connsiteY2" fmla="*/ 60063 h 118503"/>
                <a:gd name="connsiteX3" fmla="*/ 57306 w 114508"/>
                <a:gd name="connsiteY3" fmla="*/ 3 h 118503"/>
                <a:gd name="connsiteX4" fmla="*/ 114504 w 114508"/>
                <a:gd name="connsiteY4" fmla="*/ 59321 h 118503"/>
                <a:gd name="connsiteX5" fmla="*/ 98535 w 114508"/>
                <a:gd name="connsiteY5" fmla="*/ 59109 h 118503"/>
                <a:gd name="connsiteX6" fmla="*/ 58719 w 114508"/>
                <a:gd name="connsiteY6" fmla="*/ 16007 h 118503"/>
                <a:gd name="connsiteX7" fmla="*/ 15193 w 114508"/>
                <a:gd name="connsiteY7" fmla="*/ 58508 h 118503"/>
                <a:gd name="connsiteX8" fmla="*/ 57377 w 114508"/>
                <a:gd name="connsiteY8" fmla="*/ 102458 h 118503"/>
                <a:gd name="connsiteX9" fmla="*/ 98535 w 114508"/>
                <a:gd name="connsiteY9" fmla="*/ 59073 h 118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508" h="118503">
                  <a:moveTo>
                    <a:pt x="114504" y="59285"/>
                  </a:moveTo>
                  <a:cubicBezTo>
                    <a:pt x="114080" y="94120"/>
                    <a:pt x="89244" y="118957"/>
                    <a:pt x="55327" y="118497"/>
                  </a:cubicBezTo>
                  <a:cubicBezTo>
                    <a:pt x="25156" y="118073"/>
                    <a:pt x="-246" y="91258"/>
                    <a:pt x="2" y="60063"/>
                  </a:cubicBezTo>
                  <a:cubicBezTo>
                    <a:pt x="284" y="27065"/>
                    <a:pt x="26393" y="-315"/>
                    <a:pt x="57306" y="3"/>
                  </a:cubicBezTo>
                  <a:cubicBezTo>
                    <a:pt x="90480" y="356"/>
                    <a:pt x="114893" y="25687"/>
                    <a:pt x="114504" y="59321"/>
                  </a:cubicBezTo>
                  <a:close/>
                  <a:moveTo>
                    <a:pt x="98535" y="59109"/>
                  </a:moveTo>
                  <a:cubicBezTo>
                    <a:pt x="98606" y="32082"/>
                    <a:pt x="83874" y="16148"/>
                    <a:pt x="58719" y="16007"/>
                  </a:cubicBezTo>
                  <a:cubicBezTo>
                    <a:pt x="33565" y="15901"/>
                    <a:pt x="14946" y="34060"/>
                    <a:pt x="15193" y="58508"/>
                  </a:cubicBezTo>
                  <a:cubicBezTo>
                    <a:pt x="15441" y="84369"/>
                    <a:pt x="32752" y="102352"/>
                    <a:pt x="57377" y="102458"/>
                  </a:cubicBezTo>
                  <a:cubicBezTo>
                    <a:pt x="83556" y="102528"/>
                    <a:pt x="98465" y="86807"/>
                    <a:pt x="98535" y="59073"/>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4" name="Freeform: Shape 3663">
              <a:extLst>
                <a:ext uri="{FF2B5EF4-FFF2-40B4-BE49-F238E27FC236}">
                  <a16:creationId xmlns:a16="http://schemas.microsoft.com/office/drawing/2014/main" id="{A93695B7-D84B-A6B4-081C-F996C3E0861C}"/>
                </a:ext>
              </a:extLst>
            </p:cNvPr>
            <p:cNvSpPr/>
            <p:nvPr/>
          </p:nvSpPr>
          <p:spPr>
            <a:xfrm>
              <a:off x="6278195" y="4531152"/>
              <a:ext cx="115315" cy="111042"/>
            </a:xfrm>
            <a:custGeom>
              <a:avLst/>
              <a:gdLst>
                <a:gd name="connsiteX0" fmla="*/ 115280 w 115315"/>
                <a:gd name="connsiteY0" fmla="*/ 62534 h 111042"/>
                <a:gd name="connsiteX1" fmla="*/ 63452 w 115315"/>
                <a:gd name="connsiteY1" fmla="*/ 111041 h 111042"/>
                <a:gd name="connsiteX2" fmla="*/ 1 w 115315"/>
                <a:gd name="connsiteY2" fmla="*/ 49674 h 111042"/>
                <a:gd name="connsiteX3" fmla="*/ 49815 w 115315"/>
                <a:gd name="connsiteY3" fmla="*/ 1 h 111042"/>
                <a:gd name="connsiteX4" fmla="*/ 115316 w 115315"/>
                <a:gd name="connsiteY4" fmla="*/ 62534 h 111042"/>
                <a:gd name="connsiteX5" fmla="*/ 63841 w 115315"/>
                <a:gd name="connsiteY5" fmla="*/ 95214 h 111042"/>
                <a:gd name="connsiteX6" fmla="*/ 101113 w 115315"/>
                <a:gd name="connsiteY6" fmla="*/ 63488 h 111042"/>
                <a:gd name="connsiteX7" fmla="*/ 52005 w 115315"/>
                <a:gd name="connsiteY7" fmla="*/ 15546 h 111042"/>
                <a:gd name="connsiteX8" fmla="*/ 15863 w 115315"/>
                <a:gd name="connsiteY8" fmla="*/ 52606 h 111042"/>
                <a:gd name="connsiteX9" fmla="*/ 63876 w 115315"/>
                <a:gd name="connsiteY9" fmla="*/ 95214 h 11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315" h="111042">
                  <a:moveTo>
                    <a:pt x="115280" y="62534"/>
                  </a:moveTo>
                  <a:cubicBezTo>
                    <a:pt x="115209" y="90267"/>
                    <a:pt x="93235" y="110864"/>
                    <a:pt x="63452" y="111041"/>
                  </a:cubicBezTo>
                  <a:cubicBezTo>
                    <a:pt x="28264" y="111253"/>
                    <a:pt x="-141" y="83802"/>
                    <a:pt x="1" y="49674"/>
                  </a:cubicBezTo>
                  <a:cubicBezTo>
                    <a:pt x="106" y="23389"/>
                    <a:pt x="23424" y="107"/>
                    <a:pt x="49815" y="1"/>
                  </a:cubicBezTo>
                  <a:cubicBezTo>
                    <a:pt x="87511" y="-176"/>
                    <a:pt x="115386" y="26427"/>
                    <a:pt x="115316" y="62534"/>
                  </a:cubicBezTo>
                  <a:close/>
                  <a:moveTo>
                    <a:pt x="63841" y="95214"/>
                  </a:moveTo>
                  <a:cubicBezTo>
                    <a:pt x="84226" y="95178"/>
                    <a:pt x="100548" y="81258"/>
                    <a:pt x="101113" y="63488"/>
                  </a:cubicBezTo>
                  <a:cubicBezTo>
                    <a:pt x="101926" y="37803"/>
                    <a:pt x="78644" y="15086"/>
                    <a:pt x="52005" y="15546"/>
                  </a:cubicBezTo>
                  <a:cubicBezTo>
                    <a:pt x="28723" y="15934"/>
                    <a:pt x="15651" y="29324"/>
                    <a:pt x="15863" y="52606"/>
                  </a:cubicBezTo>
                  <a:cubicBezTo>
                    <a:pt x="16075" y="76418"/>
                    <a:pt x="37308" y="95284"/>
                    <a:pt x="63876" y="95214"/>
                  </a:cubicBezTo>
                  <a:close/>
                </a:path>
              </a:pathLst>
            </a:custGeom>
            <a:solidFill>
              <a:srgbClr val="8C88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5" name="Freeform: Shape 3664">
              <a:extLst>
                <a:ext uri="{FF2B5EF4-FFF2-40B4-BE49-F238E27FC236}">
                  <a16:creationId xmlns:a16="http://schemas.microsoft.com/office/drawing/2014/main" id="{C5BE8FB8-96F8-35EE-00C8-A6D09448A09B}"/>
                </a:ext>
              </a:extLst>
            </p:cNvPr>
            <p:cNvSpPr/>
            <p:nvPr/>
          </p:nvSpPr>
          <p:spPr>
            <a:xfrm>
              <a:off x="6331368" y="3625335"/>
              <a:ext cx="986042" cy="981632"/>
            </a:xfrm>
            <a:custGeom>
              <a:avLst/>
              <a:gdLst>
                <a:gd name="connsiteX0" fmla="*/ 618274 w 986042"/>
                <a:gd name="connsiteY0" fmla="*/ 962522 h 981632"/>
                <a:gd name="connsiteX1" fmla="*/ 575702 w 986042"/>
                <a:gd name="connsiteY1" fmla="*/ 958636 h 981632"/>
                <a:gd name="connsiteX2" fmla="*/ 450319 w 986042"/>
                <a:gd name="connsiteY2" fmla="*/ 972273 h 981632"/>
                <a:gd name="connsiteX3" fmla="*/ 410679 w 986042"/>
                <a:gd name="connsiteY3" fmla="*/ 980681 h 981632"/>
                <a:gd name="connsiteX4" fmla="*/ 375279 w 986042"/>
                <a:gd name="connsiteY4" fmla="*/ 938781 h 981632"/>
                <a:gd name="connsiteX5" fmla="*/ 310980 w 986042"/>
                <a:gd name="connsiteY5" fmla="*/ 876884 h 981632"/>
                <a:gd name="connsiteX6" fmla="*/ 309390 w 986042"/>
                <a:gd name="connsiteY6" fmla="*/ 876742 h 981632"/>
                <a:gd name="connsiteX7" fmla="*/ 256148 w 986042"/>
                <a:gd name="connsiteY7" fmla="*/ 814527 h 981632"/>
                <a:gd name="connsiteX8" fmla="*/ 239791 w 986042"/>
                <a:gd name="connsiteY8" fmla="*/ 755987 h 981632"/>
                <a:gd name="connsiteX9" fmla="*/ 195523 w 986042"/>
                <a:gd name="connsiteY9" fmla="*/ 726946 h 981632"/>
                <a:gd name="connsiteX10" fmla="*/ 106034 w 986042"/>
                <a:gd name="connsiteY10" fmla="*/ 725603 h 981632"/>
                <a:gd name="connsiteX11" fmla="*/ 3650 w 986042"/>
                <a:gd name="connsiteY11" fmla="*/ 671408 h 981632"/>
                <a:gd name="connsiteX12" fmla="*/ 12588 w 986042"/>
                <a:gd name="connsiteY12" fmla="*/ 605801 h 981632"/>
                <a:gd name="connsiteX13" fmla="*/ 35552 w 986042"/>
                <a:gd name="connsiteY13" fmla="*/ 573404 h 981632"/>
                <a:gd name="connsiteX14" fmla="*/ 57174 w 986042"/>
                <a:gd name="connsiteY14" fmla="*/ 475578 h 981632"/>
                <a:gd name="connsiteX15" fmla="*/ 83141 w 986042"/>
                <a:gd name="connsiteY15" fmla="*/ 422654 h 981632"/>
                <a:gd name="connsiteX16" fmla="*/ 109496 w 986042"/>
                <a:gd name="connsiteY16" fmla="*/ 411525 h 981632"/>
                <a:gd name="connsiteX17" fmla="*/ 135711 w 986042"/>
                <a:gd name="connsiteY17" fmla="*/ 357789 h 981632"/>
                <a:gd name="connsiteX18" fmla="*/ 103667 w 986042"/>
                <a:gd name="connsiteY18" fmla="*/ 299673 h 981632"/>
                <a:gd name="connsiteX19" fmla="*/ 92432 w 986042"/>
                <a:gd name="connsiteY19" fmla="*/ 231558 h 981632"/>
                <a:gd name="connsiteX20" fmla="*/ 153305 w 986042"/>
                <a:gd name="connsiteY20" fmla="*/ 191282 h 981632"/>
                <a:gd name="connsiteX21" fmla="*/ 198774 w 986042"/>
                <a:gd name="connsiteY21" fmla="*/ 184888 h 981632"/>
                <a:gd name="connsiteX22" fmla="*/ 262260 w 986042"/>
                <a:gd name="connsiteY22" fmla="*/ 140337 h 981632"/>
                <a:gd name="connsiteX23" fmla="*/ 327054 w 986042"/>
                <a:gd name="connsiteY23" fmla="*/ 95964 h 981632"/>
                <a:gd name="connsiteX24" fmla="*/ 379236 w 986042"/>
                <a:gd name="connsiteY24" fmla="*/ 98225 h 981632"/>
                <a:gd name="connsiteX25" fmla="*/ 485683 w 986042"/>
                <a:gd name="connsiteY25" fmla="*/ 53569 h 981632"/>
                <a:gd name="connsiteX26" fmla="*/ 513417 w 986042"/>
                <a:gd name="connsiteY26" fmla="*/ 14954 h 981632"/>
                <a:gd name="connsiteX27" fmla="*/ 588456 w 986042"/>
                <a:gd name="connsiteY27" fmla="*/ 23786 h 981632"/>
                <a:gd name="connsiteX28" fmla="*/ 612692 w 986042"/>
                <a:gd name="connsiteY28" fmla="*/ 66640 h 981632"/>
                <a:gd name="connsiteX29" fmla="*/ 705149 w 986042"/>
                <a:gd name="connsiteY29" fmla="*/ 127407 h 981632"/>
                <a:gd name="connsiteX30" fmla="*/ 786901 w 986042"/>
                <a:gd name="connsiteY30" fmla="*/ 189798 h 981632"/>
                <a:gd name="connsiteX31" fmla="*/ 799690 w 986042"/>
                <a:gd name="connsiteY31" fmla="*/ 213540 h 981632"/>
                <a:gd name="connsiteX32" fmla="*/ 880347 w 986042"/>
                <a:gd name="connsiteY32" fmla="*/ 239295 h 981632"/>
                <a:gd name="connsiteX33" fmla="*/ 916595 w 986042"/>
                <a:gd name="connsiteY33" fmla="*/ 227672 h 981632"/>
                <a:gd name="connsiteX34" fmla="*/ 985593 w 986042"/>
                <a:gd name="connsiteY34" fmla="*/ 271233 h 981632"/>
                <a:gd name="connsiteX35" fmla="*/ 970402 w 986042"/>
                <a:gd name="connsiteY35" fmla="*/ 320305 h 981632"/>
                <a:gd name="connsiteX36" fmla="*/ 934048 w 986042"/>
                <a:gd name="connsiteY36" fmla="*/ 378175 h 981632"/>
                <a:gd name="connsiteX37" fmla="*/ 934048 w 986042"/>
                <a:gd name="connsiteY37" fmla="*/ 437492 h 981632"/>
                <a:gd name="connsiteX38" fmla="*/ 955493 w 986042"/>
                <a:gd name="connsiteY38" fmla="*/ 487060 h 981632"/>
                <a:gd name="connsiteX39" fmla="*/ 925887 w 986042"/>
                <a:gd name="connsiteY39" fmla="*/ 539559 h 981632"/>
                <a:gd name="connsiteX40" fmla="*/ 880453 w 986042"/>
                <a:gd name="connsiteY40" fmla="*/ 557471 h 981632"/>
                <a:gd name="connsiteX41" fmla="*/ 874907 w 986042"/>
                <a:gd name="connsiteY41" fmla="*/ 648656 h 981632"/>
                <a:gd name="connsiteX42" fmla="*/ 891335 w 986042"/>
                <a:gd name="connsiteY42" fmla="*/ 672079 h 981632"/>
                <a:gd name="connsiteX43" fmla="*/ 873458 w 986042"/>
                <a:gd name="connsiteY43" fmla="*/ 777114 h 981632"/>
                <a:gd name="connsiteX44" fmla="*/ 780754 w 986042"/>
                <a:gd name="connsiteY44" fmla="*/ 824419 h 981632"/>
                <a:gd name="connsiteX45" fmla="*/ 737051 w 986042"/>
                <a:gd name="connsiteY45" fmla="*/ 870878 h 981632"/>
                <a:gd name="connsiteX46" fmla="*/ 730657 w 986042"/>
                <a:gd name="connsiteY46" fmla="*/ 893771 h 981632"/>
                <a:gd name="connsiteX47" fmla="*/ 659115 w 986042"/>
                <a:gd name="connsiteY47" fmla="*/ 959130 h 981632"/>
                <a:gd name="connsiteX48" fmla="*/ 618239 w 986042"/>
                <a:gd name="connsiteY48" fmla="*/ 962557 h 981632"/>
                <a:gd name="connsiteX49" fmla="*/ 208383 w 986042"/>
                <a:gd name="connsiteY49" fmla="*/ 403753 h 981632"/>
                <a:gd name="connsiteX50" fmla="*/ 306952 w 986042"/>
                <a:gd name="connsiteY50" fmla="*/ 522530 h 981632"/>
                <a:gd name="connsiteX51" fmla="*/ 430110 w 986042"/>
                <a:gd name="connsiteY51" fmla="*/ 483739 h 981632"/>
                <a:gd name="connsiteX52" fmla="*/ 476957 w 986042"/>
                <a:gd name="connsiteY52" fmla="*/ 392589 h 981632"/>
                <a:gd name="connsiteX53" fmla="*/ 524510 w 986042"/>
                <a:gd name="connsiteY53" fmla="*/ 289780 h 981632"/>
                <a:gd name="connsiteX54" fmla="*/ 537865 w 986042"/>
                <a:gd name="connsiteY54" fmla="*/ 228237 h 981632"/>
                <a:gd name="connsiteX55" fmla="*/ 445761 w 986042"/>
                <a:gd name="connsiteY55" fmla="*/ 179765 h 981632"/>
                <a:gd name="connsiteX56" fmla="*/ 392449 w 986042"/>
                <a:gd name="connsiteY56" fmla="*/ 209477 h 981632"/>
                <a:gd name="connsiteX57" fmla="*/ 330446 w 986042"/>
                <a:gd name="connsiteY57" fmla="*/ 265827 h 981632"/>
                <a:gd name="connsiteX58" fmla="*/ 265723 w 986042"/>
                <a:gd name="connsiteY58" fmla="*/ 303064 h 981632"/>
                <a:gd name="connsiteX59" fmla="*/ 208383 w 986042"/>
                <a:gd name="connsiteY59" fmla="*/ 403753 h 981632"/>
                <a:gd name="connsiteX60" fmla="*/ 559380 w 986042"/>
                <a:gd name="connsiteY60" fmla="*/ 543163 h 981632"/>
                <a:gd name="connsiteX61" fmla="*/ 565139 w 986042"/>
                <a:gd name="connsiteY61" fmla="*/ 629402 h 981632"/>
                <a:gd name="connsiteX62" fmla="*/ 634702 w 986042"/>
                <a:gd name="connsiteY62" fmla="*/ 666038 h 981632"/>
                <a:gd name="connsiteX63" fmla="*/ 680171 w 986042"/>
                <a:gd name="connsiteY63" fmla="*/ 623643 h 981632"/>
                <a:gd name="connsiteX64" fmla="*/ 724757 w 986042"/>
                <a:gd name="connsiteY64" fmla="*/ 432158 h 981632"/>
                <a:gd name="connsiteX65" fmla="*/ 685400 w 986042"/>
                <a:gd name="connsiteY65" fmla="*/ 336945 h 981632"/>
                <a:gd name="connsiteX66" fmla="*/ 595911 w 986042"/>
                <a:gd name="connsiteY66" fmla="*/ 322036 h 981632"/>
                <a:gd name="connsiteX67" fmla="*/ 550371 w 986042"/>
                <a:gd name="connsiteY67" fmla="*/ 432087 h 981632"/>
                <a:gd name="connsiteX68" fmla="*/ 559380 w 986042"/>
                <a:gd name="connsiteY68" fmla="*/ 543163 h 981632"/>
                <a:gd name="connsiteX69" fmla="*/ 504973 w 986042"/>
                <a:gd name="connsiteY69" fmla="*/ 659856 h 981632"/>
                <a:gd name="connsiteX70" fmla="*/ 415872 w 986042"/>
                <a:gd name="connsiteY70" fmla="*/ 563936 h 981632"/>
                <a:gd name="connsiteX71" fmla="*/ 358604 w 986042"/>
                <a:gd name="connsiteY71" fmla="*/ 626257 h 981632"/>
                <a:gd name="connsiteX72" fmla="*/ 425588 w 986042"/>
                <a:gd name="connsiteY72" fmla="*/ 720481 h 981632"/>
                <a:gd name="connsiteX73" fmla="*/ 493597 w 986042"/>
                <a:gd name="connsiteY73" fmla="*/ 703735 h 981632"/>
                <a:gd name="connsiteX74" fmla="*/ 505008 w 986042"/>
                <a:gd name="connsiteY74" fmla="*/ 659856 h 981632"/>
                <a:gd name="connsiteX75" fmla="*/ 752420 w 986042"/>
                <a:gd name="connsiteY75" fmla="*/ 344258 h 981632"/>
                <a:gd name="connsiteX76" fmla="*/ 794956 w 986042"/>
                <a:gd name="connsiteY76" fmla="*/ 307763 h 981632"/>
                <a:gd name="connsiteX77" fmla="*/ 746838 w 986042"/>
                <a:gd name="connsiteY77" fmla="*/ 264626 h 981632"/>
                <a:gd name="connsiteX78" fmla="*/ 712038 w 986042"/>
                <a:gd name="connsiteY78" fmla="*/ 302534 h 981632"/>
                <a:gd name="connsiteX79" fmla="*/ 752384 w 986042"/>
                <a:gd name="connsiteY79" fmla="*/ 344258 h 981632"/>
                <a:gd name="connsiteX80" fmla="*/ 101936 w 986042"/>
                <a:gd name="connsiteY80" fmla="*/ 580153 h 981632"/>
                <a:gd name="connsiteX81" fmla="*/ 68055 w 986042"/>
                <a:gd name="connsiteY81" fmla="*/ 612867 h 981632"/>
                <a:gd name="connsiteX82" fmla="*/ 105681 w 986042"/>
                <a:gd name="connsiteY82" fmla="*/ 650246 h 981632"/>
                <a:gd name="connsiteX83" fmla="*/ 144296 w 986042"/>
                <a:gd name="connsiteY83" fmla="*/ 615093 h 981632"/>
                <a:gd name="connsiteX84" fmla="*/ 101936 w 986042"/>
                <a:gd name="connsiteY84" fmla="*/ 580153 h 981632"/>
                <a:gd name="connsiteX85" fmla="*/ 554611 w 986042"/>
                <a:gd name="connsiteY85" fmla="*/ 95575 h 981632"/>
                <a:gd name="connsiteX86" fmla="*/ 521012 w 986042"/>
                <a:gd name="connsiteY86" fmla="*/ 127442 h 981632"/>
                <a:gd name="connsiteX87" fmla="*/ 556483 w 986042"/>
                <a:gd name="connsiteY87" fmla="*/ 162524 h 981632"/>
                <a:gd name="connsiteX88" fmla="*/ 594074 w 986042"/>
                <a:gd name="connsiteY88" fmla="*/ 131434 h 981632"/>
                <a:gd name="connsiteX89" fmla="*/ 554611 w 986042"/>
                <a:gd name="connsiteY89" fmla="*/ 95610 h 981632"/>
                <a:gd name="connsiteX90" fmla="*/ 144331 w 986042"/>
                <a:gd name="connsiteY90" fmla="*/ 236115 h 981632"/>
                <a:gd name="connsiteX91" fmla="*/ 115926 w 986042"/>
                <a:gd name="connsiteY91" fmla="*/ 264520 h 981632"/>
                <a:gd name="connsiteX92" fmla="*/ 146839 w 986042"/>
                <a:gd name="connsiteY92" fmla="*/ 296281 h 981632"/>
                <a:gd name="connsiteX93" fmla="*/ 179413 w 986042"/>
                <a:gd name="connsiteY93" fmla="*/ 267028 h 981632"/>
                <a:gd name="connsiteX94" fmla="*/ 144331 w 986042"/>
                <a:gd name="connsiteY94" fmla="*/ 236080 h 981632"/>
                <a:gd name="connsiteX95" fmla="*/ 638730 w 986042"/>
                <a:gd name="connsiteY95" fmla="*/ 864236 h 981632"/>
                <a:gd name="connsiteX96" fmla="*/ 609548 w 986042"/>
                <a:gd name="connsiteY96" fmla="*/ 835336 h 981632"/>
                <a:gd name="connsiteX97" fmla="*/ 582380 w 986042"/>
                <a:gd name="connsiteY97" fmla="*/ 860102 h 981632"/>
                <a:gd name="connsiteX98" fmla="*/ 608276 w 986042"/>
                <a:gd name="connsiteY98" fmla="*/ 889319 h 981632"/>
                <a:gd name="connsiteX99" fmla="*/ 638765 w 986042"/>
                <a:gd name="connsiteY99" fmla="*/ 864236 h 981632"/>
                <a:gd name="connsiteX100" fmla="*/ 797818 w 986042"/>
                <a:gd name="connsiteY100" fmla="*/ 577008 h 981632"/>
                <a:gd name="connsiteX101" fmla="*/ 826823 w 986042"/>
                <a:gd name="connsiteY101" fmla="*/ 552949 h 981632"/>
                <a:gd name="connsiteX102" fmla="*/ 795698 w 986042"/>
                <a:gd name="connsiteY102" fmla="*/ 525993 h 981632"/>
                <a:gd name="connsiteX103" fmla="*/ 770438 w 986042"/>
                <a:gd name="connsiteY103" fmla="*/ 548391 h 981632"/>
                <a:gd name="connsiteX104" fmla="*/ 797783 w 986042"/>
                <a:gd name="connsiteY104" fmla="*/ 577008 h 981632"/>
                <a:gd name="connsiteX105" fmla="*/ 457066 w 986042"/>
                <a:gd name="connsiteY105" fmla="*/ 901791 h 981632"/>
                <a:gd name="connsiteX106" fmla="*/ 437565 w 986042"/>
                <a:gd name="connsiteY106" fmla="*/ 883738 h 981632"/>
                <a:gd name="connsiteX107" fmla="*/ 421949 w 986042"/>
                <a:gd name="connsiteY107" fmla="*/ 902038 h 981632"/>
                <a:gd name="connsiteX108" fmla="*/ 439472 w 986042"/>
                <a:gd name="connsiteY108" fmla="*/ 920233 h 981632"/>
                <a:gd name="connsiteX109" fmla="*/ 457031 w 986042"/>
                <a:gd name="connsiteY109" fmla="*/ 901791 h 981632"/>
                <a:gd name="connsiteX110" fmla="*/ 849151 w 986042"/>
                <a:gd name="connsiteY110" fmla="*/ 438658 h 981632"/>
                <a:gd name="connsiteX111" fmla="*/ 834101 w 986042"/>
                <a:gd name="connsiteY111" fmla="*/ 421029 h 981632"/>
                <a:gd name="connsiteX112" fmla="*/ 817461 w 986042"/>
                <a:gd name="connsiteY112" fmla="*/ 438058 h 981632"/>
                <a:gd name="connsiteX113" fmla="*/ 834702 w 986042"/>
                <a:gd name="connsiteY113" fmla="*/ 454698 h 981632"/>
                <a:gd name="connsiteX114" fmla="*/ 849116 w 986042"/>
                <a:gd name="connsiteY114" fmla="*/ 438623 h 981632"/>
                <a:gd name="connsiteX115" fmla="*/ 819687 w 986042"/>
                <a:gd name="connsiteY115" fmla="*/ 726804 h 981632"/>
                <a:gd name="connsiteX116" fmla="*/ 836115 w 986042"/>
                <a:gd name="connsiteY116" fmla="*/ 713062 h 981632"/>
                <a:gd name="connsiteX117" fmla="*/ 821453 w 986042"/>
                <a:gd name="connsiteY117" fmla="*/ 698152 h 981632"/>
                <a:gd name="connsiteX118" fmla="*/ 804778 w 986042"/>
                <a:gd name="connsiteY118" fmla="*/ 712602 h 981632"/>
                <a:gd name="connsiteX119" fmla="*/ 819687 w 986042"/>
                <a:gd name="connsiteY119" fmla="*/ 726769 h 981632"/>
                <a:gd name="connsiteX120" fmla="*/ 331824 w 986042"/>
                <a:gd name="connsiteY120" fmla="*/ 806472 h 981632"/>
                <a:gd name="connsiteX121" fmla="*/ 342175 w 986042"/>
                <a:gd name="connsiteY121" fmla="*/ 792588 h 981632"/>
                <a:gd name="connsiteX122" fmla="*/ 327549 w 986042"/>
                <a:gd name="connsiteY122" fmla="*/ 778067 h 981632"/>
                <a:gd name="connsiteX123" fmla="*/ 313841 w 986042"/>
                <a:gd name="connsiteY123" fmla="*/ 793330 h 981632"/>
                <a:gd name="connsiteX124" fmla="*/ 331859 w 986042"/>
                <a:gd name="connsiteY124" fmla="*/ 806437 h 981632"/>
                <a:gd name="connsiteX125" fmla="*/ 472011 w 986042"/>
                <a:gd name="connsiteY125" fmla="*/ 519139 h 981632"/>
                <a:gd name="connsiteX126" fmla="*/ 457950 w 986042"/>
                <a:gd name="connsiteY126" fmla="*/ 506879 h 981632"/>
                <a:gd name="connsiteX127" fmla="*/ 445090 w 986042"/>
                <a:gd name="connsiteY127" fmla="*/ 517937 h 981632"/>
                <a:gd name="connsiteX128" fmla="*/ 459787 w 986042"/>
                <a:gd name="connsiteY128" fmla="*/ 531469 h 981632"/>
                <a:gd name="connsiteX129" fmla="*/ 472011 w 986042"/>
                <a:gd name="connsiteY129" fmla="*/ 519139 h 981632"/>
                <a:gd name="connsiteX130" fmla="*/ 928713 w 986042"/>
                <a:gd name="connsiteY130" fmla="*/ 503735 h 981632"/>
                <a:gd name="connsiteX131" fmla="*/ 916454 w 986042"/>
                <a:gd name="connsiteY131" fmla="*/ 491370 h 981632"/>
                <a:gd name="connsiteX132" fmla="*/ 903523 w 986042"/>
                <a:gd name="connsiteY132" fmla="*/ 504512 h 981632"/>
                <a:gd name="connsiteX133" fmla="*/ 914864 w 986042"/>
                <a:gd name="connsiteY133" fmla="*/ 516277 h 981632"/>
                <a:gd name="connsiteX134" fmla="*/ 928678 w 986042"/>
                <a:gd name="connsiteY134" fmla="*/ 503770 h 981632"/>
                <a:gd name="connsiteX135" fmla="*/ 150867 w 986042"/>
                <a:gd name="connsiteY135" fmla="*/ 532175 h 981632"/>
                <a:gd name="connsiteX136" fmla="*/ 163232 w 986042"/>
                <a:gd name="connsiteY136" fmla="*/ 520022 h 981632"/>
                <a:gd name="connsiteX137" fmla="*/ 150231 w 986042"/>
                <a:gd name="connsiteY137" fmla="*/ 507268 h 981632"/>
                <a:gd name="connsiteX138" fmla="*/ 138608 w 986042"/>
                <a:gd name="connsiteY138" fmla="*/ 519881 h 981632"/>
                <a:gd name="connsiteX139" fmla="*/ 150867 w 986042"/>
                <a:gd name="connsiteY139" fmla="*/ 532211 h 981632"/>
                <a:gd name="connsiteX140" fmla="*/ 298120 w 986042"/>
                <a:gd name="connsiteY140" fmla="*/ 608698 h 981632"/>
                <a:gd name="connsiteX141" fmla="*/ 309849 w 986042"/>
                <a:gd name="connsiteY141" fmla="*/ 596015 h 981632"/>
                <a:gd name="connsiteX142" fmla="*/ 296283 w 986042"/>
                <a:gd name="connsiteY142" fmla="*/ 583827 h 981632"/>
                <a:gd name="connsiteX143" fmla="*/ 285224 w 986042"/>
                <a:gd name="connsiteY143" fmla="*/ 596934 h 981632"/>
                <a:gd name="connsiteX144" fmla="*/ 298120 w 986042"/>
                <a:gd name="connsiteY144" fmla="*/ 608663 h 981632"/>
                <a:gd name="connsiteX145" fmla="*/ 191037 w 986042"/>
                <a:gd name="connsiteY145" fmla="*/ 395239 h 981632"/>
                <a:gd name="connsiteX146" fmla="*/ 180014 w 986042"/>
                <a:gd name="connsiteY146" fmla="*/ 407780 h 981632"/>
                <a:gd name="connsiteX147" fmla="*/ 191602 w 986042"/>
                <a:gd name="connsiteY147" fmla="*/ 419863 h 981632"/>
                <a:gd name="connsiteX148" fmla="*/ 204709 w 986042"/>
                <a:gd name="connsiteY148" fmla="*/ 407039 h 981632"/>
                <a:gd name="connsiteX149" fmla="*/ 191072 w 986042"/>
                <a:gd name="connsiteY149" fmla="*/ 395274 h 981632"/>
                <a:gd name="connsiteX150" fmla="*/ 612162 w 986042"/>
                <a:gd name="connsiteY150" fmla="*/ 723413 h 981632"/>
                <a:gd name="connsiteX151" fmla="*/ 622054 w 986042"/>
                <a:gd name="connsiteY151" fmla="*/ 712531 h 981632"/>
                <a:gd name="connsiteX152" fmla="*/ 607675 w 986042"/>
                <a:gd name="connsiteY152" fmla="*/ 701332 h 981632"/>
                <a:gd name="connsiteX153" fmla="*/ 597324 w 986042"/>
                <a:gd name="connsiteY153" fmla="*/ 712320 h 981632"/>
                <a:gd name="connsiteX154" fmla="*/ 612162 w 986042"/>
                <a:gd name="connsiteY154" fmla="*/ 723413 h 981632"/>
                <a:gd name="connsiteX155" fmla="*/ 753091 w 986042"/>
                <a:gd name="connsiteY155" fmla="*/ 220959 h 981632"/>
                <a:gd name="connsiteX156" fmla="*/ 744577 w 986042"/>
                <a:gd name="connsiteY156" fmla="*/ 231275 h 981632"/>
                <a:gd name="connsiteX157" fmla="*/ 754681 w 986042"/>
                <a:gd name="connsiteY157" fmla="*/ 238659 h 981632"/>
                <a:gd name="connsiteX158" fmla="*/ 762277 w 986042"/>
                <a:gd name="connsiteY158" fmla="*/ 230392 h 981632"/>
                <a:gd name="connsiteX159" fmla="*/ 753091 w 986042"/>
                <a:gd name="connsiteY159" fmla="*/ 220959 h 981632"/>
                <a:gd name="connsiteX160" fmla="*/ 918609 w 986042"/>
                <a:gd name="connsiteY160" fmla="*/ 273600 h 981632"/>
                <a:gd name="connsiteX161" fmla="*/ 927477 w 986042"/>
                <a:gd name="connsiteY161" fmla="*/ 264237 h 981632"/>
                <a:gd name="connsiteX162" fmla="*/ 919210 w 986042"/>
                <a:gd name="connsiteY162" fmla="*/ 256324 h 981632"/>
                <a:gd name="connsiteX163" fmla="*/ 910377 w 986042"/>
                <a:gd name="connsiteY163" fmla="*/ 265792 h 981632"/>
                <a:gd name="connsiteX164" fmla="*/ 918609 w 986042"/>
                <a:gd name="connsiteY164" fmla="*/ 273564 h 981632"/>
                <a:gd name="connsiteX165" fmla="*/ 526877 w 986042"/>
                <a:gd name="connsiteY165" fmla="*/ 841342 h 981632"/>
                <a:gd name="connsiteX166" fmla="*/ 519458 w 986042"/>
                <a:gd name="connsiteY166" fmla="*/ 832757 h 981632"/>
                <a:gd name="connsiteX167" fmla="*/ 511509 w 986042"/>
                <a:gd name="connsiteY167" fmla="*/ 842119 h 981632"/>
                <a:gd name="connsiteX168" fmla="*/ 518857 w 986042"/>
                <a:gd name="connsiteY168" fmla="*/ 850457 h 981632"/>
                <a:gd name="connsiteX169" fmla="*/ 526877 w 986042"/>
                <a:gd name="connsiteY169" fmla="*/ 841342 h 981632"/>
                <a:gd name="connsiteX170" fmla="*/ 638589 w 986042"/>
                <a:gd name="connsiteY170" fmla="*/ 164679 h 981632"/>
                <a:gd name="connsiteX171" fmla="*/ 646891 w 986042"/>
                <a:gd name="connsiteY171" fmla="*/ 156342 h 981632"/>
                <a:gd name="connsiteX172" fmla="*/ 637741 w 986042"/>
                <a:gd name="connsiteY172" fmla="*/ 147227 h 981632"/>
                <a:gd name="connsiteX173" fmla="*/ 629827 w 986042"/>
                <a:gd name="connsiteY173" fmla="*/ 154822 h 981632"/>
                <a:gd name="connsiteX174" fmla="*/ 638589 w 986042"/>
                <a:gd name="connsiteY174" fmla="*/ 164644 h 981632"/>
                <a:gd name="connsiteX175" fmla="*/ 492643 w 986042"/>
                <a:gd name="connsiteY175" fmla="*/ 429614 h 981632"/>
                <a:gd name="connsiteX176" fmla="*/ 500981 w 986042"/>
                <a:gd name="connsiteY176" fmla="*/ 419828 h 981632"/>
                <a:gd name="connsiteX177" fmla="*/ 493420 w 986042"/>
                <a:gd name="connsiteY177" fmla="*/ 411808 h 981632"/>
                <a:gd name="connsiteX178" fmla="*/ 483881 w 986042"/>
                <a:gd name="connsiteY178" fmla="*/ 420605 h 981632"/>
                <a:gd name="connsiteX179" fmla="*/ 492608 w 986042"/>
                <a:gd name="connsiteY179" fmla="*/ 429579 h 981632"/>
                <a:gd name="connsiteX180" fmla="*/ 864484 w 986042"/>
                <a:gd name="connsiteY180" fmla="*/ 317903 h 981632"/>
                <a:gd name="connsiteX181" fmla="*/ 857030 w 986042"/>
                <a:gd name="connsiteY181" fmla="*/ 309494 h 981632"/>
                <a:gd name="connsiteX182" fmla="*/ 847385 w 986042"/>
                <a:gd name="connsiteY182" fmla="*/ 314864 h 981632"/>
                <a:gd name="connsiteX183" fmla="*/ 855758 w 986042"/>
                <a:gd name="connsiteY183" fmla="*/ 324297 h 981632"/>
                <a:gd name="connsiteX184" fmla="*/ 864484 w 986042"/>
                <a:gd name="connsiteY184" fmla="*/ 317903 h 981632"/>
                <a:gd name="connsiteX185" fmla="*/ 599797 w 986042"/>
                <a:gd name="connsiteY185" fmla="*/ 263566 h 981632"/>
                <a:gd name="connsiteX186" fmla="*/ 608700 w 986042"/>
                <a:gd name="connsiteY186" fmla="*/ 256041 h 981632"/>
                <a:gd name="connsiteX187" fmla="*/ 600362 w 986042"/>
                <a:gd name="connsiteY187" fmla="*/ 246820 h 981632"/>
                <a:gd name="connsiteX188" fmla="*/ 592201 w 986042"/>
                <a:gd name="connsiteY188" fmla="*/ 254769 h 981632"/>
                <a:gd name="connsiteX189" fmla="*/ 599797 w 986042"/>
                <a:gd name="connsiteY189" fmla="*/ 263601 h 981632"/>
                <a:gd name="connsiteX190" fmla="*/ 188811 w 986042"/>
                <a:gd name="connsiteY190" fmla="*/ 676566 h 981632"/>
                <a:gd name="connsiteX191" fmla="*/ 180862 w 986042"/>
                <a:gd name="connsiteY191" fmla="*/ 684586 h 981632"/>
                <a:gd name="connsiteX192" fmla="*/ 189411 w 986042"/>
                <a:gd name="connsiteY192" fmla="*/ 693630 h 981632"/>
                <a:gd name="connsiteX193" fmla="*/ 197360 w 986042"/>
                <a:gd name="connsiteY193" fmla="*/ 685504 h 981632"/>
                <a:gd name="connsiteX194" fmla="*/ 188846 w 986042"/>
                <a:gd name="connsiteY194" fmla="*/ 676602 h 981632"/>
                <a:gd name="connsiteX195" fmla="*/ 382627 w 986042"/>
                <a:gd name="connsiteY195" fmla="*/ 184428 h 981632"/>
                <a:gd name="connsiteX196" fmla="*/ 389340 w 986042"/>
                <a:gd name="connsiteY196" fmla="*/ 175914 h 981632"/>
                <a:gd name="connsiteX197" fmla="*/ 380472 w 986042"/>
                <a:gd name="connsiteY197" fmla="*/ 169166 h 981632"/>
                <a:gd name="connsiteX198" fmla="*/ 372347 w 986042"/>
                <a:gd name="connsiteY198" fmla="*/ 176091 h 981632"/>
                <a:gd name="connsiteX199" fmla="*/ 382663 w 986042"/>
                <a:gd name="connsiteY199" fmla="*/ 184464 h 981632"/>
                <a:gd name="connsiteX200" fmla="*/ 220748 w 986042"/>
                <a:gd name="connsiteY200" fmla="*/ 246749 h 981632"/>
                <a:gd name="connsiteX201" fmla="*/ 214955 w 986042"/>
                <a:gd name="connsiteY201" fmla="*/ 239366 h 981632"/>
                <a:gd name="connsiteX202" fmla="*/ 205840 w 986042"/>
                <a:gd name="connsiteY202" fmla="*/ 245831 h 981632"/>
                <a:gd name="connsiteX203" fmla="*/ 212623 w 986042"/>
                <a:gd name="connsiteY203" fmla="*/ 254310 h 981632"/>
                <a:gd name="connsiteX204" fmla="*/ 220748 w 986042"/>
                <a:gd name="connsiteY204" fmla="*/ 246749 h 981632"/>
                <a:gd name="connsiteX205" fmla="*/ 721224 w 986042"/>
                <a:gd name="connsiteY205" fmla="*/ 801915 h 981632"/>
                <a:gd name="connsiteX206" fmla="*/ 715183 w 986042"/>
                <a:gd name="connsiteY206" fmla="*/ 794496 h 981632"/>
                <a:gd name="connsiteX207" fmla="*/ 706350 w 986042"/>
                <a:gd name="connsiteY207" fmla="*/ 800961 h 981632"/>
                <a:gd name="connsiteX208" fmla="*/ 713663 w 986042"/>
                <a:gd name="connsiteY208" fmla="*/ 809122 h 981632"/>
                <a:gd name="connsiteX209" fmla="*/ 721224 w 986042"/>
                <a:gd name="connsiteY209" fmla="*/ 801915 h 98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986042" h="981632">
                  <a:moveTo>
                    <a:pt x="618274" y="962522"/>
                  </a:moveTo>
                  <a:cubicBezTo>
                    <a:pt x="603648" y="964924"/>
                    <a:pt x="588774" y="963087"/>
                    <a:pt x="575702" y="958636"/>
                  </a:cubicBezTo>
                  <a:cubicBezTo>
                    <a:pt x="531329" y="943479"/>
                    <a:pt x="490488" y="950581"/>
                    <a:pt x="450319" y="972273"/>
                  </a:cubicBezTo>
                  <a:cubicBezTo>
                    <a:pt x="438377" y="978703"/>
                    <a:pt x="424846" y="983825"/>
                    <a:pt x="410679" y="980681"/>
                  </a:cubicBezTo>
                  <a:cubicBezTo>
                    <a:pt x="388598" y="975806"/>
                    <a:pt x="377540" y="959872"/>
                    <a:pt x="375279" y="938781"/>
                  </a:cubicBezTo>
                  <a:cubicBezTo>
                    <a:pt x="371075" y="899565"/>
                    <a:pt x="348358" y="880946"/>
                    <a:pt x="310980" y="876884"/>
                  </a:cubicBezTo>
                  <a:cubicBezTo>
                    <a:pt x="310450" y="876813"/>
                    <a:pt x="309920" y="876848"/>
                    <a:pt x="309390" y="876742"/>
                  </a:cubicBezTo>
                  <a:cubicBezTo>
                    <a:pt x="273742" y="870666"/>
                    <a:pt x="260423" y="863388"/>
                    <a:pt x="256148" y="814527"/>
                  </a:cubicBezTo>
                  <a:cubicBezTo>
                    <a:pt x="254347" y="793966"/>
                    <a:pt x="252827" y="773722"/>
                    <a:pt x="239791" y="755987"/>
                  </a:cubicBezTo>
                  <a:cubicBezTo>
                    <a:pt x="228415" y="740512"/>
                    <a:pt x="212870" y="732422"/>
                    <a:pt x="195523" y="726946"/>
                  </a:cubicBezTo>
                  <a:cubicBezTo>
                    <a:pt x="165917" y="717584"/>
                    <a:pt x="135781" y="719986"/>
                    <a:pt x="106034" y="725603"/>
                  </a:cubicBezTo>
                  <a:cubicBezTo>
                    <a:pt x="55160" y="735178"/>
                    <a:pt x="16898" y="715959"/>
                    <a:pt x="3650" y="671408"/>
                  </a:cubicBezTo>
                  <a:cubicBezTo>
                    <a:pt x="-3098" y="648691"/>
                    <a:pt x="-696" y="626151"/>
                    <a:pt x="12588" y="605801"/>
                  </a:cubicBezTo>
                  <a:cubicBezTo>
                    <a:pt x="19830" y="594708"/>
                    <a:pt x="26826" y="583297"/>
                    <a:pt x="35552" y="573404"/>
                  </a:cubicBezTo>
                  <a:cubicBezTo>
                    <a:pt x="60989" y="544576"/>
                    <a:pt x="66253" y="512073"/>
                    <a:pt x="57174" y="475578"/>
                  </a:cubicBezTo>
                  <a:cubicBezTo>
                    <a:pt x="50885" y="450282"/>
                    <a:pt x="59541" y="433924"/>
                    <a:pt x="83141" y="422654"/>
                  </a:cubicBezTo>
                  <a:cubicBezTo>
                    <a:pt x="91726" y="418556"/>
                    <a:pt x="100699" y="415200"/>
                    <a:pt x="109496" y="411525"/>
                  </a:cubicBezTo>
                  <a:cubicBezTo>
                    <a:pt x="133591" y="401527"/>
                    <a:pt x="142141" y="382838"/>
                    <a:pt x="135711" y="357789"/>
                  </a:cubicBezTo>
                  <a:cubicBezTo>
                    <a:pt x="129987" y="335497"/>
                    <a:pt x="116916" y="317408"/>
                    <a:pt x="103667" y="299673"/>
                  </a:cubicBezTo>
                  <a:cubicBezTo>
                    <a:pt x="87804" y="278440"/>
                    <a:pt x="81056" y="256642"/>
                    <a:pt x="92432" y="231558"/>
                  </a:cubicBezTo>
                  <a:cubicBezTo>
                    <a:pt x="104232" y="205520"/>
                    <a:pt x="127514" y="196087"/>
                    <a:pt x="153305" y="191282"/>
                  </a:cubicBezTo>
                  <a:cubicBezTo>
                    <a:pt x="168355" y="188491"/>
                    <a:pt x="183653" y="187255"/>
                    <a:pt x="198774" y="184888"/>
                  </a:cubicBezTo>
                  <a:cubicBezTo>
                    <a:pt x="227143" y="180436"/>
                    <a:pt x="249648" y="166799"/>
                    <a:pt x="262260" y="140337"/>
                  </a:cubicBezTo>
                  <a:cubicBezTo>
                    <a:pt x="275438" y="112674"/>
                    <a:pt x="297908" y="98825"/>
                    <a:pt x="327054" y="95964"/>
                  </a:cubicBezTo>
                  <a:cubicBezTo>
                    <a:pt x="344295" y="94268"/>
                    <a:pt x="361854" y="93561"/>
                    <a:pt x="379236" y="98225"/>
                  </a:cubicBezTo>
                  <a:cubicBezTo>
                    <a:pt x="426012" y="110802"/>
                    <a:pt x="459151" y="89675"/>
                    <a:pt x="485683" y="53569"/>
                  </a:cubicBezTo>
                  <a:cubicBezTo>
                    <a:pt x="495081" y="40815"/>
                    <a:pt x="501263" y="25870"/>
                    <a:pt x="513417" y="14954"/>
                  </a:cubicBezTo>
                  <a:cubicBezTo>
                    <a:pt x="538607" y="-7693"/>
                    <a:pt x="569767" y="-4513"/>
                    <a:pt x="588456" y="23786"/>
                  </a:cubicBezTo>
                  <a:cubicBezTo>
                    <a:pt x="597501" y="37458"/>
                    <a:pt x="606404" y="51590"/>
                    <a:pt x="612692" y="66640"/>
                  </a:cubicBezTo>
                  <a:cubicBezTo>
                    <a:pt x="630004" y="108188"/>
                    <a:pt x="663248" y="123591"/>
                    <a:pt x="705149" y="127407"/>
                  </a:cubicBezTo>
                  <a:cubicBezTo>
                    <a:pt x="745177" y="131046"/>
                    <a:pt x="773476" y="150583"/>
                    <a:pt x="786901" y="189798"/>
                  </a:cubicBezTo>
                  <a:cubicBezTo>
                    <a:pt x="789763" y="198207"/>
                    <a:pt x="794815" y="206015"/>
                    <a:pt x="799690" y="213540"/>
                  </a:cubicBezTo>
                  <a:cubicBezTo>
                    <a:pt x="820217" y="245230"/>
                    <a:pt x="844841" y="252791"/>
                    <a:pt x="880347" y="239295"/>
                  </a:cubicBezTo>
                  <a:cubicBezTo>
                    <a:pt x="892218" y="234773"/>
                    <a:pt x="904301" y="230639"/>
                    <a:pt x="916595" y="227672"/>
                  </a:cubicBezTo>
                  <a:cubicBezTo>
                    <a:pt x="948780" y="219899"/>
                    <a:pt x="981354" y="240249"/>
                    <a:pt x="985593" y="271233"/>
                  </a:cubicBezTo>
                  <a:cubicBezTo>
                    <a:pt x="988102" y="289498"/>
                    <a:pt x="979693" y="305219"/>
                    <a:pt x="970402" y="320305"/>
                  </a:cubicBezTo>
                  <a:cubicBezTo>
                    <a:pt x="958425" y="339666"/>
                    <a:pt x="944223" y="357578"/>
                    <a:pt x="934048" y="378175"/>
                  </a:cubicBezTo>
                  <a:cubicBezTo>
                    <a:pt x="924156" y="398242"/>
                    <a:pt x="923838" y="417637"/>
                    <a:pt x="934048" y="437492"/>
                  </a:cubicBezTo>
                  <a:cubicBezTo>
                    <a:pt x="942315" y="453532"/>
                    <a:pt x="950653" y="469607"/>
                    <a:pt x="955493" y="487060"/>
                  </a:cubicBezTo>
                  <a:cubicBezTo>
                    <a:pt x="961605" y="509211"/>
                    <a:pt x="957365" y="534224"/>
                    <a:pt x="925887" y="539559"/>
                  </a:cubicBezTo>
                  <a:cubicBezTo>
                    <a:pt x="909706" y="542279"/>
                    <a:pt x="893066" y="546625"/>
                    <a:pt x="880453" y="557471"/>
                  </a:cubicBezTo>
                  <a:cubicBezTo>
                    <a:pt x="848268" y="585098"/>
                    <a:pt x="849999" y="610112"/>
                    <a:pt x="874907" y="648656"/>
                  </a:cubicBezTo>
                  <a:cubicBezTo>
                    <a:pt x="880065" y="656676"/>
                    <a:pt x="886106" y="664095"/>
                    <a:pt x="891335" y="672079"/>
                  </a:cubicBezTo>
                  <a:cubicBezTo>
                    <a:pt x="916242" y="710200"/>
                    <a:pt x="908823" y="748249"/>
                    <a:pt x="873458" y="777114"/>
                  </a:cubicBezTo>
                  <a:cubicBezTo>
                    <a:pt x="845725" y="799760"/>
                    <a:pt x="814246" y="814139"/>
                    <a:pt x="780754" y="824419"/>
                  </a:cubicBezTo>
                  <a:cubicBezTo>
                    <a:pt x="756730" y="831803"/>
                    <a:pt x="744400" y="848656"/>
                    <a:pt x="737051" y="870878"/>
                  </a:cubicBezTo>
                  <a:cubicBezTo>
                    <a:pt x="734578" y="878403"/>
                    <a:pt x="731717" y="885998"/>
                    <a:pt x="730657" y="893771"/>
                  </a:cubicBezTo>
                  <a:cubicBezTo>
                    <a:pt x="724898" y="935566"/>
                    <a:pt x="695751" y="951817"/>
                    <a:pt x="659115" y="959130"/>
                  </a:cubicBezTo>
                  <a:cubicBezTo>
                    <a:pt x="645725" y="961815"/>
                    <a:pt x="632053" y="964748"/>
                    <a:pt x="618239" y="962557"/>
                  </a:cubicBezTo>
                  <a:close/>
                  <a:moveTo>
                    <a:pt x="208383" y="403753"/>
                  </a:moveTo>
                  <a:cubicBezTo>
                    <a:pt x="205274" y="465049"/>
                    <a:pt x="257385" y="510130"/>
                    <a:pt x="306952" y="522530"/>
                  </a:cubicBezTo>
                  <a:cubicBezTo>
                    <a:pt x="355918" y="534790"/>
                    <a:pt x="397466" y="525003"/>
                    <a:pt x="430110" y="483739"/>
                  </a:cubicBezTo>
                  <a:cubicBezTo>
                    <a:pt x="451838" y="456252"/>
                    <a:pt x="468266" y="426328"/>
                    <a:pt x="476957" y="392589"/>
                  </a:cubicBezTo>
                  <a:cubicBezTo>
                    <a:pt x="486566" y="355316"/>
                    <a:pt x="500239" y="320517"/>
                    <a:pt x="524510" y="289780"/>
                  </a:cubicBezTo>
                  <a:cubicBezTo>
                    <a:pt x="538218" y="272399"/>
                    <a:pt x="543235" y="251130"/>
                    <a:pt x="537865" y="228237"/>
                  </a:cubicBezTo>
                  <a:cubicBezTo>
                    <a:pt x="527796" y="185488"/>
                    <a:pt x="477805" y="173936"/>
                    <a:pt x="445761" y="179765"/>
                  </a:cubicBezTo>
                  <a:cubicBezTo>
                    <a:pt x="424846" y="183580"/>
                    <a:pt x="407782" y="194815"/>
                    <a:pt x="392449" y="209477"/>
                  </a:cubicBezTo>
                  <a:cubicBezTo>
                    <a:pt x="372276" y="228767"/>
                    <a:pt x="355883" y="252119"/>
                    <a:pt x="330446" y="265827"/>
                  </a:cubicBezTo>
                  <a:cubicBezTo>
                    <a:pt x="308542" y="277627"/>
                    <a:pt x="287238" y="290558"/>
                    <a:pt x="265723" y="303064"/>
                  </a:cubicBezTo>
                  <a:cubicBezTo>
                    <a:pt x="227108" y="325499"/>
                    <a:pt x="207783" y="358955"/>
                    <a:pt x="208383" y="403753"/>
                  </a:cubicBezTo>
                  <a:close/>
                  <a:moveTo>
                    <a:pt x="559380" y="543163"/>
                  </a:moveTo>
                  <a:cubicBezTo>
                    <a:pt x="559486" y="575913"/>
                    <a:pt x="557649" y="602940"/>
                    <a:pt x="565139" y="629402"/>
                  </a:cubicBezTo>
                  <a:cubicBezTo>
                    <a:pt x="573936" y="660527"/>
                    <a:pt x="604425" y="676778"/>
                    <a:pt x="634702" y="666038"/>
                  </a:cubicBezTo>
                  <a:cubicBezTo>
                    <a:pt x="655971" y="658513"/>
                    <a:pt x="670668" y="642897"/>
                    <a:pt x="680171" y="623643"/>
                  </a:cubicBezTo>
                  <a:cubicBezTo>
                    <a:pt x="709883" y="563406"/>
                    <a:pt x="734402" y="501651"/>
                    <a:pt x="724757" y="432158"/>
                  </a:cubicBezTo>
                  <a:cubicBezTo>
                    <a:pt x="719881" y="397040"/>
                    <a:pt x="710731" y="362948"/>
                    <a:pt x="685400" y="336945"/>
                  </a:cubicBezTo>
                  <a:cubicBezTo>
                    <a:pt x="657949" y="308752"/>
                    <a:pt x="626471" y="300627"/>
                    <a:pt x="595911" y="322036"/>
                  </a:cubicBezTo>
                  <a:cubicBezTo>
                    <a:pt x="557402" y="348993"/>
                    <a:pt x="545990" y="387784"/>
                    <a:pt x="550371" y="432087"/>
                  </a:cubicBezTo>
                  <a:cubicBezTo>
                    <a:pt x="554222" y="470985"/>
                    <a:pt x="561005" y="509635"/>
                    <a:pt x="559380" y="543163"/>
                  </a:cubicBezTo>
                  <a:close/>
                  <a:moveTo>
                    <a:pt x="504973" y="659856"/>
                  </a:moveTo>
                  <a:cubicBezTo>
                    <a:pt x="507870" y="613397"/>
                    <a:pt x="473848" y="557648"/>
                    <a:pt x="415872" y="563936"/>
                  </a:cubicBezTo>
                  <a:cubicBezTo>
                    <a:pt x="383687" y="567434"/>
                    <a:pt x="355918" y="594284"/>
                    <a:pt x="358604" y="626257"/>
                  </a:cubicBezTo>
                  <a:cubicBezTo>
                    <a:pt x="362243" y="670030"/>
                    <a:pt x="388740" y="699848"/>
                    <a:pt x="425588" y="720481"/>
                  </a:cubicBezTo>
                  <a:cubicBezTo>
                    <a:pt x="451555" y="735001"/>
                    <a:pt x="477063" y="728006"/>
                    <a:pt x="493597" y="703735"/>
                  </a:cubicBezTo>
                  <a:cubicBezTo>
                    <a:pt x="502818" y="690168"/>
                    <a:pt x="506634" y="674870"/>
                    <a:pt x="505008" y="659856"/>
                  </a:cubicBezTo>
                  <a:close/>
                  <a:moveTo>
                    <a:pt x="752420" y="344258"/>
                  </a:moveTo>
                  <a:cubicBezTo>
                    <a:pt x="778351" y="344470"/>
                    <a:pt x="794850" y="330268"/>
                    <a:pt x="794956" y="307763"/>
                  </a:cubicBezTo>
                  <a:cubicBezTo>
                    <a:pt x="795062" y="284587"/>
                    <a:pt x="772487" y="264343"/>
                    <a:pt x="746838" y="264626"/>
                  </a:cubicBezTo>
                  <a:cubicBezTo>
                    <a:pt x="727407" y="264838"/>
                    <a:pt x="712144" y="281478"/>
                    <a:pt x="712038" y="302534"/>
                  </a:cubicBezTo>
                  <a:cubicBezTo>
                    <a:pt x="711932" y="325922"/>
                    <a:pt x="729526" y="344082"/>
                    <a:pt x="752384" y="344258"/>
                  </a:cubicBezTo>
                  <a:close/>
                  <a:moveTo>
                    <a:pt x="101936" y="580153"/>
                  </a:moveTo>
                  <a:cubicBezTo>
                    <a:pt x="80350" y="580082"/>
                    <a:pt x="68373" y="591635"/>
                    <a:pt x="68055" y="612867"/>
                  </a:cubicBezTo>
                  <a:cubicBezTo>
                    <a:pt x="67772" y="631733"/>
                    <a:pt x="86073" y="649928"/>
                    <a:pt x="105681" y="650246"/>
                  </a:cubicBezTo>
                  <a:cubicBezTo>
                    <a:pt x="123875" y="650529"/>
                    <a:pt x="144614" y="631663"/>
                    <a:pt x="144296" y="615093"/>
                  </a:cubicBezTo>
                  <a:cubicBezTo>
                    <a:pt x="143942" y="597040"/>
                    <a:pt x="123557" y="580223"/>
                    <a:pt x="101936" y="580153"/>
                  </a:cubicBezTo>
                  <a:close/>
                  <a:moveTo>
                    <a:pt x="554611" y="95575"/>
                  </a:moveTo>
                  <a:cubicBezTo>
                    <a:pt x="534190" y="95504"/>
                    <a:pt x="520977" y="108046"/>
                    <a:pt x="521012" y="127442"/>
                  </a:cubicBezTo>
                  <a:cubicBezTo>
                    <a:pt x="521012" y="146803"/>
                    <a:pt x="536734" y="162312"/>
                    <a:pt x="556483" y="162524"/>
                  </a:cubicBezTo>
                  <a:cubicBezTo>
                    <a:pt x="580154" y="162772"/>
                    <a:pt x="593826" y="151431"/>
                    <a:pt x="594074" y="131434"/>
                  </a:cubicBezTo>
                  <a:cubicBezTo>
                    <a:pt x="594356" y="110343"/>
                    <a:pt x="578176" y="95681"/>
                    <a:pt x="554611" y="95610"/>
                  </a:cubicBezTo>
                  <a:close/>
                  <a:moveTo>
                    <a:pt x="144331" y="236115"/>
                  </a:moveTo>
                  <a:cubicBezTo>
                    <a:pt x="129139" y="236292"/>
                    <a:pt x="115926" y="249505"/>
                    <a:pt x="115926" y="264520"/>
                  </a:cubicBezTo>
                  <a:cubicBezTo>
                    <a:pt x="115926" y="281231"/>
                    <a:pt x="130941" y="296670"/>
                    <a:pt x="146839" y="296281"/>
                  </a:cubicBezTo>
                  <a:cubicBezTo>
                    <a:pt x="162102" y="295893"/>
                    <a:pt x="179908" y="279924"/>
                    <a:pt x="179413" y="267028"/>
                  </a:cubicBezTo>
                  <a:cubicBezTo>
                    <a:pt x="178812" y="252296"/>
                    <a:pt x="160265" y="235939"/>
                    <a:pt x="144331" y="236080"/>
                  </a:cubicBezTo>
                  <a:close/>
                  <a:moveTo>
                    <a:pt x="638730" y="864236"/>
                  </a:moveTo>
                  <a:cubicBezTo>
                    <a:pt x="639401" y="849150"/>
                    <a:pt x="626223" y="836078"/>
                    <a:pt x="609548" y="835336"/>
                  </a:cubicBezTo>
                  <a:cubicBezTo>
                    <a:pt x="595169" y="834665"/>
                    <a:pt x="582839" y="845900"/>
                    <a:pt x="582380" y="860102"/>
                  </a:cubicBezTo>
                  <a:cubicBezTo>
                    <a:pt x="581885" y="874658"/>
                    <a:pt x="594109" y="888436"/>
                    <a:pt x="608276" y="889319"/>
                  </a:cubicBezTo>
                  <a:cubicBezTo>
                    <a:pt x="625093" y="890380"/>
                    <a:pt x="638059" y="879710"/>
                    <a:pt x="638765" y="864236"/>
                  </a:cubicBezTo>
                  <a:close/>
                  <a:moveTo>
                    <a:pt x="797818" y="577008"/>
                  </a:moveTo>
                  <a:cubicBezTo>
                    <a:pt x="815624" y="577149"/>
                    <a:pt x="826894" y="567822"/>
                    <a:pt x="826823" y="552949"/>
                  </a:cubicBezTo>
                  <a:cubicBezTo>
                    <a:pt x="826788" y="537863"/>
                    <a:pt x="813257" y="526134"/>
                    <a:pt x="795698" y="525993"/>
                  </a:cubicBezTo>
                  <a:cubicBezTo>
                    <a:pt x="781178" y="525851"/>
                    <a:pt x="770614" y="535249"/>
                    <a:pt x="770438" y="548391"/>
                  </a:cubicBezTo>
                  <a:cubicBezTo>
                    <a:pt x="770226" y="564077"/>
                    <a:pt x="782520" y="576902"/>
                    <a:pt x="797783" y="577008"/>
                  </a:cubicBezTo>
                  <a:close/>
                  <a:moveTo>
                    <a:pt x="457066" y="901791"/>
                  </a:moveTo>
                  <a:cubicBezTo>
                    <a:pt x="456466" y="889496"/>
                    <a:pt x="448340" y="883420"/>
                    <a:pt x="437565" y="883738"/>
                  </a:cubicBezTo>
                  <a:cubicBezTo>
                    <a:pt x="427672" y="884020"/>
                    <a:pt x="422161" y="891439"/>
                    <a:pt x="421949" y="902038"/>
                  </a:cubicBezTo>
                  <a:cubicBezTo>
                    <a:pt x="421702" y="914156"/>
                    <a:pt x="429651" y="920233"/>
                    <a:pt x="439472" y="920233"/>
                  </a:cubicBezTo>
                  <a:cubicBezTo>
                    <a:pt x="449329" y="920233"/>
                    <a:pt x="457278" y="913979"/>
                    <a:pt x="457031" y="901791"/>
                  </a:cubicBezTo>
                  <a:close/>
                  <a:moveTo>
                    <a:pt x="849151" y="438658"/>
                  </a:moveTo>
                  <a:cubicBezTo>
                    <a:pt x="849046" y="427070"/>
                    <a:pt x="844735" y="420746"/>
                    <a:pt x="834101" y="421029"/>
                  </a:cubicBezTo>
                  <a:cubicBezTo>
                    <a:pt x="823396" y="421347"/>
                    <a:pt x="817602" y="427424"/>
                    <a:pt x="817461" y="438058"/>
                  </a:cubicBezTo>
                  <a:cubicBezTo>
                    <a:pt x="817320" y="449399"/>
                    <a:pt x="825728" y="454875"/>
                    <a:pt x="834702" y="454698"/>
                  </a:cubicBezTo>
                  <a:cubicBezTo>
                    <a:pt x="843711" y="454521"/>
                    <a:pt x="848869" y="446749"/>
                    <a:pt x="849116" y="438623"/>
                  </a:cubicBezTo>
                  <a:close/>
                  <a:moveTo>
                    <a:pt x="819687" y="726804"/>
                  </a:moveTo>
                  <a:cubicBezTo>
                    <a:pt x="829579" y="726804"/>
                    <a:pt x="835797" y="722954"/>
                    <a:pt x="836115" y="713062"/>
                  </a:cubicBezTo>
                  <a:cubicBezTo>
                    <a:pt x="836433" y="703381"/>
                    <a:pt x="831098" y="698470"/>
                    <a:pt x="821453" y="698152"/>
                  </a:cubicBezTo>
                  <a:cubicBezTo>
                    <a:pt x="811420" y="697835"/>
                    <a:pt x="804743" y="701791"/>
                    <a:pt x="804778" y="712602"/>
                  </a:cubicBezTo>
                  <a:cubicBezTo>
                    <a:pt x="804778" y="722459"/>
                    <a:pt x="810854" y="726628"/>
                    <a:pt x="819687" y="726769"/>
                  </a:cubicBezTo>
                  <a:close/>
                  <a:moveTo>
                    <a:pt x="331824" y="806472"/>
                  </a:moveTo>
                  <a:cubicBezTo>
                    <a:pt x="339808" y="807037"/>
                    <a:pt x="342564" y="801314"/>
                    <a:pt x="342175" y="792588"/>
                  </a:cubicBezTo>
                  <a:cubicBezTo>
                    <a:pt x="341751" y="783190"/>
                    <a:pt x="337088" y="777820"/>
                    <a:pt x="327549" y="778067"/>
                  </a:cubicBezTo>
                  <a:cubicBezTo>
                    <a:pt x="317975" y="778315"/>
                    <a:pt x="313241" y="783968"/>
                    <a:pt x="313841" y="793330"/>
                  </a:cubicBezTo>
                  <a:cubicBezTo>
                    <a:pt x="314442" y="803081"/>
                    <a:pt x="320836" y="806578"/>
                    <a:pt x="331859" y="806437"/>
                  </a:cubicBezTo>
                  <a:close/>
                  <a:moveTo>
                    <a:pt x="472011" y="519139"/>
                  </a:moveTo>
                  <a:cubicBezTo>
                    <a:pt x="469856" y="512037"/>
                    <a:pt x="466747" y="506314"/>
                    <a:pt x="457950" y="506879"/>
                  </a:cubicBezTo>
                  <a:cubicBezTo>
                    <a:pt x="450707" y="507339"/>
                    <a:pt x="444630" y="510871"/>
                    <a:pt x="445090" y="517937"/>
                  </a:cubicBezTo>
                  <a:cubicBezTo>
                    <a:pt x="445584" y="525639"/>
                    <a:pt x="451414" y="531787"/>
                    <a:pt x="459787" y="531469"/>
                  </a:cubicBezTo>
                  <a:cubicBezTo>
                    <a:pt x="466535" y="531221"/>
                    <a:pt x="471057" y="526346"/>
                    <a:pt x="472011" y="519139"/>
                  </a:cubicBezTo>
                  <a:close/>
                  <a:moveTo>
                    <a:pt x="928713" y="503735"/>
                  </a:moveTo>
                  <a:cubicBezTo>
                    <a:pt x="927583" y="496528"/>
                    <a:pt x="923802" y="491440"/>
                    <a:pt x="916454" y="491370"/>
                  </a:cubicBezTo>
                  <a:cubicBezTo>
                    <a:pt x="908328" y="491264"/>
                    <a:pt x="904018" y="496457"/>
                    <a:pt x="903523" y="504512"/>
                  </a:cubicBezTo>
                  <a:cubicBezTo>
                    <a:pt x="903064" y="512391"/>
                    <a:pt x="906844" y="516489"/>
                    <a:pt x="914864" y="516277"/>
                  </a:cubicBezTo>
                  <a:cubicBezTo>
                    <a:pt x="922990" y="516030"/>
                    <a:pt x="927441" y="511649"/>
                    <a:pt x="928678" y="503770"/>
                  </a:cubicBezTo>
                  <a:close/>
                  <a:moveTo>
                    <a:pt x="150867" y="532175"/>
                  </a:moveTo>
                  <a:cubicBezTo>
                    <a:pt x="158003" y="531115"/>
                    <a:pt x="163126" y="527406"/>
                    <a:pt x="163232" y="520022"/>
                  </a:cubicBezTo>
                  <a:cubicBezTo>
                    <a:pt x="163374" y="511861"/>
                    <a:pt x="158321" y="506879"/>
                    <a:pt x="150231" y="507268"/>
                  </a:cubicBezTo>
                  <a:cubicBezTo>
                    <a:pt x="143024" y="507586"/>
                    <a:pt x="138396" y="512426"/>
                    <a:pt x="138608" y="519881"/>
                  </a:cubicBezTo>
                  <a:cubicBezTo>
                    <a:pt x="138820" y="527264"/>
                    <a:pt x="143660" y="531115"/>
                    <a:pt x="150867" y="532211"/>
                  </a:cubicBezTo>
                  <a:close/>
                  <a:moveTo>
                    <a:pt x="298120" y="608698"/>
                  </a:moveTo>
                  <a:cubicBezTo>
                    <a:pt x="305080" y="607321"/>
                    <a:pt x="310096" y="603434"/>
                    <a:pt x="309849" y="596015"/>
                  </a:cubicBezTo>
                  <a:cubicBezTo>
                    <a:pt x="309566" y="587960"/>
                    <a:pt x="304408" y="583049"/>
                    <a:pt x="296283" y="583827"/>
                  </a:cubicBezTo>
                  <a:cubicBezTo>
                    <a:pt x="289111" y="584498"/>
                    <a:pt x="284624" y="589515"/>
                    <a:pt x="285224" y="596934"/>
                  </a:cubicBezTo>
                  <a:cubicBezTo>
                    <a:pt x="285825" y="604212"/>
                    <a:pt x="290665" y="608063"/>
                    <a:pt x="298120" y="608663"/>
                  </a:cubicBezTo>
                  <a:close/>
                  <a:moveTo>
                    <a:pt x="191037" y="395239"/>
                  </a:moveTo>
                  <a:cubicBezTo>
                    <a:pt x="185313" y="396970"/>
                    <a:pt x="179978" y="400255"/>
                    <a:pt x="180014" y="407780"/>
                  </a:cubicBezTo>
                  <a:cubicBezTo>
                    <a:pt x="180049" y="415023"/>
                    <a:pt x="184253" y="420534"/>
                    <a:pt x="191602" y="419863"/>
                  </a:cubicBezTo>
                  <a:cubicBezTo>
                    <a:pt x="198385" y="419227"/>
                    <a:pt x="205486" y="416012"/>
                    <a:pt x="204709" y="407039"/>
                  </a:cubicBezTo>
                  <a:cubicBezTo>
                    <a:pt x="204073" y="399796"/>
                    <a:pt x="199233" y="396051"/>
                    <a:pt x="191072" y="395274"/>
                  </a:cubicBezTo>
                  <a:close/>
                  <a:moveTo>
                    <a:pt x="612162" y="723413"/>
                  </a:moveTo>
                  <a:cubicBezTo>
                    <a:pt x="616225" y="723095"/>
                    <a:pt x="622196" y="719703"/>
                    <a:pt x="622054" y="712531"/>
                  </a:cubicBezTo>
                  <a:cubicBezTo>
                    <a:pt x="621878" y="704582"/>
                    <a:pt x="615554" y="701191"/>
                    <a:pt x="607675" y="701332"/>
                  </a:cubicBezTo>
                  <a:cubicBezTo>
                    <a:pt x="600433" y="701473"/>
                    <a:pt x="597359" y="705360"/>
                    <a:pt x="597324" y="712320"/>
                  </a:cubicBezTo>
                  <a:cubicBezTo>
                    <a:pt x="597324" y="720304"/>
                    <a:pt x="601352" y="723837"/>
                    <a:pt x="612162" y="723413"/>
                  </a:cubicBezTo>
                  <a:close/>
                  <a:moveTo>
                    <a:pt x="753091" y="220959"/>
                  </a:moveTo>
                  <a:cubicBezTo>
                    <a:pt x="748251" y="222902"/>
                    <a:pt x="744329" y="225940"/>
                    <a:pt x="744577" y="231275"/>
                  </a:cubicBezTo>
                  <a:cubicBezTo>
                    <a:pt x="744859" y="237210"/>
                    <a:pt x="749346" y="239189"/>
                    <a:pt x="754681" y="238659"/>
                  </a:cubicBezTo>
                  <a:cubicBezTo>
                    <a:pt x="759415" y="238164"/>
                    <a:pt x="762913" y="235550"/>
                    <a:pt x="762277" y="230392"/>
                  </a:cubicBezTo>
                  <a:cubicBezTo>
                    <a:pt x="761641" y="225269"/>
                    <a:pt x="758249" y="222054"/>
                    <a:pt x="753091" y="220959"/>
                  </a:cubicBezTo>
                  <a:close/>
                  <a:moveTo>
                    <a:pt x="918609" y="273600"/>
                  </a:moveTo>
                  <a:cubicBezTo>
                    <a:pt x="923166" y="272151"/>
                    <a:pt x="927583" y="269572"/>
                    <a:pt x="927477" y="264237"/>
                  </a:cubicBezTo>
                  <a:cubicBezTo>
                    <a:pt x="927371" y="259892"/>
                    <a:pt x="923767" y="256076"/>
                    <a:pt x="919210" y="256324"/>
                  </a:cubicBezTo>
                  <a:cubicBezTo>
                    <a:pt x="914051" y="256606"/>
                    <a:pt x="910660" y="260669"/>
                    <a:pt x="910377" y="265792"/>
                  </a:cubicBezTo>
                  <a:cubicBezTo>
                    <a:pt x="910130" y="270703"/>
                    <a:pt x="913380" y="273317"/>
                    <a:pt x="918609" y="273564"/>
                  </a:cubicBezTo>
                  <a:close/>
                  <a:moveTo>
                    <a:pt x="526877" y="841342"/>
                  </a:moveTo>
                  <a:cubicBezTo>
                    <a:pt x="526524" y="836432"/>
                    <a:pt x="524369" y="832828"/>
                    <a:pt x="519458" y="832757"/>
                  </a:cubicBezTo>
                  <a:cubicBezTo>
                    <a:pt x="513664" y="832687"/>
                    <a:pt x="511403" y="836750"/>
                    <a:pt x="511509" y="842119"/>
                  </a:cubicBezTo>
                  <a:cubicBezTo>
                    <a:pt x="511615" y="846854"/>
                    <a:pt x="513947" y="850422"/>
                    <a:pt x="518857" y="850457"/>
                  </a:cubicBezTo>
                  <a:cubicBezTo>
                    <a:pt x="524651" y="850528"/>
                    <a:pt x="526807" y="846500"/>
                    <a:pt x="526877" y="841342"/>
                  </a:cubicBezTo>
                  <a:close/>
                  <a:moveTo>
                    <a:pt x="638589" y="164679"/>
                  </a:moveTo>
                  <a:cubicBezTo>
                    <a:pt x="643146" y="163513"/>
                    <a:pt x="646856" y="160758"/>
                    <a:pt x="646891" y="156342"/>
                  </a:cubicBezTo>
                  <a:cubicBezTo>
                    <a:pt x="646926" y="151078"/>
                    <a:pt x="642793" y="147757"/>
                    <a:pt x="637741" y="147227"/>
                  </a:cubicBezTo>
                  <a:cubicBezTo>
                    <a:pt x="632795" y="146697"/>
                    <a:pt x="629580" y="149947"/>
                    <a:pt x="629827" y="154822"/>
                  </a:cubicBezTo>
                  <a:cubicBezTo>
                    <a:pt x="630074" y="160016"/>
                    <a:pt x="633784" y="163054"/>
                    <a:pt x="638589" y="164644"/>
                  </a:cubicBezTo>
                  <a:close/>
                  <a:moveTo>
                    <a:pt x="492643" y="429614"/>
                  </a:moveTo>
                  <a:cubicBezTo>
                    <a:pt x="496247" y="427459"/>
                    <a:pt x="500557" y="425233"/>
                    <a:pt x="500981" y="419828"/>
                  </a:cubicBezTo>
                  <a:cubicBezTo>
                    <a:pt x="501369" y="414811"/>
                    <a:pt x="498296" y="411596"/>
                    <a:pt x="493420" y="411808"/>
                  </a:cubicBezTo>
                  <a:cubicBezTo>
                    <a:pt x="488262" y="412055"/>
                    <a:pt x="484235" y="415482"/>
                    <a:pt x="483881" y="420605"/>
                  </a:cubicBezTo>
                  <a:cubicBezTo>
                    <a:pt x="483563" y="425233"/>
                    <a:pt x="487556" y="427706"/>
                    <a:pt x="492608" y="429579"/>
                  </a:cubicBezTo>
                  <a:close/>
                  <a:moveTo>
                    <a:pt x="864484" y="317903"/>
                  </a:moveTo>
                  <a:cubicBezTo>
                    <a:pt x="864484" y="312709"/>
                    <a:pt x="861658" y="310060"/>
                    <a:pt x="857030" y="309494"/>
                  </a:cubicBezTo>
                  <a:cubicBezTo>
                    <a:pt x="852684" y="308964"/>
                    <a:pt x="847986" y="309812"/>
                    <a:pt x="847385" y="314864"/>
                  </a:cubicBezTo>
                  <a:cubicBezTo>
                    <a:pt x="846749" y="320234"/>
                    <a:pt x="851059" y="323273"/>
                    <a:pt x="855758" y="324297"/>
                  </a:cubicBezTo>
                  <a:cubicBezTo>
                    <a:pt x="860598" y="325357"/>
                    <a:pt x="863389" y="322354"/>
                    <a:pt x="864484" y="317903"/>
                  </a:cubicBezTo>
                  <a:close/>
                  <a:moveTo>
                    <a:pt x="599797" y="263566"/>
                  </a:moveTo>
                  <a:cubicBezTo>
                    <a:pt x="604637" y="263177"/>
                    <a:pt x="608135" y="259963"/>
                    <a:pt x="608700" y="256041"/>
                  </a:cubicBezTo>
                  <a:cubicBezTo>
                    <a:pt x="609477" y="250777"/>
                    <a:pt x="605414" y="246997"/>
                    <a:pt x="600362" y="246820"/>
                  </a:cubicBezTo>
                  <a:cubicBezTo>
                    <a:pt x="595946" y="246643"/>
                    <a:pt x="592484" y="250353"/>
                    <a:pt x="592201" y="254769"/>
                  </a:cubicBezTo>
                  <a:cubicBezTo>
                    <a:pt x="591883" y="259468"/>
                    <a:pt x="595840" y="261800"/>
                    <a:pt x="599797" y="263601"/>
                  </a:cubicBezTo>
                  <a:close/>
                  <a:moveTo>
                    <a:pt x="188811" y="676566"/>
                  </a:moveTo>
                  <a:cubicBezTo>
                    <a:pt x="185384" y="678050"/>
                    <a:pt x="181215" y="680240"/>
                    <a:pt x="180862" y="684586"/>
                  </a:cubicBezTo>
                  <a:cubicBezTo>
                    <a:pt x="180402" y="689815"/>
                    <a:pt x="184288" y="693666"/>
                    <a:pt x="189411" y="693630"/>
                  </a:cubicBezTo>
                  <a:cubicBezTo>
                    <a:pt x="193757" y="693630"/>
                    <a:pt x="197219" y="689956"/>
                    <a:pt x="197360" y="685504"/>
                  </a:cubicBezTo>
                  <a:cubicBezTo>
                    <a:pt x="197502" y="680876"/>
                    <a:pt x="193686" y="678474"/>
                    <a:pt x="188846" y="676602"/>
                  </a:cubicBezTo>
                  <a:close/>
                  <a:moveTo>
                    <a:pt x="382627" y="184428"/>
                  </a:moveTo>
                  <a:cubicBezTo>
                    <a:pt x="386726" y="183263"/>
                    <a:pt x="390011" y="181002"/>
                    <a:pt x="389340" y="175914"/>
                  </a:cubicBezTo>
                  <a:cubicBezTo>
                    <a:pt x="388669" y="171003"/>
                    <a:pt x="385065" y="169095"/>
                    <a:pt x="380472" y="169166"/>
                  </a:cubicBezTo>
                  <a:cubicBezTo>
                    <a:pt x="375915" y="169237"/>
                    <a:pt x="371534" y="170933"/>
                    <a:pt x="372347" y="176091"/>
                  </a:cubicBezTo>
                  <a:cubicBezTo>
                    <a:pt x="373088" y="180825"/>
                    <a:pt x="377116" y="183828"/>
                    <a:pt x="382663" y="184464"/>
                  </a:cubicBezTo>
                  <a:close/>
                  <a:moveTo>
                    <a:pt x="220748" y="246749"/>
                  </a:moveTo>
                  <a:cubicBezTo>
                    <a:pt x="220960" y="242616"/>
                    <a:pt x="219724" y="239542"/>
                    <a:pt x="214955" y="239366"/>
                  </a:cubicBezTo>
                  <a:cubicBezTo>
                    <a:pt x="210291" y="239189"/>
                    <a:pt x="206617" y="240920"/>
                    <a:pt x="205840" y="245831"/>
                  </a:cubicBezTo>
                  <a:cubicBezTo>
                    <a:pt x="205062" y="250742"/>
                    <a:pt x="207783" y="253957"/>
                    <a:pt x="212623" y="254310"/>
                  </a:cubicBezTo>
                  <a:cubicBezTo>
                    <a:pt x="217639" y="254698"/>
                    <a:pt x="219971" y="251342"/>
                    <a:pt x="220748" y="246749"/>
                  </a:cubicBezTo>
                  <a:close/>
                  <a:moveTo>
                    <a:pt x="721224" y="801915"/>
                  </a:moveTo>
                  <a:cubicBezTo>
                    <a:pt x="721047" y="798382"/>
                    <a:pt x="719351" y="795273"/>
                    <a:pt x="715183" y="794496"/>
                  </a:cubicBezTo>
                  <a:cubicBezTo>
                    <a:pt x="710237" y="793577"/>
                    <a:pt x="706916" y="796050"/>
                    <a:pt x="706350" y="800961"/>
                  </a:cubicBezTo>
                  <a:cubicBezTo>
                    <a:pt x="705750" y="805978"/>
                    <a:pt x="708823" y="808945"/>
                    <a:pt x="713663" y="809122"/>
                  </a:cubicBezTo>
                  <a:cubicBezTo>
                    <a:pt x="717762" y="809263"/>
                    <a:pt x="720341" y="806649"/>
                    <a:pt x="721224" y="801915"/>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6" name="Freeform: Shape 3665">
              <a:extLst>
                <a:ext uri="{FF2B5EF4-FFF2-40B4-BE49-F238E27FC236}">
                  <a16:creationId xmlns:a16="http://schemas.microsoft.com/office/drawing/2014/main" id="{7DC4CE57-ADD5-B645-B955-AF6EDBF27D99}"/>
                </a:ext>
              </a:extLst>
            </p:cNvPr>
            <p:cNvSpPr/>
            <p:nvPr/>
          </p:nvSpPr>
          <p:spPr>
            <a:xfrm>
              <a:off x="6344493" y="3581112"/>
              <a:ext cx="192444" cy="159335"/>
            </a:xfrm>
            <a:custGeom>
              <a:avLst/>
              <a:gdLst>
                <a:gd name="connsiteX0" fmla="*/ 82474 w 192444"/>
                <a:gd name="connsiteY0" fmla="*/ 159335 h 159335"/>
                <a:gd name="connsiteX1" fmla="*/ 8565 w 192444"/>
                <a:gd name="connsiteY1" fmla="*/ 113973 h 159335"/>
                <a:gd name="connsiteX2" fmla="*/ 17433 w 192444"/>
                <a:gd name="connsiteY2" fmla="*/ 30101 h 159335"/>
                <a:gd name="connsiteX3" fmla="*/ 81415 w 192444"/>
                <a:gd name="connsiteY3" fmla="*/ 0 h 159335"/>
                <a:gd name="connsiteX4" fmla="*/ 176592 w 192444"/>
                <a:gd name="connsiteY4" fmla="*/ 43491 h 159335"/>
                <a:gd name="connsiteX5" fmla="*/ 155889 w 192444"/>
                <a:gd name="connsiteY5" fmla="*/ 140399 h 159335"/>
                <a:gd name="connsiteX6" fmla="*/ 82439 w 192444"/>
                <a:gd name="connsiteY6" fmla="*/ 159265 h 159335"/>
                <a:gd name="connsiteX7" fmla="*/ 153804 w 192444"/>
                <a:gd name="connsiteY7" fmla="*/ 52393 h 159335"/>
                <a:gd name="connsiteX8" fmla="*/ 138507 w 192444"/>
                <a:gd name="connsiteY8" fmla="*/ 35718 h 159335"/>
                <a:gd name="connsiteX9" fmla="*/ 121867 w 192444"/>
                <a:gd name="connsiteY9" fmla="*/ 53065 h 159335"/>
                <a:gd name="connsiteX10" fmla="*/ 138118 w 192444"/>
                <a:gd name="connsiteY10" fmla="*/ 69528 h 159335"/>
                <a:gd name="connsiteX11" fmla="*/ 153769 w 192444"/>
                <a:gd name="connsiteY11" fmla="*/ 52393 h 159335"/>
                <a:gd name="connsiteX12" fmla="*/ 38631 w 192444"/>
                <a:gd name="connsiteY12" fmla="*/ 62462 h 159335"/>
                <a:gd name="connsiteX13" fmla="*/ 51597 w 192444"/>
                <a:gd name="connsiteY13" fmla="*/ 50450 h 159335"/>
                <a:gd name="connsiteX14" fmla="*/ 40291 w 192444"/>
                <a:gd name="connsiteY14" fmla="*/ 36036 h 159335"/>
                <a:gd name="connsiteX15" fmla="*/ 27219 w 192444"/>
                <a:gd name="connsiteY15" fmla="*/ 47447 h 159335"/>
                <a:gd name="connsiteX16" fmla="*/ 38631 w 192444"/>
                <a:gd name="connsiteY16" fmla="*/ 62462 h 159335"/>
                <a:gd name="connsiteX17" fmla="*/ 118687 w 192444"/>
                <a:gd name="connsiteY17" fmla="*/ 114043 h 159335"/>
                <a:gd name="connsiteX18" fmla="*/ 127519 w 192444"/>
                <a:gd name="connsiteY18" fmla="*/ 105741 h 159335"/>
                <a:gd name="connsiteX19" fmla="*/ 118934 w 192444"/>
                <a:gd name="connsiteY19" fmla="*/ 98640 h 159335"/>
                <a:gd name="connsiteX20" fmla="*/ 109855 w 192444"/>
                <a:gd name="connsiteY20" fmla="*/ 106836 h 159335"/>
                <a:gd name="connsiteX21" fmla="*/ 118722 w 192444"/>
                <a:gd name="connsiteY21" fmla="*/ 114043 h 15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2444" h="159335">
                  <a:moveTo>
                    <a:pt x="82474" y="159335"/>
                  </a:moveTo>
                  <a:cubicBezTo>
                    <a:pt x="51914" y="158770"/>
                    <a:pt x="23969" y="146299"/>
                    <a:pt x="8565" y="113973"/>
                  </a:cubicBezTo>
                  <a:cubicBezTo>
                    <a:pt x="-5354" y="84720"/>
                    <a:pt x="-2245" y="56032"/>
                    <a:pt x="17433" y="30101"/>
                  </a:cubicBezTo>
                  <a:cubicBezTo>
                    <a:pt x="33331" y="9186"/>
                    <a:pt x="56401" y="-35"/>
                    <a:pt x="81415" y="0"/>
                  </a:cubicBezTo>
                  <a:cubicBezTo>
                    <a:pt x="119075" y="0"/>
                    <a:pt x="152073" y="14238"/>
                    <a:pt x="176592" y="43491"/>
                  </a:cubicBezTo>
                  <a:cubicBezTo>
                    <a:pt x="204149" y="76347"/>
                    <a:pt x="194857" y="116375"/>
                    <a:pt x="155889" y="140399"/>
                  </a:cubicBezTo>
                  <a:cubicBezTo>
                    <a:pt x="134444" y="153612"/>
                    <a:pt x="111162" y="158982"/>
                    <a:pt x="82439" y="159265"/>
                  </a:cubicBezTo>
                  <a:close/>
                  <a:moveTo>
                    <a:pt x="153804" y="52393"/>
                  </a:moveTo>
                  <a:cubicBezTo>
                    <a:pt x="153592" y="43667"/>
                    <a:pt x="148540" y="35541"/>
                    <a:pt x="138507" y="35718"/>
                  </a:cubicBezTo>
                  <a:cubicBezTo>
                    <a:pt x="129462" y="35859"/>
                    <a:pt x="121867" y="41724"/>
                    <a:pt x="121867" y="53065"/>
                  </a:cubicBezTo>
                  <a:cubicBezTo>
                    <a:pt x="121867" y="64123"/>
                    <a:pt x="126989" y="69599"/>
                    <a:pt x="138118" y="69528"/>
                  </a:cubicBezTo>
                  <a:cubicBezTo>
                    <a:pt x="148505" y="69458"/>
                    <a:pt x="153486" y="64158"/>
                    <a:pt x="153769" y="52393"/>
                  </a:cubicBezTo>
                  <a:close/>
                  <a:moveTo>
                    <a:pt x="38631" y="62462"/>
                  </a:moveTo>
                  <a:cubicBezTo>
                    <a:pt x="45060" y="60449"/>
                    <a:pt x="50819" y="58470"/>
                    <a:pt x="51597" y="50450"/>
                  </a:cubicBezTo>
                  <a:cubicBezTo>
                    <a:pt x="52409" y="41795"/>
                    <a:pt x="47498" y="36919"/>
                    <a:pt x="40291" y="36036"/>
                  </a:cubicBezTo>
                  <a:cubicBezTo>
                    <a:pt x="33296" y="35188"/>
                    <a:pt x="28350" y="41371"/>
                    <a:pt x="27219" y="47447"/>
                  </a:cubicBezTo>
                  <a:cubicBezTo>
                    <a:pt x="25735" y="55396"/>
                    <a:pt x="32872" y="58859"/>
                    <a:pt x="38631" y="62462"/>
                  </a:cubicBezTo>
                  <a:close/>
                  <a:moveTo>
                    <a:pt x="118687" y="114043"/>
                  </a:moveTo>
                  <a:cubicBezTo>
                    <a:pt x="123810" y="113761"/>
                    <a:pt x="127802" y="111676"/>
                    <a:pt x="127519" y="105741"/>
                  </a:cubicBezTo>
                  <a:cubicBezTo>
                    <a:pt x="127272" y="100759"/>
                    <a:pt x="123633" y="98604"/>
                    <a:pt x="118934" y="98640"/>
                  </a:cubicBezTo>
                  <a:cubicBezTo>
                    <a:pt x="113599" y="98640"/>
                    <a:pt x="109537" y="100936"/>
                    <a:pt x="109855" y="106836"/>
                  </a:cubicBezTo>
                  <a:cubicBezTo>
                    <a:pt x="110102" y="111782"/>
                    <a:pt x="113811" y="113761"/>
                    <a:pt x="118722" y="114043"/>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7" name="Freeform: Shape 3666">
              <a:extLst>
                <a:ext uri="{FF2B5EF4-FFF2-40B4-BE49-F238E27FC236}">
                  <a16:creationId xmlns:a16="http://schemas.microsoft.com/office/drawing/2014/main" id="{6ABF87A0-45A8-E2B3-476D-D1B45F5CDCF5}"/>
                </a:ext>
              </a:extLst>
            </p:cNvPr>
            <p:cNvSpPr/>
            <p:nvPr/>
          </p:nvSpPr>
          <p:spPr>
            <a:xfrm>
              <a:off x="7151838" y="3647503"/>
              <a:ext cx="169294" cy="145951"/>
            </a:xfrm>
            <a:custGeom>
              <a:avLst/>
              <a:gdLst>
                <a:gd name="connsiteX0" fmla="*/ 56438 w 169294"/>
                <a:gd name="connsiteY0" fmla="*/ 169 h 145951"/>
                <a:gd name="connsiteX1" fmla="*/ 137130 w 169294"/>
                <a:gd name="connsiteY1" fmla="*/ 20660 h 145951"/>
                <a:gd name="connsiteX2" fmla="*/ 144372 w 169294"/>
                <a:gd name="connsiteY2" fmla="*/ 117710 h 145951"/>
                <a:gd name="connsiteX3" fmla="*/ 77953 w 169294"/>
                <a:gd name="connsiteY3" fmla="*/ 145655 h 145951"/>
                <a:gd name="connsiteX4" fmla="*/ 38066 w 169294"/>
                <a:gd name="connsiteY4" fmla="*/ 124564 h 145951"/>
                <a:gd name="connsiteX5" fmla="*/ 3832 w 169294"/>
                <a:gd name="connsiteY5" fmla="*/ 54647 h 145951"/>
                <a:gd name="connsiteX6" fmla="*/ 42059 w 169294"/>
                <a:gd name="connsiteY6" fmla="*/ 240 h 145951"/>
                <a:gd name="connsiteX7" fmla="*/ 56402 w 169294"/>
                <a:gd name="connsiteY7" fmla="*/ 169 h 145951"/>
                <a:gd name="connsiteX8" fmla="*/ 114448 w 169294"/>
                <a:gd name="connsiteY8" fmla="*/ 54258 h 145951"/>
                <a:gd name="connsiteX9" fmla="*/ 99115 w 169294"/>
                <a:gd name="connsiteY9" fmla="*/ 72100 h 145951"/>
                <a:gd name="connsiteX10" fmla="*/ 114484 w 169294"/>
                <a:gd name="connsiteY10" fmla="*/ 86090 h 145951"/>
                <a:gd name="connsiteX11" fmla="*/ 130594 w 169294"/>
                <a:gd name="connsiteY11" fmla="*/ 69485 h 145951"/>
                <a:gd name="connsiteX12" fmla="*/ 114448 w 169294"/>
                <a:gd name="connsiteY12" fmla="*/ 54258 h 145951"/>
                <a:gd name="connsiteX13" fmla="*/ 63504 w 169294"/>
                <a:gd name="connsiteY13" fmla="*/ 95594 h 145951"/>
                <a:gd name="connsiteX14" fmla="*/ 56155 w 169294"/>
                <a:gd name="connsiteY14" fmla="*/ 86832 h 145951"/>
                <a:gd name="connsiteX15" fmla="*/ 48100 w 169294"/>
                <a:gd name="connsiteY15" fmla="*/ 96018 h 145951"/>
                <a:gd name="connsiteX16" fmla="*/ 55342 w 169294"/>
                <a:gd name="connsiteY16" fmla="*/ 104532 h 145951"/>
                <a:gd name="connsiteX17" fmla="*/ 63504 w 169294"/>
                <a:gd name="connsiteY17" fmla="*/ 95558 h 145951"/>
                <a:gd name="connsiteX18" fmla="*/ 54070 w 169294"/>
                <a:gd name="connsiteY18" fmla="*/ 44366 h 145951"/>
                <a:gd name="connsiteX19" fmla="*/ 60253 w 169294"/>
                <a:gd name="connsiteY19" fmla="*/ 37371 h 145951"/>
                <a:gd name="connsiteX20" fmla="*/ 52551 w 169294"/>
                <a:gd name="connsiteY20" fmla="*/ 29386 h 145951"/>
                <a:gd name="connsiteX21" fmla="*/ 45309 w 169294"/>
                <a:gd name="connsiteY21" fmla="*/ 37477 h 145951"/>
                <a:gd name="connsiteX22" fmla="*/ 54070 w 169294"/>
                <a:gd name="connsiteY22" fmla="*/ 44366 h 14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294" h="145951">
                  <a:moveTo>
                    <a:pt x="56438" y="169"/>
                  </a:moveTo>
                  <a:cubicBezTo>
                    <a:pt x="84807" y="1194"/>
                    <a:pt x="112011" y="6811"/>
                    <a:pt x="137130" y="20660"/>
                  </a:cubicBezTo>
                  <a:cubicBezTo>
                    <a:pt x="176946" y="42600"/>
                    <a:pt x="180302" y="89835"/>
                    <a:pt x="144372" y="117710"/>
                  </a:cubicBezTo>
                  <a:cubicBezTo>
                    <a:pt x="124588" y="133043"/>
                    <a:pt x="102613" y="142758"/>
                    <a:pt x="77953" y="145655"/>
                  </a:cubicBezTo>
                  <a:cubicBezTo>
                    <a:pt x="60395" y="147740"/>
                    <a:pt x="47676" y="138625"/>
                    <a:pt x="38066" y="124564"/>
                  </a:cubicBezTo>
                  <a:cubicBezTo>
                    <a:pt x="23299" y="102907"/>
                    <a:pt x="13936" y="78494"/>
                    <a:pt x="3832" y="54647"/>
                  </a:cubicBezTo>
                  <a:cubicBezTo>
                    <a:pt x="-8109" y="26525"/>
                    <a:pt x="8743" y="3667"/>
                    <a:pt x="42059" y="240"/>
                  </a:cubicBezTo>
                  <a:cubicBezTo>
                    <a:pt x="46793" y="-255"/>
                    <a:pt x="51598" y="169"/>
                    <a:pt x="56402" y="169"/>
                  </a:cubicBezTo>
                  <a:close/>
                  <a:moveTo>
                    <a:pt x="114448" y="54258"/>
                  </a:moveTo>
                  <a:cubicBezTo>
                    <a:pt x="102684" y="54435"/>
                    <a:pt x="99257" y="62349"/>
                    <a:pt x="99115" y="72100"/>
                  </a:cubicBezTo>
                  <a:cubicBezTo>
                    <a:pt x="98974" y="81851"/>
                    <a:pt x="105086" y="86019"/>
                    <a:pt x="114484" y="86090"/>
                  </a:cubicBezTo>
                  <a:cubicBezTo>
                    <a:pt x="125754" y="86196"/>
                    <a:pt x="130877" y="80543"/>
                    <a:pt x="130594" y="69485"/>
                  </a:cubicBezTo>
                  <a:cubicBezTo>
                    <a:pt x="130347" y="58957"/>
                    <a:pt x="124659" y="54329"/>
                    <a:pt x="114448" y="54258"/>
                  </a:cubicBezTo>
                  <a:close/>
                  <a:moveTo>
                    <a:pt x="63504" y="95594"/>
                  </a:moveTo>
                  <a:cubicBezTo>
                    <a:pt x="63150" y="90648"/>
                    <a:pt x="61101" y="86973"/>
                    <a:pt x="56155" y="86832"/>
                  </a:cubicBezTo>
                  <a:cubicBezTo>
                    <a:pt x="50326" y="86655"/>
                    <a:pt x="47994" y="90612"/>
                    <a:pt x="48100" y="96018"/>
                  </a:cubicBezTo>
                  <a:cubicBezTo>
                    <a:pt x="48171" y="100716"/>
                    <a:pt x="50432" y="104355"/>
                    <a:pt x="55342" y="104532"/>
                  </a:cubicBezTo>
                  <a:cubicBezTo>
                    <a:pt x="61207" y="104709"/>
                    <a:pt x="63292" y="100610"/>
                    <a:pt x="63504" y="95558"/>
                  </a:cubicBezTo>
                  <a:close/>
                  <a:moveTo>
                    <a:pt x="54070" y="44366"/>
                  </a:moveTo>
                  <a:cubicBezTo>
                    <a:pt x="58699" y="44295"/>
                    <a:pt x="60571" y="41646"/>
                    <a:pt x="60253" y="37371"/>
                  </a:cubicBezTo>
                  <a:cubicBezTo>
                    <a:pt x="59900" y="32672"/>
                    <a:pt x="57462" y="29280"/>
                    <a:pt x="52551" y="29386"/>
                  </a:cubicBezTo>
                  <a:cubicBezTo>
                    <a:pt x="47747" y="29457"/>
                    <a:pt x="44814" y="32531"/>
                    <a:pt x="45309" y="37477"/>
                  </a:cubicBezTo>
                  <a:cubicBezTo>
                    <a:pt x="45839" y="42423"/>
                    <a:pt x="49407" y="44260"/>
                    <a:pt x="54070" y="44366"/>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8" name="Freeform: Shape 3667">
              <a:extLst>
                <a:ext uri="{FF2B5EF4-FFF2-40B4-BE49-F238E27FC236}">
                  <a16:creationId xmlns:a16="http://schemas.microsoft.com/office/drawing/2014/main" id="{3B1A07B4-4629-2D72-EDEB-6366FF6EF19C}"/>
                </a:ext>
              </a:extLst>
            </p:cNvPr>
            <p:cNvSpPr/>
            <p:nvPr/>
          </p:nvSpPr>
          <p:spPr>
            <a:xfrm>
              <a:off x="6506956" y="4569037"/>
              <a:ext cx="165354" cy="143331"/>
            </a:xfrm>
            <a:custGeom>
              <a:avLst/>
              <a:gdLst>
                <a:gd name="connsiteX0" fmla="*/ 117749 w 165354"/>
                <a:gd name="connsiteY0" fmla="*/ 143320 h 143331"/>
                <a:gd name="connsiteX1" fmla="*/ 45677 w 165354"/>
                <a:gd name="connsiteY1" fmla="*/ 133463 h 143331"/>
                <a:gd name="connsiteX2" fmla="*/ 14446 w 165354"/>
                <a:gd name="connsiteY2" fmla="*/ 39841 h 143331"/>
                <a:gd name="connsiteX3" fmla="*/ 35679 w 165354"/>
                <a:gd name="connsiteY3" fmla="*/ 16594 h 143331"/>
                <a:gd name="connsiteX4" fmla="*/ 123296 w 165354"/>
                <a:gd name="connsiteY4" fmla="*/ 30584 h 143331"/>
                <a:gd name="connsiteX5" fmla="*/ 160145 w 165354"/>
                <a:gd name="connsiteY5" fmla="*/ 95378 h 143331"/>
                <a:gd name="connsiteX6" fmla="*/ 130362 w 165354"/>
                <a:gd name="connsiteY6" fmla="*/ 143285 h 143331"/>
                <a:gd name="connsiteX7" fmla="*/ 117749 w 165354"/>
                <a:gd name="connsiteY7" fmla="*/ 143285 h 143331"/>
                <a:gd name="connsiteX8" fmla="*/ 54580 w 165354"/>
                <a:gd name="connsiteY8" fmla="*/ 55103 h 143331"/>
                <a:gd name="connsiteX9" fmla="*/ 40696 w 165354"/>
                <a:gd name="connsiteY9" fmla="*/ 42101 h 143331"/>
                <a:gd name="connsiteX10" fmla="*/ 29885 w 165354"/>
                <a:gd name="connsiteY10" fmla="*/ 54926 h 143331"/>
                <a:gd name="connsiteX11" fmla="*/ 42250 w 165354"/>
                <a:gd name="connsiteY11" fmla="*/ 66443 h 143331"/>
                <a:gd name="connsiteX12" fmla="*/ 54545 w 165354"/>
                <a:gd name="connsiteY12" fmla="*/ 55103 h 143331"/>
                <a:gd name="connsiteX13" fmla="*/ 102416 w 165354"/>
                <a:gd name="connsiteY13" fmla="*/ 33552 h 143331"/>
                <a:gd name="connsiteX14" fmla="*/ 94715 w 165354"/>
                <a:gd name="connsiteY14" fmla="*/ 25744 h 143331"/>
                <a:gd name="connsiteX15" fmla="*/ 85176 w 165354"/>
                <a:gd name="connsiteY15" fmla="*/ 31468 h 143331"/>
                <a:gd name="connsiteX16" fmla="*/ 93301 w 165354"/>
                <a:gd name="connsiteY16" fmla="*/ 40971 h 143331"/>
                <a:gd name="connsiteX17" fmla="*/ 102416 w 165354"/>
                <a:gd name="connsiteY17" fmla="*/ 33516 h 143331"/>
                <a:gd name="connsiteX18" fmla="*/ 112485 w 165354"/>
                <a:gd name="connsiteY18" fmla="*/ 110499 h 143331"/>
                <a:gd name="connsiteX19" fmla="*/ 120646 w 165354"/>
                <a:gd name="connsiteY19" fmla="*/ 102197 h 143331"/>
                <a:gd name="connsiteX20" fmla="*/ 113050 w 165354"/>
                <a:gd name="connsiteY20" fmla="*/ 93718 h 143331"/>
                <a:gd name="connsiteX21" fmla="*/ 104183 w 165354"/>
                <a:gd name="connsiteY21" fmla="*/ 102409 h 143331"/>
                <a:gd name="connsiteX22" fmla="*/ 112485 w 165354"/>
                <a:gd name="connsiteY22" fmla="*/ 110499 h 14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5354" h="143331">
                  <a:moveTo>
                    <a:pt x="117749" y="143320"/>
                  </a:moveTo>
                  <a:cubicBezTo>
                    <a:pt x="96799" y="140353"/>
                    <a:pt x="70585" y="141342"/>
                    <a:pt x="45677" y="133463"/>
                  </a:cubicBezTo>
                  <a:cubicBezTo>
                    <a:pt x="67" y="119049"/>
                    <a:pt x="-13393" y="78738"/>
                    <a:pt x="14446" y="39841"/>
                  </a:cubicBezTo>
                  <a:cubicBezTo>
                    <a:pt x="20488" y="31397"/>
                    <a:pt x="26741" y="23094"/>
                    <a:pt x="35679" y="16594"/>
                  </a:cubicBezTo>
                  <a:cubicBezTo>
                    <a:pt x="71220" y="-9232"/>
                    <a:pt x="98283" y="-5169"/>
                    <a:pt x="123296" y="30584"/>
                  </a:cubicBezTo>
                  <a:cubicBezTo>
                    <a:pt x="137604" y="51040"/>
                    <a:pt x="149864" y="72697"/>
                    <a:pt x="160145" y="95378"/>
                  </a:cubicBezTo>
                  <a:cubicBezTo>
                    <a:pt x="173075" y="123889"/>
                    <a:pt x="161487" y="142154"/>
                    <a:pt x="130362" y="143285"/>
                  </a:cubicBezTo>
                  <a:cubicBezTo>
                    <a:pt x="127712" y="143391"/>
                    <a:pt x="125062" y="143285"/>
                    <a:pt x="117749" y="143285"/>
                  </a:cubicBezTo>
                  <a:close/>
                  <a:moveTo>
                    <a:pt x="54580" y="55103"/>
                  </a:moveTo>
                  <a:cubicBezTo>
                    <a:pt x="52779" y="47366"/>
                    <a:pt x="48292" y="41890"/>
                    <a:pt x="40696" y="42101"/>
                  </a:cubicBezTo>
                  <a:cubicBezTo>
                    <a:pt x="33701" y="42314"/>
                    <a:pt x="29320" y="47648"/>
                    <a:pt x="29885" y="54926"/>
                  </a:cubicBezTo>
                  <a:cubicBezTo>
                    <a:pt x="30415" y="61992"/>
                    <a:pt x="35008" y="66514"/>
                    <a:pt x="42250" y="66443"/>
                  </a:cubicBezTo>
                  <a:cubicBezTo>
                    <a:pt x="49458" y="66373"/>
                    <a:pt x="53450" y="61851"/>
                    <a:pt x="54545" y="55103"/>
                  </a:cubicBezTo>
                  <a:close/>
                  <a:moveTo>
                    <a:pt x="102416" y="33552"/>
                  </a:moveTo>
                  <a:cubicBezTo>
                    <a:pt x="102098" y="29171"/>
                    <a:pt x="99555" y="26203"/>
                    <a:pt x="94715" y="25744"/>
                  </a:cubicBezTo>
                  <a:cubicBezTo>
                    <a:pt x="90263" y="25320"/>
                    <a:pt x="85564" y="26274"/>
                    <a:pt x="85176" y="31468"/>
                  </a:cubicBezTo>
                  <a:cubicBezTo>
                    <a:pt x="84822" y="36414"/>
                    <a:pt x="87331" y="40724"/>
                    <a:pt x="93301" y="40971"/>
                  </a:cubicBezTo>
                  <a:cubicBezTo>
                    <a:pt x="98071" y="41183"/>
                    <a:pt x="101286" y="38957"/>
                    <a:pt x="102416" y="33516"/>
                  </a:cubicBezTo>
                  <a:close/>
                  <a:moveTo>
                    <a:pt x="112485" y="110499"/>
                  </a:moveTo>
                  <a:cubicBezTo>
                    <a:pt x="116866" y="109263"/>
                    <a:pt x="120399" y="106613"/>
                    <a:pt x="120646" y="102197"/>
                  </a:cubicBezTo>
                  <a:cubicBezTo>
                    <a:pt x="120929" y="97569"/>
                    <a:pt x="117184" y="94036"/>
                    <a:pt x="113050" y="93718"/>
                  </a:cubicBezTo>
                  <a:cubicBezTo>
                    <a:pt x="107857" y="93329"/>
                    <a:pt x="104006" y="97215"/>
                    <a:pt x="104183" y="102409"/>
                  </a:cubicBezTo>
                  <a:cubicBezTo>
                    <a:pt x="104359" y="106684"/>
                    <a:pt x="108034" y="109475"/>
                    <a:pt x="112485" y="110499"/>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9" name="Freeform: Shape 3668">
              <a:extLst>
                <a:ext uri="{FF2B5EF4-FFF2-40B4-BE49-F238E27FC236}">
                  <a16:creationId xmlns:a16="http://schemas.microsoft.com/office/drawing/2014/main" id="{86ACEF3E-18CA-DECF-8A6B-6C4B9B1F45C3}"/>
                </a:ext>
              </a:extLst>
            </p:cNvPr>
            <p:cNvSpPr/>
            <p:nvPr/>
          </p:nvSpPr>
          <p:spPr>
            <a:xfrm>
              <a:off x="7269295" y="4218033"/>
              <a:ext cx="146532" cy="128461"/>
            </a:xfrm>
            <a:custGeom>
              <a:avLst/>
              <a:gdLst>
                <a:gd name="connsiteX0" fmla="*/ 52176 w 146532"/>
                <a:gd name="connsiteY0" fmla="*/ 67 h 128461"/>
                <a:gd name="connsiteX1" fmla="*/ 130360 w 146532"/>
                <a:gd name="connsiteY1" fmla="*/ 28754 h 128461"/>
                <a:gd name="connsiteX2" fmla="*/ 123718 w 146532"/>
                <a:gd name="connsiteY2" fmla="*/ 123861 h 128461"/>
                <a:gd name="connsiteX3" fmla="*/ 80616 w 146532"/>
                <a:gd name="connsiteY3" fmla="*/ 120010 h 128461"/>
                <a:gd name="connsiteX4" fmla="*/ 41082 w 146532"/>
                <a:gd name="connsiteY4" fmla="*/ 83762 h 128461"/>
                <a:gd name="connsiteX5" fmla="*/ 19814 w 146532"/>
                <a:gd name="connsiteY5" fmla="*/ 67263 h 128461"/>
                <a:gd name="connsiteX6" fmla="*/ 1513 w 146532"/>
                <a:gd name="connsiteY6" fmla="*/ 23455 h 128461"/>
                <a:gd name="connsiteX7" fmla="*/ 41047 w 146532"/>
                <a:gd name="connsiteY7" fmla="*/ 31 h 128461"/>
                <a:gd name="connsiteX8" fmla="*/ 52176 w 146532"/>
                <a:gd name="connsiteY8" fmla="*/ 31 h 128461"/>
                <a:gd name="connsiteX9" fmla="*/ 108774 w 146532"/>
                <a:gd name="connsiteY9" fmla="*/ 86270 h 128461"/>
                <a:gd name="connsiteX10" fmla="*/ 95702 w 146532"/>
                <a:gd name="connsiteY10" fmla="*/ 71821 h 128461"/>
                <a:gd name="connsiteX11" fmla="*/ 83796 w 146532"/>
                <a:gd name="connsiteY11" fmla="*/ 83550 h 128461"/>
                <a:gd name="connsiteX12" fmla="*/ 97397 w 146532"/>
                <a:gd name="connsiteY12" fmla="*/ 95703 h 128461"/>
                <a:gd name="connsiteX13" fmla="*/ 108774 w 146532"/>
                <a:gd name="connsiteY13" fmla="*/ 86270 h 128461"/>
                <a:gd name="connsiteX14" fmla="*/ 42743 w 146532"/>
                <a:gd name="connsiteY14" fmla="*/ 35820 h 128461"/>
                <a:gd name="connsiteX15" fmla="*/ 36278 w 146532"/>
                <a:gd name="connsiteY15" fmla="*/ 44511 h 128461"/>
                <a:gd name="connsiteX16" fmla="*/ 45711 w 146532"/>
                <a:gd name="connsiteY16" fmla="*/ 52919 h 128461"/>
                <a:gd name="connsiteX17" fmla="*/ 51081 w 146532"/>
                <a:gd name="connsiteY17" fmla="*/ 43345 h 128461"/>
                <a:gd name="connsiteX18" fmla="*/ 42708 w 146532"/>
                <a:gd name="connsiteY18" fmla="*/ 35855 h 128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6532" h="128461">
                  <a:moveTo>
                    <a:pt x="52176" y="67"/>
                  </a:moveTo>
                  <a:cubicBezTo>
                    <a:pt x="82065" y="-781"/>
                    <a:pt x="107431" y="8934"/>
                    <a:pt x="130360" y="28754"/>
                  </a:cubicBezTo>
                  <a:cubicBezTo>
                    <a:pt x="158128" y="52778"/>
                    <a:pt x="146293" y="106055"/>
                    <a:pt x="123718" y="123861"/>
                  </a:cubicBezTo>
                  <a:cubicBezTo>
                    <a:pt x="114355" y="131244"/>
                    <a:pt x="91745" y="129584"/>
                    <a:pt x="80616" y="120010"/>
                  </a:cubicBezTo>
                  <a:cubicBezTo>
                    <a:pt x="67085" y="108351"/>
                    <a:pt x="54437" y="95633"/>
                    <a:pt x="41082" y="83762"/>
                  </a:cubicBezTo>
                  <a:cubicBezTo>
                    <a:pt x="34405" y="77827"/>
                    <a:pt x="27057" y="72562"/>
                    <a:pt x="19814" y="67263"/>
                  </a:cubicBezTo>
                  <a:cubicBezTo>
                    <a:pt x="4022" y="55746"/>
                    <a:pt x="-3433" y="38116"/>
                    <a:pt x="1513" y="23455"/>
                  </a:cubicBezTo>
                  <a:cubicBezTo>
                    <a:pt x="6424" y="9005"/>
                    <a:pt x="20839" y="420"/>
                    <a:pt x="41047" y="31"/>
                  </a:cubicBezTo>
                  <a:cubicBezTo>
                    <a:pt x="44757" y="-39"/>
                    <a:pt x="48466" y="31"/>
                    <a:pt x="52176" y="31"/>
                  </a:cubicBezTo>
                  <a:close/>
                  <a:moveTo>
                    <a:pt x="108774" y="86270"/>
                  </a:moveTo>
                  <a:cubicBezTo>
                    <a:pt x="108667" y="75601"/>
                    <a:pt x="102803" y="71609"/>
                    <a:pt x="95702" y="71821"/>
                  </a:cubicBezTo>
                  <a:cubicBezTo>
                    <a:pt x="89554" y="71997"/>
                    <a:pt x="83124" y="75460"/>
                    <a:pt x="83796" y="83550"/>
                  </a:cubicBezTo>
                  <a:cubicBezTo>
                    <a:pt x="84432" y="91464"/>
                    <a:pt x="89484" y="95491"/>
                    <a:pt x="97397" y="95703"/>
                  </a:cubicBezTo>
                  <a:cubicBezTo>
                    <a:pt x="105205" y="95915"/>
                    <a:pt x="108985" y="92029"/>
                    <a:pt x="108774" y="86270"/>
                  </a:cubicBezTo>
                  <a:close/>
                  <a:moveTo>
                    <a:pt x="42743" y="35820"/>
                  </a:moveTo>
                  <a:cubicBezTo>
                    <a:pt x="38291" y="36880"/>
                    <a:pt x="35253" y="39671"/>
                    <a:pt x="36278" y="44511"/>
                  </a:cubicBezTo>
                  <a:cubicBezTo>
                    <a:pt x="37302" y="49245"/>
                    <a:pt x="40411" y="53485"/>
                    <a:pt x="45711" y="52919"/>
                  </a:cubicBezTo>
                  <a:cubicBezTo>
                    <a:pt x="50727" y="52354"/>
                    <a:pt x="51646" y="47691"/>
                    <a:pt x="51081" y="43345"/>
                  </a:cubicBezTo>
                  <a:cubicBezTo>
                    <a:pt x="50515" y="38717"/>
                    <a:pt x="47901" y="35891"/>
                    <a:pt x="42708" y="35855"/>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0" name="Freeform: Shape 3669">
              <a:extLst>
                <a:ext uri="{FF2B5EF4-FFF2-40B4-BE49-F238E27FC236}">
                  <a16:creationId xmlns:a16="http://schemas.microsoft.com/office/drawing/2014/main" id="{DB4A6E84-ADBF-0613-B028-1BDD3CFA7458}"/>
                </a:ext>
              </a:extLst>
            </p:cNvPr>
            <p:cNvSpPr/>
            <p:nvPr/>
          </p:nvSpPr>
          <p:spPr>
            <a:xfrm>
              <a:off x="7129349" y="4508330"/>
              <a:ext cx="130930" cy="121498"/>
            </a:xfrm>
            <a:custGeom>
              <a:avLst/>
              <a:gdLst>
                <a:gd name="connsiteX0" fmla="*/ 70659 w 130930"/>
                <a:gd name="connsiteY0" fmla="*/ 121498 h 121498"/>
                <a:gd name="connsiteX1" fmla="*/ 0 w 130930"/>
                <a:gd name="connsiteY1" fmla="*/ 64582 h 121498"/>
                <a:gd name="connsiteX2" fmla="*/ 62109 w 130930"/>
                <a:gd name="connsiteY2" fmla="*/ 0 h 121498"/>
                <a:gd name="connsiteX3" fmla="*/ 130931 w 130930"/>
                <a:gd name="connsiteY3" fmla="*/ 66031 h 121498"/>
                <a:gd name="connsiteX4" fmla="*/ 70659 w 130930"/>
                <a:gd name="connsiteY4" fmla="*/ 121498 h 121498"/>
                <a:gd name="connsiteX5" fmla="*/ 57446 w 130930"/>
                <a:gd name="connsiteY5" fmla="*/ 35542 h 121498"/>
                <a:gd name="connsiteX6" fmla="*/ 41265 w 130930"/>
                <a:gd name="connsiteY6" fmla="*/ 19538 h 121498"/>
                <a:gd name="connsiteX7" fmla="*/ 23070 w 130930"/>
                <a:gd name="connsiteY7" fmla="*/ 35224 h 121498"/>
                <a:gd name="connsiteX8" fmla="*/ 39463 w 130930"/>
                <a:gd name="connsiteY8" fmla="*/ 53312 h 121498"/>
                <a:gd name="connsiteX9" fmla="*/ 57446 w 130930"/>
                <a:gd name="connsiteY9" fmla="*/ 35542 h 121498"/>
                <a:gd name="connsiteX10" fmla="*/ 84685 w 130930"/>
                <a:gd name="connsiteY10" fmla="*/ 70129 h 121498"/>
                <a:gd name="connsiteX11" fmla="*/ 71154 w 130930"/>
                <a:gd name="connsiteY11" fmla="*/ 84402 h 121498"/>
                <a:gd name="connsiteX12" fmla="*/ 86946 w 130930"/>
                <a:gd name="connsiteY12" fmla="*/ 101007 h 121498"/>
                <a:gd name="connsiteX13" fmla="*/ 101925 w 130930"/>
                <a:gd name="connsiteY13" fmla="*/ 84155 h 121498"/>
                <a:gd name="connsiteX14" fmla="*/ 84720 w 130930"/>
                <a:gd name="connsiteY14" fmla="*/ 70129 h 12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0930" h="121498">
                  <a:moveTo>
                    <a:pt x="70659" y="121498"/>
                  </a:moveTo>
                  <a:cubicBezTo>
                    <a:pt x="29642" y="121463"/>
                    <a:pt x="71" y="97651"/>
                    <a:pt x="0" y="64582"/>
                  </a:cubicBezTo>
                  <a:cubicBezTo>
                    <a:pt x="-106" y="28476"/>
                    <a:pt x="27169" y="106"/>
                    <a:pt x="62109" y="0"/>
                  </a:cubicBezTo>
                  <a:cubicBezTo>
                    <a:pt x="100371" y="-106"/>
                    <a:pt x="130966" y="29253"/>
                    <a:pt x="130931" y="66031"/>
                  </a:cubicBezTo>
                  <a:cubicBezTo>
                    <a:pt x="130895" y="101819"/>
                    <a:pt x="109451" y="121533"/>
                    <a:pt x="70659" y="121498"/>
                  </a:cubicBezTo>
                  <a:close/>
                  <a:moveTo>
                    <a:pt x="57446" y="35542"/>
                  </a:moveTo>
                  <a:cubicBezTo>
                    <a:pt x="55891" y="26851"/>
                    <a:pt x="50910" y="20279"/>
                    <a:pt x="41265" y="19538"/>
                  </a:cubicBezTo>
                  <a:cubicBezTo>
                    <a:pt x="30631" y="18725"/>
                    <a:pt x="23565" y="25084"/>
                    <a:pt x="23070" y="35224"/>
                  </a:cubicBezTo>
                  <a:cubicBezTo>
                    <a:pt x="22540" y="45363"/>
                    <a:pt x="29324" y="52888"/>
                    <a:pt x="39463" y="53312"/>
                  </a:cubicBezTo>
                  <a:cubicBezTo>
                    <a:pt x="49815" y="53736"/>
                    <a:pt x="55291" y="46140"/>
                    <a:pt x="57446" y="35542"/>
                  </a:cubicBezTo>
                  <a:close/>
                  <a:moveTo>
                    <a:pt x="84685" y="70129"/>
                  </a:moveTo>
                  <a:cubicBezTo>
                    <a:pt x="76135" y="69352"/>
                    <a:pt x="71295" y="76029"/>
                    <a:pt x="71154" y="84402"/>
                  </a:cubicBezTo>
                  <a:cubicBezTo>
                    <a:pt x="70977" y="93800"/>
                    <a:pt x="77689" y="101042"/>
                    <a:pt x="86946" y="101007"/>
                  </a:cubicBezTo>
                  <a:cubicBezTo>
                    <a:pt x="96202" y="100972"/>
                    <a:pt x="101996" y="93870"/>
                    <a:pt x="101925" y="84155"/>
                  </a:cubicBezTo>
                  <a:cubicBezTo>
                    <a:pt x="101855" y="74369"/>
                    <a:pt x="95743" y="70306"/>
                    <a:pt x="84720" y="70129"/>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1" name="Freeform: Shape 3670">
              <a:extLst>
                <a:ext uri="{FF2B5EF4-FFF2-40B4-BE49-F238E27FC236}">
                  <a16:creationId xmlns:a16="http://schemas.microsoft.com/office/drawing/2014/main" id="{9EE275EB-2E7C-5379-501E-2331C009E89D}"/>
                </a:ext>
              </a:extLst>
            </p:cNvPr>
            <p:cNvSpPr/>
            <p:nvPr/>
          </p:nvSpPr>
          <p:spPr>
            <a:xfrm>
              <a:off x="6403829" y="4399975"/>
              <a:ext cx="131908" cy="99224"/>
            </a:xfrm>
            <a:custGeom>
              <a:avLst/>
              <a:gdLst>
                <a:gd name="connsiteX0" fmla="*/ 65851 w 131908"/>
                <a:gd name="connsiteY0" fmla="*/ 35 h 99224"/>
                <a:gd name="connsiteX1" fmla="*/ 129055 w 131908"/>
                <a:gd name="connsiteY1" fmla="*/ 76912 h 99224"/>
                <a:gd name="connsiteX2" fmla="*/ 81431 w 131908"/>
                <a:gd name="connsiteY2" fmla="*/ 93305 h 99224"/>
                <a:gd name="connsiteX3" fmla="*/ 17591 w 131908"/>
                <a:gd name="connsiteY3" fmla="*/ 58611 h 99224"/>
                <a:gd name="connsiteX4" fmla="*/ 33 w 131908"/>
                <a:gd name="connsiteY4" fmla="*/ 36106 h 99224"/>
                <a:gd name="connsiteX5" fmla="*/ 14447 w 131908"/>
                <a:gd name="connsiteY5" fmla="*/ 14803 h 99224"/>
                <a:gd name="connsiteX6" fmla="*/ 65886 w 131908"/>
                <a:gd name="connsiteY6" fmla="*/ 0 h 99224"/>
                <a:gd name="connsiteX7" fmla="*/ 75319 w 131908"/>
                <a:gd name="connsiteY7" fmla="*/ 26780 h 99224"/>
                <a:gd name="connsiteX8" fmla="*/ 57796 w 131908"/>
                <a:gd name="connsiteY8" fmla="*/ 9468 h 99224"/>
                <a:gd name="connsiteX9" fmla="*/ 40167 w 131908"/>
                <a:gd name="connsiteY9" fmla="*/ 28157 h 99224"/>
                <a:gd name="connsiteX10" fmla="*/ 56807 w 131908"/>
                <a:gd name="connsiteY10" fmla="*/ 44480 h 99224"/>
                <a:gd name="connsiteX11" fmla="*/ 75319 w 131908"/>
                <a:gd name="connsiteY11" fmla="*/ 26780 h 99224"/>
                <a:gd name="connsiteX12" fmla="*/ 119446 w 131908"/>
                <a:gd name="connsiteY12" fmla="*/ 49426 h 99224"/>
                <a:gd name="connsiteX13" fmla="*/ 111426 w 131908"/>
                <a:gd name="connsiteY13" fmla="*/ 41795 h 99224"/>
                <a:gd name="connsiteX14" fmla="*/ 101463 w 131908"/>
                <a:gd name="connsiteY14" fmla="*/ 49143 h 99224"/>
                <a:gd name="connsiteX15" fmla="*/ 109236 w 131908"/>
                <a:gd name="connsiteY15" fmla="*/ 57057 h 99224"/>
                <a:gd name="connsiteX16" fmla="*/ 119410 w 131908"/>
                <a:gd name="connsiteY16" fmla="*/ 49426 h 9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908" h="99224">
                  <a:moveTo>
                    <a:pt x="65851" y="35"/>
                  </a:moveTo>
                  <a:cubicBezTo>
                    <a:pt x="108635" y="177"/>
                    <a:pt x="142092" y="43031"/>
                    <a:pt x="129055" y="76912"/>
                  </a:cubicBezTo>
                  <a:cubicBezTo>
                    <a:pt x="120930" y="98004"/>
                    <a:pt x="100121" y="105635"/>
                    <a:pt x="81431" y="93305"/>
                  </a:cubicBezTo>
                  <a:cubicBezTo>
                    <a:pt x="61082" y="79915"/>
                    <a:pt x="41227" y="66031"/>
                    <a:pt x="17591" y="58611"/>
                  </a:cubicBezTo>
                  <a:cubicBezTo>
                    <a:pt x="7169" y="55326"/>
                    <a:pt x="669" y="46811"/>
                    <a:pt x="33" y="36106"/>
                  </a:cubicBezTo>
                  <a:cubicBezTo>
                    <a:pt x="-533" y="26356"/>
                    <a:pt x="6321" y="19502"/>
                    <a:pt x="14447" y="14803"/>
                  </a:cubicBezTo>
                  <a:cubicBezTo>
                    <a:pt x="31299" y="5087"/>
                    <a:pt x="50094" y="2226"/>
                    <a:pt x="65886" y="0"/>
                  </a:cubicBezTo>
                  <a:close/>
                  <a:moveTo>
                    <a:pt x="75319" y="26780"/>
                  </a:moveTo>
                  <a:cubicBezTo>
                    <a:pt x="74931" y="13743"/>
                    <a:pt x="68642" y="9574"/>
                    <a:pt x="57796" y="9468"/>
                  </a:cubicBezTo>
                  <a:cubicBezTo>
                    <a:pt x="44760" y="9362"/>
                    <a:pt x="39814" y="15722"/>
                    <a:pt x="40167" y="28157"/>
                  </a:cubicBezTo>
                  <a:cubicBezTo>
                    <a:pt x="40485" y="39322"/>
                    <a:pt x="45643" y="44939"/>
                    <a:pt x="56807" y="44480"/>
                  </a:cubicBezTo>
                  <a:cubicBezTo>
                    <a:pt x="68995" y="43950"/>
                    <a:pt x="74507" y="36778"/>
                    <a:pt x="75319" y="26780"/>
                  </a:cubicBezTo>
                  <a:close/>
                  <a:moveTo>
                    <a:pt x="119446" y="49426"/>
                  </a:moveTo>
                  <a:cubicBezTo>
                    <a:pt x="118845" y="44974"/>
                    <a:pt x="116196" y="42148"/>
                    <a:pt x="111426" y="41795"/>
                  </a:cubicBezTo>
                  <a:cubicBezTo>
                    <a:pt x="106162" y="41406"/>
                    <a:pt x="101852" y="43349"/>
                    <a:pt x="101463" y="49143"/>
                  </a:cubicBezTo>
                  <a:cubicBezTo>
                    <a:pt x="101145" y="54054"/>
                    <a:pt x="104537" y="56704"/>
                    <a:pt x="109236" y="57057"/>
                  </a:cubicBezTo>
                  <a:cubicBezTo>
                    <a:pt x="114500" y="57481"/>
                    <a:pt x="118351" y="55467"/>
                    <a:pt x="119410" y="49426"/>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2" name="Freeform: Shape 3671">
              <a:extLst>
                <a:ext uri="{FF2B5EF4-FFF2-40B4-BE49-F238E27FC236}">
                  <a16:creationId xmlns:a16="http://schemas.microsoft.com/office/drawing/2014/main" id="{C460B5AD-2B7F-BC36-AC8A-E0BF0AD9E9A8}"/>
                </a:ext>
              </a:extLst>
            </p:cNvPr>
            <p:cNvSpPr/>
            <p:nvPr/>
          </p:nvSpPr>
          <p:spPr>
            <a:xfrm>
              <a:off x="6287661" y="3921580"/>
              <a:ext cx="83344" cy="86451"/>
            </a:xfrm>
            <a:custGeom>
              <a:avLst/>
              <a:gdLst>
                <a:gd name="connsiteX0" fmla="*/ 83344 w 83344"/>
                <a:gd name="connsiteY0" fmla="*/ 43067 h 86451"/>
                <a:gd name="connsiteX1" fmla="*/ 42186 w 83344"/>
                <a:gd name="connsiteY1" fmla="*/ 86452 h 86451"/>
                <a:gd name="connsiteX2" fmla="*/ 2 w 83344"/>
                <a:gd name="connsiteY2" fmla="*/ 42502 h 86451"/>
                <a:gd name="connsiteX3" fmla="*/ 43528 w 83344"/>
                <a:gd name="connsiteY3" fmla="*/ 1 h 86451"/>
                <a:gd name="connsiteX4" fmla="*/ 83344 w 83344"/>
                <a:gd name="connsiteY4" fmla="*/ 43103 h 86451"/>
                <a:gd name="connsiteX5" fmla="*/ 29290 w 83344"/>
                <a:gd name="connsiteY5" fmla="*/ 44586 h 86451"/>
                <a:gd name="connsiteX6" fmla="*/ 37699 w 83344"/>
                <a:gd name="connsiteY6" fmla="*/ 36991 h 86451"/>
                <a:gd name="connsiteX7" fmla="*/ 28160 w 83344"/>
                <a:gd name="connsiteY7" fmla="*/ 29183 h 86451"/>
                <a:gd name="connsiteX8" fmla="*/ 19928 w 83344"/>
                <a:gd name="connsiteY8" fmla="*/ 36743 h 86451"/>
                <a:gd name="connsiteX9" fmla="*/ 29290 w 83344"/>
                <a:gd name="connsiteY9" fmla="*/ 44586 h 8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344" h="86451">
                  <a:moveTo>
                    <a:pt x="83344" y="43067"/>
                  </a:moveTo>
                  <a:cubicBezTo>
                    <a:pt x="83274" y="70801"/>
                    <a:pt x="68365" y="86522"/>
                    <a:pt x="42186" y="86452"/>
                  </a:cubicBezTo>
                  <a:cubicBezTo>
                    <a:pt x="17561" y="86381"/>
                    <a:pt x="250" y="68363"/>
                    <a:pt x="2" y="42502"/>
                  </a:cubicBezTo>
                  <a:cubicBezTo>
                    <a:pt x="-245" y="18019"/>
                    <a:pt x="18374" y="-141"/>
                    <a:pt x="43528" y="1"/>
                  </a:cubicBezTo>
                  <a:cubicBezTo>
                    <a:pt x="68683" y="107"/>
                    <a:pt x="83415" y="16040"/>
                    <a:pt x="83344" y="43103"/>
                  </a:cubicBezTo>
                  <a:close/>
                  <a:moveTo>
                    <a:pt x="29290" y="44586"/>
                  </a:moveTo>
                  <a:cubicBezTo>
                    <a:pt x="34201" y="44198"/>
                    <a:pt x="37734" y="41866"/>
                    <a:pt x="37699" y="36991"/>
                  </a:cubicBezTo>
                  <a:cubicBezTo>
                    <a:pt x="37628" y="31232"/>
                    <a:pt x="33530" y="28936"/>
                    <a:pt x="28160" y="29183"/>
                  </a:cubicBezTo>
                  <a:cubicBezTo>
                    <a:pt x="23426" y="29395"/>
                    <a:pt x="19893" y="31832"/>
                    <a:pt x="19928" y="36743"/>
                  </a:cubicBezTo>
                  <a:cubicBezTo>
                    <a:pt x="19964" y="42573"/>
                    <a:pt x="24168" y="44551"/>
                    <a:pt x="29290" y="44586"/>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3" name="Freeform: Shape 3672">
              <a:extLst>
                <a:ext uri="{FF2B5EF4-FFF2-40B4-BE49-F238E27FC236}">
                  <a16:creationId xmlns:a16="http://schemas.microsoft.com/office/drawing/2014/main" id="{72D0A5DB-173C-D177-E3A7-EAE7C91CEECB}"/>
                </a:ext>
              </a:extLst>
            </p:cNvPr>
            <p:cNvSpPr/>
            <p:nvPr/>
          </p:nvSpPr>
          <p:spPr>
            <a:xfrm>
              <a:off x="6294021" y="4546691"/>
              <a:ext cx="85272" cy="79674"/>
            </a:xfrm>
            <a:custGeom>
              <a:avLst/>
              <a:gdLst>
                <a:gd name="connsiteX0" fmla="*/ 48014 w 85272"/>
                <a:gd name="connsiteY0" fmla="*/ 79675 h 79674"/>
                <a:gd name="connsiteX1" fmla="*/ 2 w 85272"/>
                <a:gd name="connsiteY1" fmla="*/ 37067 h 79674"/>
                <a:gd name="connsiteX2" fmla="*/ 36144 w 85272"/>
                <a:gd name="connsiteY2" fmla="*/ 7 h 79674"/>
                <a:gd name="connsiteX3" fmla="*/ 85251 w 85272"/>
                <a:gd name="connsiteY3" fmla="*/ 47949 h 79674"/>
                <a:gd name="connsiteX4" fmla="*/ 47979 w 85272"/>
                <a:gd name="connsiteY4" fmla="*/ 79675 h 79674"/>
                <a:gd name="connsiteX5" fmla="*/ 39606 w 85272"/>
                <a:gd name="connsiteY5" fmla="*/ 35336 h 79674"/>
                <a:gd name="connsiteX6" fmla="*/ 32364 w 85272"/>
                <a:gd name="connsiteY6" fmla="*/ 41307 h 79674"/>
                <a:gd name="connsiteX7" fmla="*/ 39005 w 85272"/>
                <a:gd name="connsiteY7" fmla="*/ 50210 h 79674"/>
                <a:gd name="connsiteX8" fmla="*/ 47308 w 85272"/>
                <a:gd name="connsiteY8" fmla="*/ 43250 h 79674"/>
                <a:gd name="connsiteX9" fmla="*/ 39606 w 85272"/>
                <a:gd name="connsiteY9" fmla="*/ 35336 h 79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272" h="79674">
                  <a:moveTo>
                    <a:pt x="48014" y="79675"/>
                  </a:moveTo>
                  <a:cubicBezTo>
                    <a:pt x="21447" y="79745"/>
                    <a:pt x="214" y="60879"/>
                    <a:pt x="2" y="37067"/>
                  </a:cubicBezTo>
                  <a:cubicBezTo>
                    <a:pt x="-175" y="13785"/>
                    <a:pt x="12862" y="396"/>
                    <a:pt x="36144" y="7"/>
                  </a:cubicBezTo>
                  <a:cubicBezTo>
                    <a:pt x="62782" y="-452"/>
                    <a:pt x="86064" y="22265"/>
                    <a:pt x="85251" y="47949"/>
                  </a:cubicBezTo>
                  <a:cubicBezTo>
                    <a:pt x="84686" y="65720"/>
                    <a:pt x="68364" y="79639"/>
                    <a:pt x="47979" y="79675"/>
                  </a:cubicBezTo>
                  <a:close/>
                  <a:moveTo>
                    <a:pt x="39606" y="35336"/>
                  </a:moveTo>
                  <a:cubicBezTo>
                    <a:pt x="35472" y="35230"/>
                    <a:pt x="32469" y="36608"/>
                    <a:pt x="32364" y="41307"/>
                  </a:cubicBezTo>
                  <a:cubicBezTo>
                    <a:pt x="32257" y="45970"/>
                    <a:pt x="34095" y="49574"/>
                    <a:pt x="39005" y="50210"/>
                  </a:cubicBezTo>
                  <a:cubicBezTo>
                    <a:pt x="43916" y="50846"/>
                    <a:pt x="47025" y="48020"/>
                    <a:pt x="47308" y="43250"/>
                  </a:cubicBezTo>
                  <a:cubicBezTo>
                    <a:pt x="47591" y="38304"/>
                    <a:pt x="44199" y="35972"/>
                    <a:pt x="39606" y="35336"/>
                  </a:cubicBezTo>
                  <a:close/>
                </a:path>
              </a:pathLst>
            </a:custGeom>
            <a:solidFill>
              <a:srgbClr val="B7B7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4" name="Freeform: Shape 3673">
              <a:extLst>
                <a:ext uri="{FF2B5EF4-FFF2-40B4-BE49-F238E27FC236}">
                  <a16:creationId xmlns:a16="http://schemas.microsoft.com/office/drawing/2014/main" id="{657580A2-FF91-F147-95A8-8196EB006994}"/>
                </a:ext>
              </a:extLst>
            </p:cNvPr>
            <p:cNvSpPr/>
            <p:nvPr/>
          </p:nvSpPr>
          <p:spPr>
            <a:xfrm>
              <a:off x="6539609" y="3803658"/>
              <a:ext cx="331744" cy="349098"/>
            </a:xfrm>
            <a:custGeom>
              <a:avLst/>
              <a:gdLst>
                <a:gd name="connsiteX0" fmla="*/ 130 w 331744"/>
                <a:gd name="connsiteY0" fmla="*/ 225395 h 349098"/>
                <a:gd name="connsiteX1" fmla="*/ 57469 w 331744"/>
                <a:gd name="connsiteY1" fmla="*/ 124706 h 349098"/>
                <a:gd name="connsiteX2" fmla="*/ 122193 w 331744"/>
                <a:gd name="connsiteY2" fmla="*/ 87469 h 349098"/>
                <a:gd name="connsiteX3" fmla="*/ 184196 w 331744"/>
                <a:gd name="connsiteY3" fmla="*/ 31119 h 349098"/>
                <a:gd name="connsiteX4" fmla="*/ 237508 w 331744"/>
                <a:gd name="connsiteY4" fmla="*/ 1407 h 349098"/>
                <a:gd name="connsiteX5" fmla="*/ 329611 w 331744"/>
                <a:gd name="connsiteY5" fmla="*/ 49879 h 349098"/>
                <a:gd name="connsiteX6" fmla="*/ 316257 w 331744"/>
                <a:gd name="connsiteY6" fmla="*/ 111422 h 349098"/>
                <a:gd name="connsiteX7" fmla="*/ 268703 w 331744"/>
                <a:gd name="connsiteY7" fmla="*/ 214231 h 349098"/>
                <a:gd name="connsiteX8" fmla="*/ 221857 w 331744"/>
                <a:gd name="connsiteY8" fmla="*/ 305381 h 349098"/>
                <a:gd name="connsiteX9" fmla="*/ 98699 w 331744"/>
                <a:gd name="connsiteY9" fmla="*/ 344172 h 349098"/>
                <a:gd name="connsiteX10" fmla="*/ 130 w 331744"/>
                <a:gd name="connsiteY10" fmla="*/ 225395 h 349098"/>
                <a:gd name="connsiteX11" fmla="*/ 12778 w 331744"/>
                <a:gd name="connsiteY11" fmla="*/ 222922 h 349098"/>
                <a:gd name="connsiteX12" fmla="*/ 88206 w 331744"/>
                <a:gd name="connsiteY12" fmla="*/ 328592 h 349098"/>
                <a:gd name="connsiteX13" fmla="*/ 209032 w 331744"/>
                <a:gd name="connsiteY13" fmla="*/ 302696 h 349098"/>
                <a:gd name="connsiteX14" fmla="*/ 258387 w 331744"/>
                <a:gd name="connsiteY14" fmla="*/ 207836 h 349098"/>
                <a:gd name="connsiteX15" fmla="*/ 301630 w 331744"/>
                <a:gd name="connsiteY15" fmla="*/ 113613 h 349098"/>
                <a:gd name="connsiteX16" fmla="*/ 317387 w 331744"/>
                <a:gd name="connsiteY16" fmla="*/ 82700 h 349098"/>
                <a:gd name="connsiteX17" fmla="*/ 283224 w 331744"/>
                <a:gd name="connsiteY17" fmla="*/ 17234 h 349098"/>
                <a:gd name="connsiteX18" fmla="*/ 176459 w 331744"/>
                <a:gd name="connsiteY18" fmla="*/ 56273 h 349098"/>
                <a:gd name="connsiteX19" fmla="*/ 151799 w 331744"/>
                <a:gd name="connsiteY19" fmla="*/ 80721 h 349098"/>
                <a:gd name="connsiteX20" fmla="*/ 57363 w 331744"/>
                <a:gd name="connsiteY20" fmla="*/ 139121 h 349098"/>
                <a:gd name="connsiteX21" fmla="*/ 12813 w 331744"/>
                <a:gd name="connsiteY21" fmla="*/ 223028 h 34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1744" h="349098">
                  <a:moveTo>
                    <a:pt x="130" y="225395"/>
                  </a:moveTo>
                  <a:cubicBezTo>
                    <a:pt x="-471" y="180597"/>
                    <a:pt x="18854" y="147140"/>
                    <a:pt x="57469" y="124706"/>
                  </a:cubicBezTo>
                  <a:cubicBezTo>
                    <a:pt x="78985" y="112200"/>
                    <a:pt x="100289" y="99269"/>
                    <a:pt x="122193" y="87469"/>
                  </a:cubicBezTo>
                  <a:cubicBezTo>
                    <a:pt x="147630" y="73761"/>
                    <a:pt x="164023" y="50409"/>
                    <a:pt x="184196" y="31119"/>
                  </a:cubicBezTo>
                  <a:cubicBezTo>
                    <a:pt x="199529" y="16457"/>
                    <a:pt x="216593" y="5222"/>
                    <a:pt x="237508" y="1407"/>
                  </a:cubicBezTo>
                  <a:cubicBezTo>
                    <a:pt x="269551" y="-4422"/>
                    <a:pt x="319542" y="7130"/>
                    <a:pt x="329611" y="49879"/>
                  </a:cubicBezTo>
                  <a:cubicBezTo>
                    <a:pt x="335017" y="72772"/>
                    <a:pt x="330000" y="94040"/>
                    <a:pt x="316257" y="111422"/>
                  </a:cubicBezTo>
                  <a:cubicBezTo>
                    <a:pt x="291986" y="142159"/>
                    <a:pt x="278348" y="176958"/>
                    <a:pt x="268703" y="214231"/>
                  </a:cubicBezTo>
                  <a:cubicBezTo>
                    <a:pt x="260012" y="247970"/>
                    <a:pt x="243584" y="277859"/>
                    <a:pt x="221857" y="305381"/>
                  </a:cubicBezTo>
                  <a:cubicBezTo>
                    <a:pt x="189212" y="346645"/>
                    <a:pt x="147665" y="356431"/>
                    <a:pt x="98699" y="344172"/>
                  </a:cubicBezTo>
                  <a:cubicBezTo>
                    <a:pt x="49132" y="331772"/>
                    <a:pt x="-2944" y="286656"/>
                    <a:pt x="130" y="225395"/>
                  </a:cubicBezTo>
                  <a:close/>
                  <a:moveTo>
                    <a:pt x="12778" y="222922"/>
                  </a:moveTo>
                  <a:cubicBezTo>
                    <a:pt x="8715" y="274785"/>
                    <a:pt x="45952" y="313506"/>
                    <a:pt x="88206" y="328592"/>
                  </a:cubicBezTo>
                  <a:cubicBezTo>
                    <a:pt x="141306" y="347529"/>
                    <a:pt x="176494" y="340039"/>
                    <a:pt x="209032" y="302696"/>
                  </a:cubicBezTo>
                  <a:cubicBezTo>
                    <a:pt x="233056" y="275103"/>
                    <a:pt x="249272" y="243342"/>
                    <a:pt x="258387" y="207836"/>
                  </a:cubicBezTo>
                  <a:cubicBezTo>
                    <a:pt x="267078" y="173885"/>
                    <a:pt x="277819" y="140852"/>
                    <a:pt x="301630" y="113613"/>
                  </a:cubicBezTo>
                  <a:cubicBezTo>
                    <a:pt x="309262" y="104887"/>
                    <a:pt x="314844" y="94288"/>
                    <a:pt x="317387" y="82700"/>
                  </a:cubicBezTo>
                  <a:cubicBezTo>
                    <a:pt x="322899" y="57369"/>
                    <a:pt x="316857" y="26632"/>
                    <a:pt x="283224" y="17234"/>
                  </a:cubicBezTo>
                  <a:cubicBezTo>
                    <a:pt x="234787" y="3668"/>
                    <a:pt x="209633" y="19107"/>
                    <a:pt x="176459" y="56273"/>
                  </a:cubicBezTo>
                  <a:cubicBezTo>
                    <a:pt x="168686" y="65000"/>
                    <a:pt x="161302" y="73691"/>
                    <a:pt x="151799" y="80721"/>
                  </a:cubicBezTo>
                  <a:cubicBezTo>
                    <a:pt x="121945" y="102837"/>
                    <a:pt x="88241" y="118630"/>
                    <a:pt x="57363" y="139121"/>
                  </a:cubicBezTo>
                  <a:cubicBezTo>
                    <a:pt x="27086" y="159188"/>
                    <a:pt x="10976" y="186179"/>
                    <a:pt x="12813" y="223028"/>
                  </a:cubicBezTo>
                  <a:close/>
                </a:path>
              </a:pathLst>
            </a:custGeom>
            <a:solidFill>
              <a:srgbClr val="817D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5" name="Freeform: Shape 3674">
              <a:extLst>
                <a:ext uri="{FF2B5EF4-FFF2-40B4-BE49-F238E27FC236}">
                  <a16:creationId xmlns:a16="http://schemas.microsoft.com/office/drawing/2014/main" id="{C7582750-D506-3B9A-E656-FC0D7E8B8368}"/>
                </a:ext>
              </a:extLst>
            </p:cNvPr>
            <p:cNvSpPr/>
            <p:nvPr/>
          </p:nvSpPr>
          <p:spPr>
            <a:xfrm>
              <a:off x="6880845" y="3935236"/>
              <a:ext cx="177399" cy="359430"/>
            </a:xfrm>
            <a:custGeom>
              <a:avLst/>
              <a:gdLst>
                <a:gd name="connsiteX0" fmla="*/ 9891 w 177399"/>
                <a:gd name="connsiteY0" fmla="*/ 233261 h 359430"/>
                <a:gd name="connsiteX1" fmla="*/ 882 w 177399"/>
                <a:gd name="connsiteY1" fmla="*/ 122186 h 359430"/>
                <a:gd name="connsiteX2" fmla="*/ 46421 w 177399"/>
                <a:gd name="connsiteY2" fmla="*/ 12135 h 359430"/>
                <a:gd name="connsiteX3" fmla="*/ 135910 w 177399"/>
                <a:gd name="connsiteY3" fmla="*/ 27044 h 359430"/>
                <a:gd name="connsiteX4" fmla="*/ 175267 w 177399"/>
                <a:gd name="connsiteY4" fmla="*/ 122257 h 359430"/>
                <a:gd name="connsiteX5" fmla="*/ 130682 w 177399"/>
                <a:gd name="connsiteY5" fmla="*/ 313742 h 359430"/>
                <a:gd name="connsiteX6" fmla="*/ 85213 w 177399"/>
                <a:gd name="connsiteY6" fmla="*/ 356137 h 359430"/>
                <a:gd name="connsiteX7" fmla="*/ 15649 w 177399"/>
                <a:gd name="connsiteY7" fmla="*/ 319500 h 359430"/>
                <a:gd name="connsiteX8" fmla="*/ 9891 w 177399"/>
                <a:gd name="connsiteY8" fmla="*/ 233261 h 359430"/>
                <a:gd name="connsiteX9" fmla="*/ 22115 w 177399"/>
                <a:gd name="connsiteY9" fmla="*/ 246898 h 359430"/>
                <a:gd name="connsiteX10" fmla="*/ 24552 w 177399"/>
                <a:gd name="connsiteY10" fmla="*/ 303955 h 359430"/>
                <a:gd name="connsiteX11" fmla="*/ 57833 w 177399"/>
                <a:gd name="connsiteY11" fmla="*/ 348046 h 359430"/>
                <a:gd name="connsiteX12" fmla="*/ 104079 w 177399"/>
                <a:gd name="connsiteY12" fmla="*/ 330205 h 359430"/>
                <a:gd name="connsiteX13" fmla="*/ 135875 w 177399"/>
                <a:gd name="connsiteY13" fmla="*/ 275833 h 359430"/>
                <a:gd name="connsiteX14" fmla="*/ 162337 w 177399"/>
                <a:gd name="connsiteY14" fmla="*/ 115650 h 359430"/>
                <a:gd name="connsiteX15" fmla="*/ 119341 w 177399"/>
                <a:gd name="connsiteY15" fmla="*/ 27539 h 359430"/>
                <a:gd name="connsiteX16" fmla="*/ 44937 w 177399"/>
                <a:gd name="connsiteY16" fmla="*/ 28528 h 359430"/>
                <a:gd name="connsiteX17" fmla="*/ 13530 w 177399"/>
                <a:gd name="connsiteY17" fmla="*/ 131760 h 359430"/>
                <a:gd name="connsiteX18" fmla="*/ 22115 w 177399"/>
                <a:gd name="connsiteY18" fmla="*/ 246934 h 35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399" h="359430">
                  <a:moveTo>
                    <a:pt x="9891" y="233261"/>
                  </a:moveTo>
                  <a:cubicBezTo>
                    <a:pt x="11516" y="199734"/>
                    <a:pt x="4733" y="161119"/>
                    <a:pt x="882" y="122186"/>
                  </a:cubicBezTo>
                  <a:cubicBezTo>
                    <a:pt x="-3499" y="77918"/>
                    <a:pt x="7948" y="39127"/>
                    <a:pt x="46421" y="12135"/>
                  </a:cubicBezTo>
                  <a:cubicBezTo>
                    <a:pt x="76981" y="-9275"/>
                    <a:pt x="108495" y="-1149"/>
                    <a:pt x="135910" y="27044"/>
                  </a:cubicBezTo>
                  <a:cubicBezTo>
                    <a:pt x="161206" y="53046"/>
                    <a:pt x="170392" y="87104"/>
                    <a:pt x="175267" y="122257"/>
                  </a:cubicBezTo>
                  <a:cubicBezTo>
                    <a:pt x="184912" y="191749"/>
                    <a:pt x="160394" y="253540"/>
                    <a:pt x="130682" y="313742"/>
                  </a:cubicBezTo>
                  <a:cubicBezTo>
                    <a:pt x="121178" y="332996"/>
                    <a:pt x="106516" y="348576"/>
                    <a:pt x="85213" y="356137"/>
                  </a:cubicBezTo>
                  <a:cubicBezTo>
                    <a:pt x="54936" y="366842"/>
                    <a:pt x="24446" y="350625"/>
                    <a:pt x="15649" y="319500"/>
                  </a:cubicBezTo>
                  <a:cubicBezTo>
                    <a:pt x="8160" y="293038"/>
                    <a:pt x="9997" y="266012"/>
                    <a:pt x="9891" y="233261"/>
                  </a:cubicBezTo>
                  <a:close/>
                  <a:moveTo>
                    <a:pt x="22115" y="246898"/>
                  </a:moveTo>
                  <a:cubicBezTo>
                    <a:pt x="23916" y="264810"/>
                    <a:pt x="21620" y="284242"/>
                    <a:pt x="24552" y="303955"/>
                  </a:cubicBezTo>
                  <a:cubicBezTo>
                    <a:pt x="27803" y="325965"/>
                    <a:pt x="37624" y="341192"/>
                    <a:pt x="57833" y="348046"/>
                  </a:cubicBezTo>
                  <a:cubicBezTo>
                    <a:pt x="77052" y="354547"/>
                    <a:pt x="91148" y="342429"/>
                    <a:pt x="104079" y="330205"/>
                  </a:cubicBezTo>
                  <a:cubicBezTo>
                    <a:pt x="119906" y="315225"/>
                    <a:pt x="127679" y="295335"/>
                    <a:pt x="135875" y="275833"/>
                  </a:cubicBezTo>
                  <a:cubicBezTo>
                    <a:pt x="157497" y="224570"/>
                    <a:pt x="172900" y="172071"/>
                    <a:pt x="162337" y="115650"/>
                  </a:cubicBezTo>
                  <a:cubicBezTo>
                    <a:pt x="156154" y="82546"/>
                    <a:pt x="146403" y="50962"/>
                    <a:pt x="119341" y="27539"/>
                  </a:cubicBezTo>
                  <a:cubicBezTo>
                    <a:pt x="97048" y="8249"/>
                    <a:pt x="67266" y="9591"/>
                    <a:pt x="44937" y="28528"/>
                  </a:cubicBezTo>
                  <a:cubicBezTo>
                    <a:pt x="11693" y="56721"/>
                    <a:pt x="9608" y="93710"/>
                    <a:pt x="13530" y="131760"/>
                  </a:cubicBezTo>
                  <a:cubicBezTo>
                    <a:pt x="17451" y="169598"/>
                    <a:pt x="23563" y="207153"/>
                    <a:pt x="22115" y="246934"/>
                  </a:cubicBezTo>
                  <a:close/>
                </a:path>
              </a:pathLst>
            </a:custGeom>
            <a:solidFill>
              <a:srgbClr val="817D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6" name="Freeform: Shape 3675">
              <a:extLst>
                <a:ext uri="{FF2B5EF4-FFF2-40B4-BE49-F238E27FC236}">
                  <a16:creationId xmlns:a16="http://schemas.microsoft.com/office/drawing/2014/main" id="{29F98DF4-4DB9-4601-9B71-666958227CAA}"/>
                </a:ext>
              </a:extLst>
            </p:cNvPr>
            <p:cNvSpPr/>
            <p:nvPr/>
          </p:nvSpPr>
          <p:spPr>
            <a:xfrm>
              <a:off x="6689748" y="4188783"/>
              <a:ext cx="146957" cy="164553"/>
            </a:xfrm>
            <a:custGeom>
              <a:avLst/>
              <a:gdLst>
                <a:gd name="connsiteX0" fmla="*/ 146580 w 146957"/>
                <a:gd name="connsiteY0" fmla="*/ 96407 h 164553"/>
                <a:gd name="connsiteX1" fmla="*/ 135169 w 146957"/>
                <a:gd name="connsiteY1" fmla="*/ 140286 h 164553"/>
                <a:gd name="connsiteX2" fmla="*/ 67160 w 146957"/>
                <a:gd name="connsiteY2" fmla="*/ 157032 h 164553"/>
                <a:gd name="connsiteX3" fmla="*/ 175 w 146957"/>
                <a:gd name="connsiteY3" fmla="*/ 62809 h 164553"/>
                <a:gd name="connsiteX4" fmla="*/ 57444 w 146957"/>
                <a:gd name="connsiteY4" fmla="*/ 488 h 164553"/>
                <a:gd name="connsiteX5" fmla="*/ 146545 w 146957"/>
                <a:gd name="connsiteY5" fmla="*/ 96407 h 164553"/>
                <a:gd name="connsiteX6" fmla="*/ 12399 w 146957"/>
                <a:gd name="connsiteY6" fmla="*/ 62279 h 164553"/>
                <a:gd name="connsiteX7" fmla="*/ 79666 w 146957"/>
                <a:gd name="connsiteY7" fmla="*/ 149931 h 164553"/>
                <a:gd name="connsiteX8" fmla="*/ 131389 w 146957"/>
                <a:gd name="connsiteY8" fmla="*/ 123116 h 164553"/>
                <a:gd name="connsiteX9" fmla="*/ 106411 w 146957"/>
                <a:gd name="connsiteY9" fmla="*/ 26278 h 164553"/>
                <a:gd name="connsiteX10" fmla="*/ 42253 w 146957"/>
                <a:gd name="connsiteY10" fmla="*/ 17834 h 164553"/>
                <a:gd name="connsiteX11" fmla="*/ 12399 w 146957"/>
                <a:gd name="connsiteY11" fmla="*/ 62279 h 16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957" h="164553">
                  <a:moveTo>
                    <a:pt x="146580" y="96407"/>
                  </a:moveTo>
                  <a:cubicBezTo>
                    <a:pt x="148241" y="111457"/>
                    <a:pt x="144425" y="126719"/>
                    <a:pt x="135169" y="140286"/>
                  </a:cubicBezTo>
                  <a:cubicBezTo>
                    <a:pt x="118670" y="164557"/>
                    <a:pt x="93127" y="171552"/>
                    <a:pt x="67160" y="157032"/>
                  </a:cubicBezTo>
                  <a:cubicBezTo>
                    <a:pt x="30276" y="136400"/>
                    <a:pt x="3814" y="106582"/>
                    <a:pt x="175" y="62809"/>
                  </a:cubicBezTo>
                  <a:cubicBezTo>
                    <a:pt x="-2474" y="30800"/>
                    <a:pt x="25294" y="3950"/>
                    <a:pt x="57444" y="488"/>
                  </a:cubicBezTo>
                  <a:cubicBezTo>
                    <a:pt x="115420" y="-5801"/>
                    <a:pt x="149442" y="49949"/>
                    <a:pt x="146545" y="96407"/>
                  </a:cubicBezTo>
                  <a:close/>
                  <a:moveTo>
                    <a:pt x="12399" y="62279"/>
                  </a:moveTo>
                  <a:cubicBezTo>
                    <a:pt x="9361" y="95241"/>
                    <a:pt x="49884" y="140887"/>
                    <a:pt x="79666" y="149931"/>
                  </a:cubicBezTo>
                  <a:cubicBezTo>
                    <a:pt x="102948" y="156997"/>
                    <a:pt x="122026" y="146398"/>
                    <a:pt x="131389" y="123116"/>
                  </a:cubicBezTo>
                  <a:cubicBezTo>
                    <a:pt x="143577" y="92803"/>
                    <a:pt x="131954" y="46805"/>
                    <a:pt x="106411" y="26278"/>
                  </a:cubicBezTo>
                  <a:cubicBezTo>
                    <a:pt x="86909" y="10592"/>
                    <a:pt x="64969" y="9179"/>
                    <a:pt x="42253" y="17834"/>
                  </a:cubicBezTo>
                  <a:cubicBezTo>
                    <a:pt x="22468" y="25395"/>
                    <a:pt x="11551" y="39597"/>
                    <a:pt x="12399" y="62279"/>
                  </a:cubicBezTo>
                  <a:close/>
                </a:path>
              </a:pathLst>
            </a:custGeom>
            <a:solidFill>
              <a:srgbClr val="817D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7" name="Freeform: Shape 3676">
              <a:extLst>
                <a:ext uri="{FF2B5EF4-FFF2-40B4-BE49-F238E27FC236}">
                  <a16:creationId xmlns:a16="http://schemas.microsoft.com/office/drawing/2014/main" id="{D2EB761E-A719-381E-7B3D-9028F2EFB205}"/>
                </a:ext>
              </a:extLst>
            </p:cNvPr>
            <p:cNvSpPr/>
            <p:nvPr/>
          </p:nvSpPr>
          <p:spPr>
            <a:xfrm>
              <a:off x="7043428" y="3889958"/>
              <a:ext cx="82918" cy="79637"/>
            </a:xfrm>
            <a:custGeom>
              <a:avLst/>
              <a:gdLst>
                <a:gd name="connsiteX0" fmla="*/ 40347 w 82918"/>
                <a:gd name="connsiteY0" fmla="*/ 79635 h 79637"/>
                <a:gd name="connsiteX1" fmla="*/ 0 w 82918"/>
                <a:gd name="connsiteY1" fmla="*/ 37911 h 79637"/>
                <a:gd name="connsiteX2" fmla="*/ 34800 w 82918"/>
                <a:gd name="connsiteY2" fmla="*/ 3 h 79637"/>
                <a:gd name="connsiteX3" fmla="*/ 82919 w 82918"/>
                <a:gd name="connsiteY3" fmla="*/ 43140 h 79637"/>
                <a:gd name="connsiteX4" fmla="*/ 40382 w 82918"/>
                <a:gd name="connsiteY4" fmla="*/ 79635 h 79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18" h="79637">
                  <a:moveTo>
                    <a:pt x="40347" y="79635"/>
                  </a:moveTo>
                  <a:cubicBezTo>
                    <a:pt x="17489" y="79459"/>
                    <a:pt x="-105" y="61299"/>
                    <a:pt x="0" y="37911"/>
                  </a:cubicBezTo>
                  <a:cubicBezTo>
                    <a:pt x="71" y="16855"/>
                    <a:pt x="15369" y="215"/>
                    <a:pt x="34800" y="3"/>
                  </a:cubicBezTo>
                  <a:cubicBezTo>
                    <a:pt x="60449" y="-280"/>
                    <a:pt x="82989" y="19929"/>
                    <a:pt x="82919" y="43140"/>
                  </a:cubicBezTo>
                  <a:cubicBezTo>
                    <a:pt x="82812" y="65680"/>
                    <a:pt x="66314" y="79847"/>
                    <a:pt x="40382" y="79635"/>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8" name="Freeform: Shape 3677">
              <a:extLst>
                <a:ext uri="{FF2B5EF4-FFF2-40B4-BE49-F238E27FC236}">
                  <a16:creationId xmlns:a16="http://schemas.microsoft.com/office/drawing/2014/main" id="{4C7734E3-1B92-70E5-0AD6-4185063EA8C9}"/>
                </a:ext>
              </a:extLst>
            </p:cNvPr>
            <p:cNvSpPr/>
            <p:nvPr/>
          </p:nvSpPr>
          <p:spPr>
            <a:xfrm>
              <a:off x="6399407" y="4205487"/>
              <a:ext cx="76247" cy="70096"/>
            </a:xfrm>
            <a:custGeom>
              <a:avLst/>
              <a:gdLst>
                <a:gd name="connsiteX0" fmla="*/ 33884 w 76247"/>
                <a:gd name="connsiteY0" fmla="*/ 0 h 70096"/>
                <a:gd name="connsiteX1" fmla="*/ 76244 w 76247"/>
                <a:gd name="connsiteY1" fmla="*/ 34941 h 70096"/>
                <a:gd name="connsiteX2" fmla="*/ 37629 w 76247"/>
                <a:gd name="connsiteY2" fmla="*/ 70094 h 70096"/>
                <a:gd name="connsiteX3" fmla="*/ 3 w 76247"/>
                <a:gd name="connsiteY3" fmla="*/ 32715 h 70096"/>
                <a:gd name="connsiteX4" fmla="*/ 33884 w 76247"/>
                <a:gd name="connsiteY4" fmla="*/ 0 h 70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7" h="70096">
                  <a:moveTo>
                    <a:pt x="33884" y="0"/>
                  </a:moveTo>
                  <a:cubicBezTo>
                    <a:pt x="55505" y="71"/>
                    <a:pt x="75926" y="16923"/>
                    <a:pt x="76244" y="34941"/>
                  </a:cubicBezTo>
                  <a:cubicBezTo>
                    <a:pt x="76562" y="51510"/>
                    <a:pt x="55824" y="70376"/>
                    <a:pt x="37629" y="70094"/>
                  </a:cubicBezTo>
                  <a:cubicBezTo>
                    <a:pt x="18021" y="69776"/>
                    <a:pt x="-279" y="51581"/>
                    <a:pt x="3" y="32715"/>
                  </a:cubicBezTo>
                  <a:cubicBezTo>
                    <a:pt x="321" y="11482"/>
                    <a:pt x="12298" y="-70"/>
                    <a:pt x="33884" y="0"/>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9" name="Freeform: Shape 3678">
              <a:extLst>
                <a:ext uri="{FF2B5EF4-FFF2-40B4-BE49-F238E27FC236}">
                  <a16:creationId xmlns:a16="http://schemas.microsoft.com/office/drawing/2014/main" id="{0AD4C3D9-E911-985A-A97D-13ACAF552812}"/>
                </a:ext>
              </a:extLst>
            </p:cNvPr>
            <p:cNvSpPr/>
            <p:nvPr/>
          </p:nvSpPr>
          <p:spPr>
            <a:xfrm>
              <a:off x="6852368" y="3720874"/>
              <a:ext cx="73064" cy="66953"/>
            </a:xfrm>
            <a:custGeom>
              <a:avLst/>
              <a:gdLst>
                <a:gd name="connsiteX0" fmla="*/ 33598 w 73064"/>
                <a:gd name="connsiteY0" fmla="*/ 36 h 66953"/>
                <a:gd name="connsiteX1" fmla="*/ 73061 w 73064"/>
                <a:gd name="connsiteY1" fmla="*/ 35860 h 66953"/>
                <a:gd name="connsiteX2" fmla="*/ 35471 w 73064"/>
                <a:gd name="connsiteY2" fmla="*/ 66949 h 66953"/>
                <a:gd name="connsiteX3" fmla="*/ 0 w 73064"/>
                <a:gd name="connsiteY3" fmla="*/ 31867 h 66953"/>
                <a:gd name="connsiteX4" fmla="*/ 33598 w 73064"/>
                <a:gd name="connsiteY4" fmla="*/ 0 h 66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64" h="66953">
                  <a:moveTo>
                    <a:pt x="33598" y="36"/>
                  </a:moveTo>
                  <a:cubicBezTo>
                    <a:pt x="57198" y="106"/>
                    <a:pt x="73344" y="14768"/>
                    <a:pt x="73061" y="35860"/>
                  </a:cubicBezTo>
                  <a:cubicBezTo>
                    <a:pt x="72814" y="55856"/>
                    <a:pt x="59106" y="67197"/>
                    <a:pt x="35471" y="66949"/>
                  </a:cubicBezTo>
                  <a:cubicBezTo>
                    <a:pt x="15722" y="66737"/>
                    <a:pt x="35" y="51228"/>
                    <a:pt x="0" y="31867"/>
                  </a:cubicBezTo>
                  <a:cubicBezTo>
                    <a:pt x="0" y="12472"/>
                    <a:pt x="13178" y="-70"/>
                    <a:pt x="33598" y="0"/>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0" name="Freeform: Shape 3679">
              <a:extLst>
                <a:ext uri="{FF2B5EF4-FFF2-40B4-BE49-F238E27FC236}">
                  <a16:creationId xmlns:a16="http://schemas.microsoft.com/office/drawing/2014/main" id="{AA84C5FD-BEE2-8B59-775F-E9ED385266D3}"/>
                </a:ext>
              </a:extLst>
            </p:cNvPr>
            <p:cNvSpPr/>
            <p:nvPr/>
          </p:nvSpPr>
          <p:spPr>
            <a:xfrm>
              <a:off x="6447281" y="3861449"/>
              <a:ext cx="63497" cy="60209"/>
            </a:xfrm>
            <a:custGeom>
              <a:avLst/>
              <a:gdLst>
                <a:gd name="connsiteX0" fmla="*/ 28405 w 63497"/>
                <a:gd name="connsiteY0" fmla="*/ 1 h 60209"/>
                <a:gd name="connsiteX1" fmla="*/ 63487 w 63497"/>
                <a:gd name="connsiteY1" fmla="*/ 30950 h 60209"/>
                <a:gd name="connsiteX2" fmla="*/ 30913 w 63497"/>
                <a:gd name="connsiteY2" fmla="*/ 60203 h 60209"/>
                <a:gd name="connsiteX3" fmla="*/ 0 w 63497"/>
                <a:gd name="connsiteY3" fmla="*/ 28442 h 60209"/>
                <a:gd name="connsiteX4" fmla="*/ 28405 w 63497"/>
                <a:gd name="connsiteY4" fmla="*/ 37 h 60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97" h="60209">
                  <a:moveTo>
                    <a:pt x="28405" y="1"/>
                  </a:moveTo>
                  <a:cubicBezTo>
                    <a:pt x="44338" y="-175"/>
                    <a:pt x="62886" y="16218"/>
                    <a:pt x="63487" y="30950"/>
                  </a:cubicBezTo>
                  <a:cubicBezTo>
                    <a:pt x="63981" y="43845"/>
                    <a:pt x="46175" y="59814"/>
                    <a:pt x="30913" y="60203"/>
                  </a:cubicBezTo>
                  <a:cubicBezTo>
                    <a:pt x="15015" y="60591"/>
                    <a:pt x="0" y="45152"/>
                    <a:pt x="0" y="28442"/>
                  </a:cubicBezTo>
                  <a:cubicBezTo>
                    <a:pt x="0" y="13391"/>
                    <a:pt x="13213" y="178"/>
                    <a:pt x="28405" y="37"/>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1" name="Freeform: Shape 3680">
              <a:extLst>
                <a:ext uri="{FF2B5EF4-FFF2-40B4-BE49-F238E27FC236}">
                  <a16:creationId xmlns:a16="http://schemas.microsoft.com/office/drawing/2014/main" id="{FA29317B-ABC2-E49B-B751-68C14C1E531E}"/>
                </a:ext>
              </a:extLst>
            </p:cNvPr>
            <p:cNvSpPr/>
            <p:nvPr/>
          </p:nvSpPr>
          <p:spPr>
            <a:xfrm>
              <a:off x="6913685" y="4460643"/>
              <a:ext cx="56399" cy="54084"/>
            </a:xfrm>
            <a:custGeom>
              <a:avLst/>
              <a:gdLst>
                <a:gd name="connsiteX0" fmla="*/ 56400 w 56399"/>
                <a:gd name="connsiteY0" fmla="*/ 28928 h 54084"/>
                <a:gd name="connsiteX1" fmla="*/ 25911 w 56399"/>
                <a:gd name="connsiteY1" fmla="*/ 54012 h 54084"/>
                <a:gd name="connsiteX2" fmla="*/ 15 w 56399"/>
                <a:gd name="connsiteY2" fmla="*/ 24794 h 54084"/>
                <a:gd name="connsiteX3" fmla="*/ 27183 w 56399"/>
                <a:gd name="connsiteY3" fmla="*/ 29 h 54084"/>
                <a:gd name="connsiteX4" fmla="*/ 56365 w 56399"/>
                <a:gd name="connsiteY4" fmla="*/ 28928 h 54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99" h="54084">
                  <a:moveTo>
                    <a:pt x="56400" y="28928"/>
                  </a:moveTo>
                  <a:cubicBezTo>
                    <a:pt x="55694" y="44402"/>
                    <a:pt x="42728" y="55072"/>
                    <a:pt x="25911" y="54012"/>
                  </a:cubicBezTo>
                  <a:cubicBezTo>
                    <a:pt x="11744" y="53128"/>
                    <a:pt x="-480" y="39315"/>
                    <a:pt x="15" y="24794"/>
                  </a:cubicBezTo>
                  <a:cubicBezTo>
                    <a:pt x="509" y="10592"/>
                    <a:pt x="12804" y="-643"/>
                    <a:pt x="27183" y="29"/>
                  </a:cubicBezTo>
                  <a:cubicBezTo>
                    <a:pt x="43858" y="806"/>
                    <a:pt x="57071" y="13878"/>
                    <a:pt x="56365" y="28928"/>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2" name="Freeform: Shape 3681">
              <a:extLst>
                <a:ext uri="{FF2B5EF4-FFF2-40B4-BE49-F238E27FC236}">
                  <a16:creationId xmlns:a16="http://schemas.microsoft.com/office/drawing/2014/main" id="{58A99464-992E-6203-9BA0-A2A12EF65415}"/>
                </a:ext>
              </a:extLst>
            </p:cNvPr>
            <p:cNvSpPr/>
            <p:nvPr/>
          </p:nvSpPr>
          <p:spPr>
            <a:xfrm>
              <a:off x="7101826" y="4151326"/>
              <a:ext cx="56388" cy="51018"/>
            </a:xfrm>
            <a:custGeom>
              <a:avLst/>
              <a:gdLst>
                <a:gd name="connsiteX0" fmla="*/ 27348 w 56388"/>
                <a:gd name="connsiteY0" fmla="*/ 51017 h 51018"/>
                <a:gd name="connsiteX1" fmla="*/ 3 w 56388"/>
                <a:gd name="connsiteY1" fmla="*/ 22400 h 51018"/>
                <a:gd name="connsiteX2" fmla="*/ 25263 w 56388"/>
                <a:gd name="connsiteY2" fmla="*/ 2 h 51018"/>
                <a:gd name="connsiteX3" fmla="*/ 56388 w 56388"/>
                <a:gd name="connsiteY3" fmla="*/ 26958 h 51018"/>
                <a:gd name="connsiteX4" fmla="*/ 27383 w 56388"/>
                <a:gd name="connsiteY4" fmla="*/ 51017 h 51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88" h="51018">
                  <a:moveTo>
                    <a:pt x="27348" y="51017"/>
                  </a:moveTo>
                  <a:cubicBezTo>
                    <a:pt x="12050" y="50911"/>
                    <a:pt x="-209" y="38051"/>
                    <a:pt x="3" y="22400"/>
                  </a:cubicBezTo>
                  <a:cubicBezTo>
                    <a:pt x="179" y="9222"/>
                    <a:pt x="10743" y="-140"/>
                    <a:pt x="25263" y="2"/>
                  </a:cubicBezTo>
                  <a:cubicBezTo>
                    <a:pt x="42822" y="178"/>
                    <a:pt x="56353" y="11872"/>
                    <a:pt x="56388" y="26958"/>
                  </a:cubicBezTo>
                  <a:cubicBezTo>
                    <a:pt x="56424" y="41831"/>
                    <a:pt x="45189" y="51158"/>
                    <a:pt x="27383" y="51017"/>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3" name="Freeform: Shape 3682">
              <a:extLst>
                <a:ext uri="{FF2B5EF4-FFF2-40B4-BE49-F238E27FC236}">
                  <a16:creationId xmlns:a16="http://schemas.microsoft.com/office/drawing/2014/main" id="{5CA016C9-17CC-E0DE-DBCC-DA7ED646A5EA}"/>
                </a:ext>
              </a:extLst>
            </p:cNvPr>
            <p:cNvSpPr/>
            <p:nvPr/>
          </p:nvSpPr>
          <p:spPr>
            <a:xfrm>
              <a:off x="6753334" y="4509061"/>
              <a:ext cx="35122" cy="36506"/>
            </a:xfrm>
            <a:custGeom>
              <a:avLst/>
              <a:gdLst>
                <a:gd name="connsiteX0" fmla="*/ 35088 w 35122"/>
                <a:gd name="connsiteY0" fmla="*/ 18065 h 36506"/>
                <a:gd name="connsiteX1" fmla="*/ 17529 w 35122"/>
                <a:gd name="connsiteY1" fmla="*/ 36507 h 36506"/>
                <a:gd name="connsiteX2" fmla="*/ 6 w 35122"/>
                <a:gd name="connsiteY2" fmla="*/ 18312 h 36506"/>
                <a:gd name="connsiteX3" fmla="*/ 15621 w 35122"/>
                <a:gd name="connsiteY3" fmla="*/ 12 h 36506"/>
                <a:gd name="connsiteX4" fmla="*/ 35123 w 35122"/>
                <a:gd name="connsiteY4" fmla="*/ 18065 h 36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2" h="36506">
                  <a:moveTo>
                    <a:pt x="35088" y="18065"/>
                  </a:moveTo>
                  <a:cubicBezTo>
                    <a:pt x="35335" y="30218"/>
                    <a:pt x="27386" y="36507"/>
                    <a:pt x="17529" y="36507"/>
                  </a:cubicBezTo>
                  <a:cubicBezTo>
                    <a:pt x="7707" y="36507"/>
                    <a:pt x="-242" y="30430"/>
                    <a:pt x="6" y="18312"/>
                  </a:cubicBezTo>
                  <a:cubicBezTo>
                    <a:pt x="218" y="7714"/>
                    <a:pt x="5729" y="294"/>
                    <a:pt x="15621" y="12"/>
                  </a:cubicBezTo>
                  <a:cubicBezTo>
                    <a:pt x="26397" y="-306"/>
                    <a:pt x="34487" y="5771"/>
                    <a:pt x="35123" y="18065"/>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4" name="Freeform: Shape 3683">
              <a:extLst>
                <a:ext uri="{FF2B5EF4-FFF2-40B4-BE49-F238E27FC236}">
                  <a16:creationId xmlns:a16="http://schemas.microsoft.com/office/drawing/2014/main" id="{C5452149-D7C6-F5C3-2ED3-7EBBF3DE5B36}"/>
                </a:ext>
              </a:extLst>
            </p:cNvPr>
            <p:cNvSpPr/>
            <p:nvPr/>
          </p:nvSpPr>
          <p:spPr>
            <a:xfrm>
              <a:off x="7148850" y="4046388"/>
              <a:ext cx="31692" cy="33684"/>
            </a:xfrm>
            <a:custGeom>
              <a:avLst/>
              <a:gdLst>
                <a:gd name="connsiteX0" fmla="*/ 31657 w 31692"/>
                <a:gd name="connsiteY0" fmla="*/ 17605 h 33684"/>
                <a:gd name="connsiteX1" fmla="*/ 17243 w 31692"/>
                <a:gd name="connsiteY1" fmla="*/ 33680 h 33684"/>
                <a:gd name="connsiteX2" fmla="*/ 2 w 31692"/>
                <a:gd name="connsiteY2" fmla="*/ 17040 h 33684"/>
                <a:gd name="connsiteX3" fmla="*/ 16642 w 31692"/>
                <a:gd name="connsiteY3" fmla="*/ 11 h 33684"/>
                <a:gd name="connsiteX4" fmla="*/ 31692 w 31692"/>
                <a:gd name="connsiteY4" fmla="*/ 17641 h 33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2" h="33684">
                  <a:moveTo>
                    <a:pt x="31657" y="17605"/>
                  </a:moveTo>
                  <a:cubicBezTo>
                    <a:pt x="31410" y="25731"/>
                    <a:pt x="26251" y="33504"/>
                    <a:pt x="17243" y="33680"/>
                  </a:cubicBezTo>
                  <a:cubicBezTo>
                    <a:pt x="8233" y="33857"/>
                    <a:pt x="-140" y="28346"/>
                    <a:pt x="2" y="17040"/>
                  </a:cubicBezTo>
                  <a:cubicBezTo>
                    <a:pt x="143" y="6406"/>
                    <a:pt x="5937" y="294"/>
                    <a:pt x="16642" y="11"/>
                  </a:cubicBezTo>
                  <a:cubicBezTo>
                    <a:pt x="27276" y="-307"/>
                    <a:pt x="31586" y="6053"/>
                    <a:pt x="31692" y="17641"/>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5" name="Freeform: Shape 3684">
              <a:extLst>
                <a:ext uri="{FF2B5EF4-FFF2-40B4-BE49-F238E27FC236}">
                  <a16:creationId xmlns:a16="http://schemas.microsoft.com/office/drawing/2014/main" id="{AB8335DD-68BF-A2DC-9A70-A30D7B27FFA0}"/>
                </a:ext>
              </a:extLst>
            </p:cNvPr>
            <p:cNvSpPr/>
            <p:nvPr/>
          </p:nvSpPr>
          <p:spPr>
            <a:xfrm>
              <a:off x="7136133" y="4323505"/>
              <a:ext cx="31347" cy="28669"/>
            </a:xfrm>
            <a:custGeom>
              <a:avLst/>
              <a:gdLst>
                <a:gd name="connsiteX0" fmla="*/ 14909 w 31347"/>
                <a:gd name="connsiteY0" fmla="*/ 28634 h 28669"/>
                <a:gd name="connsiteX1" fmla="*/ 0 w 31347"/>
                <a:gd name="connsiteY1" fmla="*/ 14467 h 28669"/>
                <a:gd name="connsiteX2" fmla="*/ 16676 w 31347"/>
                <a:gd name="connsiteY2" fmla="*/ 18 h 28669"/>
                <a:gd name="connsiteX3" fmla="*/ 31337 w 31347"/>
                <a:gd name="connsiteY3" fmla="*/ 14927 h 28669"/>
                <a:gd name="connsiteX4" fmla="*/ 14909 w 31347"/>
                <a:gd name="connsiteY4" fmla="*/ 28670 h 28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47" h="28669">
                  <a:moveTo>
                    <a:pt x="14909" y="28634"/>
                  </a:moveTo>
                  <a:cubicBezTo>
                    <a:pt x="6077" y="28493"/>
                    <a:pt x="35" y="24289"/>
                    <a:pt x="0" y="14467"/>
                  </a:cubicBezTo>
                  <a:cubicBezTo>
                    <a:pt x="0" y="3657"/>
                    <a:pt x="6642" y="-300"/>
                    <a:pt x="16676" y="18"/>
                  </a:cubicBezTo>
                  <a:cubicBezTo>
                    <a:pt x="26320" y="336"/>
                    <a:pt x="31620" y="5246"/>
                    <a:pt x="31337" y="14927"/>
                  </a:cubicBezTo>
                  <a:cubicBezTo>
                    <a:pt x="31019" y="24819"/>
                    <a:pt x="24766" y="28705"/>
                    <a:pt x="14909" y="2867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6" name="Freeform: Shape 3685">
              <a:extLst>
                <a:ext uri="{FF2B5EF4-FFF2-40B4-BE49-F238E27FC236}">
                  <a16:creationId xmlns:a16="http://schemas.microsoft.com/office/drawing/2014/main" id="{14590F17-97DE-1CDF-842C-1790DE4F093B}"/>
                </a:ext>
              </a:extLst>
            </p:cNvPr>
            <p:cNvSpPr/>
            <p:nvPr/>
          </p:nvSpPr>
          <p:spPr>
            <a:xfrm>
              <a:off x="6645116" y="4403429"/>
              <a:ext cx="28415" cy="28451"/>
            </a:xfrm>
            <a:custGeom>
              <a:avLst/>
              <a:gdLst>
                <a:gd name="connsiteX0" fmla="*/ 18063 w 28415"/>
                <a:gd name="connsiteY0" fmla="*/ 28378 h 28451"/>
                <a:gd name="connsiteX1" fmla="*/ 46 w 28415"/>
                <a:gd name="connsiteY1" fmla="*/ 15271 h 28451"/>
                <a:gd name="connsiteX2" fmla="*/ 13753 w 28415"/>
                <a:gd name="connsiteY2" fmla="*/ 8 h 28451"/>
                <a:gd name="connsiteX3" fmla="*/ 28380 w 28415"/>
                <a:gd name="connsiteY3" fmla="*/ 14529 h 28451"/>
                <a:gd name="connsiteX4" fmla="*/ 18028 w 28415"/>
                <a:gd name="connsiteY4" fmla="*/ 28413 h 2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 h="28451">
                  <a:moveTo>
                    <a:pt x="18063" y="28378"/>
                  </a:moveTo>
                  <a:cubicBezTo>
                    <a:pt x="7041" y="28519"/>
                    <a:pt x="646" y="25021"/>
                    <a:pt x="46" y="15271"/>
                  </a:cubicBezTo>
                  <a:cubicBezTo>
                    <a:pt x="-520" y="5908"/>
                    <a:pt x="4179" y="256"/>
                    <a:pt x="13753" y="8"/>
                  </a:cubicBezTo>
                  <a:cubicBezTo>
                    <a:pt x="23292" y="-239"/>
                    <a:pt x="27956" y="5096"/>
                    <a:pt x="28380" y="14529"/>
                  </a:cubicBezTo>
                  <a:cubicBezTo>
                    <a:pt x="28768" y="23220"/>
                    <a:pt x="26048" y="28978"/>
                    <a:pt x="18028" y="28413"/>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7" name="Freeform: Shape 3686">
              <a:extLst>
                <a:ext uri="{FF2B5EF4-FFF2-40B4-BE49-F238E27FC236}">
                  <a16:creationId xmlns:a16="http://schemas.microsoft.com/office/drawing/2014/main" id="{F7147838-6104-97AD-2849-74C98BDBCB06}"/>
                </a:ext>
              </a:extLst>
            </p:cNvPr>
            <p:cNvSpPr/>
            <p:nvPr/>
          </p:nvSpPr>
          <p:spPr>
            <a:xfrm>
              <a:off x="6776420" y="4132180"/>
              <a:ext cx="26945" cy="24635"/>
            </a:xfrm>
            <a:custGeom>
              <a:avLst/>
              <a:gdLst>
                <a:gd name="connsiteX0" fmla="*/ 26945 w 26945"/>
                <a:gd name="connsiteY0" fmla="*/ 12294 h 24635"/>
                <a:gd name="connsiteX1" fmla="*/ 14722 w 26945"/>
                <a:gd name="connsiteY1" fmla="*/ 24624 h 24635"/>
                <a:gd name="connsiteX2" fmla="*/ 24 w 26945"/>
                <a:gd name="connsiteY2" fmla="*/ 11092 h 24635"/>
                <a:gd name="connsiteX3" fmla="*/ 12884 w 26945"/>
                <a:gd name="connsiteY3" fmla="*/ 34 h 24635"/>
                <a:gd name="connsiteX4" fmla="*/ 26945 w 26945"/>
                <a:gd name="connsiteY4" fmla="*/ 12294 h 24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5" h="24635">
                  <a:moveTo>
                    <a:pt x="26945" y="12294"/>
                  </a:moveTo>
                  <a:cubicBezTo>
                    <a:pt x="25992" y="19465"/>
                    <a:pt x="21469" y="24341"/>
                    <a:pt x="14722" y="24624"/>
                  </a:cubicBezTo>
                  <a:cubicBezTo>
                    <a:pt x="6349" y="24942"/>
                    <a:pt x="519" y="18759"/>
                    <a:pt x="24" y="11092"/>
                  </a:cubicBezTo>
                  <a:cubicBezTo>
                    <a:pt x="-435" y="4026"/>
                    <a:pt x="5642" y="494"/>
                    <a:pt x="12884" y="34"/>
                  </a:cubicBezTo>
                  <a:cubicBezTo>
                    <a:pt x="21681" y="-496"/>
                    <a:pt x="24790" y="5192"/>
                    <a:pt x="26945" y="12294"/>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8" name="Freeform: Shape 3687">
              <a:extLst>
                <a:ext uri="{FF2B5EF4-FFF2-40B4-BE49-F238E27FC236}">
                  <a16:creationId xmlns:a16="http://schemas.microsoft.com/office/drawing/2014/main" id="{44B96299-0F15-1F91-A631-5F9957537C3A}"/>
                </a:ext>
              </a:extLst>
            </p:cNvPr>
            <p:cNvSpPr/>
            <p:nvPr/>
          </p:nvSpPr>
          <p:spPr>
            <a:xfrm>
              <a:off x="7234876" y="4116669"/>
              <a:ext cx="25227" cy="24918"/>
            </a:xfrm>
            <a:custGeom>
              <a:avLst/>
              <a:gdLst>
                <a:gd name="connsiteX0" fmla="*/ 25192 w 25227"/>
                <a:gd name="connsiteY0" fmla="*/ 12401 h 24918"/>
                <a:gd name="connsiteX1" fmla="*/ 11378 w 25227"/>
                <a:gd name="connsiteY1" fmla="*/ 24908 h 24918"/>
                <a:gd name="connsiteX2" fmla="*/ 37 w 25227"/>
                <a:gd name="connsiteY2" fmla="*/ 13143 h 24918"/>
                <a:gd name="connsiteX3" fmla="*/ 12968 w 25227"/>
                <a:gd name="connsiteY3" fmla="*/ 1 h 24918"/>
                <a:gd name="connsiteX4" fmla="*/ 25227 w 25227"/>
                <a:gd name="connsiteY4" fmla="*/ 12366 h 24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7" h="24918">
                  <a:moveTo>
                    <a:pt x="25192" y="12401"/>
                  </a:moveTo>
                  <a:cubicBezTo>
                    <a:pt x="23955" y="20315"/>
                    <a:pt x="19504" y="24661"/>
                    <a:pt x="11378" y="24908"/>
                  </a:cubicBezTo>
                  <a:cubicBezTo>
                    <a:pt x="3358" y="25155"/>
                    <a:pt x="-422" y="21057"/>
                    <a:pt x="37" y="13143"/>
                  </a:cubicBezTo>
                  <a:cubicBezTo>
                    <a:pt x="497" y="5088"/>
                    <a:pt x="4807" y="-70"/>
                    <a:pt x="12968" y="1"/>
                  </a:cubicBezTo>
                  <a:cubicBezTo>
                    <a:pt x="20316" y="71"/>
                    <a:pt x="24097" y="5159"/>
                    <a:pt x="25227" y="12366"/>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9" name="Freeform: Shape 3688">
              <a:extLst>
                <a:ext uri="{FF2B5EF4-FFF2-40B4-BE49-F238E27FC236}">
                  <a16:creationId xmlns:a16="http://schemas.microsoft.com/office/drawing/2014/main" id="{A7413BBE-1B90-4377-A77E-09F8A09B6A3E}"/>
                </a:ext>
              </a:extLst>
            </p:cNvPr>
            <p:cNvSpPr/>
            <p:nvPr/>
          </p:nvSpPr>
          <p:spPr>
            <a:xfrm>
              <a:off x="6469956" y="4132550"/>
              <a:ext cx="24634" cy="24960"/>
            </a:xfrm>
            <a:custGeom>
              <a:avLst/>
              <a:gdLst>
                <a:gd name="connsiteX0" fmla="*/ 12266 w 24634"/>
                <a:gd name="connsiteY0" fmla="*/ 24960 h 24960"/>
                <a:gd name="connsiteX1" fmla="*/ 7 w 24634"/>
                <a:gd name="connsiteY1" fmla="*/ 12630 h 24960"/>
                <a:gd name="connsiteX2" fmla="*/ 11630 w 24634"/>
                <a:gd name="connsiteY2" fmla="*/ 18 h 24960"/>
                <a:gd name="connsiteX3" fmla="*/ 24632 w 24634"/>
                <a:gd name="connsiteY3" fmla="*/ 12771 h 24960"/>
                <a:gd name="connsiteX4" fmla="*/ 12266 w 24634"/>
                <a:gd name="connsiteY4" fmla="*/ 24925 h 2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34" h="24960">
                  <a:moveTo>
                    <a:pt x="12266" y="24960"/>
                  </a:moveTo>
                  <a:cubicBezTo>
                    <a:pt x="5059" y="23865"/>
                    <a:pt x="219" y="20014"/>
                    <a:pt x="7" y="12630"/>
                  </a:cubicBezTo>
                  <a:cubicBezTo>
                    <a:pt x="-205" y="5211"/>
                    <a:pt x="4423" y="371"/>
                    <a:pt x="11630" y="18"/>
                  </a:cubicBezTo>
                  <a:cubicBezTo>
                    <a:pt x="19721" y="-336"/>
                    <a:pt x="24773" y="4646"/>
                    <a:pt x="24632" y="12771"/>
                  </a:cubicBezTo>
                  <a:cubicBezTo>
                    <a:pt x="24490" y="20191"/>
                    <a:pt x="19403" y="23900"/>
                    <a:pt x="12266" y="24925"/>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0" name="Freeform: Shape 3689">
              <a:extLst>
                <a:ext uri="{FF2B5EF4-FFF2-40B4-BE49-F238E27FC236}">
                  <a16:creationId xmlns:a16="http://schemas.microsoft.com/office/drawing/2014/main" id="{E0DB058B-7330-FB74-43C4-5D851DB5F458}"/>
                </a:ext>
              </a:extLst>
            </p:cNvPr>
            <p:cNvSpPr/>
            <p:nvPr/>
          </p:nvSpPr>
          <p:spPr>
            <a:xfrm>
              <a:off x="6616526" y="4209116"/>
              <a:ext cx="24687" cy="24952"/>
            </a:xfrm>
            <a:custGeom>
              <a:avLst/>
              <a:gdLst>
                <a:gd name="connsiteX0" fmla="*/ 12949 w 24687"/>
                <a:gd name="connsiteY0" fmla="*/ 24917 h 24952"/>
                <a:gd name="connsiteX1" fmla="*/ 54 w 24687"/>
                <a:gd name="connsiteY1" fmla="*/ 13188 h 24952"/>
                <a:gd name="connsiteX2" fmla="*/ 11112 w 24687"/>
                <a:gd name="connsiteY2" fmla="*/ 81 h 24952"/>
                <a:gd name="connsiteX3" fmla="*/ 24678 w 24687"/>
                <a:gd name="connsiteY3" fmla="*/ 12269 h 24952"/>
                <a:gd name="connsiteX4" fmla="*/ 12949 w 24687"/>
                <a:gd name="connsiteY4" fmla="*/ 24952 h 2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87" h="24952">
                  <a:moveTo>
                    <a:pt x="12949" y="24917"/>
                  </a:moveTo>
                  <a:cubicBezTo>
                    <a:pt x="5495" y="24316"/>
                    <a:pt x="619" y="20430"/>
                    <a:pt x="54" y="13188"/>
                  </a:cubicBezTo>
                  <a:cubicBezTo>
                    <a:pt x="-547" y="5768"/>
                    <a:pt x="3940" y="752"/>
                    <a:pt x="11112" y="81"/>
                  </a:cubicBezTo>
                  <a:cubicBezTo>
                    <a:pt x="19237" y="-697"/>
                    <a:pt x="24396" y="4214"/>
                    <a:pt x="24678" y="12269"/>
                  </a:cubicBezTo>
                  <a:cubicBezTo>
                    <a:pt x="24926" y="19688"/>
                    <a:pt x="19909" y="23574"/>
                    <a:pt x="12949" y="24952"/>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1" name="Freeform: Shape 3690">
              <a:extLst>
                <a:ext uri="{FF2B5EF4-FFF2-40B4-BE49-F238E27FC236}">
                  <a16:creationId xmlns:a16="http://schemas.microsoft.com/office/drawing/2014/main" id="{1F7DE7F7-9C22-58FE-9795-D49532FC9F91}"/>
                </a:ext>
              </a:extLst>
            </p:cNvPr>
            <p:cNvSpPr/>
            <p:nvPr/>
          </p:nvSpPr>
          <p:spPr>
            <a:xfrm>
              <a:off x="6511333" y="4020538"/>
              <a:ext cx="24753" cy="24679"/>
            </a:xfrm>
            <a:custGeom>
              <a:avLst/>
              <a:gdLst>
                <a:gd name="connsiteX0" fmla="*/ 11058 w 24753"/>
                <a:gd name="connsiteY0" fmla="*/ 35 h 24679"/>
                <a:gd name="connsiteX1" fmla="*/ 24695 w 24753"/>
                <a:gd name="connsiteY1" fmla="*/ 11800 h 24679"/>
                <a:gd name="connsiteX2" fmla="*/ 11588 w 24753"/>
                <a:gd name="connsiteY2" fmla="*/ 24625 h 24679"/>
                <a:gd name="connsiteX3" fmla="*/ 0 w 24753"/>
                <a:gd name="connsiteY3" fmla="*/ 12542 h 24679"/>
                <a:gd name="connsiteX4" fmla="*/ 11023 w 24753"/>
                <a:gd name="connsiteY4" fmla="*/ 0 h 24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3" h="24679">
                  <a:moveTo>
                    <a:pt x="11058" y="35"/>
                  </a:moveTo>
                  <a:cubicBezTo>
                    <a:pt x="19219" y="813"/>
                    <a:pt x="24095" y="4558"/>
                    <a:pt x="24695" y="11800"/>
                  </a:cubicBezTo>
                  <a:cubicBezTo>
                    <a:pt x="25473" y="20774"/>
                    <a:pt x="18371" y="24024"/>
                    <a:pt x="11588" y="24625"/>
                  </a:cubicBezTo>
                  <a:cubicBezTo>
                    <a:pt x="4240" y="25296"/>
                    <a:pt x="36" y="19784"/>
                    <a:pt x="0" y="12542"/>
                  </a:cubicBezTo>
                  <a:cubicBezTo>
                    <a:pt x="-35" y="5017"/>
                    <a:pt x="5300" y="1731"/>
                    <a:pt x="11023" y="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2" name="Freeform: Shape 3691">
              <a:extLst>
                <a:ext uri="{FF2B5EF4-FFF2-40B4-BE49-F238E27FC236}">
                  <a16:creationId xmlns:a16="http://schemas.microsoft.com/office/drawing/2014/main" id="{293E946A-F8A9-5F2A-B039-4FB73F7FFBD6}"/>
                </a:ext>
              </a:extLst>
            </p:cNvPr>
            <p:cNvSpPr/>
            <p:nvPr/>
          </p:nvSpPr>
          <p:spPr>
            <a:xfrm>
              <a:off x="6928679" y="4326663"/>
              <a:ext cx="24734" cy="22119"/>
            </a:xfrm>
            <a:custGeom>
              <a:avLst/>
              <a:gdLst>
                <a:gd name="connsiteX0" fmla="*/ 14839 w 24734"/>
                <a:gd name="connsiteY0" fmla="*/ 22085 h 22119"/>
                <a:gd name="connsiteX1" fmla="*/ 0 w 24734"/>
                <a:gd name="connsiteY1" fmla="*/ 10992 h 22119"/>
                <a:gd name="connsiteX2" fmla="*/ 10352 w 24734"/>
                <a:gd name="connsiteY2" fmla="*/ 4 h 22119"/>
                <a:gd name="connsiteX3" fmla="*/ 24731 w 24734"/>
                <a:gd name="connsiteY3" fmla="*/ 11204 h 22119"/>
                <a:gd name="connsiteX4" fmla="*/ 14839 w 24734"/>
                <a:gd name="connsiteY4" fmla="*/ 22085 h 22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34" h="22119">
                  <a:moveTo>
                    <a:pt x="14839" y="22085"/>
                  </a:moveTo>
                  <a:cubicBezTo>
                    <a:pt x="4028" y="22509"/>
                    <a:pt x="-35" y="18976"/>
                    <a:pt x="0" y="10992"/>
                  </a:cubicBezTo>
                  <a:cubicBezTo>
                    <a:pt x="0" y="4032"/>
                    <a:pt x="3109" y="110"/>
                    <a:pt x="10352" y="4"/>
                  </a:cubicBezTo>
                  <a:cubicBezTo>
                    <a:pt x="18230" y="-137"/>
                    <a:pt x="24554" y="3254"/>
                    <a:pt x="24731" y="11204"/>
                  </a:cubicBezTo>
                  <a:cubicBezTo>
                    <a:pt x="24907" y="18376"/>
                    <a:pt x="18901" y="21767"/>
                    <a:pt x="14839" y="22085"/>
                  </a:cubicBezTo>
                  <a:close/>
                </a:path>
              </a:pathLst>
            </a:custGeom>
            <a:solidFill>
              <a:srgbClr val="D0D0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3" name="Freeform: Shape 3692">
              <a:extLst>
                <a:ext uri="{FF2B5EF4-FFF2-40B4-BE49-F238E27FC236}">
                  <a16:creationId xmlns:a16="http://schemas.microsoft.com/office/drawing/2014/main" id="{C66B7AD9-D9C8-90D3-E81D-B8B76E2F4196}"/>
                </a:ext>
              </a:extLst>
            </p:cNvPr>
            <p:cNvSpPr/>
            <p:nvPr/>
          </p:nvSpPr>
          <p:spPr>
            <a:xfrm>
              <a:off x="7075921" y="3846294"/>
              <a:ext cx="17785" cy="17782"/>
            </a:xfrm>
            <a:custGeom>
              <a:avLst/>
              <a:gdLst>
                <a:gd name="connsiteX0" fmla="*/ 8525 w 17785"/>
                <a:gd name="connsiteY0" fmla="*/ 0 h 17782"/>
                <a:gd name="connsiteX1" fmla="*/ 17711 w 17785"/>
                <a:gd name="connsiteY1" fmla="*/ 9433 h 17782"/>
                <a:gd name="connsiteX2" fmla="*/ 10115 w 17785"/>
                <a:gd name="connsiteY2" fmla="*/ 17700 h 17782"/>
                <a:gd name="connsiteX3" fmla="*/ 11 w 17785"/>
                <a:gd name="connsiteY3" fmla="*/ 10316 h 17782"/>
                <a:gd name="connsiteX4" fmla="*/ 8525 w 17785"/>
                <a:gd name="connsiteY4" fmla="*/ 0 h 17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85" h="17782">
                  <a:moveTo>
                    <a:pt x="8525" y="0"/>
                  </a:moveTo>
                  <a:cubicBezTo>
                    <a:pt x="13684" y="1095"/>
                    <a:pt x="17075" y="4310"/>
                    <a:pt x="17711" y="9433"/>
                  </a:cubicBezTo>
                  <a:cubicBezTo>
                    <a:pt x="18347" y="14556"/>
                    <a:pt x="14849" y="17205"/>
                    <a:pt x="10115" y="17700"/>
                  </a:cubicBezTo>
                  <a:cubicBezTo>
                    <a:pt x="4745" y="18230"/>
                    <a:pt x="258" y="16251"/>
                    <a:pt x="11" y="10316"/>
                  </a:cubicBezTo>
                  <a:cubicBezTo>
                    <a:pt x="-236" y="4981"/>
                    <a:pt x="3685" y="1943"/>
                    <a:pt x="8525" y="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4" name="Freeform: Shape 3693">
              <a:extLst>
                <a:ext uri="{FF2B5EF4-FFF2-40B4-BE49-F238E27FC236}">
                  <a16:creationId xmlns:a16="http://schemas.microsoft.com/office/drawing/2014/main" id="{254B4C70-8559-732B-B505-EE15AC7E973D}"/>
                </a:ext>
              </a:extLst>
            </p:cNvPr>
            <p:cNvSpPr/>
            <p:nvPr/>
          </p:nvSpPr>
          <p:spPr>
            <a:xfrm>
              <a:off x="7241715" y="3881682"/>
              <a:ext cx="17119" cy="17287"/>
            </a:xfrm>
            <a:custGeom>
              <a:avLst/>
              <a:gdLst>
                <a:gd name="connsiteX0" fmla="*/ 8249 w 17119"/>
                <a:gd name="connsiteY0" fmla="*/ 17252 h 17287"/>
                <a:gd name="connsiteX1" fmla="*/ 17 w 17119"/>
                <a:gd name="connsiteY1" fmla="*/ 9480 h 17287"/>
                <a:gd name="connsiteX2" fmla="*/ 8849 w 17119"/>
                <a:gd name="connsiteY2" fmla="*/ 11 h 17287"/>
                <a:gd name="connsiteX3" fmla="*/ 17117 w 17119"/>
                <a:gd name="connsiteY3" fmla="*/ 7925 h 17287"/>
                <a:gd name="connsiteX4" fmla="*/ 8249 w 17119"/>
                <a:gd name="connsiteY4" fmla="*/ 17287 h 1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19" h="17287">
                  <a:moveTo>
                    <a:pt x="8249" y="17252"/>
                  </a:moveTo>
                  <a:cubicBezTo>
                    <a:pt x="2985" y="17005"/>
                    <a:pt x="-266" y="14390"/>
                    <a:pt x="17" y="9480"/>
                  </a:cubicBezTo>
                  <a:cubicBezTo>
                    <a:pt x="300" y="4322"/>
                    <a:pt x="3691" y="294"/>
                    <a:pt x="8849" y="11"/>
                  </a:cubicBezTo>
                  <a:cubicBezTo>
                    <a:pt x="13407" y="-236"/>
                    <a:pt x="17010" y="3580"/>
                    <a:pt x="17117" y="7925"/>
                  </a:cubicBezTo>
                  <a:cubicBezTo>
                    <a:pt x="17258" y="13225"/>
                    <a:pt x="12806" y="15839"/>
                    <a:pt x="8249" y="1728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5" name="Freeform: Shape 3694">
              <a:extLst>
                <a:ext uri="{FF2B5EF4-FFF2-40B4-BE49-F238E27FC236}">
                  <a16:creationId xmlns:a16="http://schemas.microsoft.com/office/drawing/2014/main" id="{2C0B8E68-4971-0F8F-A676-120B87AE5711}"/>
                </a:ext>
              </a:extLst>
            </p:cNvPr>
            <p:cNvSpPr/>
            <p:nvPr/>
          </p:nvSpPr>
          <p:spPr>
            <a:xfrm>
              <a:off x="6842858" y="4458092"/>
              <a:ext cx="15374" cy="17700"/>
            </a:xfrm>
            <a:custGeom>
              <a:avLst/>
              <a:gdLst>
                <a:gd name="connsiteX0" fmla="*/ 15374 w 15374"/>
                <a:gd name="connsiteY0" fmla="*/ 8585 h 17700"/>
                <a:gd name="connsiteX1" fmla="*/ 7354 w 15374"/>
                <a:gd name="connsiteY1" fmla="*/ 17700 h 17700"/>
                <a:gd name="connsiteX2" fmla="*/ 6 w 15374"/>
                <a:gd name="connsiteY2" fmla="*/ 9362 h 17700"/>
                <a:gd name="connsiteX3" fmla="*/ 7955 w 15374"/>
                <a:gd name="connsiteY3" fmla="*/ 0 h 17700"/>
                <a:gd name="connsiteX4" fmla="*/ 15374 w 15374"/>
                <a:gd name="connsiteY4" fmla="*/ 8585 h 1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4" h="17700">
                  <a:moveTo>
                    <a:pt x="15374" y="8585"/>
                  </a:moveTo>
                  <a:cubicBezTo>
                    <a:pt x="15339" y="13743"/>
                    <a:pt x="13149" y="17771"/>
                    <a:pt x="7354" y="17700"/>
                  </a:cubicBezTo>
                  <a:cubicBezTo>
                    <a:pt x="2444" y="17630"/>
                    <a:pt x="112" y="14061"/>
                    <a:pt x="6" y="9362"/>
                  </a:cubicBezTo>
                  <a:cubicBezTo>
                    <a:pt x="-135" y="3992"/>
                    <a:pt x="2161" y="-35"/>
                    <a:pt x="7955" y="0"/>
                  </a:cubicBezTo>
                  <a:cubicBezTo>
                    <a:pt x="12866" y="71"/>
                    <a:pt x="15021" y="3674"/>
                    <a:pt x="15374" y="8585"/>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6" name="Freeform: Shape 3695">
              <a:extLst>
                <a:ext uri="{FF2B5EF4-FFF2-40B4-BE49-F238E27FC236}">
                  <a16:creationId xmlns:a16="http://schemas.microsoft.com/office/drawing/2014/main" id="{1A24E5E2-E92C-20E0-09D5-7B4A406809CC}"/>
                </a:ext>
              </a:extLst>
            </p:cNvPr>
            <p:cNvSpPr/>
            <p:nvPr/>
          </p:nvSpPr>
          <p:spPr>
            <a:xfrm>
              <a:off x="6961169" y="3772540"/>
              <a:ext cx="17077" cy="17509"/>
            </a:xfrm>
            <a:custGeom>
              <a:avLst/>
              <a:gdLst>
                <a:gd name="connsiteX0" fmla="*/ 8775 w 17077"/>
                <a:gd name="connsiteY0" fmla="*/ 17474 h 17509"/>
                <a:gd name="connsiteX1" fmla="*/ 13 w 17077"/>
                <a:gd name="connsiteY1" fmla="*/ 7653 h 17509"/>
                <a:gd name="connsiteX2" fmla="*/ 7927 w 17077"/>
                <a:gd name="connsiteY2" fmla="*/ 57 h 17509"/>
                <a:gd name="connsiteX3" fmla="*/ 17077 w 17077"/>
                <a:gd name="connsiteY3" fmla="*/ 9172 h 17509"/>
                <a:gd name="connsiteX4" fmla="*/ 8775 w 17077"/>
                <a:gd name="connsiteY4" fmla="*/ 17510 h 17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7" h="17509">
                  <a:moveTo>
                    <a:pt x="8775" y="17474"/>
                  </a:moveTo>
                  <a:cubicBezTo>
                    <a:pt x="3970" y="15885"/>
                    <a:pt x="261" y="12846"/>
                    <a:pt x="13" y="7653"/>
                  </a:cubicBezTo>
                  <a:cubicBezTo>
                    <a:pt x="-234" y="2742"/>
                    <a:pt x="2981" y="-473"/>
                    <a:pt x="7927" y="57"/>
                  </a:cubicBezTo>
                  <a:cubicBezTo>
                    <a:pt x="13015" y="587"/>
                    <a:pt x="17113" y="3908"/>
                    <a:pt x="17077" y="9172"/>
                  </a:cubicBezTo>
                  <a:cubicBezTo>
                    <a:pt x="17077" y="13588"/>
                    <a:pt x="13332" y="16344"/>
                    <a:pt x="8775" y="1751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7" name="Freeform: Shape 3696">
              <a:extLst>
                <a:ext uri="{FF2B5EF4-FFF2-40B4-BE49-F238E27FC236}">
                  <a16:creationId xmlns:a16="http://schemas.microsoft.com/office/drawing/2014/main" id="{1CC32976-DED3-D67D-F849-FE8A67F6794F}"/>
                </a:ext>
              </a:extLst>
            </p:cNvPr>
            <p:cNvSpPr/>
            <p:nvPr/>
          </p:nvSpPr>
          <p:spPr>
            <a:xfrm>
              <a:off x="6815254" y="4037168"/>
              <a:ext cx="17150" cy="17815"/>
            </a:xfrm>
            <a:custGeom>
              <a:avLst/>
              <a:gdLst>
                <a:gd name="connsiteX0" fmla="*/ 8744 w 17150"/>
                <a:gd name="connsiteY0" fmla="*/ 17781 h 17815"/>
                <a:gd name="connsiteX1" fmla="*/ 18 w 17150"/>
                <a:gd name="connsiteY1" fmla="*/ 8807 h 17815"/>
                <a:gd name="connsiteX2" fmla="*/ 9557 w 17150"/>
                <a:gd name="connsiteY2" fmla="*/ 10 h 17815"/>
                <a:gd name="connsiteX3" fmla="*/ 17117 w 17150"/>
                <a:gd name="connsiteY3" fmla="*/ 8030 h 17815"/>
                <a:gd name="connsiteX4" fmla="*/ 8780 w 17150"/>
                <a:gd name="connsiteY4" fmla="*/ 17816 h 1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0" h="17815">
                  <a:moveTo>
                    <a:pt x="8744" y="17781"/>
                  </a:moveTo>
                  <a:cubicBezTo>
                    <a:pt x="3692" y="15908"/>
                    <a:pt x="-300" y="13400"/>
                    <a:pt x="18" y="8807"/>
                  </a:cubicBezTo>
                  <a:cubicBezTo>
                    <a:pt x="371" y="3684"/>
                    <a:pt x="4399" y="257"/>
                    <a:pt x="9557" y="10"/>
                  </a:cubicBezTo>
                  <a:cubicBezTo>
                    <a:pt x="14432" y="-202"/>
                    <a:pt x="17506" y="2978"/>
                    <a:pt x="17117" y="8030"/>
                  </a:cubicBezTo>
                  <a:cubicBezTo>
                    <a:pt x="16693" y="13400"/>
                    <a:pt x="12383" y="15661"/>
                    <a:pt x="8780" y="17816"/>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8" name="Freeform: Shape 3697">
              <a:extLst>
                <a:ext uri="{FF2B5EF4-FFF2-40B4-BE49-F238E27FC236}">
                  <a16:creationId xmlns:a16="http://schemas.microsoft.com/office/drawing/2014/main" id="{434A4608-9B78-8CD5-A3A8-E08E427A0C04}"/>
                </a:ext>
              </a:extLst>
            </p:cNvPr>
            <p:cNvSpPr/>
            <p:nvPr/>
          </p:nvSpPr>
          <p:spPr>
            <a:xfrm>
              <a:off x="7178677" y="3934706"/>
              <a:ext cx="17162" cy="15139"/>
            </a:xfrm>
            <a:custGeom>
              <a:avLst/>
              <a:gdLst>
                <a:gd name="connsiteX0" fmla="*/ 17162 w 17162"/>
                <a:gd name="connsiteY0" fmla="*/ 8531 h 15139"/>
                <a:gd name="connsiteX1" fmla="*/ 8436 w 17162"/>
                <a:gd name="connsiteY1" fmla="*/ 14926 h 15139"/>
                <a:gd name="connsiteX2" fmla="*/ 63 w 17162"/>
                <a:gd name="connsiteY2" fmla="*/ 5493 h 15139"/>
                <a:gd name="connsiteX3" fmla="*/ 9708 w 17162"/>
                <a:gd name="connsiteY3" fmla="*/ 123 h 15139"/>
                <a:gd name="connsiteX4" fmla="*/ 17162 w 17162"/>
                <a:gd name="connsiteY4" fmla="*/ 8531 h 15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62" h="15139">
                  <a:moveTo>
                    <a:pt x="17162" y="8531"/>
                  </a:moveTo>
                  <a:cubicBezTo>
                    <a:pt x="16102" y="12983"/>
                    <a:pt x="13276" y="15986"/>
                    <a:pt x="8436" y="14926"/>
                  </a:cubicBezTo>
                  <a:cubicBezTo>
                    <a:pt x="3737" y="13901"/>
                    <a:pt x="-573" y="10828"/>
                    <a:pt x="63" y="5493"/>
                  </a:cubicBezTo>
                  <a:cubicBezTo>
                    <a:pt x="663" y="476"/>
                    <a:pt x="5327" y="-372"/>
                    <a:pt x="9708" y="123"/>
                  </a:cubicBezTo>
                  <a:cubicBezTo>
                    <a:pt x="14336" y="688"/>
                    <a:pt x="17162" y="3338"/>
                    <a:pt x="17162" y="8531"/>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9" name="Freeform: Shape 3698">
              <a:extLst>
                <a:ext uri="{FF2B5EF4-FFF2-40B4-BE49-F238E27FC236}">
                  <a16:creationId xmlns:a16="http://schemas.microsoft.com/office/drawing/2014/main" id="{13BF2269-F132-05B3-5B76-6D990189E4A7}"/>
                </a:ext>
              </a:extLst>
            </p:cNvPr>
            <p:cNvSpPr/>
            <p:nvPr/>
          </p:nvSpPr>
          <p:spPr>
            <a:xfrm>
              <a:off x="6923539" y="3872116"/>
              <a:ext cx="16612" cy="16785"/>
            </a:xfrm>
            <a:custGeom>
              <a:avLst/>
              <a:gdLst>
                <a:gd name="connsiteX0" fmla="*/ 7614 w 16612"/>
                <a:gd name="connsiteY0" fmla="*/ 16785 h 16785"/>
                <a:gd name="connsiteX1" fmla="*/ 18 w 16612"/>
                <a:gd name="connsiteY1" fmla="*/ 7953 h 16785"/>
                <a:gd name="connsiteX2" fmla="*/ 8179 w 16612"/>
                <a:gd name="connsiteY2" fmla="*/ 4 h 16785"/>
                <a:gd name="connsiteX3" fmla="*/ 16517 w 16612"/>
                <a:gd name="connsiteY3" fmla="*/ 9225 h 16785"/>
                <a:gd name="connsiteX4" fmla="*/ 7614 w 16612"/>
                <a:gd name="connsiteY4" fmla="*/ 16750 h 16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2" h="16785">
                  <a:moveTo>
                    <a:pt x="7614" y="16785"/>
                  </a:moveTo>
                  <a:cubicBezTo>
                    <a:pt x="3692" y="14984"/>
                    <a:pt x="-300" y="12652"/>
                    <a:pt x="18" y="7953"/>
                  </a:cubicBezTo>
                  <a:cubicBezTo>
                    <a:pt x="336" y="3537"/>
                    <a:pt x="3763" y="-137"/>
                    <a:pt x="8179" y="4"/>
                  </a:cubicBezTo>
                  <a:cubicBezTo>
                    <a:pt x="13231" y="181"/>
                    <a:pt x="17294" y="3996"/>
                    <a:pt x="16517" y="9225"/>
                  </a:cubicBezTo>
                  <a:cubicBezTo>
                    <a:pt x="15916" y="13182"/>
                    <a:pt x="12418" y="16361"/>
                    <a:pt x="7614" y="1675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0" name="Freeform: Shape 3699">
              <a:extLst>
                <a:ext uri="{FF2B5EF4-FFF2-40B4-BE49-F238E27FC236}">
                  <a16:creationId xmlns:a16="http://schemas.microsoft.com/office/drawing/2014/main" id="{0332D46C-C67F-1244-3A5B-5AA3AD1C4DCC}"/>
                </a:ext>
              </a:extLst>
            </p:cNvPr>
            <p:cNvSpPr/>
            <p:nvPr/>
          </p:nvSpPr>
          <p:spPr>
            <a:xfrm>
              <a:off x="6512150" y="4301866"/>
              <a:ext cx="16534" cy="17064"/>
            </a:xfrm>
            <a:custGeom>
              <a:avLst/>
              <a:gdLst>
                <a:gd name="connsiteX0" fmla="*/ 8016 w 16534"/>
                <a:gd name="connsiteY0" fmla="*/ 35 h 17064"/>
                <a:gd name="connsiteX1" fmla="*/ 16530 w 16534"/>
                <a:gd name="connsiteY1" fmla="*/ 8938 h 17064"/>
                <a:gd name="connsiteX2" fmla="*/ 8581 w 16534"/>
                <a:gd name="connsiteY2" fmla="*/ 17064 h 17064"/>
                <a:gd name="connsiteX3" fmla="*/ 32 w 16534"/>
                <a:gd name="connsiteY3" fmla="*/ 8020 h 17064"/>
                <a:gd name="connsiteX4" fmla="*/ 7981 w 16534"/>
                <a:gd name="connsiteY4" fmla="*/ 0 h 17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34" h="17064">
                  <a:moveTo>
                    <a:pt x="8016" y="35"/>
                  </a:moveTo>
                  <a:cubicBezTo>
                    <a:pt x="12892" y="1908"/>
                    <a:pt x="16672" y="4310"/>
                    <a:pt x="16530" y="8938"/>
                  </a:cubicBezTo>
                  <a:cubicBezTo>
                    <a:pt x="16389" y="13425"/>
                    <a:pt x="12927" y="17064"/>
                    <a:pt x="8581" y="17064"/>
                  </a:cubicBezTo>
                  <a:cubicBezTo>
                    <a:pt x="3494" y="17064"/>
                    <a:pt x="-392" y="13249"/>
                    <a:pt x="32" y="8020"/>
                  </a:cubicBezTo>
                  <a:cubicBezTo>
                    <a:pt x="385" y="3710"/>
                    <a:pt x="4554" y="1519"/>
                    <a:pt x="7981" y="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1" name="Freeform: Shape 3700">
              <a:extLst>
                <a:ext uri="{FF2B5EF4-FFF2-40B4-BE49-F238E27FC236}">
                  <a16:creationId xmlns:a16="http://schemas.microsoft.com/office/drawing/2014/main" id="{7E89C745-1C99-2D4F-B721-C6C92B0F976C}"/>
                </a:ext>
              </a:extLst>
            </p:cNvPr>
            <p:cNvSpPr/>
            <p:nvPr/>
          </p:nvSpPr>
          <p:spPr>
            <a:xfrm>
              <a:off x="6703569" y="3794464"/>
              <a:ext cx="17178" cy="15299"/>
            </a:xfrm>
            <a:custGeom>
              <a:avLst/>
              <a:gdLst>
                <a:gd name="connsiteX0" fmla="*/ 10413 w 17178"/>
                <a:gd name="connsiteY0" fmla="*/ 15300 h 15299"/>
                <a:gd name="connsiteX1" fmla="*/ 97 w 17178"/>
                <a:gd name="connsiteY1" fmla="*/ 6926 h 15299"/>
                <a:gd name="connsiteX2" fmla="*/ 8223 w 17178"/>
                <a:gd name="connsiteY2" fmla="*/ 2 h 15299"/>
                <a:gd name="connsiteX3" fmla="*/ 17091 w 17178"/>
                <a:gd name="connsiteY3" fmla="*/ 6750 h 15299"/>
                <a:gd name="connsiteX4" fmla="*/ 10378 w 17178"/>
                <a:gd name="connsiteY4" fmla="*/ 15264 h 15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8" h="15299">
                  <a:moveTo>
                    <a:pt x="10413" y="15300"/>
                  </a:moveTo>
                  <a:cubicBezTo>
                    <a:pt x="4867" y="14699"/>
                    <a:pt x="839" y="11661"/>
                    <a:pt x="97" y="6926"/>
                  </a:cubicBezTo>
                  <a:cubicBezTo>
                    <a:pt x="-715" y="1804"/>
                    <a:pt x="3701" y="73"/>
                    <a:pt x="8223" y="2"/>
                  </a:cubicBezTo>
                  <a:cubicBezTo>
                    <a:pt x="12816" y="-69"/>
                    <a:pt x="16419" y="1839"/>
                    <a:pt x="17091" y="6750"/>
                  </a:cubicBezTo>
                  <a:cubicBezTo>
                    <a:pt x="17762" y="11837"/>
                    <a:pt x="14476" y="14098"/>
                    <a:pt x="10378" y="1526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2" name="Freeform: Shape 3701">
              <a:extLst>
                <a:ext uri="{FF2B5EF4-FFF2-40B4-BE49-F238E27FC236}">
                  <a16:creationId xmlns:a16="http://schemas.microsoft.com/office/drawing/2014/main" id="{F0451804-98C1-3E42-5F51-08A2615451EF}"/>
                </a:ext>
              </a:extLst>
            </p:cNvPr>
            <p:cNvSpPr/>
            <p:nvPr/>
          </p:nvSpPr>
          <p:spPr>
            <a:xfrm>
              <a:off x="6537063" y="3864724"/>
              <a:ext cx="15056" cy="14987"/>
            </a:xfrm>
            <a:custGeom>
              <a:avLst/>
              <a:gdLst>
                <a:gd name="connsiteX0" fmla="*/ 15040 w 15056"/>
                <a:gd name="connsiteY0" fmla="*/ 7396 h 14987"/>
                <a:gd name="connsiteX1" fmla="*/ 6915 w 15056"/>
                <a:gd name="connsiteY1" fmla="*/ 14956 h 14987"/>
                <a:gd name="connsiteX2" fmla="*/ 132 w 15056"/>
                <a:gd name="connsiteY2" fmla="*/ 6477 h 14987"/>
                <a:gd name="connsiteX3" fmla="*/ 9247 w 15056"/>
                <a:gd name="connsiteY3" fmla="*/ 12 h 14987"/>
                <a:gd name="connsiteX4" fmla="*/ 15040 w 15056"/>
                <a:gd name="connsiteY4" fmla="*/ 7431 h 14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56" h="14987">
                  <a:moveTo>
                    <a:pt x="15040" y="7396"/>
                  </a:moveTo>
                  <a:cubicBezTo>
                    <a:pt x="14263" y="11989"/>
                    <a:pt x="11896" y="15345"/>
                    <a:pt x="6915" y="14956"/>
                  </a:cubicBezTo>
                  <a:cubicBezTo>
                    <a:pt x="2075" y="14568"/>
                    <a:pt x="-646" y="11388"/>
                    <a:pt x="132" y="6477"/>
                  </a:cubicBezTo>
                  <a:cubicBezTo>
                    <a:pt x="909" y="1567"/>
                    <a:pt x="4583" y="-165"/>
                    <a:pt x="9247" y="12"/>
                  </a:cubicBezTo>
                  <a:cubicBezTo>
                    <a:pt x="13981" y="189"/>
                    <a:pt x="15217" y="3262"/>
                    <a:pt x="15040" y="7431"/>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3" name="Freeform: Shape 3702">
              <a:extLst>
                <a:ext uri="{FF2B5EF4-FFF2-40B4-BE49-F238E27FC236}">
                  <a16:creationId xmlns:a16="http://schemas.microsoft.com/office/drawing/2014/main" id="{668E495A-D7B5-4B2F-7E6B-32C3BE675891}"/>
                </a:ext>
              </a:extLst>
            </p:cNvPr>
            <p:cNvSpPr/>
            <p:nvPr/>
          </p:nvSpPr>
          <p:spPr>
            <a:xfrm>
              <a:off x="7037631" y="4419641"/>
              <a:ext cx="14948" cy="14818"/>
            </a:xfrm>
            <a:custGeom>
              <a:avLst/>
              <a:gdLst>
                <a:gd name="connsiteX0" fmla="*/ 14948 w 14948"/>
                <a:gd name="connsiteY0" fmla="*/ 7608 h 14818"/>
                <a:gd name="connsiteX1" fmla="*/ 7388 w 14948"/>
                <a:gd name="connsiteY1" fmla="*/ 14815 h 14818"/>
                <a:gd name="connsiteX2" fmla="*/ 75 w 14948"/>
                <a:gd name="connsiteY2" fmla="*/ 6654 h 14818"/>
                <a:gd name="connsiteX3" fmla="*/ 8907 w 14948"/>
                <a:gd name="connsiteY3" fmla="*/ 189 h 14818"/>
                <a:gd name="connsiteX4" fmla="*/ 14948 w 14948"/>
                <a:gd name="connsiteY4" fmla="*/ 7608 h 1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8" h="14818">
                  <a:moveTo>
                    <a:pt x="14948" y="7608"/>
                  </a:moveTo>
                  <a:cubicBezTo>
                    <a:pt x="14065" y="12342"/>
                    <a:pt x="11486" y="14921"/>
                    <a:pt x="7388" y="14815"/>
                  </a:cubicBezTo>
                  <a:cubicBezTo>
                    <a:pt x="2548" y="14674"/>
                    <a:pt x="-526" y="11706"/>
                    <a:pt x="75" y="6654"/>
                  </a:cubicBezTo>
                  <a:cubicBezTo>
                    <a:pt x="640" y="1744"/>
                    <a:pt x="3961" y="-730"/>
                    <a:pt x="8907" y="189"/>
                  </a:cubicBezTo>
                  <a:cubicBezTo>
                    <a:pt x="13076" y="966"/>
                    <a:pt x="14772" y="4075"/>
                    <a:pt x="14948" y="7608"/>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4" name="Freeform: Shape 3703">
              <a:extLst>
                <a:ext uri="{FF2B5EF4-FFF2-40B4-BE49-F238E27FC236}">
                  <a16:creationId xmlns:a16="http://schemas.microsoft.com/office/drawing/2014/main" id="{62EB2947-6393-42F4-0C37-EB1C6ED2450A}"/>
                </a:ext>
              </a:extLst>
            </p:cNvPr>
            <p:cNvSpPr/>
            <p:nvPr/>
          </p:nvSpPr>
          <p:spPr>
            <a:xfrm>
              <a:off x="6466395" y="3616827"/>
              <a:ext cx="31937" cy="33814"/>
            </a:xfrm>
            <a:custGeom>
              <a:avLst/>
              <a:gdLst>
                <a:gd name="connsiteX0" fmla="*/ 31902 w 31937"/>
                <a:gd name="connsiteY0" fmla="*/ 16678 h 33814"/>
                <a:gd name="connsiteX1" fmla="*/ 16252 w 31937"/>
                <a:gd name="connsiteY1" fmla="*/ 33813 h 33814"/>
                <a:gd name="connsiteX2" fmla="*/ 0 w 31937"/>
                <a:gd name="connsiteY2" fmla="*/ 17350 h 33814"/>
                <a:gd name="connsiteX3" fmla="*/ 16640 w 31937"/>
                <a:gd name="connsiteY3" fmla="*/ 3 h 33814"/>
                <a:gd name="connsiteX4" fmla="*/ 31938 w 31937"/>
                <a:gd name="connsiteY4" fmla="*/ 16678 h 33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37" h="33814">
                  <a:moveTo>
                    <a:pt x="31902" y="16678"/>
                  </a:moveTo>
                  <a:cubicBezTo>
                    <a:pt x="31620" y="28443"/>
                    <a:pt x="26638" y="33707"/>
                    <a:pt x="16252" y="33813"/>
                  </a:cubicBezTo>
                  <a:cubicBezTo>
                    <a:pt x="5087" y="33919"/>
                    <a:pt x="0" y="28408"/>
                    <a:pt x="0" y="17350"/>
                  </a:cubicBezTo>
                  <a:cubicBezTo>
                    <a:pt x="0" y="6009"/>
                    <a:pt x="7596" y="144"/>
                    <a:pt x="16640" y="3"/>
                  </a:cubicBezTo>
                  <a:cubicBezTo>
                    <a:pt x="26638" y="-174"/>
                    <a:pt x="31691" y="7987"/>
                    <a:pt x="31938" y="16678"/>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5" name="Freeform: Shape 3704">
              <a:extLst>
                <a:ext uri="{FF2B5EF4-FFF2-40B4-BE49-F238E27FC236}">
                  <a16:creationId xmlns:a16="http://schemas.microsoft.com/office/drawing/2014/main" id="{62B7C504-99B0-F6E5-E5EE-E54937F00AF8}"/>
                </a:ext>
              </a:extLst>
            </p:cNvPr>
            <p:cNvSpPr/>
            <p:nvPr/>
          </p:nvSpPr>
          <p:spPr>
            <a:xfrm>
              <a:off x="6371514" y="3617075"/>
              <a:ext cx="24663" cy="26498"/>
            </a:xfrm>
            <a:custGeom>
              <a:avLst/>
              <a:gdLst>
                <a:gd name="connsiteX0" fmla="*/ 11610 w 24663"/>
                <a:gd name="connsiteY0" fmla="*/ 26499 h 26498"/>
                <a:gd name="connsiteX1" fmla="*/ 198 w 24663"/>
                <a:gd name="connsiteY1" fmla="*/ 11484 h 26498"/>
                <a:gd name="connsiteX2" fmla="*/ 13270 w 24663"/>
                <a:gd name="connsiteY2" fmla="*/ 73 h 26498"/>
                <a:gd name="connsiteX3" fmla="*/ 24576 w 24663"/>
                <a:gd name="connsiteY3" fmla="*/ 14487 h 26498"/>
                <a:gd name="connsiteX4" fmla="*/ 11610 w 24663"/>
                <a:gd name="connsiteY4" fmla="*/ 26499 h 2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63" h="26498">
                  <a:moveTo>
                    <a:pt x="11610" y="26499"/>
                  </a:moveTo>
                  <a:cubicBezTo>
                    <a:pt x="5851" y="22895"/>
                    <a:pt x="-1285" y="19433"/>
                    <a:pt x="198" y="11484"/>
                  </a:cubicBezTo>
                  <a:cubicBezTo>
                    <a:pt x="1329" y="5407"/>
                    <a:pt x="6240" y="-740"/>
                    <a:pt x="13270" y="73"/>
                  </a:cubicBezTo>
                  <a:cubicBezTo>
                    <a:pt x="20442" y="920"/>
                    <a:pt x="25388" y="5831"/>
                    <a:pt x="24576" y="14487"/>
                  </a:cubicBezTo>
                  <a:cubicBezTo>
                    <a:pt x="23834" y="22507"/>
                    <a:pt x="18075" y="24450"/>
                    <a:pt x="11610" y="26499"/>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6" name="Freeform: Shape 3705">
              <a:extLst>
                <a:ext uri="{FF2B5EF4-FFF2-40B4-BE49-F238E27FC236}">
                  <a16:creationId xmlns:a16="http://schemas.microsoft.com/office/drawing/2014/main" id="{500E4CE9-048D-B3C2-547F-85125F728282}"/>
                </a:ext>
              </a:extLst>
            </p:cNvPr>
            <p:cNvSpPr/>
            <p:nvPr/>
          </p:nvSpPr>
          <p:spPr>
            <a:xfrm>
              <a:off x="6454295" y="3679751"/>
              <a:ext cx="17696" cy="15403"/>
            </a:xfrm>
            <a:custGeom>
              <a:avLst/>
              <a:gdLst>
                <a:gd name="connsiteX0" fmla="*/ 8885 w 17696"/>
                <a:gd name="connsiteY0" fmla="*/ 15404 h 15403"/>
                <a:gd name="connsiteX1" fmla="*/ 17 w 17696"/>
                <a:gd name="connsiteY1" fmla="*/ 8196 h 15403"/>
                <a:gd name="connsiteX2" fmla="*/ 9097 w 17696"/>
                <a:gd name="connsiteY2" fmla="*/ 0 h 15403"/>
                <a:gd name="connsiteX3" fmla="*/ 17682 w 17696"/>
                <a:gd name="connsiteY3" fmla="*/ 7101 h 15403"/>
                <a:gd name="connsiteX4" fmla="*/ 8850 w 17696"/>
                <a:gd name="connsiteY4" fmla="*/ 15404 h 15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96" h="15403">
                  <a:moveTo>
                    <a:pt x="8885" y="15404"/>
                  </a:moveTo>
                  <a:cubicBezTo>
                    <a:pt x="3974" y="15121"/>
                    <a:pt x="300" y="13143"/>
                    <a:pt x="17" y="8196"/>
                  </a:cubicBezTo>
                  <a:cubicBezTo>
                    <a:pt x="-300" y="2296"/>
                    <a:pt x="3762" y="35"/>
                    <a:pt x="9097" y="0"/>
                  </a:cubicBezTo>
                  <a:cubicBezTo>
                    <a:pt x="13796" y="0"/>
                    <a:pt x="17435" y="2120"/>
                    <a:pt x="17682" y="7101"/>
                  </a:cubicBezTo>
                  <a:cubicBezTo>
                    <a:pt x="17965" y="13037"/>
                    <a:pt x="13973" y="15121"/>
                    <a:pt x="8850" y="1540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7" name="Freeform: Shape 3706">
              <a:extLst>
                <a:ext uri="{FF2B5EF4-FFF2-40B4-BE49-F238E27FC236}">
                  <a16:creationId xmlns:a16="http://schemas.microsoft.com/office/drawing/2014/main" id="{7644D41B-D7EA-B186-7433-8BBA175A6BD4}"/>
                </a:ext>
              </a:extLst>
            </p:cNvPr>
            <p:cNvSpPr/>
            <p:nvPr/>
          </p:nvSpPr>
          <p:spPr>
            <a:xfrm>
              <a:off x="7250952" y="3701762"/>
              <a:ext cx="31488" cy="31834"/>
            </a:xfrm>
            <a:custGeom>
              <a:avLst/>
              <a:gdLst>
                <a:gd name="connsiteX0" fmla="*/ 15334 w 31488"/>
                <a:gd name="connsiteY0" fmla="*/ 0 h 31834"/>
                <a:gd name="connsiteX1" fmla="*/ 31480 w 31488"/>
                <a:gd name="connsiteY1" fmla="*/ 15227 h 31834"/>
                <a:gd name="connsiteX2" fmla="*/ 15370 w 31488"/>
                <a:gd name="connsiteY2" fmla="*/ 31832 h 31834"/>
                <a:gd name="connsiteX3" fmla="*/ 1 w 31488"/>
                <a:gd name="connsiteY3" fmla="*/ 17841 h 31834"/>
                <a:gd name="connsiteX4" fmla="*/ 15334 w 31488"/>
                <a:gd name="connsiteY4" fmla="*/ 0 h 31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88" h="31834">
                  <a:moveTo>
                    <a:pt x="15334" y="0"/>
                  </a:moveTo>
                  <a:cubicBezTo>
                    <a:pt x="25580" y="71"/>
                    <a:pt x="31233" y="4699"/>
                    <a:pt x="31480" y="15227"/>
                  </a:cubicBezTo>
                  <a:cubicBezTo>
                    <a:pt x="31727" y="26285"/>
                    <a:pt x="26640" y="31973"/>
                    <a:pt x="15370" y="31832"/>
                  </a:cubicBezTo>
                  <a:cubicBezTo>
                    <a:pt x="6007" y="31726"/>
                    <a:pt x="-105" y="27592"/>
                    <a:pt x="1" y="17841"/>
                  </a:cubicBezTo>
                  <a:cubicBezTo>
                    <a:pt x="143" y="8090"/>
                    <a:pt x="3570" y="177"/>
                    <a:pt x="15334" y="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8" name="Freeform: Shape 3707">
              <a:extLst>
                <a:ext uri="{FF2B5EF4-FFF2-40B4-BE49-F238E27FC236}">
                  <a16:creationId xmlns:a16="http://schemas.microsoft.com/office/drawing/2014/main" id="{10DF6E77-13BC-4C9C-8B4B-E1F2B6CAC881}"/>
                </a:ext>
              </a:extLst>
            </p:cNvPr>
            <p:cNvSpPr/>
            <p:nvPr/>
          </p:nvSpPr>
          <p:spPr>
            <a:xfrm>
              <a:off x="7199934" y="3734365"/>
              <a:ext cx="15407" cy="17711"/>
            </a:xfrm>
            <a:custGeom>
              <a:avLst/>
              <a:gdLst>
                <a:gd name="connsiteX0" fmla="*/ 15407 w 15407"/>
                <a:gd name="connsiteY0" fmla="*/ 8732 h 17711"/>
                <a:gd name="connsiteX1" fmla="*/ 7246 w 15407"/>
                <a:gd name="connsiteY1" fmla="*/ 17706 h 17711"/>
                <a:gd name="connsiteX2" fmla="*/ 3 w 15407"/>
                <a:gd name="connsiteY2" fmla="*/ 9191 h 17711"/>
                <a:gd name="connsiteX3" fmla="*/ 8059 w 15407"/>
                <a:gd name="connsiteY3" fmla="*/ 6 h 17711"/>
                <a:gd name="connsiteX4" fmla="*/ 15407 w 15407"/>
                <a:gd name="connsiteY4" fmla="*/ 8767 h 1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7" h="17711">
                  <a:moveTo>
                    <a:pt x="15407" y="8732"/>
                  </a:moveTo>
                  <a:cubicBezTo>
                    <a:pt x="15195" y="13784"/>
                    <a:pt x="13111" y="17882"/>
                    <a:pt x="7246" y="17706"/>
                  </a:cubicBezTo>
                  <a:cubicBezTo>
                    <a:pt x="2335" y="17529"/>
                    <a:pt x="74" y="13890"/>
                    <a:pt x="3" y="9191"/>
                  </a:cubicBezTo>
                  <a:cubicBezTo>
                    <a:pt x="-102" y="3786"/>
                    <a:pt x="2265" y="-171"/>
                    <a:pt x="8059" y="6"/>
                  </a:cubicBezTo>
                  <a:cubicBezTo>
                    <a:pt x="13005" y="147"/>
                    <a:pt x="15054" y="3821"/>
                    <a:pt x="15407" y="876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09" name="Freeform: Shape 3708">
              <a:extLst>
                <a:ext uri="{FF2B5EF4-FFF2-40B4-BE49-F238E27FC236}">
                  <a16:creationId xmlns:a16="http://schemas.microsoft.com/office/drawing/2014/main" id="{A2619543-6FAE-0819-075A-CBEDCD2C3457}"/>
                </a:ext>
              </a:extLst>
            </p:cNvPr>
            <p:cNvSpPr/>
            <p:nvPr/>
          </p:nvSpPr>
          <p:spPr>
            <a:xfrm>
              <a:off x="7197050" y="3676924"/>
              <a:ext cx="15040" cy="15016"/>
            </a:xfrm>
            <a:custGeom>
              <a:avLst/>
              <a:gdLst>
                <a:gd name="connsiteX0" fmla="*/ 8823 w 15040"/>
                <a:gd name="connsiteY0" fmla="*/ 14981 h 15016"/>
                <a:gd name="connsiteX1" fmla="*/ 62 w 15040"/>
                <a:gd name="connsiteY1" fmla="*/ 8091 h 15016"/>
                <a:gd name="connsiteX2" fmla="*/ 7304 w 15040"/>
                <a:gd name="connsiteY2" fmla="*/ 1 h 15016"/>
                <a:gd name="connsiteX3" fmla="*/ 15006 w 15040"/>
                <a:gd name="connsiteY3" fmla="*/ 7985 h 15016"/>
                <a:gd name="connsiteX4" fmla="*/ 8823 w 15040"/>
                <a:gd name="connsiteY4" fmla="*/ 15016 h 15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0" h="15016">
                  <a:moveTo>
                    <a:pt x="8823" y="14981"/>
                  </a:moveTo>
                  <a:cubicBezTo>
                    <a:pt x="4160" y="14875"/>
                    <a:pt x="592" y="13002"/>
                    <a:pt x="62" y="8091"/>
                  </a:cubicBezTo>
                  <a:cubicBezTo>
                    <a:pt x="-468" y="3145"/>
                    <a:pt x="2464" y="72"/>
                    <a:pt x="7304" y="1"/>
                  </a:cubicBezTo>
                  <a:cubicBezTo>
                    <a:pt x="12215" y="-70"/>
                    <a:pt x="14653" y="3322"/>
                    <a:pt x="15006" y="7985"/>
                  </a:cubicBezTo>
                  <a:cubicBezTo>
                    <a:pt x="15324" y="12260"/>
                    <a:pt x="13451" y="14910"/>
                    <a:pt x="8823" y="15016"/>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0" name="Freeform: Shape 3709">
              <a:extLst>
                <a:ext uri="{FF2B5EF4-FFF2-40B4-BE49-F238E27FC236}">
                  <a16:creationId xmlns:a16="http://schemas.microsoft.com/office/drawing/2014/main" id="{10A72365-F75F-E52B-F22A-B9CA7A23B282}"/>
                </a:ext>
              </a:extLst>
            </p:cNvPr>
            <p:cNvSpPr/>
            <p:nvPr/>
          </p:nvSpPr>
          <p:spPr>
            <a:xfrm>
              <a:off x="6536828" y="4611133"/>
              <a:ext cx="24744" cy="24348"/>
            </a:xfrm>
            <a:custGeom>
              <a:avLst/>
              <a:gdLst>
                <a:gd name="connsiteX0" fmla="*/ 24709 w 24744"/>
                <a:gd name="connsiteY0" fmla="*/ 13007 h 24348"/>
                <a:gd name="connsiteX1" fmla="*/ 12414 w 24744"/>
                <a:gd name="connsiteY1" fmla="*/ 24348 h 24348"/>
                <a:gd name="connsiteX2" fmla="*/ 49 w 24744"/>
                <a:gd name="connsiteY2" fmla="*/ 12831 h 24348"/>
                <a:gd name="connsiteX3" fmla="*/ 10860 w 24744"/>
                <a:gd name="connsiteY3" fmla="*/ 6 h 24348"/>
                <a:gd name="connsiteX4" fmla="*/ 24744 w 24744"/>
                <a:gd name="connsiteY4" fmla="*/ 13007 h 24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44" h="24348">
                  <a:moveTo>
                    <a:pt x="24709" y="13007"/>
                  </a:moveTo>
                  <a:cubicBezTo>
                    <a:pt x="23614" y="19791"/>
                    <a:pt x="19621" y="24313"/>
                    <a:pt x="12414" y="24348"/>
                  </a:cubicBezTo>
                  <a:cubicBezTo>
                    <a:pt x="5136" y="24419"/>
                    <a:pt x="579" y="19896"/>
                    <a:pt x="49" y="12831"/>
                  </a:cubicBezTo>
                  <a:cubicBezTo>
                    <a:pt x="-516" y="5588"/>
                    <a:pt x="3865" y="218"/>
                    <a:pt x="10860" y="6"/>
                  </a:cubicBezTo>
                  <a:cubicBezTo>
                    <a:pt x="18420" y="-206"/>
                    <a:pt x="22907" y="5270"/>
                    <a:pt x="24744" y="1300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1" name="Freeform: Shape 3710">
              <a:extLst>
                <a:ext uri="{FF2B5EF4-FFF2-40B4-BE49-F238E27FC236}">
                  <a16:creationId xmlns:a16="http://schemas.microsoft.com/office/drawing/2014/main" id="{75A5F6FC-C552-0A2B-189D-C4645C72B95D}"/>
                </a:ext>
              </a:extLst>
            </p:cNvPr>
            <p:cNvSpPr/>
            <p:nvPr/>
          </p:nvSpPr>
          <p:spPr>
            <a:xfrm>
              <a:off x="6592100" y="4594727"/>
              <a:ext cx="17272" cy="15326"/>
            </a:xfrm>
            <a:custGeom>
              <a:avLst/>
              <a:gdLst>
                <a:gd name="connsiteX0" fmla="*/ 17273 w 17272"/>
                <a:gd name="connsiteY0" fmla="*/ 7862 h 15326"/>
                <a:gd name="connsiteX1" fmla="*/ 8158 w 17272"/>
                <a:gd name="connsiteY1" fmla="*/ 15316 h 15326"/>
                <a:gd name="connsiteX2" fmla="*/ 32 w 17272"/>
                <a:gd name="connsiteY2" fmla="*/ 5813 h 15326"/>
                <a:gd name="connsiteX3" fmla="*/ 9571 w 17272"/>
                <a:gd name="connsiteY3" fmla="*/ 89 h 15326"/>
                <a:gd name="connsiteX4" fmla="*/ 17273 w 17272"/>
                <a:gd name="connsiteY4" fmla="*/ 7897 h 15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 h="15326">
                  <a:moveTo>
                    <a:pt x="17273" y="7862"/>
                  </a:moveTo>
                  <a:cubicBezTo>
                    <a:pt x="16142" y="13303"/>
                    <a:pt x="12892" y="15493"/>
                    <a:pt x="8158" y="15316"/>
                  </a:cubicBezTo>
                  <a:cubicBezTo>
                    <a:pt x="2223" y="15069"/>
                    <a:pt x="-321" y="10759"/>
                    <a:pt x="32" y="5813"/>
                  </a:cubicBezTo>
                  <a:cubicBezTo>
                    <a:pt x="421" y="619"/>
                    <a:pt x="5120" y="-335"/>
                    <a:pt x="9571" y="89"/>
                  </a:cubicBezTo>
                  <a:cubicBezTo>
                    <a:pt x="14411" y="549"/>
                    <a:pt x="16955" y="3516"/>
                    <a:pt x="17273" y="789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2" name="Freeform: Shape 3711">
              <a:extLst>
                <a:ext uri="{FF2B5EF4-FFF2-40B4-BE49-F238E27FC236}">
                  <a16:creationId xmlns:a16="http://schemas.microsoft.com/office/drawing/2014/main" id="{A127FC96-3F6C-B12A-815B-BC817F55B7A1}"/>
                </a:ext>
              </a:extLst>
            </p:cNvPr>
            <p:cNvSpPr/>
            <p:nvPr/>
          </p:nvSpPr>
          <p:spPr>
            <a:xfrm>
              <a:off x="6611133" y="4662728"/>
              <a:ext cx="16484" cy="16808"/>
            </a:xfrm>
            <a:custGeom>
              <a:avLst/>
              <a:gdLst>
                <a:gd name="connsiteX0" fmla="*/ 8308 w 16484"/>
                <a:gd name="connsiteY0" fmla="*/ 16808 h 16808"/>
                <a:gd name="connsiteX1" fmla="*/ 6 w 16484"/>
                <a:gd name="connsiteY1" fmla="*/ 8718 h 16808"/>
                <a:gd name="connsiteX2" fmla="*/ 8874 w 16484"/>
                <a:gd name="connsiteY2" fmla="*/ 27 h 16808"/>
                <a:gd name="connsiteX3" fmla="*/ 16469 w 16484"/>
                <a:gd name="connsiteY3" fmla="*/ 8506 h 16808"/>
                <a:gd name="connsiteX4" fmla="*/ 8308 w 16484"/>
                <a:gd name="connsiteY4" fmla="*/ 16808 h 16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4" h="16808">
                  <a:moveTo>
                    <a:pt x="8308" y="16808"/>
                  </a:moveTo>
                  <a:cubicBezTo>
                    <a:pt x="3857" y="15748"/>
                    <a:pt x="182" y="12993"/>
                    <a:pt x="6" y="8718"/>
                  </a:cubicBezTo>
                  <a:cubicBezTo>
                    <a:pt x="-171" y="3524"/>
                    <a:pt x="3680" y="-362"/>
                    <a:pt x="8874" y="27"/>
                  </a:cubicBezTo>
                  <a:cubicBezTo>
                    <a:pt x="13007" y="345"/>
                    <a:pt x="16752" y="3878"/>
                    <a:pt x="16469" y="8506"/>
                  </a:cubicBezTo>
                  <a:cubicBezTo>
                    <a:pt x="16222" y="12922"/>
                    <a:pt x="12689" y="15572"/>
                    <a:pt x="8308" y="16808"/>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3" name="Freeform: Shape 3712">
              <a:extLst>
                <a:ext uri="{FF2B5EF4-FFF2-40B4-BE49-F238E27FC236}">
                  <a16:creationId xmlns:a16="http://schemas.microsoft.com/office/drawing/2014/main" id="{7761A27A-A639-95B8-7201-2CBE4E456AD7}"/>
                </a:ext>
              </a:extLst>
            </p:cNvPr>
            <p:cNvSpPr/>
            <p:nvPr/>
          </p:nvSpPr>
          <p:spPr>
            <a:xfrm>
              <a:off x="7353042" y="4289848"/>
              <a:ext cx="25034" cy="23896"/>
            </a:xfrm>
            <a:custGeom>
              <a:avLst/>
              <a:gdLst>
                <a:gd name="connsiteX0" fmla="*/ 25026 w 25034"/>
                <a:gd name="connsiteY0" fmla="*/ 14455 h 23896"/>
                <a:gd name="connsiteX1" fmla="*/ 13650 w 25034"/>
                <a:gd name="connsiteY1" fmla="*/ 23888 h 23896"/>
                <a:gd name="connsiteX2" fmla="*/ 48 w 25034"/>
                <a:gd name="connsiteY2" fmla="*/ 11735 h 23896"/>
                <a:gd name="connsiteX3" fmla="*/ 11954 w 25034"/>
                <a:gd name="connsiteY3" fmla="*/ 6 h 23896"/>
                <a:gd name="connsiteX4" fmla="*/ 25026 w 25034"/>
                <a:gd name="connsiteY4" fmla="*/ 14455 h 23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34" h="23896">
                  <a:moveTo>
                    <a:pt x="25026" y="14455"/>
                  </a:moveTo>
                  <a:cubicBezTo>
                    <a:pt x="25238" y="20214"/>
                    <a:pt x="21458" y="24100"/>
                    <a:pt x="13650" y="23888"/>
                  </a:cubicBezTo>
                  <a:cubicBezTo>
                    <a:pt x="5736" y="23676"/>
                    <a:pt x="684" y="19649"/>
                    <a:pt x="48" y="11735"/>
                  </a:cubicBezTo>
                  <a:cubicBezTo>
                    <a:pt x="-623" y="3644"/>
                    <a:pt x="5842" y="182"/>
                    <a:pt x="11954" y="6"/>
                  </a:cubicBezTo>
                  <a:cubicBezTo>
                    <a:pt x="19055" y="-171"/>
                    <a:pt x="24920" y="3786"/>
                    <a:pt x="25026" y="14455"/>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4" name="Freeform: Shape 3713">
              <a:extLst>
                <a:ext uri="{FF2B5EF4-FFF2-40B4-BE49-F238E27FC236}">
                  <a16:creationId xmlns:a16="http://schemas.microsoft.com/office/drawing/2014/main" id="{D6F5C94A-E5EE-7240-9DF8-3000AA2BDBF4}"/>
                </a:ext>
              </a:extLst>
            </p:cNvPr>
            <p:cNvSpPr/>
            <p:nvPr/>
          </p:nvSpPr>
          <p:spPr>
            <a:xfrm>
              <a:off x="7305407" y="4253818"/>
              <a:ext cx="15138" cy="17150"/>
            </a:xfrm>
            <a:custGeom>
              <a:avLst/>
              <a:gdLst>
                <a:gd name="connsiteX0" fmla="*/ 6631 w 15138"/>
                <a:gd name="connsiteY0" fmla="*/ 35 h 17150"/>
                <a:gd name="connsiteX1" fmla="*/ 15004 w 15138"/>
                <a:gd name="connsiteY1" fmla="*/ 7525 h 17150"/>
                <a:gd name="connsiteX2" fmla="*/ 9634 w 15138"/>
                <a:gd name="connsiteY2" fmla="*/ 17099 h 17150"/>
                <a:gd name="connsiteX3" fmla="*/ 201 w 15138"/>
                <a:gd name="connsiteY3" fmla="*/ 8691 h 17150"/>
                <a:gd name="connsiteX4" fmla="*/ 6666 w 15138"/>
                <a:gd name="connsiteY4" fmla="*/ 0 h 1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38" h="17150">
                  <a:moveTo>
                    <a:pt x="6631" y="35"/>
                  </a:moveTo>
                  <a:cubicBezTo>
                    <a:pt x="11824" y="35"/>
                    <a:pt x="14439" y="2932"/>
                    <a:pt x="15004" y="7525"/>
                  </a:cubicBezTo>
                  <a:cubicBezTo>
                    <a:pt x="15534" y="11871"/>
                    <a:pt x="14651" y="16569"/>
                    <a:pt x="9634" y="17099"/>
                  </a:cubicBezTo>
                  <a:cubicBezTo>
                    <a:pt x="4299" y="17665"/>
                    <a:pt x="1190" y="13425"/>
                    <a:pt x="201" y="8691"/>
                  </a:cubicBezTo>
                  <a:cubicBezTo>
                    <a:pt x="-824" y="3851"/>
                    <a:pt x="2180" y="1060"/>
                    <a:pt x="6666" y="0"/>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5" name="Freeform: Shape 3714">
              <a:extLst>
                <a:ext uri="{FF2B5EF4-FFF2-40B4-BE49-F238E27FC236}">
                  <a16:creationId xmlns:a16="http://schemas.microsoft.com/office/drawing/2014/main" id="{9DB7ED6B-1563-3B64-DB9B-E905F25F4134}"/>
                </a:ext>
              </a:extLst>
            </p:cNvPr>
            <p:cNvSpPr/>
            <p:nvPr/>
          </p:nvSpPr>
          <p:spPr>
            <a:xfrm>
              <a:off x="7152394" y="4527798"/>
              <a:ext cx="34400" cy="33861"/>
            </a:xfrm>
            <a:custGeom>
              <a:avLst/>
              <a:gdLst>
                <a:gd name="connsiteX0" fmla="*/ 34401 w 34400"/>
                <a:gd name="connsiteY0" fmla="*/ 16074 h 33861"/>
                <a:gd name="connsiteX1" fmla="*/ 16418 w 34400"/>
                <a:gd name="connsiteY1" fmla="*/ 33845 h 33861"/>
                <a:gd name="connsiteX2" fmla="*/ 25 w 34400"/>
                <a:gd name="connsiteY2" fmla="*/ 15756 h 33861"/>
                <a:gd name="connsiteX3" fmla="*/ 18220 w 34400"/>
                <a:gd name="connsiteY3" fmla="*/ 70 h 33861"/>
                <a:gd name="connsiteX4" fmla="*/ 34401 w 34400"/>
                <a:gd name="connsiteY4" fmla="*/ 16074 h 33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00" h="33861">
                  <a:moveTo>
                    <a:pt x="34401" y="16074"/>
                  </a:moveTo>
                  <a:cubicBezTo>
                    <a:pt x="32210" y="26637"/>
                    <a:pt x="26770" y="34268"/>
                    <a:pt x="16418" y="33845"/>
                  </a:cubicBezTo>
                  <a:cubicBezTo>
                    <a:pt x="6279" y="33421"/>
                    <a:pt x="-469" y="25895"/>
                    <a:pt x="25" y="15756"/>
                  </a:cubicBezTo>
                  <a:cubicBezTo>
                    <a:pt x="555" y="5616"/>
                    <a:pt x="7586" y="-743"/>
                    <a:pt x="18220" y="70"/>
                  </a:cubicBezTo>
                  <a:cubicBezTo>
                    <a:pt x="27865" y="811"/>
                    <a:pt x="32846" y="7383"/>
                    <a:pt x="34401" y="1607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6" name="Freeform: Shape 3715">
              <a:extLst>
                <a:ext uri="{FF2B5EF4-FFF2-40B4-BE49-F238E27FC236}">
                  <a16:creationId xmlns:a16="http://schemas.microsoft.com/office/drawing/2014/main" id="{302D80F5-3086-E411-C3A8-6DA994241997}"/>
                </a:ext>
              </a:extLst>
            </p:cNvPr>
            <p:cNvSpPr/>
            <p:nvPr/>
          </p:nvSpPr>
          <p:spPr>
            <a:xfrm>
              <a:off x="7200464" y="4578392"/>
              <a:ext cx="30775" cy="30944"/>
            </a:xfrm>
            <a:custGeom>
              <a:avLst/>
              <a:gdLst>
                <a:gd name="connsiteX0" fmla="*/ 13570 w 30775"/>
                <a:gd name="connsiteY0" fmla="*/ 67 h 30944"/>
                <a:gd name="connsiteX1" fmla="*/ 30775 w 30775"/>
                <a:gd name="connsiteY1" fmla="*/ 14093 h 30944"/>
                <a:gd name="connsiteX2" fmla="*/ 15796 w 30775"/>
                <a:gd name="connsiteY2" fmla="*/ 30945 h 30944"/>
                <a:gd name="connsiteX3" fmla="*/ 3 w 30775"/>
                <a:gd name="connsiteY3" fmla="*/ 14340 h 30944"/>
                <a:gd name="connsiteX4" fmla="*/ 13535 w 30775"/>
                <a:gd name="connsiteY4" fmla="*/ 67 h 30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5" h="30944">
                  <a:moveTo>
                    <a:pt x="13570" y="67"/>
                  </a:moveTo>
                  <a:cubicBezTo>
                    <a:pt x="24593" y="244"/>
                    <a:pt x="30705" y="4306"/>
                    <a:pt x="30775" y="14093"/>
                  </a:cubicBezTo>
                  <a:cubicBezTo>
                    <a:pt x="30846" y="23808"/>
                    <a:pt x="25087" y="30909"/>
                    <a:pt x="15796" y="30945"/>
                  </a:cubicBezTo>
                  <a:cubicBezTo>
                    <a:pt x="6539" y="30980"/>
                    <a:pt x="-173" y="23737"/>
                    <a:pt x="3" y="14340"/>
                  </a:cubicBezTo>
                  <a:cubicBezTo>
                    <a:pt x="180" y="5967"/>
                    <a:pt x="4985" y="-746"/>
                    <a:pt x="13535" y="6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7" name="Freeform: Shape 3716">
              <a:extLst>
                <a:ext uri="{FF2B5EF4-FFF2-40B4-BE49-F238E27FC236}">
                  <a16:creationId xmlns:a16="http://schemas.microsoft.com/office/drawing/2014/main" id="{091E2741-6441-8F20-208F-FA785BCF963D}"/>
                </a:ext>
              </a:extLst>
            </p:cNvPr>
            <p:cNvSpPr/>
            <p:nvPr/>
          </p:nvSpPr>
          <p:spPr>
            <a:xfrm>
              <a:off x="6443978" y="4409442"/>
              <a:ext cx="35170" cy="35042"/>
            </a:xfrm>
            <a:custGeom>
              <a:avLst/>
              <a:gdLst>
                <a:gd name="connsiteX0" fmla="*/ 35170 w 35170"/>
                <a:gd name="connsiteY0" fmla="*/ 17313 h 35042"/>
                <a:gd name="connsiteX1" fmla="*/ 16658 w 35170"/>
                <a:gd name="connsiteY1" fmla="*/ 35013 h 35042"/>
                <a:gd name="connsiteX2" fmla="*/ 18 w 35170"/>
                <a:gd name="connsiteY2" fmla="*/ 18690 h 35042"/>
                <a:gd name="connsiteX3" fmla="*/ 17647 w 35170"/>
                <a:gd name="connsiteY3" fmla="*/ 1 h 35042"/>
                <a:gd name="connsiteX4" fmla="*/ 35170 w 35170"/>
                <a:gd name="connsiteY4" fmla="*/ 17313 h 3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35042">
                  <a:moveTo>
                    <a:pt x="35170" y="17313"/>
                  </a:moveTo>
                  <a:cubicBezTo>
                    <a:pt x="34358" y="27275"/>
                    <a:pt x="28846" y="34447"/>
                    <a:pt x="16658" y="35013"/>
                  </a:cubicBezTo>
                  <a:cubicBezTo>
                    <a:pt x="5494" y="35507"/>
                    <a:pt x="335" y="29890"/>
                    <a:pt x="18" y="18690"/>
                  </a:cubicBezTo>
                  <a:cubicBezTo>
                    <a:pt x="-336" y="6255"/>
                    <a:pt x="4610" y="-105"/>
                    <a:pt x="17647" y="1"/>
                  </a:cubicBezTo>
                  <a:cubicBezTo>
                    <a:pt x="28493" y="107"/>
                    <a:pt x="34782" y="4276"/>
                    <a:pt x="35170" y="17313"/>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8" name="Freeform: Shape 3717">
              <a:extLst>
                <a:ext uri="{FF2B5EF4-FFF2-40B4-BE49-F238E27FC236}">
                  <a16:creationId xmlns:a16="http://schemas.microsoft.com/office/drawing/2014/main" id="{5E6D0EE7-2375-04CA-E693-9577D9B0C1C6}"/>
                </a:ext>
              </a:extLst>
            </p:cNvPr>
            <p:cNvSpPr/>
            <p:nvPr/>
          </p:nvSpPr>
          <p:spPr>
            <a:xfrm>
              <a:off x="6505307" y="4441722"/>
              <a:ext cx="18003" cy="15364"/>
            </a:xfrm>
            <a:custGeom>
              <a:avLst/>
              <a:gdLst>
                <a:gd name="connsiteX0" fmla="*/ 17968 w 18003"/>
                <a:gd name="connsiteY0" fmla="*/ 7679 h 15364"/>
                <a:gd name="connsiteX1" fmla="*/ 7793 w 18003"/>
                <a:gd name="connsiteY1" fmla="*/ 15310 h 15364"/>
                <a:gd name="connsiteX2" fmla="*/ 21 w 18003"/>
                <a:gd name="connsiteY2" fmla="*/ 7396 h 15364"/>
                <a:gd name="connsiteX3" fmla="*/ 9984 w 18003"/>
                <a:gd name="connsiteY3" fmla="*/ 48 h 15364"/>
                <a:gd name="connsiteX4" fmla="*/ 18003 w 18003"/>
                <a:gd name="connsiteY4" fmla="*/ 7679 h 15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3" h="15364">
                  <a:moveTo>
                    <a:pt x="17968" y="7679"/>
                  </a:moveTo>
                  <a:cubicBezTo>
                    <a:pt x="16908" y="13720"/>
                    <a:pt x="13057" y="15734"/>
                    <a:pt x="7793" y="15310"/>
                  </a:cubicBezTo>
                  <a:cubicBezTo>
                    <a:pt x="3094" y="14921"/>
                    <a:pt x="-297" y="12272"/>
                    <a:pt x="21" y="7396"/>
                  </a:cubicBezTo>
                  <a:cubicBezTo>
                    <a:pt x="409" y="1602"/>
                    <a:pt x="4684" y="-341"/>
                    <a:pt x="9984" y="48"/>
                  </a:cubicBezTo>
                  <a:cubicBezTo>
                    <a:pt x="14753" y="401"/>
                    <a:pt x="17403" y="3227"/>
                    <a:pt x="18003" y="7679"/>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19" name="Freeform: Shape 3718">
              <a:extLst>
                <a:ext uri="{FF2B5EF4-FFF2-40B4-BE49-F238E27FC236}">
                  <a16:creationId xmlns:a16="http://schemas.microsoft.com/office/drawing/2014/main" id="{A619EA2A-5703-DDC8-E8C2-538D280C81CE}"/>
                </a:ext>
              </a:extLst>
            </p:cNvPr>
            <p:cNvSpPr/>
            <p:nvPr/>
          </p:nvSpPr>
          <p:spPr>
            <a:xfrm>
              <a:off x="6307589" y="3950749"/>
              <a:ext cx="17771" cy="15417"/>
            </a:xfrm>
            <a:custGeom>
              <a:avLst/>
              <a:gdLst>
                <a:gd name="connsiteX0" fmla="*/ 9362 w 17771"/>
                <a:gd name="connsiteY0" fmla="*/ 15417 h 15417"/>
                <a:gd name="connsiteX1" fmla="*/ 0 w 17771"/>
                <a:gd name="connsiteY1" fmla="*/ 7574 h 15417"/>
                <a:gd name="connsiteX2" fmla="*/ 8232 w 17771"/>
                <a:gd name="connsiteY2" fmla="*/ 13 h 15417"/>
                <a:gd name="connsiteX3" fmla="*/ 17771 w 17771"/>
                <a:gd name="connsiteY3" fmla="*/ 7821 h 15417"/>
                <a:gd name="connsiteX4" fmla="*/ 9362 w 17771"/>
                <a:gd name="connsiteY4" fmla="*/ 15417 h 1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71" h="15417">
                  <a:moveTo>
                    <a:pt x="9362" y="15417"/>
                  </a:moveTo>
                  <a:cubicBezTo>
                    <a:pt x="4204" y="15346"/>
                    <a:pt x="36" y="13368"/>
                    <a:pt x="0" y="7574"/>
                  </a:cubicBezTo>
                  <a:cubicBezTo>
                    <a:pt x="-35" y="2663"/>
                    <a:pt x="3498" y="225"/>
                    <a:pt x="8232" y="13"/>
                  </a:cubicBezTo>
                  <a:cubicBezTo>
                    <a:pt x="13602" y="-199"/>
                    <a:pt x="17700" y="2098"/>
                    <a:pt x="17771" y="7821"/>
                  </a:cubicBezTo>
                  <a:cubicBezTo>
                    <a:pt x="17842" y="12697"/>
                    <a:pt x="14273" y="15028"/>
                    <a:pt x="9362" y="15417"/>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20" name="Freeform: Shape 3719">
              <a:extLst>
                <a:ext uri="{FF2B5EF4-FFF2-40B4-BE49-F238E27FC236}">
                  <a16:creationId xmlns:a16="http://schemas.microsoft.com/office/drawing/2014/main" id="{9BCF36EF-F579-67C9-F85D-4792D1ECE993}"/>
                </a:ext>
              </a:extLst>
            </p:cNvPr>
            <p:cNvSpPr/>
            <p:nvPr/>
          </p:nvSpPr>
          <p:spPr>
            <a:xfrm>
              <a:off x="6326380" y="4581986"/>
              <a:ext cx="14965" cy="14977"/>
            </a:xfrm>
            <a:custGeom>
              <a:avLst/>
              <a:gdLst>
                <a:gd name="connsiteX0" fmla="*/ 7247 w 14965"/>
                <a:gd name="connsiteY0" fmla="*/ 6 h 14977"/>
                <a:gd name="connsiteX1" fmla="*/ 14949 w 14965"/>
                <a:gd name="connsiteY1" fmla="*/ 7920 h 14977"/>
                <a:gd name="connsiteX2" fmla="*/ 6646 w 14965"/>
                <a:gd name="connsiteY2" fmla="*/ 14879 h 14977"/>
                <a:gd name="connsiteX3" fmla="*/ 4 w 14965"/>
                <a:gd name="connsiteY3" fmla="*/ 5976 h 14977"/>
                <a:gd name="connsiteX4" fmla="*/ 7247 w 14965"/>
                <a:gd name="connsiteY4" fmla="*/ 6 h 14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65" h="14977">
                  <a:moveTo>
                    <a:pt x="7247" y="6"/>
                  </a:moveTo>
                  <a:cubicBezTo>
                    <a:pt x="11840" y="677"/>
                    <a:pt x="15231" y="2973"/>
                    <a:pt x="14949" y="7920"/>
                  </a:cubicBezTo>
                  <a:cubicBezTo>
                    <a:pt x="14701" y="12724"/>
                    <a:pt x="11592" y="15551"/>
                    <a:pt x="6646" y="14879"/>
                  </a:cubicBezTo>
                  <a:cubicBezTo>
                    <a:pt x="1735" y="14243"/>
                    <a:pt x="-102" y="10604"/>
                    <a:pt x="4" y="5976"/>
                  </a:cubicBezTo>
                  <a:cubicBezTo>
                    <a:pt x="110" y="1278"/>
                    <a:pt x="3078" y="-100"/>
                    <a:pt x="7247" y="6"/>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21" name="Freeform: Shape 3720">
              <a:extLst>
                <a:ext uri="{FF2B5EF4-FFF2-40B4-BE49-F238E27FC236}">
                  <a16:creationId xmlns:a16="http://schemas.microsoft.com/office/drawing/2014/main" id="{378A3B4C-CE89-A6DC-1C68-E5D3690E3A23}"/>
                </a:ext>
              </a:extLst>
            </p:cNvPr>
            <p:cNvSpPr/>
            <p:nvPr/>
          </p:nvSpPr>
          <p:spPr>
            <a:xfrm>
              <a:off x="6552047" y="3815930"/>
              <a:ext cx="306709" cy="326238"/>
            </a:xfrm>
            <a:custGeom>
              <a:avLst/>
              <a:gdLst>
                <a:gd name="connsiteX0" fmla="*/ 340 w 306709"/>
                <a:gd name="connsiteY0" fmla="*/ 210650 h 326238"/>
                <a:gd name="connsiteX1" fmla="*/ 44890 w 306709"/>
                <a:gd name="connsiteY1" fmla="*/ 126743 h 326238"/>
                <a:gd name="connsiteX2" fmla="*/ 139325 w 306709"/>
                <a:gd name="connsiteY2" fmla="*/ 68343 h 326238"/>
                <a:gd name="connsiteX3" fmla="*/ 163985 w 306709"/>
                <a:gd name="connsiteY3" fmla="*/ 43895 h 326238"/>
                <a:gd name="connsiteX4" fmla="*/ 270750 w 306709"/>
                <a:gd name="connsiteY4" fmla="*/ 4856 h 326238"/>
                <a:gd name="connsiteX5" fmla="*/ 304914 w 306709"/>
                <a:gd name="connsiteY5" fmla="*/ 70322 h 326238"/>
                <a:gd name="connsiteX6" fmla="*/ 289157 w 306709"/>
                <a:gd name="connsiteY6" fmla="*/ 101235 h 326238"/>
                <a:gd name="connsiteX7" fmla="*/ 245914 w 306709"/>
                <a:gd name="connsiteY7" fmla="*/ 195458 h 326238"/>
                <a:gd name="connsiteX8" fmla="*/ 196559 w 306709"/>
                <a:gd name="connsiteY8" fmla="*/ 290318 h 326238"/>
                <a:gd name="connsiteX9" fmla="*/ 75732 w 306709"/>
                <a:gd name="connsiteY9" fmla="*/ 316214 h 326238"/>
                <a:gd name="connsiteX10" fmla="*/ 304 w 306709"/>
                <a:gd name="connsiteY10" fmla="*/ 210544 h 32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709" h="326238">
                  <a:moveTo>
                    <a:pt x="340" y="210650"/>
                  </a:moveTo>
                  <a:cubicBezTo>
                    <a:pt x="-1498" y="173801"/>
                    <a:pt x="14613" y="146810"/>
                    <a:pt x="44890" y="126743"/>
                  </a:cubicBezTo>
                  <a:cubicBezTo>
                    <a:pt x="75768" y="106287"/>
                    <a:pt x="109472" y="90495"/>
                    <a:pt x="139325" y="68343"/>
                  </a:cubicBezTo>
                  <a:cubicBezTo>
                    <a:pt x="148794" y="61313"/>
                    <a:pt x="156213" y="52622"/>
                    <a:pt x="163985" y="43895"/>
                  </a:cubicBezTo>
                  <a:cubicBezTo>
                    <a:pt x="197159" y="6729"/>
                    <a:pt x="222314" y="-8710"/>
                    <a:pt x="270750" y="4856"/>
                  </a:cubicBezTo>
                  <a:cubicBezTo>
                    <a:pt x="304384" y="14289"/>
                    <a:pt x="310425" y="44991"/>
                    <a:pt x="304914" y="70322"/>
                  </a:cubicBezTo>
                  <a:cubicBezTo>
                    <a:pt x="302370" y="81910"/>
                    <a:pt x="296788" y="92509"/>
                    <a:pt x="289157" y="101235"/>
                  </a:cubicBezTo>
                  <a:cubicBezTo>
                    <a:pt x="265380" y="128474"/>
                    <a:pt x="254640" y="161542"/>
                    <a:pt x="245914" y="195458"/>
                  </a:cubicBezTo>
                  <a:cubicBezTo>
                    <a:pt x="236799" y="231000"/>
                    <a:pt x="220583" y="262725"/>
                    <a:pt x="196559" y="290318"/>
                  </a:cubicBezTo>
                  <a:cubicBezTo>
                    <a:pt x="164056" y="327661"/>
                    <a:pt x="128832" y="335150"/>
                    <a:pt x="75732" y="316214"/>
                  </a:cubicBezTo>
                  <a:cubicBezTo>
                    <a:pt x="33479" y="301128"/>
                    <a:pt x="-3759" y="262443"/>
                    <a:pt x="304" y="21054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22" name="Freeform: Shape 3721">
              <a:extLst>
                <a:ext uri="{FF2B5EF4-FFF2-40B4-BE49-F238E27FC236}">
                  <a16:creationId xmlns:a16="http://schemas.microsoft.com/office/drawing/2014/main" id="{87622987-3579-D503-5126-84BB3C50B197}"/>
                </a:ext>
              </a:extLst>
            </p:cNvPr>
            <p:cNvSpPr/>
            <p:nvPr/>
          </p:nvSpPr>
          <p:spPr>
            <a:xfrm>
              <a:off x="6892926" y="3948886"/>
              <a:ext cx="153653" cy="336177"/>
            </a:xfrm>
            <a:custGeom>
              <a:avLst/>
              <a:gdLst>
                <a:gd name="connsiteX0" fmla="*/ 10034 w 153653"/>
                <a:gd name="connsiteY0" fmla="*/ 233249 h 336177"/>
                <a:gd name="connsiteX1" fmla="*/ 1449 w 153653"/>
                <a:gd name="connsiteY1" fmla="*/ 118075 h 336177"/>
                <a:gd name="connsiteX2" fmla="*/ 32856 w 153653"/>
                <a:gd name="connsiteY2" fmla="*/ 14843 h 336177"/>
                <a:gd name="connsiteX3" fmla="*/ 107260 w 153653"/>
                <a:gd name="connsiteY3" fmla="*/ 13854 h 336177"/>
                <a:gd name="connsiteX4" fmla="*/ 150256 w 153653"/>
                <a:gd name="connsiteY4" fmla="*/ 101965 h 336177"/>
                <a:gd name="connsiteX5" fmla="*/ 123794 w 153653"/>
                <a:gd name="connsiteY5" fmla="*/ 262148 h 336177"/>
                <a:gd name="connsiteX6" fmla="*/ 91998 w 153653"/>
                <a:gd name="connsiteY6" fmla="*/ 316520 h 336177"/>
                <a:gd name="connsiteX7" fmla="*/ 45752 w 153653"/>
                <a:gd name="connsiteY7" fmla="*/ 334361 h 336177"/>
                <a:gd name="connsiteX8" fmla="*/ 12471 w 153653"/>
                <a:gd name="connsiteY8" fmla="*/ 290270 h 336177"/>
                <a:gd name="connsiteX9" fmla="*/ 10034 w 153653"/>
                <a:gd name="connsiteY9" fmla="*/ 233214 h 33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653" h="336177">
                  <a:moveTo>
                    <a:pt x="10034" y="233249"/>
                  </a:moveTo>
                  <a:cubicBezTo>
                    <a:pt x="11482" y="193468"/>
                    <a:pt x="5335" y="155913"/>
                    <a:pt x="1449" y="118075"/>
                  </a:cubicBezTo>
                  <a:cubicBezTo>
                    <a:pt x="-2473" y="80061"/>
                    <a:pt x="-388" y="43036"/>
                    <a:pt x="32856" y="14843"/>
                  </a:cubicBezTo>
                  <a:cubicBezTo>
                    <a:pt x="55185" y="-4094"/>
                    <a:pt x="84967" y="-5436"/>
                    <a:pt x="107260" y="13854"/>
                  </a:cubicBezTo>
                  <a:cubicBezTo>
                    <a:pt x="134322" y="37277"/>
                    <a:pt x="144073" y="68861"/>
                    <a:pt x="150256" y="101965"/>
                  </a:cubicBezTo>
                  <a:cubicBezTo>
                    <a:pt x="160784" y="158386"/>
                    <a:pt x="145416" y="210885"/>
                    <a:pt x="123794" y="262148"/>
                  </a:cubicBezTo>
                  <a:cubicBezTo>
                    <a:pt x="115562" y="281650"/>
                    <a:pt x="107790" y="301540"/>
                    <a:pt x="91998" y="316520"/>
                  </a:cubicBezTo>
                  <a:cubicBezTo>
                    <a:pt x="79103" y="328744"/>
                    <a:pt x="64971" y="340862"/>
                    <a:pt x="45752" y="334361"/>
                  </a:cubicBezTo>
                  <a:cubicBezTo>
                    <a:pt x="25543" y="327507"/>
                    <a:pt x="15722" y="312281"/>
                    <a:pt x="12471" y="290270"/>
                  </a:cubicBezTo>
                  <a:cubicBezTo>
                    <a:pt x="9539" y="270557"/>
                    <a:pt x="11835" y="251125"/>
                    <a:pt x="10034" y="233214"/>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23" name="Freeform: Shape 3722">
              <a:extLst>
                <a:ext uri="{FF2B5EF4-FFF2-40B4-BE49-F238E27FC236}">
                  <a16:creationId xmlns:a16="http://schemas.microsoft.com/office/drawing/2014/main" id="{157A3798-8F26-3FFF-A6EF-CB5926B74A68}"/>
                </a:ext>
              </a:extLst>
            </p:cNvPr>
            <p:cNvSpPr/>
            <p:nvPr/>
          </p:nvSpPr>
          <p:spPr>
            <a:xfrm>
              <a:off x="6701990" y="4201333"/>
              <a:ext cx="124006" cy="139542"/>
            </a:xfrm>
            <a:custGeom>
              <a:avLst/>
              <a:gdLst>
                <a:gd name="connsiteX0" fmla="*/ 158 w 124006"/>
                <a:gd name="connsiteY0" fmla="*/ 49729 h 139542"/>
                <a:gd name="connsiteX1" fmla="*/ 30011 w 124006"/>
                <a:gd name="connsiteY1" fmla="*/ 5285 h 139542"/>
                <a:gd name="connsiteX2" fmla="*/ 94169 w 124006"/>
                <a:gd name="connsiteY2" fmla="*/ 13729 h 139542"/>
                <a:gd name="connsiteX3" fmla="*/ 119147 w 124006"/>
                <a:gd name="connsiteY3" fmla="*/ 110567 h 139542"/>
                <a:gd name="connsiteX4" fmla="*/ 67425 w 124006"/>
                <a:gd name="connsiteY4" fmla="*/ 137381 h 139542"/>
                <a:gd name="connsiteX5" fmla="*/ 158 w 124006"/>
                <a:gd name="connsiteY5" fmla="*/ 49729 h 13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006" h="139542">
                  <a:moveTo>
                    <a:pt x="158" y="49729"/>
                  </a:moveTo>
                  <a:cubicBezTo>
                    <a:pt x="-690" y="27048"/>
                    <a:pt x="10227" y="12810"/>
                    <a:pt x="30011" y="5285"/>
                  </a:cubicBezTo>
                  <a:cubicBezTo>
                    <a:pt x="52693" y="-3371"/>
                    <a:pt x="74632" y="-1958"/>
                    <a:pt x="94169" y="13729"/>
                  </a:cubicBezTo>
                  <a:cubicBezTo>
                    <a:pt x="119712" y="34290"/>
                    <a:pt x="131336" y="80254"/>
                    <a:pt x="119147" y="110567"/>
                  </a:cubicBezTo>
                  <a:cubicBezTo>
                    <a:pt x="109785" y="133848"/>
                    <a:pt x="90742" y="144447"/>
                    <a:pt x="67425" y="137381"/>
                  </a:cubicBezTo>
                  <a:cubicBezTo>
                    <a:pt x="37642" y="128337"/>
                    <a:pt x="-2845" y="82692"/>
                    <a:pt x="158" y="49729"/>
                  </a:cubicBezTo>
                  <a:close/>
                </a:path>
              </a:pathLst>
            </a:custGeom>
            <a:solidFill>
              <a:srgbClr val="949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3724" name="Rectangle 3723">
            <a:extLst>
              <a:ext uri="{FF2B5EF4-FFF2-40B4-BE49-F238E27FC236}">
                <a16:creationId xmlns:a16="http://schemas.microsoft.com/office/drawing/2014/main" id="{13AEB2A1-DE4D-393E-71BC-558CCAF055DE}"/>
              </a:ext>
            </a:extLst>
          </p:cNvPr>
          <p:cNvSpPr/>
          <p:nvPr/>
        </p:nvSpPr>
        <p:spPr>
          <a:xfrm>
            <a:off x="1454914" y="2695648"/>
            <a:ext cx="1204914" cy="480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umour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l</a:t>
            </a:r>
          </a:p>
        </p:txBody>
      </p:sp>
      <p:sp>
        <p:nvSpPr>
          <p:cNvPr id="3725" name="Rectangle 3724">
            <a:extLst>
              <a:ext uri="{FF2B5EF4-FFF2-40B4-BE49-F238E27FC236}">
                <a16:creationId xmlns:a16="http://schemas.microsoft.com/office/drawing/2014/main" id="{FCA92C6F-1850-8BBF-9BD4-848E31499277}"/>
              </a:ext>
            </a:extLst>
          </p:cNvPr>
          <p:cNvSpPr/>
          <p:nvPr/>
        </p:nvSpPr>
        <p:spPr>
          <a:xfrm>
            <a:off x="2216442" y="4406968"/>
            <a:ext cx="1204914" cy="480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poptosis</a:t>
            </a:r>
          </a:p>
        </p:txBody>
      </p:sp>
      <p:sp>
        <p:nvSpPr>
          <p:cNvPr id="3726" name="Arrow: Right 3725">
            <a:extLst>
              <a:ext uri="{FF2B5EF4-FFF2-40B4-BE49-F238E27FC236}">
                <a16:creationId xmlns:a16="http://schemas.microsoft.com/office/drawing/2014/main" id="{2AD1FA10-7A04-6842-751F-5A3D32200A85}"/>
              </a:ext>
            </a:extLst>
          </p:cNvPr>
          <p:cNvSpPr/>
          <p:nvPr/>
        </p:nvSpPr>
        <p:spPr>
          <a:xfrm rot="5400000">
            <a:off x="1822262" y="3788245"/>
            <a:ext cx="562674" cy="360000"/>
          </a:xfrm>
          <a:prstGeom prst="rightArrow">
            <a:avLst/>
          </a:prstGeom>
          <a:gradFill>
            <a:gsLst>
              <a:gs pos="0">
                <a:schemeClr val="accent1">
                  <a:lumMod val="5000"/>
                  <a:lumOff val="95000"/>
                  <a:alpha val="86000"/>
                </a:schemeClr>
              </a:gs>
              <a:gs pos="74000">
                <a:schemeClr val="accent3"/>
              </a:gs>
              <a:gs pos="83000">
                <a:schemeClr val="accent3"/>
              </a:gs>
              <a:gs pos="100000">
                <a:schemeClr val="accent3">
                  <a:lumMod val="75000"/>
                </a:schemeClr>
              </a:gs>
            </a:gsLst>
            <a:lin ang="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27" name="Arc 3726">
            <a:extLst>
              <a:ext uri="{FF2B5EF4-FFF2-40B4-BE49-F238E27FC236}">
                <a16:creationId xmlns:a16="http://schemas.microsoft.com/office/drawing/2014/main" id="{8A0285FE-F0D5-BDA9-D2E7-634128F61066}"/>
              </a:ext>
            </a:extLst>
          </p:cNvPr>
          <p:cNvSpPr/>
          <p:nvPr/>
        </p:nvSpPr>
        <p:spPr>
          <a:xfrm rot="2678180" flipH="1">
            <a:off x="2470600" y="3726471"/>
            <a:ext cx="537773" cy="349714"/>
          </a:xfrm>
          <a:prstGeom prst="arc">
            <a:avLst>
              <a:gd name="adj1" fmla="val 16200000"/>
              <a:gd name="adj2" fmla="val 4889359"/>
            </a:avLst>
          </a:prstGeom>
          <a:ln w="12700">
            <a:solidFill>
              <a:schemeClr val="tx1"/>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3728" name="Group 3727">
            <a:extLst>
              <a:ext uri="{FF2B5EF4-FFF2-40B4-BE49-F238E27FC236}">
                <a16:creationId xmlns:a16="http://schemas.microsoft.com/office/drawing/2014/main" id="{5925C2B1-BD64-8BE1-11B4-218AEBAAB2F7}"/>
              </a:ext>
            </a:extLst>
          </p:cNvPr>
          <p:cNvGrpSpPr/>
          <p:nvPr/>
        </p:nvGrpSpPr>
        <p:grpSpPr>
          <a:xfrm>
            <a:off x="2330532" y="3805456"/>
            <a:ext cx="1204914" cy="605095"/>
            <a:chOff x="2285981" y="3602531"/>
            <a:chExt cx="1204914" cy="605095"/>
          </a:xfrm>
        </p:grpSpPr>
        <p:sp>
          <p:nvSpPr>
            <p:cNvPr id="3729" name="Rectangle 3728">
              <a:extLst>
                <a:ext uri="{FF2B5EF4-FFF2-40B4-BE49-F238E27FC236}">
                  <a16:creationId xmlns:a16="http://schemas.microsoft.com/office/drawing/2014/main" id="{043B766A-B37C-58EE-83BF-F8DF5745635E}"/>
                </a:ext>
              </a:extLst>
            </p:cNvPr>
            <p:cNvSpPr/>
            <p:nvPr/>
          </p:nvSpPr>
          <p:spPr>
            <a:xfrm>
              <a:off x="2285981" y="3727231"/>
              <a:ext cx="1204914" cy="480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nnot bind</a:t>
              </a:r>
            </a:p>
          </p:txBody>
        </p:sp>
        <p:sp>
          <p:nvSpPr>
            <p:cNvPr id="3730" name="Oval 3729">
              <a:extLst>
                <a:ext uri="{FF2B5EF4-FFF2-40B4-BE49-F238E27FC236}">
                  <a16:creationId xmlns:a16="http://schemas.microsoft.com/office/drawing/2014/main" id="{5EA66C4F-C692-9719-29C6-2C65E4D9F097}"/>
                </a:ext>
              </a:extLst>
            </p:cNvPr>
            <p:cNvSpPr/>
            <p:nvPr/>
          </p:nvSpPr>
          <p:spPr bwMode="auto">
            <a:xfrm rot="3550153">
              <a:off x="2798917" y="3602531"/>
              <a:ext cx="144000" cy="144000"/>
            </a:xfrm>
            <a:prstGeom prst="ellipse">
              <a:avLst/>
            </a:prstGeom>
            <a:gradFill>
              <a:gsLst>
                <a:gs pos="0">
                  <a:schemeClr val="accent1">
                    <a:lumMod val="5000"/>
                    <a:lumOff val="95000"/>
                  </a:schemeClr>
                </a:gs>
                <a:gs pos="74000">
                  <a:schemeClr val="accent1"/>
                </a:gs>
                <a:gs pos="83000">
                  <a:schemeClr val="accent1"/>
                </a:gs>
              </a:gsLst>
              <a:lin ang="0" scaled="1"/>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itchFamily="-110" charset="0"/>
              </a:endParaRPr>
            </a:p>
          </p:txBody>
        </p:sp>
      </p:grpSp>
      <p:sp>
        <p:nvSpPr>
          <p:cNvPr id="3731" name="Rectangle: Rounded Corners 3730">
            <a:extLst>
              <a:ext uri="{FF2B5EF4-FFF2-40B4-BE49-F238E27FC236}">
                <a16:creationId xmlns:a16="http://schemas.microsoft.com/office/drawing/2014/main" id="{1EE24429-F218-03C4-3E5D-2CE05D330BBF}"/>
              </a:ext>
            </a:extLst>
          </p:cNvPr>
          <p:cNvSpPr/>
          <p:nvPr/>
        </p:nvSpPr>
        <p:spPr>
          <a:xfrm>
            <a:off x="2506714" y="2325370"/>
            <a:ext cx="1100197" cy="39706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zertinib</a:t>
            </a:r>
          </a:p>
        </p:txBody>
      </p:sp>
      <p:grpSp>
        <p:nvGrpSpPr>
          <p:cNvPr id="3732" name="Group 3731">
            <a:extLst>
              <a:ext uri="{FF2B5EF4-FFF2-40B4-BE49-F238E27FC236}">
                <a16:creationId xmlns:a16="http://schemas.microsoft.com/office/drawing/2014/main" id="{4EBC856B-B59C-F33A-AC2D-851FBC82E38D}"/>
              </a:ext>
            </a:extLst>
          </p:cNvPr>
          <p:cNvGrpSpPr/>
          <p:nvPr/>
        </p:nvGrpSpPr>
        <p:grpSpPr>
          <a:xfrm>
            <a:off x="2153351" y="1634831"/>
            <a:ext cx="1383911" cy="261647"/>
            <a:chOff x="2108800" y="1431906"/>
            <a:chExt cx="1383911" cy="261647"/>
          </a:xfrm>
        </p:grpSpPr>
        <p:sp>
          <p:nvSpPr>
            <p:cNvPr id="3733" name="Rectangle 3732">
              <a:extLst>
                <a:ext uri="{FF2B5EF4-FFF2-40B4-BE49-F238E27FC236}">
                  <a16:creationId xmlns:a16="http://schemas.microsoft.com/office/drawing/2014/main" id="{C96EF568-7D4E-0073-04E8-6E15D2A79AF8}"/>
                </a:ext>
              </a:extLst>
            </p:cNvPr>
            <p:cNvSpPr/>
            <p:nvPr/>
          </p:nvSpPr>
          <p:spPr>
            <a:xfrm>
              <a:off x="2287797" y="1431906"/>
              <a:ext cx="1204914" cy="224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ivantamab</a:t>
              </a:r>
            </a:p>
          </p:txBody>
        </p:sp>
        <p:grpSp>
          <p:nvGrpSpPr>
            <p:cNvPr id="3734" name="Group 3733">
              <a:extLst>
                <a:ext uri="{FF2B5EF4-FFF2-40B4-BE49-F238E27FC236}">
                  <a16:creationId xmlns:a16="http://schemas.microsoft.com/office/drawing/2014/main" id="{DC18A940-B32E-1345-4110-872678A296C5}"/>
                </a:ext>
              </a:extLst>
            </p:cNvPr>
            <p:cNvGrpSpPr/>
            <p:nvPr/>
          </p:nvGrpSpPr>
          <p:grpSpPr>
            <a:xfrm>
              <a:off x="2108800" y="1553888"/>
              <a:ext cx="288000" cy="139665"/>
              <a:chOff x="2108800" y="1553888"/>
              <a:chExt cx="288000" cy="139665"/>
            </a:xfrm>
          </p:grpSpPr>
          <p:cxnSp>
            <p:nvCxnSpPr>
              <p:cNvPr id="3735" name="Straight Connector 3734">
                <a:extLst>
                  <a:ext uri="{FF2B5EF4-FFF2-40B4-BE49-F238E27FC236}">
                    <a16:creationId xmlns:a16="http://schemas.microsoft.com/office/drawing/2014/main" id="{D63B5297-6341-DA6C-97A4-35038AB4949D}"/>
                  </a:ext>
                </a:extLst>
              </p:cNvPr>
              <p:cNvCxnSpPr>
                <a:cxnSpLocks/>
              </p:cNvCxnSpPr>
              <p:nvPr/>
            </p:nvCxnSpPr>
            <p:spPr>
              <a:xfrm>
                <a:off x="2108800" y="1556269"/>
                <a:ext cx="288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736" name="Straight Connector 3735">
                <a:extLst>
                  <a:ext uri="{FF2B5EF4-FFF2-40B4-BE49-F238E27FC236}">
                    <a16:creationId xmlns:a16="http://schemas.microsoft.com/office/drawing/2014/main" id="{FEC66117-4115-754D-E14B-9B22A8F08326}"/>
                  </a:ext>
                </a:extLst>
              </p:cNvPr>
              <p:cNvCxnSpPr>
                <a:cxnSpLocks/>
              </p:cNvCxnSpPr>
              <p:nvPr/>
            </p:nvCxnSpPr>
            <p:spPr>
              <a:xfrm flipH="1" flipV="1">
                <a:off x="2108800" y="1553888"/>
                <a:ext cx="0" cy="13966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sp>
        <p:nvSpPr>
          <p:cNvPr id="3737" name="Rectangle 3736">
            <a:extLst>
              <a:ext uri="{FF2B5EF4-FFF2-40B4-BE49-F238E27FC236}">
                <a16:creationId xmlns:a16="http://schemas.microsoft.com/office/drawing/2014/main" id="{FEB27ADB-51F1-ED1A-BFBF-551CAE1E9908}"/>
              </a:ext>
            </a:extLst>
          </p:cNvPr>
          <p:cNvSpPr/>
          <p:nvPr/>
        </p:nvSpPr>
        <p:spPr>
          <a:xfrm>
            <a:off x="4119559" y="1098471"/>
            <a:ext cx="3345956" cy="430887"/>
          </a:xfrm>
          <a:prstGeom prst="rect">
            <a:avLst/>
          </a:prstGeom>
          <a:noFill/>
        </p:spPr>
        <p:txBody>
          <a:bodyPr wrap="square" lIns="108000" tIns="0" rIns="108000" bIns="0" anchor="ctr" anchorCtr="0">
            <a:no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ceptor degradation </a:t>
            </a:r>
            <a:b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ia amivantamab</a:t>
            </a:r>
            <a:r>
              <a:rPr kumimoji="0" lang="en-GB" sz="14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2</a:t>
            </a:r>
          </a:p>
        </p:txBody>
      </p:sp>
      <p:grpSp>
        <p:nvGrpSpPr>
          <p:cNvPr id="4036" name="Group 4035">
            <a:extLst>
              <a:ext uri="{FF2B5EF4-FFF2-40B4-BE49-F238E27FC236}">
                <a16:creationId xmlns:a16="http://schemas.microsoft.com/office/drawing/2014/main" id="{86C1A583-C864-9ED5-3533-149397168DE0}"/>
              </a:ext>
            </a:extLst>
          </p:cNvPr>
          <p:cNvGrpSpPr/>
          <p:nvPr/>
        </p:nvGrpSpPr>
        <p:grpSpPr>
          <a:xfrm>
            <a:off x="2227629" y="2395903"/>
            <a:ext cx="467626" cy="129773"/>
            <a:chOff x="2183078" y="2192978"/>
            <a:chExt cx="467626" cy="129773"/>
          </a:xfrm>
        </p:grpSpPr>
        <p:cxnSp>
          <p:nvCxnSpPr>
            <p:cNvPr id="4037" name="Straight Connector 4036">
              <a:extLst>
                <a:ext uri="{FF2B5EF4-FFF2-40B4-BE49-F238E27FC236}">
                  <a16:creationId xmlns:a16="http://schemas.microsoft.com/office/drawing/2014/main" id="{83641EC2-B7E9-D03C-C36B-17491C28C633}"/>
                </a:ext>
              </a:extLst>
            </p:cNvPr>
            <p:cNvCxnSpPr>
              <a:cxnSpLocks/>
            </p:cNvCxnSpPr>
            <p:nvPr/>
          </p:nvCxnSpPr>
          <p:spPr>
            <a:xfrm>
              <a:off x="2183078" y="2322751"/>
              <a:ext cx="467626"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4038" name="Straight Connector 4037">
              <a:extLst>
                <a:ext uri="{FF2B5EF4-FFF2-40B4-BE49-F238E27FC236}">
                  <a16:creationId xmlns:a16="http://schemas.microsoft.com/office/drawing/2014/main" id="{1BE8ED81-5BC6-D1F1-548C-23ECB2492E9B}"/>
                </a:ext>
              </a:extLst>
            </p:cNvPr>
            <p:cNvCxnSpPr>
              <a:cxnSpLocks/>
            </p:cNvCxnSpPr>
            <p:nvPr/>
          </p:nvCxnSpPr>
          <p:spPr>
            <a:xfrm flipH="1" flipV="1">
              <a:off x="2189014" y="2192978"/>
              <a:ext cx="0" cy="126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4039" name="Group 4038">
            <a:extLst>
              <a:ext uri="{FF2B5EF4-FFF2-40B4-BE49-F238E27FC236}">
                <a16:creationId xmlns:a16="http://schemas.microsoft.com/office/drawing/2014/main" id="{872E22D2-DBAB-83E0-CCDF-CC1A5DF3DD07}"/>
              </a:ext>
            </a:extLst>
          </p:cNvPr>
          <p:cNvGrpSpPr/>
          <p:nvPr/>
        </p:nvGrpSpPr>
        <p:grpSpPr>
          <a:xfrm>
            <a:off x="2232169" y="2063207"/>
            <a:ext cx="1100197" cy="397065"/>
            <a:chOff x="2187618" y="1860282"/>
            <a:chExt cx="1100197" cy="397065"/>
          </a:xfrm>
        </p:grpSpPr>
        <p:sp>
          <p:nvSpPr>
            <p:cNvPr id="4040" name="Rectangle: Rounded Corners 4039">
              <a:extLst>
                <a:ext uri="{FF2B5EF4-FFF2-40B4-BE49-F238E27FC236}">
                  <a16:creationId xmlns:a16="http://schemas.microsoft.com/office/drawing/2014/main" id="{07FC1DB6-6D2F-4EA3-3C0E-95EEAB84B7B1}"/>
                </a:ext>
              </a:extLst>
            </p:cNvPr>
            <p:cNvSpPr/>
            <p:nvPr/>
          </p:nvSpPr>
          <p:spPr>
            <a:xfrm>
              <a:off x="2187618" y="1860282"/>
              <a:ext cx="1100197" cy="39706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EGFR</a:t>
              </a:r>
            </a:p>
          </p:txBody>
        </p:sp>
        <p:cxnSp>
          <p:nvCxnSpPr>
            <p:cNvPr id="4041" name="Straight Connector 4040">
              <a:extLst>
                <a:ext uri="{FF2B5EF4-FFF2-40B4-BE49-F238E27FC236}">
                  <a16:creationId xmlns:a16="http://schemas.microsoft.com/office/drawing/2014/main" id="{71F39344-B6FF-7652-97B2-7467CC36F340}"/>
                </a:ext>
              </a:extLst>
            </p:cNvPr>
            <p:cNvCxnSpPr>
              <a:cxnSpLocks/>
            </p:cNvCxnSpPr>
            <p:nvPr/>
          </p:nvCxnSpPr>
          <p:spPr>
            <a:xfrm>
              <a:off x="2251179" y="2056499"/>
              <a:ext cx="252000" cy="0"/>
            </a:xfrm>
            <a:prstGeom prst="line">
              <a:avLst/>
            </a:prstGeom>
            <a:ln w="12700">
              <a:solidFill>
                <a:schemeClr val="accent1"/>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4042" name="Group 4041">
            <a:extLst>
              <a:ext uri="{FF2B5EF4-FFF2-40B4-BE49-F238E27FC236}">
                <a16:creationId xmlns:a16="http://schemas.microsoft.com/office/drawing/2014/main" id="{1A2A7592-2FDD-CA58-3107-85D791BEE201}"/>
              </a:ext>
            </a:extLst>
          </p:cNvPr>
          <p:cNvGrpSpPr/>
          <p:nvPr/>
        </p:nvGrpSpPr>
        <p:grpSpPr>
          <a:xfrm>
            <a:off x="4083051" y="5130078"/>
            <a:ext cx="3462586" cy="1175251"/>
            <a:chOff x="4127400" y="4927153"/>
            <a:chExt cx="3462586" cy="1175251"/>
          </a:xfrm>
        </p:grpSpPr>
        <p:sp>
          <p:nvSpPr>
            <p:cNvPr id="4043" name="Isosceles Triangle 4042">
              <a:extLst>
                <a:ext uri="{FF2B5EF4-FFF2-40B4-BE49-F238E27FC236}">
                  <a16:creationId xmlns:a16="http://schemas.microsoft.com/office/drawing/2014/main" id="{B0A8E94C-09E2-67A1-D641-4B103A9F1E38}"/>
                </a:ext>
              </a:extLst>
            </p:cNvPr>
            <p:cNvSpPr/>
            <p:nvPr/>
          </p:nvSpPr>
          <p:spPr>
            <a:xfrm>
              <a:off x="5109815" y="4927153"/>
              <a:ext cx="1497757" cy="41851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44" name="TextBox 4043">
              <a:extLst>
                <a:ext uri="{FF2B5EF4-FFF2-40B4-BE49-F238E27FC236}">
                  <a16:creationId xmlns:a16="http://schemas.microsoft.com/office/drawing/2014/main" id="{4AEE419E-3072-4FFC-E433-F89DC34D0F5E}"/>
                </a:ext>
              </a:extLst>
            </p:cNvPr>
            <p:cNvSpPr txBox="1"/>
            <p:nvPr/>
          </p:nvSpPr>
          <p:spPr>
            <a:xfrm>
              <a:off x="4127400" y="5057177"/>
              <a:ext cx="3462586" cy="1045227"/>
            </a:xfrm>
            <a:prstGeom prst="rect">
              <a:avLst/>
            </a:prstGeom>
            <a:solidFill>
              <a:schemeClr val="accent1"/>
            </a:solidFill>
            <a:effectLst>
              <a:outerShdw blurRad="50800" dist="38100" dir="2700000" algn="tl" rotWithShape="0">
                <a:prstClr val="black">
                  <a:alpha val="40000"/>
                </a:prstClr>
              </a:outerShdw>
            </a:effectLst>
          </p:spPr>
          <p:txBody>
            <a:bodyPr wrap="square" lIns="72000" tIns="0" rIns="0" bIns="0" anchor="ctr" anchorCtr="0">
              <a:noAutofit/>
            </a:bodyPr>
            <a:lstStyle>
              <a:defPPr>
                <a:defRPr lang="en-US"/>
              </a:defPPr>
              <a:lvl1pPr defTabSz="761970">
                <a:spcBef>
                  <a:spcPct val="0"/>
                </a:spcBef>
                <a:defRPr sz="1100">
                  <a:solidFill>
                    <a:schemeClr val="bg2"/>
                  </a:solidFill>
                  <a:ea typeface="ヒラギノ角ゴ ProN W3" pitchFamily="-110" charset="-128"/>
                </a:defRPr>
              </a:lvl1pPr>
            </a:lstStyle>
            <a:p>
              <a:pPr marL="0" marR="0" lvl="0" indent="0" algn="l" defTabSz="761970" rtl="0" eaLnBrk="1" fontAlgn="auto" latinLnBrk="0" hangingPunct="1">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Amivantamab binding triggers EGFR and MET receptor degradation by the tumour cell, </a:t>
              </a:r>
              <a:b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b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leading to receptor inactivation</a:t>
              </a:r>
              <a:r>
                <a:rPr kumimoji="0" lang="en-GB" sz="1200" b="0" i="0" u="none" strike="noStrike" kern="1200" cap="none" spc="0" normalizeH="0" baseline="3000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2</a:t>
              </a:r>
            </a:p>
          </p:txBody>
        </p:sp>
      </p:grpSp>
      <p:grpSp>
        <p:nvGrpSpPr>
          <p:cNvPr id="4045" name="Group 4044">
            <a:extLst>
              <a:ext uri="{FF2B5EF4-FFF2-40B4-BE49-F238E27FC236}">
                <a16:creationId xmlns:a16="http://schemas.microsoft.com/office/drawing/2014/main" id="{1CCE9538-1891-31A8-14F7-E0D96705033A}"/>
              </a:ext>
            </a:extLst>
          </p:cNvPr>
          <p:cNvGrpSpPr/>
          <p:nvPr/>
        </p:nvGrpSpPr>
        <p:grpSpPr>
          <a:xfrm>
            <a:off x="398452" y="5130078"/>
            <a:ext cx="3431146" cy="1170535"/>
            <a:chOff x="442801" y="4927153"/>
            <a:chExt cx="3431146" cy="1170535"/>
          </a:xfrm>
        </p:grpSpPr>
        <p:sp>
          <p:nvSpPr>
            <p:cNvPr id="4046" name="Isosceles Triangle 4045">
              <a:extLst>
                <a:ext uri="{FF2B5EF4-FFF2-40B4-BE49-F238E27FC236}">
                  <a16:creationId xmlns:a16="http://schemas.microsoft.com/office/drawing/2014/main" id="{AA3D3FA2-DC63-AA88-8A2F-A6AC17D95592}"/>
                </a:ext>
              </a:extLst>
            </p:cNvPr>
            <p:cNvSpPr/>
            <p:nvPr/>
          </p:nvSpPr>
          <p:spPr>
            <a:xfrm>
              <a:off x="1393776" y="4927153"/>
              <a:ext cx="1497757" cy="41851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47" name="TextBox 4046">
              <a:extLst>
                <a:ext uri="{FF2B5EF4-FFF2-40B4-BE49-F238E27FC236}">
                  <a16:creationId xmlns:a16="http://schemas.microsoft.com/office/drawing/2014/main" id="{664BBCAE-95EA-1ED8-4367-F202069BFDA8}"/>
                </a:ext>
              </a:extLst>
            </p:cNvPr>
            <p:cNvSpPr txBox="1"/>
            <p:nvPr/>
          </p:nvSpPr>
          <p:spPr>
            <a:xfrm>
              <a:off x="442801" y="5057178"/>
              <a:ext cx="3431146" cy="1040510"/>
            </a:xfrm>
            <a:prstGeom prst="rect">
              <a:avLst/>
            </a:prstGeom>
            <a:solidFill>
              <a:schemeClr val="accent1"/>
            </a:solidFill>
            <a:effectLst>
              <a:outerShdw blurRad="50800" dist="38100" dir="2700000" algn="tl" rotWithShape="0">
                <a:prstClr val="black">
                  <a:alpha val="40000"/>
                </a:prstClr>
              </a:outerShdw>
            </a:effectLst>
          </p:spPr>
          <p:txBody>
            <a:bodyPr wrap="square" lIns="72000" tIns="0" rIns="0" bIns="0" anchor="ctr" anchorCtr="0">
              <a:noAutofit/>
            </a:bodyPr>
            <a:lstStyle>
              <a:defPPr>
                <a:defRPr lang="en-US"/>
              </a:defPPr>
              <a:lvl1pPr defTabSz="761970">
                <a:spcBef>
                  <a:spcPct val="0"/>
                </a:spcBef>
                <a:defRPr sz="1100">
                  <a:solidFill>
                    <a:schemeClr val="bg2"/>
                  </a:solidFill>
                  <a:ea typeface="ヒラギノ角ゴ ProN W3" pitchFamily="-110" charset="-128"/>
                </a:defRPr>
              </a:lvl1pPr>
            </a:lstStyle>
            <a:p>
              <a:pPr marL="0" marR="0" lvl="0" indent="0" algn="l" defTabSz="761970" rtl="0" eaLnBrk="1" fontAlgn="auto" latinLnBrk="0" hangingPunct="1">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Synergistic extra- and intracellular binding </a:t>
              </a:r>
              <a:b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b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to EGFR by amivantamab and lazertinib, respectively;</a:t>
              </a:r>
              <a:r>
                <a:rPr kumimoji="0" lang="en-GB" sz="1200" b="0" i="0" u="none" strike="noStrike" kern="1200" cap="none" spc="0" normalizeH="0" baseline="3000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2,3 </a:t>
              </a: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and extracellular binding to </a:t>
              </a:r>
              <a:b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b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MET by amivantamab</a:t>
              </a:r>
              <a:r>
                <a:rPr kumimoji="0" lang="en-GB" sz="1200" b="0" i="0" u="none" strike="noStrike" kern="1200" cap="none" spc="0" normalizeH="0" baseline="3000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2</a:t>
              </a: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endParaRPr>
            </a:p>
          </p:txBody>
        </p:sp>
      </p:grpSp>
      <p:grpSp>
        <p:nvGrpSpPr>
          <p:cNvPr id="4048" name="Group 4047">
            <a:extLst>
              <a:ext uri="{FF2B5EF4-FFF2-40B4-BE49-F238E27FC236}">
                <a16:creationId xmlns:a16="http://schemas.microsoft.com/office/drawing/2014/main" id="{AE79CC18-FAAD-EC40-D267-D51C48A6F0BA}"/>
              </a:ext>
            </a:extLst>
          </p:cNvPr>
          <p:cNvGrpSpPr/>
          <p:nvPr/>
        </p:nvGrpSpPr>
        <p:grpSpPr>
          <a:xfrm>
            <a:off x="7783181" y="5130078"/>
            <a:ext cx="4053882" cy="1180193"/>
            <a:chOff x="7827530" y="4927153"/>
            <a:chExt cx="4053882" cy="1180193"/>
          </a:xfrm>
        </p:grpSpPr>
        <p:sp>
          <p:nvSpPr>
            <p:cNvPr id="4049" name="Isosceles Triangle 4048">
              <a:extLst>
                <a:ext uri="{FF2B5EF4-FFF2-40B4-BE49-F238E27FC236}">
                  <a16:creationId xmlns:a16="http://schemas.microsoft.com/office/drawing/2014/main" id="{F1FD9CD7-F901-4707-63B2-BF0AD3191441}"/>
                </a:ext>
              </a:extLst>
            </p:cNvPr>
            <p:cNvSpPr/>
            <p:nvPr/>
          </p:nvSpPr>
          <p:spPr>
            <a:xfrm>
              <a:off x="9105593" y="4927153"/>
              <a:ext cx="1497757" cy="41851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50" name="TextBox 4049">
              <a:extLst>
                <a:ext uri="{FF2B5EF4-FFF2-40B4-BE49-F238E27FC236}">
                  <a16:creationId xmlns:a16="http://schemas.microsoft.com/office/drawing/2014/main" id="{A67A5977-F79E-96F0-162B-C704829A1E30}"/>
                </a:ext>
              </a:extLst>
            </p:cNvPr>
            <p:cNvSpPr txBox="1"/>
            <p:nvPr/>
          </p:nvSpPr>
          <p:spPr>
            <a:xfrm>
              <a:off x="7827530" y="5057177"/>
              <a:ext cx="4053882" cy="1050169"/>
            </a:xfrm>
            <a:prstGeom prst="rect">
              <a:avLst/>
            </a:prstGeom>
            <a:solidFill>
              <a:schemeClr val="accent1"/>
            </a:solidFill>
            <a:effectLst>
              <a:outerShdw blurRad="50800" dist="38100" dir="2700000" algn="tl" rotWithShape="0">
                <a:prstClr val="black">
                  <a:alpha val="40000"/>
                </a:prstClr>
              </a:outerShdw>
            </a:effectLst>
          </p:spPr>
          <p:txBody>
            <a:bodyPr wrap="square" lIns="72000" tIns="0" rIns="0" bIns="0" anchor="ctr" anchorCtr="0">
              <a:noAutofit/>
            </a:bodyPr>
            <a:lstStyle/>
            <a:p>
              <a:pPr marL="0" marR="0" lvl="0" indent="0" algn="l" defTabSz="761970" rtl="0" eaLnBrk="1" fontAlgn="auto" latinLnBrk="0" hangingPunct="1">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Amivantamab binds to the Fc gamma receptors-IIIa/</a:t>
              </a:r>
              <a:b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b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CD16a on effector cells, with its immune-mediated </a:t>
              </a:r>
              <a:b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b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activity leading to improved destruction of tumour cells</a:t>
              </a:r>
              <a:r>
                <a:rPr kumimoji="0" lang="en-GB" sz="1200" b="0" i="0" u="none" strike="noStrike" kern="1200" cap="none" spc="0" normalizeH="0" baseline="3000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rPr>
                <a:t>2</a:t>
              </a: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pitchFamily="-110" charset="-128"/>
                <a:cs typeface="Arial" panose="020B0604020202020204" pitchFamily="34" charset="0"/>
                <a:sym typeface="Arial" pitchFamily="-110" charset="0"/>
              </a:endParaRPr>
            </a:p>
          </p:txBody>
        </p:sp>
      </p:grpSp>
      <p:grpSp>
        <p:nvGrpSpPr>
          <p:cNvPr id="4193" name="Group 4192">
            <a:extLst>
              <a:ext uri="{FF2B5EF4-FFF2-40B4-BE49-F238E27FC236}">
                <a16:creationId xmlns:a16="http://schemas.microsoft.com/office/drawing/2014/main" id="{9AD5B7DC-A100-CF38-F77B-640A6015ED45}"/>
              </a:ext>
            </a:extLst>
          </p:cNvPr>
          <p:cNvGrpSpPr/>
          <p:nvPr/>
        </p:nvGrpSpPr>
        <p:grpSpPr>
          <a:xfrm>
            <a:off x="4473758" y="1999379"/>
            <a:ext cx="2361629" cy="2329634"/>
            <a:chOff x="4591796" y="1851246"/>
            <a:chExt cx="2361629" cy="2329634"/>
          </a:xfrm>
        </p:grpSpPr>
        <p:grpSp>
          <p:nvGrpSpPr>
            <p:cNvPr id="4194" name="Group 4193">
              <a:extLst>
                <a:ext uri="{FF2B5EF4-FFF2-40B4-BE49-F238E27FC236}">
                  <a16:creationId xmlns:a16="http://schemas.microsoft.com/office/drawing/2014/main" id="{C8F2E80F-3DC3-58FC-6A90-782CFA99D406}"/>
                </a:ext>
              </a:extLst>
            </p:cNvPr>
            <p:cNvGrpSpPr/>
            <p:nvPr/>
          </p:nvGrpSpPr>
          <p:grpSpPr>
            <a:xfrm>
              <a:off x="4995649" y="1851246"/>
              <a:ext cx="1957776" cy="1897149"/>
              <a:chOff x="5449384" y="2018601"/>
              <a:chExt cx="1374680" cy="1332110"/>
            </a:xfrm>
          </p:grpSpPr>
          <p:sp>
            <p:nvSpPr>
              <p:cNvPr id="4197" name="Freeform: Shape 4196">
                <a:extLst>
                  <a:ext uri="{FF2B5EF4-FFF2-40B4-BE49-F238E27FC236}">
                    <a16:creationId xmlns:a16="http://schemas.microsoft.com/office/drawing/2014/main" id="{E79B6363-D182-D274-8355-4C4BCBE6BDBC}"/>
                  </a:ext>
                </a:extLst>
              </p:cNvPr>
              <p:cNvSpPr/>
              <p:nvPr/>
            </p:nvSpPr>
            <p:spPr>
              <a:xfrm>
                <a:off x="5557821" y="2161907"/>
                <a:ext cx="1133904" cy="1081097"/>
              </a:xfrm>
              <a:custGeom>
                <a:avLst/>
                <a:gdLst>
                  <a:gd name="connsiteX0" fmla="*/ 1449985 w 1477099"/>
                  <a:gd name="connsiteY0" fmla="*/ 526913 h 1408309"/>
                  <a:gd name="connsiteX1" fmla="*/ 1463163 w 1477099"/>
                  <a:gd name="connsiteY1" fmla="*/ 578388 h 1408309"/>
                  <a:gd name="connsiteX2" fmla="*/ 1463269 w 1477099"/>
                  <a:gd name="connsiteY2" fmla="*/ 681373 h 1408309"/>
                  <a:gd name="connsiteX3" fmla="*/ 1457510 w 1477099"/>
                  <a:gd name="connsiteY3" fmla="*/ 702641 h 1408309"/>
                  <a:gd name="connsiteX4" fmla="*/ 1462385 w 1477099"/>
                  <a:gd name="connsiteY4" fmla="*/ 771569 h 1408309"/>
                  <a:gd name="connsiteX5" fmla="*/ 1448748 w 1477099"/>
                  <a:gd name="connsiteY5" fmla="*/ 924686 h 1408309"/>
                  <a:gd name="connsiteX6" fmla="*/ 1420732 w 1477099"/>
                  <a:gd name="connsiteY6" fmla="*/ 983156 h 1408309"/>
                  <a:gd name="connsiteX7" fmla="*/ 1403173 w 1477099"/>
                  <a:gd name="connsiteY7" fmla="*/ 1075896 h 1408309"/>
                  <a:gd name="connsiteX8" fmla="*/ 1400064 w 1477099"/>
                  <a:gd name="connsiteY8" fmla="*/ 1154786 h 1408309"/>
                  <a:gd name="connsiteX9" fmla="*/ 1353395 w 1477099"/>
                  <a:gd name="connsiteY9" fmla="*/ 1203647 h 1408309"/>
                  <a:gd name="connsiteX10" fmla="*/ 1288636 w 1477099"/>
                  <a:gd name="connsiteY10" fmla="*/ 1217284 h 1408309"/>
                  <a:gd name="connsiteX11" fmla="*/ 1269629 w 1477099"/>
                  <a:gd name="connsiteY11" fmla="*/ 1227247 h 1408309"/>
                  <a:gd name="connsiteX12" fmla="*/ 1238150 w 1477099"/>
                  <a:gd name="connsiteY12" fmla="*/ 1255404 h 1408309"/>
                  <a:gd name="connsiteX13" fmla="*/ 1215328 w 1477099"/>
                  <a:gd name="connsiteY13" fmla="*/ 1279040 h 1408309"/>
                  <a:gd name="connsiteX14" fmla="*/ 1156540 w 1477099"/>
                  <a:gd name="connsiteY14" fmla="*/ 1301827 h 1408309"/>
                  <a:gd name="connsiteX15" fmla="*/ 1104181 w 1477099"/>
                  <a:gd name="connsiteY15" fmla="*/ 1313910 h 1408309"/>
                  <a:gd name="connsiteX16" fmla="*/ 986641 w 1477099"/>
                  <a:gd name="connsiteY16" fmla="*/ 1380082 h 1408309"/>
                  <a:gd name="connsiteX17" fmla="*/ 876484 w 1477099"/>
                  <a:gd name="connsiteY17" fmla="*/ 1404282 h 1408309"/>
                  <a:gd name="connsiteX18" fmla="*/ 763889 w 1477099"/>
                  <a:gd name="connsiteY18" fmla="*/ 1383897 h 1408309"/>
                  <a:gd name="connsiteX19" fmla="*/ 753184 w 1477099"/>
                  <a:gd name="connsiteY19" fmla="*/ 1382413 h 1408309"/>
                  <a:gd name="connsiteX20" fmla="*/ 686165 w 1477099"/>
                  <a:gd name="connsiteY20" fmla="*/ 1400431 h 1408309"/>
                  <a:gd name="connsiteX21" fmla="*/ 540325 w 1477099"/>
                  <a:gd name="connsiteY21" fmla="*/ 1385028 h 1408309"/>
                  <a:gd name="connsiteX22" fmla="*/ 483940 w 1477099"/>
                  <a:gd name="connsiteY22" fmla="*/ 1345247 h 1408309"/>
                  <a:gd name="connsiteX23" fmla="*/ 472811 w 1477099"/>
                  <a:gd name="connsiteY23" fmla="*/ 1340124 h 1408309"/>
                  <a:gd name="connsiteX24" fmla="*/ 415683 w 1477099"/>
                  <a:gd name="connsiteY24" fmla="*/ 1311684 h 1408309"/>
                  <a:gd name="connsiteX25" fmla="*/ 400668 w 1477099"/>
                  <a:gd name="connsiteY25" fmla="*/ 1302145 h 1408309"/>
                  <a:gd name="connsiteX26" fmla="*/ 368059 w 1477099"/>
                  <a:gd name="connsiteY26" fmla="*/ 1283350 h 1408309"/>
                  <a:gd name="connsiteX27" fmla="*/ 324710 w 1477099"/>
                  <a:gd name="connsiteY27" fmla="*/ 1257913 h 1408309"/>
                  <a:gd name="connsiteX28" fmla="*/ 203177 w 1477099"/>
                  <a:gd name="connsiteY28" fmla="*/ 1193013 h 1408309"/>
                  <a:gd name="connsiteX29" fmla="*/ 168978 w 1477099"/>
                  <a:gd name="connsiteY29" fmla="*/ 1144294 h 1408309"/>
                  <a:gd name="connsiteX30" fmla="*/ 158132 w 1477099"/>
                  <a:gd name="connsiteY30" fmla="*/ 1134613 h 1408309"/>
                  <a:gd name="connsiteX31" fmla="*/ 97931 w 1477099"/>
                  <a:gd name="connsiteY31" fmla="*/ 1047915 h 1408309"/>
                  <a:gd name="connsiteX32" fmla="*/ 98284 w 1477099"/>
                  <a:gd name="connsiteY32" fmla="*/ 1042616 h 1408309"/>
                  <a:gd name="connsiteX33" fmla="*/ 81467 w 1477099"/>
                  <a:gd name="connsiteY33" fmla="*/ 999655 h 1408309"/>
                  <a:gd name="connsiteX34" fmla="*/ 54087 w 1477099"/>
                  <a:gd name="connsiteY34" fmla="*/ 906810 h 1408309"/>
                  <a:gd name="connsiteX35" fmla="*/ 37271 w 1477099"/>
                  <a:gd name="connsiteY35" fmla="*/ 868089 h 1408309"/>
                  <a:gd name="connsiteX36" fmla="*/ 2966 w 1477099"/>
                  <a:gd name="connsiteY36" fmla="*/ 794392 h 1408309"/>
                  <a:gd name="connsiteX37" fmla="*/ 139 w 1477099"/>
                  <a:gd name="connsiteY37" fmla="*/ 717303 h 1408309"/>
                  <a:gd name="connsiteX38" fmla="*/ 14836 w 1477099"/>
                  <a:gd name="connsiteY38" fmla="*/ 654770 h 1408309"/>
                  <a:gd name="connsiteX39" fmla="*/ 36705 w 1477099"/>
                  <a:gd name="connsiteY39" fmla="*/ 584465 h 1408309"/>
                  <a:gd name="connsiteX40" fmla="*/ 51049 w 1477099"/>
                  <a:gd name="connsiteY40" fmla="*/ 542246 h 1408309"/>
                  <a:gd name="connsiteX41" fmla="*/ 54017 w 1477099"/>
                  <a:gd name="connsiteY41" fmla="*/ 510202 h 1408309"/>
                  <a:gd name="connsiteX42" fmla="*/ 40379 w 1477099"/>
                  <a:gd name="connsiteY42" fmla="*/ 453746 h 1408309"/>
                  <a:gd name="connsiteX43" fmla="*/ 88180 w 1477099"/>
                  <a:gd name="connsiteY43" fmla="*/ 366907 h 1408309"/>
                  <a:gd name="connsiteX44" fmla="*/ 142411 w 1477099"/>
                  <a:gd name="connsiteY44" fmla="*/ 346027 h 1408309"/>
                  <a:gd name="connsiteX45" fmla="*/ 154564 w 1477099"/>
                  <a:gd name="connsiteY45" fmla="*/ 334086 h 1408309"/>
                  <a:gd name="connsiteX46" fmla="*/ 211091 w 1477099"/>
                  <a:gd name="connsiteY46" fmla="*/ 260813 h 1408309"/>
                  <a:gd name="connsiteX47" fmla="*/ 218298 w 1477099"/>
                  <a:gd name="connsiteY47" fmla="*/ 248730 h 1408309"/>
                  <a:gd name="connsiteX48" fmla="*/ 255253 w 1477099"/>
                  <a:gd name="connsiteY48" fmla="*/ 191920 h 1408309"/>
                  <a:gd name="connsiteX49" fmla="*/ 301534 w 1477099"/>
                  <a:gd name="connsiteY49" fmla="*/ 148077 h 1408309"/>
                  <a:gd name="connsiteX50" fmla="*/ 407946 w 1477099"/>
                  <a:gd name="connsiteY50" fmla="*/ 115326 h 1408309"/>
                  <a:gd name="connsiteX51" fmla="*/ 424763 w 1477099"/>
                  <a:gd name="connsiteY51" fmla="*/ 105646 h 1408309"/>
                  <a:gd name="connsiteX52" fmla="*/ 495139 w 1477099"/>
                  <a:gd name="connsiteY52" fmla="*/ 31384 h 1408309"/>
                  <a:gd name="connsiteX53" fmla="*/ 623526 w 1477099"/>
                  <a:gd name="connsiteY53" fmla="*/ 4428 h 1408309"/>
                  <a:gd name="connsiteX54" fmla="*/ 701957 w 1477099"/>
                  <a:gd name="connsiteY54" fmla="*/ 17782 h 1408309"/>
                  <a:gd name="connsiteX55" fmla="*/ 727783 w 1477099"/>
                  <a:gd name="connsiteY55" fmla="*/ 14355 h 1408309"/>
                  <a:gd name="connsiteX56" fmla="*/ 777067 w 1477099"/>
                  <a:gd name="connsiteY56" fmla="*/ 21209 h 1408309"/>
                  <a:gd name="connsiteX57" fmla="*/ 799749 w 1477099"/>
                  <a:gd name="connsiteY57" fmla="*/ 22340 h 1408309"/>
                  <a:gd name="connsiteX58" fmla="*/ 860621 w 1477099"/>
                  <a:gd name="connsiteY58" fmla="*/ 3827 h 1408309"/>
                  <a:gd name="connsiteX59" fmla="*/ 1161380 w 1477099"/>
                  <a:gd name="connsiteY59" fmla="*/ 132214 h 1408309"/>
                  <a:gd name="connsiteX60" fmla="*/ 1173180 w 1477099"/>
                  <a:gd name="connsiteY60" fmla="*/ 138962 h 1408309"/>
                  <a:gd name="connsiteX61" fmla="*/ 1291250 w 1477099"/>
                  <a:gd name="connsiteY61" fmla="*/ 205204 h 1408309"/>
                  <a:gd name="connsiteX62" fmla="*/ 1318737 w 1477099"/>
                  <a:gd name="connsiteY62" fmla="*/ 292256 h 1408309"/>
                  <a:gd name="connsiteX63" fmla="*/ 1328629 w 1477099"/>
                  <a:gd name="connsiteY63" fmla="*/ 315502 h 1408309"/>
                  <a:gd name="connsiteX64" fmla="*/ 1403597 w 1477099"/>
                  <a:gd name="connsiteY64" fmla="*/ 398138 h 1408309"/>
                  <a:gd name="connsiteX65" fmla="*/ 1449914 w 1477099"/>
                  <a:gd name="connsiteY65" fmla="*/ 527055 h 1408309"/>
                  <a:gd name="connsiteX66" fmla="*/ 1302697 w 1477099"/>
                  <a:gd name="connsiteY66" fmla="*/ 327903 h 1408309"/>
                  <a:gd name="connsiteX67" fmla="*/ 1302132 w 1477099"/>
                  <a:gd name="connsiteY67" fmla="*/ 326985 h 1408309"/>
                  <a:gd name="connsiteX68" fmla="*/ 1301425 w 1477099"/>
                  <a:gd name="connsiteY68" fmla="*/ 326843 h 1408309"/>
                  <a:gd name="connsiteX69" fmla="*/ 1302803 w 1477099"/>
                  <a:gd name="connsiteY69" fmla="*/ 327762 h 1408309"/>
                  <a:gd name="connsiteX70" fmla="*/ 1303015 w 1477099"/>
                  <a:gd name="connsiteY70" fmla="*/ 328786 h 1408309"/>
                  <a:gd name="connsiteX71" fmla="*/ 1303651 w 1477099"/>
                  <a:gd name="connsiteY71" fmla="*/ 329140 h 1408309"/>
                  <a:gd name="connsiteX72" fmla="*/ 1302662 w 1477099"/>
                  <a:gd name="connsiteY72" fmla="*/ 327903 h 1408309"/>
                  <a:gd name="connsiteX73" fmla="*/ 375867 w 1477099"/>
                  <a:gd name="connsiteY73" fmla="*/ 1249292 h 1408309"/>
                  <a:gd name="connsiteX74" fmla="*/ 376326 w 1477099"/>
                  <a:gd name="connsiteY74" fmla="*/ 1250246 h 1408309"/>
                  <a:gd name="connsiteX75" fmla="*/ 377033 w 1477099"/>
                  <a:gd name="connsiteY75" fmla="*/ 1250423 h 1408309"/>
                  <a:gd name="connsiteX76" fmla="*/ 375761 w 1477099"/>
                  <a:gd name="connsiteY76" fmla="*/ 1249398 h 1408309"/>
                  <a:gd name="connsiteX77" fmla="*/ 368130 w 1477099"/>
                  <a:gd name="connsiteY77" fmla="*/ 1233995 h 1408309"/>
                  <a:gd name="connsiteX78" fmla="*/ 312451 w 1477099"/>
                  <a:gd name="connsiteY78" fmla="*/ 1224633 h 1408309"/>
                  <a:gd name="connsiteX79" fmla="*/ 375867 w 1477099"/>
                  <a:gd name="connsiteY79" fmla="*/ 1249292 h 1408309"/>
                  <a:gd name="connsiteX80" fmla="*/ 434443 w 1477099"/>
                  <a:gd name="connsiteY80" fmla="*/ 1281301 h 1408309"/>
                  <a:gd name="connsiteX81" fmla="*/ 433524 w 1477099"/>
                  <a:gd name="connsiteY81" fmla="*/ 1280559 h 1408309"/>
                  <a:gd name="connsiteX82" fmla="*/ 434443 w 1477099"/>
                  <a:gd name="connsiteY82" fmla="*/ 1281336 h 1408309"/>
                  <a:gd name="connsiteX83" fmla="*/ 480442 w 1477099"/>
                  <a:gd name="connsiteY83" fmla="*/ 1311119 h 1408309"/>
                  <a:gd name="connsiteX84" fmla="*/ 447939 w 1477099"/>
                  <a:gd name="connsiteY84" fmla="*/ 1289603 h 1408309"/>
                  <a:gd name="connsiteX85" fmla="*/ 434478 w 1477099"/>
                  <a:gd name="connsiteY85" fmla="*/ 1281336 h 1408309"/>
                  <a:gd name="connsiteX86" fmla="*/ 740784 w 1477099"/>
                  <a:gd name="connsiteY86" fmla="*/ 1355916 h 1408309"/>
                  <a:gd name="connsiteX87" fmla="*/ 697187 w 1477099"/>
                  <a:gd name="connsiteY87" fmla="*/ 1366586 h 1408309"/>
                  <a:gd name="connsiteX88" fmla="*/ 599290 w 1477099"/>
                  <a:gd name="connsiteY88" fmla="*/ 1366127 h 1408309"/>
                  <a:gd name="connsiteX89" fmla="*/ 514252 w 1477099"/>
                  <a:gd name="connsiteY89" fmla="*/ 1327865 h 1408309"/>
                  <a:gd name="connsiteX90" fmla="*/ 503229 w 1477099"/>
                  <a:gd name="connsiteY90" fmla="*/ 1319457 h 1408309"/>
                  <a:gd name="connsiteX91" fmla="*/ 503371 w 1477099"/>
                  <a:gd name="connsiteY91" fmla="*/ 1324509 h 1408309"/>
                  <a:gd name="connsiteX92" fmla="*/ 542657 w 1477099"/>
                  <a:gd name="connsiteY92" fmla="*/ 1358036 h 1408309"/>
                  <a:gd name="connsiteX93" fmla="*/ 697541 w 1477099"/>
                  <a:gd name="connsiteY93" fmla="*/ 1373228 h 1408309"/>
                  <a:gd name="connsiteX94" fmla="*/ 740643 w 1477099"/>
                  <a:gd name="connsiteY94" fmla="*/ 1355810 h 1408309"/>
                  <a:gd name="connsiteX95" fmla="*/ 745447 w 1477099"/>
                  <a:gd name="connsiteY95" fmla="*/ 1355174 h 1408309"/>
                  <a:gd name="connsiteX96" fmla="*/ 744776 w 1477099"/>
                  <a:gd name="connsiteY96" fmla="*/ 1353973 h 1408309"/>
                  <a:gd name="connsiteX97" fmla="*/ 740713 w 1477099"/>
                  <a:gd name="connsiteY97" fmla="*/ 1355952 h 1408309"/>
                  <a:gd name="connsiteX98" fmla="*/ 804624 w 1477099"/>
                  <a:gd name="connsiteY98" fmla="*/ 1260033 h 1408309"/>
                  <a:gd name="connsiteX99" fmla="*/ 826493 w 1477099"/>
                  <a:gd name="connsiteY99" fmla="*/ 1270455 h 1408309"/>
                  <a:gd name="connsiteX100" fmla="*/ 866026 w 1477099"/>
                  <a:gd name="connsiteY100" fmla="*/ 1273528 h 1408309"/>
                  <a:gd name="connsiteX101" fmla="*/ 914004 w 1477099"/>
                  <a:gd name="connsiteY101" fmla="*/ 1240389 h 1408309"/>
                  <a:gd name="connsiteX102" fmla="*/ 963252 w 1477099"/>
                  <a:gd name="connsiteY102" fmla="*/ 1221170 h 1408309"/>
                  <a:gd name="connsiteX103" fmla="*/ 988902 w 1477099"/>
                  <a:gd name="connsiteY103" fmla="*/ 1224279 h 1408309"/>
                  <a:gd name="connsiteX104" fmla="*/ 1064400 w 1477099"/>
                  <a:gd name="connsiteY104" fmla="*/ 1205095 h 1408309"/>
                  <a:gd name="connsiteX105" fmla="*/ 1081005 w 1477099"/>
                  <a:gd name="connsiteY105" fmla="*/ 1200962 h 1408309"/>
                  <a:gd name="connsiteX106" fmla="*/ 1168763 w 1477099"/>
                  <a:gd name="connsiteY106" fmla="*/ 1127971 h 1408309"/>
                  <a:gd name="connsiteX107" fmla="*/ 1177136 w 1477099"/>
                  <a:gd name="connsiteY107" fmla="*/ 1064379 h 1408309"/>
                  <a:gd name="connsiteX108" fmla="*/ 1176253 w 1477099"/>
                  <a:gd name="connsiteY108" fmla="*/ 1031098 h 1408309"/>
                  <a:gd name="connsiteX109" fmla="*/ 1174451 w 1477099"/>
                  <a:gd name="connsiteY109" fmla="*/ 1008028 h 1408309"/>
                  <a:gd name="connsiteX110" fmla="*/ 1164700 w 1477099"/>
                  <a:gd name="connsiteY110" fmla="*/ 992271 h 1408309"/>
                  <a:gd name="connsiteX111" fmla="*/ 1159684 w 1477099"/>
                  <a:gd name="connsiteY111" fmla="*/ 936628 h 1408309"/>
                  <a:gd name="connsiteX112" fmla="*/ 1187806 w 1477099"/>
                  <a:gd name="connsiteY112" fmla="*/ 869643 h 1408309"/>
                  <a:gd name="connsiteX113" fmla="*/ 1207944 w 1477099"/>
                  <a:gd name="connsiteY113" fmla="*/ 845266 h 1408309"/>
                  <a:gd name="connsiteX114" fmla="*/ 1226244 w 1477099"/>
                  <a:gd name="connsiteY114" fmla="*/ 834597 h 1408309"/>
                  <a:gd name="connsiteX115" fmla="*/ 1281676 w 1477099"/>
                  <a:gd name="connsiteY115" fmla="*/ 795770 h 1408309"/>
                  <a:gd name="connsiteX116" fmla="*/ 1292381 w 1477099"/>
                  <a:gd name="connsiteY116" fmla="*/ 792555 h 1408309"/>
                  <a:gd name="connsiteX117" fmla="*/ 1290508 w 1477099"/>
                  <a:gd name="connsiteY117" fmla="*/ 804284 h 1408309"/>
                  <a:gd name="connsiteX118" fmla="*/ 1278073 w 1477099"/>
                  <a:gd name="connsiteY118" fmla="*/ 824669 h 1408309"/>
                  <a:gd name="connsiteX119" fmla="*/ 1280404 w 1477099"/>
                  <a:gd name="connsiteY119" fmla="*/ 844418 h 1408309"/>
                  <a:gd name="connsiteX120" fmla="*/ 1296938 w 1477099"/>
                  <a:gd name="connsiteY120" fmla="*/ 842157 h 1408309"/>
                  <a:gd name="connsiteX121" fmla="*/ 1306795 w 1477099"/>
                  <a:gd name="connsiteY121" fmla="*/ 833466 h 1408309"/>
                  <a:gd name="connsiteX122" fmla="*/ 1339334 w 1477099"/>
                  <a:gd name="connsiteY122" fmla="*/ 789905 h 1408309"/>
                  <a:gd name="connsiteX123" fmla="*/ 1353677 w 1477099"/>
                  <a:gd name="connsiteY123" fmla="*/ 757649 h 1408309"/>
                  <a:gd name="connsiteX124" fmla="*/ 1347494 w 1477099"/>
                  <a:gd name="connsiteY124" fmla="*/ 742882 h 1408309"/>
                  <a:gd name="connsiteX125" fmla="*/ 1330077 w 1477099"/>
                  <a:gd name="connsiteY125" fmla="*/ 743624 h 1408309"/>
                  <a:gd name="connsiteX126" fmla="*/ 1315804 w 1477099"/>
                  <a:gd name="connsiteY126" fmla="*/ 755424 h 1408309"/>
                  <a:gd name="connsiteX127" fmla="*/ 1293794 w 1477099"/>
                  <a:gd name="connsiteY127" fmla="*/ 760723 h 1408309"/>
                  <a:gd name="connsiteX128" fmla="*/ 1284220 w 1477099"/>
                  <a:gd name="connsiteY128" fmla="*/ 741716 h 1408309"/>
                  <a:gd name="connsiteX129" fmla="*/ 1298175 w 1477099"/>
                  <a:gd name="connsiteY129" fmla="*/ 709849 h 1408309"/>
                  <a:gd name="connsiteX130" fmla="*/ 1312624 w 1477099"/>
                  <a:gd name="connsiteY130" fmla="*/ 683387 h 1408309"/>
                  <a:gd name="connsiteX131" fmla="*/ 1316440 w 1477099"/>
                  <a:gd name="connsiteY131" fmla="*/ 653216 h 1408309"/>
                  <a:gd name="connsiteX132" fmla="*/ 1326403 w 1477099"/>
                  <a:gd name="connsiteY132" fmla="*/ 548005 h 1408309"/>
                  <a:gd name="connsiteX133" fmla="*/ 1327958 w 1477099"/>
                  <a:gd name="connsiteY133" fmla="*/ 498085 h 1408309"/>
                  <a:gd name="connsiteX134" fmla="*/ 1330713 w 1477099"/>
                  <a:gd name="connsiteY134" fmla="*/ 458622 h 1408309"/>
                  <a:gd name="connsiteX135" fmla="*/ 1332056 w 1477099"/>
                  <a:gd name="connsiteY135" fmla="*/ 446928 h 1408309"/>
                  <a:gd name="connsiteX136" fmla="*/ 1301178 w 1477099"/>
                  <a:gd name="connsiteY136" fmla="*/ 400293 h 1408309"/>
                  <a:gd name="connsiteX137" fmla="*/ 1292240 w 1477099"/>
                  <a:gd name="connsiteY137" fmla="*/ 405698 h 1408309"/>
                  <a:gd name="connsiteX138" fmla="*/ 1286481 w 1477099"/>
                  <a:gd name="connsiteY138" fmla="*/ 435340 h 1408309"/>
                  <a:gd name="connsiteX139" fmla="*/ 1285916 w 1477099"/>
                  <a:gd name="connsiteY139" fmla="*/ 442794 h 1408309"/>
                  <a:gd name="connsiteX140" fmla="*/ 1289731 w 1477099"/>
                  <a:gd name="connsiteY140" fmla="*/ 503349 h 1408309"/>
                  <a:gd name="connsiteX141" fmla="*/ 1288495 w 1477099"/>
                  <a:gd name="connsiteY141" fmla="*/ 575986 h 1408309"/>
                  <a:gd name="connsiteX142" fmla="*/ 1280051 w 1477099"/>
                  <a:gd name="connsiteY142" fmla="*/ 646291 h 1408309"/>
                  <a:gd name="connsiteX143" fmla="*/ 1253342 w 1477099"/>
                  <a:gd name="connsiteY143" fmla="*/ 731505 h 1408309"/>
                  <a:gd name="connsiteX144" fmla="*/ 1234653 w 1477099"/>
                  <a:gd name="connsiteY144" fmla="*/ 777822 h 1408309"/>
                  <a:gd name="connsiteX145" fmla="*/ 1220803 w 1477099"/>
                  <a:gd name="connsiteY145" fmla="*/ 781426 h 1408309"/>
                  <a:gd name="connsiteX146" fmla="*/ 1219108 w 1477099"/>
                  <a:gd name="connsiteY146" fmla="*/ 768036 h 1408309"/>
                  <a:gd name="connsiteX147" fmla="*/ 1224760 w 1477099"/>
                  <a:gd name="connsiteY147" fmla="*/ 759133 h 1408309"/>
                  <a:gd name="connsiteX148" fmla="*/ 1236843 w 1477099"/>
                  <a:gd name="connsiteY148" fmla="*/ 738677 h 1408309"/>
                  <a:gd name="connsiteX149" fmla="*/ 1247336 w 1477099"/>
                  <a:gd name="connsiteY149" fmla="*/ 673742 h 1408309"/>
                  <a:gd name="connsiteX150" fmla="*/ 1259348 w 1477099"/>
                  <a:gd name="connsiteY150" fmla="*/ 574502 h 1408309"/>
                  <a:gd name="connsiteX151" fmla="*/ 1258782 w 1477099"/>
                  <a:gd name="connsiteY151" fmla="*/ 557473 h 1408309"/>
                  <a:gd name="connsiteX152" fmla="*/ 1236737 w 1477099"/>
                  <a:gd name="connsiteY152" fmla="*/ 595311 h 1408309"/>
                  <a:gd name="connsiteX153" fmla="*/ 1229071 w 1477099"/>
                  <a:gd name="connsiteY153" fmla="*/ 601458 h 1408309"/>
                  <a:gd name="connsiteX154" fmla="*/ 1223524 w 1477099"/>
                  <a:gd name="connsiteY154" fmla="*/ 593262 h 1408309"/>
                  <a:gd name="connsiteX155" fmla="*/ 1224301 w 1477099"/>
                  <a:gd name="connsiteY155" fmla="*/ 573442 h 1408309"/>
                  <a:gd name="connsiteX156" fmla="*/ 1236772 w 1477099"/>
                  <a:gd name="connsiteY156" fmla="*/ 503455 h 1408309"/>
                  <a:gd name="connsiteX157" fmla="*/ 1238998 w 1477099"/>
                  <a:gd name="connsiteY157" fmla="*/ 494516 h 1408309"/>
                  <a:gd name="connsiteX158" fmla="*/ 1246276 w 1477099"/>
                  <a:gd name="connsiteY158" fmla="*/ 490913 h 1408309"/>
                  <a:gd name="connsiteX159" fmla="*/ 1257758 w 1477099"/>
                  <a:gd name="connsiteY159" fmla="*/ 483070 h 1408309"/>
                  <a:gd name="connsiteX160" fmla="*/ 1241012 w 1477099"/>
                  <a:gd name="connsiteY160" fmla="*/ 418841 h 1408309"/>
                  <a:gd name="connsiteX161" fmla="*/ 1169788 w 1477099"/>
                  <a:gd name="connsiteY161" fmla="*/ 329881 h 1408309"/>
                  <a:gd name="connsiteX162" fmla="*/ 1152936 w 1477099"/>
                  <a:gd name="connsiteY162" fmla="*/ 331401 h 1408309"/>
                  <a:gd name="connsiteX163" fmla="*/ 1154561 w 1477099"/>
                  <a:gd name="connsiteY163" fmla="*/ 358534 h 1408309"/>
                  <a:gd name="connsiteX164" fmla="*/ 1161132 w 1477099"/>
                  <a:gd name="connsiteY164" fmla="*/ 411351 h 1408309"/>
                  <a:gd name="connsiteX165" fmla="*/ 1138133 w 1477099"/>
                  <a:gd name="connsiteY165" fmla="*/ 375598 h 1408309"/>
                  <a:gd name="connsiteX166" fmla="*/ 1109340 w 1477099"/>
                  <a:gd name="connsiteY166" fmla="*/ 299004 h 1408309"/>
                  <a:gd name="connsiteX167" fmla="*/ 1109163 w 1477099"/>
                  <a:gd name="connsiteY167" fmla="*/ 273955 h 1408309"/>
                  <a:gd name="connsiteX168" fmla="*/ 1123895 w 1477099"/>
                  <a:gd name="connsiteY168" fmla="*/ 255195 h 1408309"/>
                  <a:gd name="connsiteX169" fmla="*/ 1145340 w 1477099"/>
                  <a:gd name="connsiteY169" fmla="*/ 208455 h 1408309"/>
                  <a:gd name="connsiteX170" fmla="*/ 1036102 w 1477099"/>
                  <a:gd name="connsiteY170" fmla="*/ 95365 h 1408309"/>
                  <a:gd name="connsiteX171" fmla="*/ 972756 w 1477099"/>
                  <a:gd name="connsiteY171" fmla="*/ 58057 h 1408309"/>
                  <a:gd name="connsiteX172" fmla="*/ 934071 w 1477099"/>
                  <a:gd name="connsiteY172" fmla="*/ 31137 h 1408309"/>
                  <a:gd name="connsiteX173" fmla="*/ 849068 w 1477099"/>
                  <a:gd name="connsiteY173" fmla="*/ 33892 h 1408309"/>
                  <a:gd name="connsiteX174" fmla="*/ 769577 w 1477099"/>
                  <a:gd name="connsiteY174" fmla="*/ 62156 h 1408309"/>
                  <a:gd name="connsiteX175" fmla="*/ 743045 w 1477099"/>
                  <a:gd name="connsiteY175" fmla="*/ 62862 h 1408309"/>
                  <a:gd name="connsiteX176" fmla="*/ 666769 w 1477099"/>
                  <a:gd name="connsiteY176" fmla="*/ 78019 h 1408309"/>
                  <a:gd name="connsiteX177" fmla="*/ 613704 w 1477099"/>
                  <a:gd name="connsiteY177" fmla="*/ 128257 h 1408309"/>
                  <a:gd name="connsiteX178" fmla="*/ 567635 w 1477099"/>
                  <a:gd name="connsiteY178" fmla="*/ 153729 h 1408309"/>
                  <a:gd name="connsiteX179" fmla="*/ 448858 w 1477099"/>
                  <a:gd name="connsiteY179" fmla="*/ 179661 h 1408309"/>
                  <a:gd name="connsiteX180" fmla="*/ 444053 w 1477099"/>
                  <a:gd name="connsiteY180" fmla="*/ 173267 h 1408309"/>
                  <a:gd name="connsiteX181" fmla="*/ 445430 w 1477099"/>
                  <a:gd name="connsiteY181" fmla="*/ 147547 h 1408309"/>
                  <a:gd name="connsiteX182" fmla="*/ 435856 w 1477099"/>
                  <a:gd name="connsiteY182" fmla="*/ 145144 h 1408309"/>
                  <a:gd name="connsiteX183" fmla="*/ 361665 w 1477099"/>
                  <a:gd name="connsiteY183" fmla="*/ 191567 h 1408309"/>
                  <a:gd name="connsiteX184" fmla="*/ 276380 w 1477099"/>
                  <a:gd name="connsiteY184" fmla="*/ 234245 h 1408309"/>
                  <a:gd name="connsiteX185" fmla="*/ 267512 w 1477099"/>
                  <a:gd name="connsiteY185" fmla="*/ 241841 h 1408309"/>
                  <a:gd name="connsiteX186" fmla="*/ 230345 w 1477099"/>
                  <a:gd name="connsiteY186" fmla="*/ 281092 h 1408309"/>
                  <a:gd name="connsiteX187" fmla="*/ 178729 w 1477099"/>
                  <a:gd name="connsiteY187" fmla="*/ 348783 h 1408309"/>
                  <a:gd name="connsiteX188" fmla="*/ 170604 w 1477099"/>
                  <a:gd name="connsiteY188" fmla="*/ 379449 h 1408309"/>
                  <a:gd name="connsiteX189" fmla="*/ 170074 w 1477099"/>
                  <a:gd name="connsiteY189" fmla="*/ 390507 h 1408309"/>
                  <a:gd name="connsiteX190" fmla="*/ 181238 w 1477099"/>
                  <a:gd name="connsiteY190" fmla="*/ 389553 h 1408309"/>
                  <a:gd name="connsiteX191" fmla="*/ 188445 w 1477099"/>
                  <a:gd name="connsiteY191" fmla="*/ 388281 h 1408309"/>
                  <a:gd name="connsiteX192" fmla="*/ 188657 w 1477099"/>
                  <a:gd name="connsiteY192" fmla="*/ 396866 h 1408309"/>
                  <a:gd name="connsiteX193" fmla="*/ 182086 w 1477099"/>
                  <a:gd name="connsiteY193" fmla="*/ 409938 h 1408309"/>
                  <a:gd name="connsiteX194" fmla="*/ 142481 w 1477099"/>
                  <a:gd name="connsiteY194" fmla="*/ 511722 h 1408309"/>
                  <a:gd name="connsiteX195" fmla="*/ 159863 w 1477099"/>
                  <a:gd name="connsiteY195" fmla="*/ 546344 h 1408309"/>
                  <a:gd name="connsiteX196" fmla="*/ 191307 w 1477099"/>
                  <a:gd name="connsiteY196" fmla="*/ 544295 h 1408309"/>
                  <a:gd name="connsiteX197" fmla="*/ 215048 w 1477099"/>
                  <a:gd name="connsiteY197" fmla="*/ 525924 h 1408309"/>
                  <a:gd name="connsiteX198" fmla="*/ 213953 w 1477099"/>
                  <a:gd name="connsiteY198" fmla="*/ 539773 h 1408309"/>
                  <a:gd name="connsiteX199" fmla="*/ 188092 w 1477099"/>
                  <a:gd name="connsiteY199" fmla="*/ 570722 h 1408309"/>
                  <a:gd name="connsiteX200" fmla="*/ 151561 w 1477099"/>
                  <a:gd name="connsiteY200" fmla="*/ 603048 h 1408309"/>
                  <a:gd name="connsiteX201" fmla="*/ 139655 w 1477099"/>
                  <a:gd name="connsiteY201" fmla="*/ 701864 h 1408309"/>
                  <a:gd name="connsiteX202" fmla="*/ 163326 w 1477099"/>
                  <a:gd name="connsiteY202" fmla="*/ 753162 h 1408309"/>
                  <a:gd name="connsiteX203" fmla="*/ 209183 w 1477099"/>
                  <a:gd name="connsiteY203" fmla="*/ 764962 h 1408309"/>
                  <a:gd name="connsiteX204" fmla="*/ 215578 w 1477099"/>
                  <a:gd name="connsiteY204" fmla="*/ 780825 h 1408309"/>
                  <a:gd name="connsiteX205" fmla="*/ 209784 w 1477099"/>
                  <a:gd name="connsiteY205" fmla="*/ 830922 h 1408309"/>
                  <a:gd name="connsiteX206" fmla="*/ 218828 w 1477099"/>
                  <a:gd name="connsiteY206" fmla="*/ 892395 h 1408309"/>
                  <a:gd name="connsiteX207" fmla="*/ 211020 w 1477099"/>
                  <a:gd name="connsiteY207" fmla="*/ 907481 h 1408309"/>
                  <a:gd name="connsiteX208" fmla="*/ 195864 w 1477099"/>
                  <a:gd name="connsiteY208" fmla="*/ 898755 h 1408309"/>
                  <a:gd name="connsiteX209" fmla="*/ 181344 w 1477099"/>
                  <a:gd name="connsiteY209" fmla="*/ 873424 h 1408309"/>
                  <a:gd name="connsiteX210" fmla="*/ 156472 w 1477099"/>
                  <a:gd name="connsiteY210" fmla="*/ 833219 h 1408309"/>
                  <a:gd name="connsiteX211" fmla="*/ 136228 w 1477099"/>
                  <a:gd name="connsiteY211" fmla="*/ 798914 h 1408309"/>
                  <a:gd name="connsiteX212" fmla="*/ 121178 w 1477099"/>
                  <a:gd name="connsiteY212" fmla="*/ 754434 h 1408309"/>
                  <a:gd name="connsiteX213" fmla="*/ 101287 w 1477099"/>
                  <a:gd name="connsiteY213" fmla="*/ 717021 h 1408309"/>
                  <a:gd name="connsiteX214" fmla="*/ 99203 w 1477099"/>
                  <a:gd name="connsiteY214" fmla="*/ 714653 h 1408309"/>
                  <a:gd name="connsiteX215" fmla="*/ 78959 w 1477099"/>
                  <a:gd name="connsiteY215" fmla="*/ 834455 h 1408309"/>
                  <a:gd name="connsiteX216" fmla="*/ 80372 w 1477099"/>
                  <a:gd name="connsiteY216" fmla="*/ 856960 h 1408309"/>
                  <a:gd name="connsiteX217" fmla="*/ 80902 w 1477099"/>
                  <a:gd name="connsiteY217" fmla="*/ 939101 h 1408309"/>
                  <a:gd name="connsiteX218" fmla="*/ 130187 w 1477099"/>
                  <a:gd name="connsiteY218" fmla="*/ 998631 h 1408309"/>
                  <a:gd name="connsiteX219" fmla="*/ 189611 w 1477099"/>
                  <a:gd name="connsiteY219" fmla="*/ 967894 h 1408309"/>
                  <a:gd name="connsiteX220" fmla="*/ 202753 w 1477099"/>
                  <a:gd name="connsiteY220" fmla="*/ 956765 h 1408309"/>
                  <a:gd name="connsiteX221" fmla="*/ 213493 w 1477099"/>
                  <a:gd name="connsiteY221" fmla="*/ 971356 h 1408309"/>
                  <a:gd name="connsiteX222" fmla="*/ 254617 w 1477099"/>
                  <a:gd name="connsiteY222" fmla="*/ 1012197 h 1408309"/>
                  <a:gd name="connsiteX223" fmla="*/ 295140 w 1477099"/>
                  <a:gd name="connsiteY223" fmla="*/ 1018026 h 1408309"/>
                  <a:gd name="connsiteX224" fmla="*/ 342869 w 1477099"/>
                  <a:gd name="connsiteY224" fmla="*/ 1031734 h 1408309"/>
                  <a:gd name="connsiteX225" fmla="*/ 347992 w 1477099"/>
                  <a:gd name="connsiteY225" fmla="*/ 1040319 h 1408309"/>
                  <a:gd name="connsiteX226" fmla="*/ 340043 w 1477099"/>
                  <a:gd name="connsiteY226" fmla="*/ 1046643 h 1408309"/>
                  <a:gd name="connsiteX227" fmla="*/ 297966 w 1477099"/>
                  <a:gd name="connsiteY227" fmla="*/ 1047915 h 1408309"/>
                  <a:gd name="connsiteX228" fmla="*/ 280972 w 1477099"/>
                  <a:gd name="connsiteY228" fmla="*/ 1048056 h 1408309"/>
                  <a:gd name="connsiteX229" fmla="*/ 182015 w 1477099"/>
                  <a:gd name="connsiteY229" fmla="*/ 1054098 h 1408309"/>
                  <a:gd name="connsiteX230" fmla="*/ 168060 w 1477099"/>
                  <a:gd name="connsiteY230" fmla="*/ 1057313 h 1408309"/>
                  <a:gd name="connsiteX231" fmla="*/ 169614 w 1477099"/>
                  <a:gd name="connsiteY231" fmla="*/ 1071727 h 1408309"/>
                  <a:gd name="connsiteX232" fmla="*/ 194168 w 1477099"/>
                  <a:gd name="connsiteY232" fmla="*/ 1128643 h 1408309"/>
                  <a:gd name="connsiteX233" fmla="*/ 204590 w 1477099"/>
                  <a:gd name="connsiteY233" fmla="*/ 1152843 h 1408309"/>
                  <a:gd name="connsiteX234" fmla="*/ 350995 w 1477099"/>
                  <a:gd name="connsiteY234" fmla="*/ 1194921 h 1408309"/>
                  <a:gd name="connsiteX235" fmla="*/ 389716 w 1477099"/>
                  <a:gd name="connsiteY235" fmla="*/ 1119598 h 1408309"/>
                  <a:gd name="connsiteX236" fmla="*/ 384134 w 1477099"/>
                  <a:gd name="connsiteY236" fmla="*/ 1091088 h 1408309"/>
                  <a:gd name="connsiteX237" fmla="*/ 388939 w 1477099"/>
                  <a:gd name="connsiteY237" fmla="*/ 1082467 h 1408309"/>
                  <a:gd name="connsiteX238" fmla="*/ 398760 w 1477099"/>
                  <a:gd name="connsiteY238" fmla="*/ 1084834 h 1408309"/>
                  <a:gd name="connsiteX239" fmla="*/ 407593 w 1477099"/>
                  <a:gd name="connsiteY239" fmla="*/ 1104901 h 1408309"/>
                  <a:gd name="connsiteX240" fmla="*/ 450518 w 1477099"/>
                  <a:gd name="connsiteY240" fmla="*/ 1151819 h 1408309"/>
                  <a:gd name="connsiteX241" fmla="*/ 480124 w 1477099"/>
                  <a:gd name="connsiteY241" fmla="*/ 1158284 h 1408309"/>
                  <a:gd name="connsiteX242" fmla="*/ 489521 w 1477099"/>
                  <a:gd name="connsiteY242" fmla="*/ 1169448 h 1408309"/>
                  <a:gd name="connsiteX243" fmla="*/ 479523 w 1477099"/>
                  <a:gd name="connsiteY243" fmla="*/ 1180612 h 1408309"/>
                  <a:gd name="connsiteX244" fmla="*/ 457124 w 1477099"/>
                  <a:gd name="connsiteY244" fmla="*/ 1182414 h 1408309"/>
                  <a:gd name="connsiteX245" fmla="*/ 443381 w 1477099"/>
                  <a:gd name="connsiteY245" fmla="*/ 1188809 h 1408309"/>
                  <a:gd name="connsiteX246" fmla="*/ 460410 w 1477099"/>
                  <a:gd name="connsiteY246" fmla="*/ 1236221 h 1408309"/>
                  <a:gd name="connsiteX247" fmla="*/ 509164 w 1477099"/>
                  <a:gd name="connsiteY247" fmla="*/ 1237634 h 1408309"/>
                  <a:gd name="connsiteX248" fmla="*/ 565762 w 1477099"/>
                  <a:gd name="connsiteY248" fmla="*/ 1241131 h 1408309"/>
                  <a:gd name="connsiteX249" fmla="*/ 622360 w 1477099"/>
                  <a:gd name="connsiteY249" fmla="*/ 1255157 h 1408309"/>
                  <a:gd name="connsiteX250" fmla="*/ 648963 w 1477099"/>
                  <a:gd name="connsiteY250" fmla="*/ 1255157 h 1408309"/>
                  <a:gd name="connsiteX251" fmla="*/ 676237 w 1477099"/>
                  <a:gd name="connsiteY251" fmla="*/ 1263777 h 1408309"/>
                  <a:gd name="connsiteX252" fmla="*/ 671538 w 1477099"/>
                  <a:gd name="connsiteY252" fmla="*/ 1290274 h 1408309"/>
                  <a:gd name="connsiteX253" fmla="*/ 658467 w 1477099"/>
                  <a:gd name="connsiteY253" fmla="*/ 1291758 h 1408309"/>
                  <a:gd name="connsiteX254" fmla="*/ 566045 w 1477099"/>
                  <a:gd name="connsiteY254" fmla="*/ 1269324 h 1408309"/>
                  <a:gd name="connsiteX255" fmla="*/ 554775 w 1477099"/>
                  <a:gd name="connsiteY255" fmla="*/ 1265579 h 1408309"/>
                  <a:gd name="connsiteX256" fmla="*/ 525381 w 1477099"/>
                  <a:gd name="connsiteY256" fmla="*/ 1257453 h 1408309"/>
                  <a:gd name="connsiteX257" fmla="*/ 508175 w 1477099"/>
                  <a:gd name="connsiteY257" fmla="*/ 1264307 h 1408309"/>
                  <a:gd name="connsiteX258" fmla="*/ 515100 w 1477099"/>
                  <a:gd name="connsiteY258" fmla="*/ 1278192 h 1408309"/>
                  <a:gd name="connsiteX259" fmla="*/ 587066 w 1477099"/>
                  <a:gd name="connsiteY259" fmla="*/ 1300237 h 1408309"/>
                  <a:gd name="connsiteX260" fmla="*/ 599325 w 1477099"/>
                  <a:gd name="connsiteY260" fmla="*/ 1302710 h 1408309"/>
                  <a:gd name="connsiteX261" fmla="*/ 593849 w 1477099"/>
                  <a:gd name="connsiteY261" fmla="*/ 1312638 h 1408309"/>
                  <a:gd name="connsiteX262" fmla="*/ 611337 w 1477099"/>
                  <a:gd name="connsiteY262" fmla="*/ 1319315 h 1408309"/>
                  <a:gd name="connsiteX263" fmla="*/ 677262 w 1477099"/>
                  <a:gd name="connsiteY263" fmla="*/ 1332069 h 1408309"/>
                  <a:gd name="connsiteX264" fmla="*/ 709800 w 1477099"/>
                  <a:gd name="connsiteY264" fmla="*/ 1300838 h 1408309"/>
                  <a:gd name="connsiteX265" fmla="*/ 715382 w 1477099"/>
                  <a:gd name="connsiteY265" fmla="*/ 1294302 h 1408309"/>
                  <a:gd name="connsiteX266" fmla="*/ 737074 w 1477099"/>
                  <a:gd name="connsiteY266" fmla="*/ 1295963 h 1408309"/>
                  <a:gd name="connsiteX267" fmla="*/ 783250 w 1477099"/>
                  <a:gd name="connsiteY267" fmla="*/ 1293207 h 1408309"/>
                  <a:gd name="connsiteX268" fmla="*/ 804765 w 1477099"/>
                  <a:gd name="connsiteY268" fmla="*/ 1259997 h 1408309"/>
                  <a:gd name="connsiteX269" fmla="*/ 804695 w 1477099"/>
                  <a:gd name="connsiteY269" fmla="*/ 1260068 h 1408309"/>
                  <a:gd name="connsiteX270" fmla="*/ 493196 w 1477099"/>
                  <a:gd name="connsiteY270" fmla="*/ 138997 h 1408309"/>
                  <a:gd name="connsiteX271" fmla="*/ 514323 w 1477099"/>
                  <a:gd name="connsiteY271" fmla="*/ 137831 h 1408309"/>
                  <a:gd name="connsiteX272" fmla="*/ 600456 w 1477099"/>
                  <a:gd name="connsiteY272" fmla="*/ 100912 h 1408309"/>
                  <a:gd name="connsiteX273" fmla="*/ 659809 w 1477099"/>
                  <a:gd name="connsiteY273" fmla="*/ 48589 h 1408309"/>
                  <a:gd name="connsiteX274" fmla="*/ 654580 w 1477099"/>
                  <a:gd name="connsiteY274" fmla="*/ 34669 h 1408309"/>
                  <a:gd name="connsiteX275" fmla="*/ 578092 w 1477099"/>
                  <a:gd name="connsiteY275" fmla="*/ 32408 h 1408309"/>
                  <a:gd name="connsiteX276" fmla="*/ 450730 w 1477099"/>
                  <a:gd name="connsiteY276" fmla="*/ 114478 h 1408309"/>
                  <a:gd name="connsiteX277" fmla="*/ 454263 w 1477099"/>
                  <a:gd name="connsiteY277" fmla="*/ 128363 h 1408309"/>
                  <a:gd name="connsiteX278" fmla="*/ 493231 w 1477099"/>
                  <a:gd name="connsiteY278" fmla="*/ 138962 h 1408309"/>
                  <a:gd name="connsiteX279" fmla="*/ 852283 w 1477099"/>
                  <a:gd name="connsiteY279" fmla="*/ 1361110 h 1408309"/>
                  <a:gd name="connsiteX280" fmla="*/ 904500 w 1477099"/>
                  <a:gd name="connsiteY280" fmla="*/ 1352348 h 1408309"/>
                  <a:gd name="connsiteX281" fmla="*/ 1026704 w 1477099"/>
                  <a:gd name="connsiteY281" fmla="*/ 1298082 h 1408309"/>
                  <a:gd name="connsiteX282" fmla="*/ 1045782 w 1477099"/>
                  <a:gd name="connsiteY282" fmla="*/ 1283915 h 1408309"/>
                  <a:gd name="connsiteX283" fmla="*/ 1050658 w 1477099"/>
                  <a:gd name="connsiteY283" fmla="*/ 1262435 h 1408309"/>
                  <a:gd name="connsiteX284" fmla="*/ 1029849 w 1477099"/>
                  <a:gd name="connsiteY284" fmla="*/ 1255404 h 1408309"/>
                  <a:gd name="connsiteX285" fmla="*/ 1012749 w 1477099"/>
                  <a:gd name="connsiteY285" fmla="*/ 1257171 h 1408309"/>
                  <a:gd name="connsiteX286" fmla="*/ 953467 w 1477099"/>
                  <a:gd name="connsiteY286" fmla="*/ 1283209 h 1408309"/>
                  <a:gd name="connsiteX287" fmla="*/ 910011 w 1477099"/>
                  <a:gd name="connsiteY287" fmla="*/ 1310660 h 1408309"/>
                  <a:gd name="connsiteX288" fmla="*/ 822041 w 1477099"/>
                  <a:gd name="connsiteY288" fmla="*/ 1320870 h 1408309"/>
                  <a:gd name="connsiteX289" fmla="*/ 802257 w 1477099"/>
                  <a:gd name="connsiteY289" fmla="*/ 1335531 h 1408309"/>
                  <a:gd name="connsiteX290" fmla="*/ 816389 w 1477099"/>
                  <a:gd name="connsiteY290" fmla="*/ 1355068 h 1408309"/>
                  <a:gd name="connsiteX291" fmla="*/ 852283 w 1477099"/>
                  <a:gd name="connsiteY291" fmla="*/ 1361110 h 1408309"/>
                  <a:gd name="connsiteX292" fmla="*/ 1432038 w 1477099"/>
                  <a:gd name="connsiteY292" fmla="*/ 740197 h 1408309"/>
                  <a:gd name="connsiteX293" fmla="*/ 1427975 w 1477099"/>
                  <a:gd name="connsiteY293" fmla="*/ 762030 h 1408309"/>
                  <a:gd name="connsiteX294" fmla="*/ 1428222 w 1477099"/>
                  <a:gd name="connsiteY294" fmla="*/ 796088 h 1408309"/>
                  <a:gd name="connsiteX295" fmla="*/ 1398192 w 1477099"/>
                  <a:gd name="connsiteY295" fmla="*/ 936486 h 1408309"/>
                  <a:gd name="connsiteX296" fmla="*/ 1372190 w 1477099"/>
                  <a:gd name="connsiteY296" fmla="*/ 1003118 h 1408309"/>
                  <a:gd name="connsiteX297" fmla="*/ 1307926 w 1477099"/>
                  <a:gd name="connsiteY297" fmla="*/ 1080383 h 1408309"/>
                  <a:gd name="connsiteX298" fmla="*/ 1281429 w 1477099"/>
                  <a:gd name="connsiteY298" fmla="*/ 1131999 h 1408309"/>
                  <a:gd name="connsiteX299" fmla="*/ 1273974 w 1477099"/>
                  <a:gd name="connsiteY299" fmla="*/ 1159839 h 1408309"/>
                  <a:gd name="connsiteX300" fmla="*/ 1192293 w 1477099"/>
                  <a:gd name="connsiteY300" fmla="*/ 1248974 h 1408309"/>
                  <a:gd name="connsiteX301" fmla="*/ 1169788 w 1477099"/>
                  <a:gd name="connsiteY301" fmla="*/ 1260174 h 1408309"/>
                  <a:gd name="connsiteX302" fmla="*/ 1147566 w 1477099"/>
                  <a:gd name="connsiteY302" fmla="*/ 1252543 h 1408309"/>
                  <a:gd name="connsiteX303" fmla="*/ 1134529 w 1477099"/>
                  <a:gd name="connsiteY303" fmla="*/ 1247279 h 1408309"/>
                  <a:gd name="connsiteX304" fmla="*/ 1096162 w 1477099"/>
                  <a:gd name="connsiteY304" fmla="*/ 1284728 h 1408309"/>
                  <a:gd name="connsiteX305" fmla="*/ 1125909 w 1477099"/>
                  <a:gd name="connsiteY305" fmla="*/ 1263106 h 1408309"/>
                  <a:gd name="connsiteX306" fmla="*/ 1140429 w 1477099"/>
                  <a:gd name="connsiteY306" fmla="*/ 1262965 h 1408309"/>
                  <a:gd name="connsiteX307" fmla="*/ 1191904 w 1477099"/>
                  <a:gd name="connsiteY307" fmla="*/ 1265579 h 1408309"/>
                  <a:gd name="connsiteX308" fmla="*/ 1205683 w 1477099"/>
                  <a:gd name="connsiteY308" fmla="*/ 1246219 h 1408309"/>
                  <a:gd name="connsiteX309" fmla="*/ 1259984 w 1477099"/>
                  <a:gd name="connsiteY309" fmla="*/ 1200079 h 1408309"/>
                  <a:gd name="connsiteX310" fmla="*/ 1280051 w 1477099"/>
                  <a:gd name="connsiteY310" fmla="*/ 1181778 h 1408309"/>
                  <a:gd name="connsiteX311" fmla="*/ 1305665 w 1477099"/>
                  <a:gd name="connsiteY311" fmla="*/ 1116489 h 1408309"/>
                  <a:gd name="connsiteX312" fmla="*/ 1324778 w 1477099"/>
                  <a:gd name="connsiteY312" fmla="*/ 1085576 h 1408309"/>
                  <a:gd name="connsiteX313" fmla="*/ 1340040 w 1477099"/>
                  <a:gd name="connsiteY313" fmla="*/ 1070809 h 1408309"/>
                  <a:gd name="connsiteX314" fmla="*/ 1373603 w 1477099"/>
                  <a:gd name="connsiteY314" fmla="*/ 1025198 h 1408309"/>
                  <a:gd name="connsiteX315" fmla="*/ 1399676 w 1477099"/>
                  <a:gd name="connsiteY315" fmla="*/ 965880 h 1408309"/>
                  <a:gd name="connsiteX316" fmla="*/ 1422605 w 1477099"/>
                  <a:gd name="connsiteY316" fmla="*/ 916773 h 1408309"/>
                  <a:gd name="connsiteX317" fmla="*/ 1432038 w 1477099"/>
                  <a:gd name="connsiteY317" fmla="*/ 740126 h 1408309"/>
                  <a:gd name="connsiteX318" fmla="*/ 34162 w 1477099"/>
                  <a:gd name="connsiteY318" fmla="*/ 800716 h 1408309"/>
                  <a:gd name="connsiteX319" fmla="*/ 45008 w 1477099"/>
                  <a:gd name="connsiteY319" fmla="*/ 751184 h 1408309"/>
                  <a:gd name="connsiteX320" fmla="*/ 66771 w 1477099"/>
                  <a:gd name="connsiteY320" fmla="*/ 698508 h 1408309"/>
                  <a:gd name="connsiteX321" fmla="*/ 64580 w 1477099"/>
                  <a:gd name="connsiteY321" fmla="*/ 649153 h 1408309"/>
                  <a:gd name="connsiteX322" fmla="*/ 67901 w 1477099"/>
                  <a:gd name="connsiteY322" fmla="*/ 632053 h 1408309"/>
                  <a:gd name="connsiteX323" fmla="*/ 90229 w 1477099"/>
                  <a:gd name="connsiteY323" fmla="*/ 609796 h 1408309"/>
                  <a:gd name="connsiteX324" fmla="*/ 120507 w 1477099"/>
                  <a:gd name="connsiteY324" fmla="*/ 525394 h 1408309"/>
                  <a:gd name="connsiteX325" fmla="*/ 120400 w 1477099"/>
                  <a:gd name="connsiteY325" fmla="*/ 480208 h 1408309"/>
                  <a:gd name="connsiteX326" fmla="*/ 84153 w 1477099"/>
                  <a:gd name="connsiteY326" fmla="*/ 538961 h 1408309"/>
                  <a:gd name="connsiteX327" fmla="*/ 62990 w 1477099"/>
                  <a:gd name="connsiteY327" fmla="*/ 588316 h 1408309"/>
                  <a:gd name="connsiteX328" fmla="*/ 36175 w 1477099"/>
                  <a:gd name="connsiteY328" fmla="*/ 672046 h 1408309"/>
                  <a:gd name="connsiteX329" fmla="*/ 27378 w 1477099"/>
                  <a:gd name="connsiteY329" fmla="*/ 710379 h 1408309"/>
                  <a:gd name="connsiteX330" fmla="*/ 30063 w 1477099"/>
                  <a:gd name="connsiteY330" fmla="*/ 792625 h 1408309"/>
                  <a:gd name="connsiteX331" fmla="*/ 34162 w 1477099"/>
                  <a:gd name="connsiteY331" fmla="*/ 800716 h 1408309"/>
                  <a:gd name="connsiteX332" fmla="*/ 1246841 w 1477099"/>
                  <a:gd name="connsiteY332" fmla="*/ 256644 h 1408309"/>
                  <a:gd name="connsiteX333" fmla="*/ 1230837 w 1477099"/>
                  <a:gd name="connsiteY333" fmla="*/ 243713 h 1408309"/>
                  <a:gd name="connsiteX334" fmla="*/ 1169364 w 1477099"/>
                  <a:gd name="connsiteY334" fmla="*/ 222657 h 1408309"/>
                  <a:gd name="connsiteX335" fmla="*/ 1151063 w 1477099"/>
                  <a:gd name="connsiteY335" fmla="*/ 237601 h 1408309"/>
                  <a:gd name="connsiteX336" fmla="*/ 1162863 w 1477099"/>
                  <a:gd name="connsiteY336" fmla="*/ 257951 h 1408309"/>
                  <a:gd name="connsiteX337" fmla="*/ 1214409 w 1477099"/>
                  <a:gd name="connsiteY337" fmla="*/ 299322 h 1408309"/>
                  <a:gd name="connsiteX338" fmla="*/ 1252883 w 1477099"/>
                  <a:gd name="connsiteY338" fmla="*/ 329493 h 1408309"/>
                  <a:gd name="connsiteX339" fmla="*/ 1276341 w 1477099"/>
                  <a:gd name="connsiteY339" fmla="*/ 318717 h 1408309"/>
                  <a:gd name="connsiteX340" fmla="*/ 1278602 w 1477099"/>
                  <a:gd name="connsiteY340" fmla="*/ 310592 h 1408309"/>
                  <a:gd name="connsiteX341" fmla="*/ 1290650 w 1477099"/>
                  <a:gd name="connsiteY341" fmla="*/ 316174 h 1408309"/>
                  <a:gd name="connsiteX342" fmla="*/ 1286657 w 1477099"/>
                  <a:gd name="connsiteY342" fmla="*/ 300099 h 1408309"/>
                  <a:gd name="connsiteX343" fmla="*/ 1244086 w 1477099"/>
                  <a:gd name="connsiteY343" fmla="*/ 270917 h 1408309"/>
                  <a:gd name="connsiteX344" fmla="*/ 1234370 w 1477099"/>
                  <a:gd name="connsiteY344" fmla="*/ 263957 h 1408309"/>
                  <a:gd name="connsiteX345" fmla="*/ 1246841 w 1477099"/>
                  <a:gd name="connsiteY345" fmla="*/ 256714 h 1408309"/>
                  <a:gd name="connsiteX346" fmla="*/ 1249738 w 1477099"/>
                  <a:gd name="connsiteY346" fmla="*/ 886884 h 1408309"/>
                  <a:gd name="connsiteX347" fmla="*/ 1249738 w 1477099"/>
                  <a:gd name="connsiteY347" fmla="*/ 882892 h 1408309"/>
                  <a:gd name="connsiteX348" fmla="*/ 1237832 w 1477099"/>
                  <a:gd name="connsiteY348" fmla="*/ 858161 h 1408309"/>
                  <a:gd name="connsiteX349" fmla="*/ 1215928 w 1477099"/>
                  <a:gd name="connsiteY349" fmla="*/ 873812 h 1408309"/>
                  <a:gd name="connsiteX350" fmla="*/ 1199429 w 1477099"/>
                  <a:gd name="connsiteY350" fmla="*/ 900980 h 1408309"/>
                  <a:gd name="connsiteX351" fmla="*/ 1178868 w 1477099"/>
                  <a:gd name="connsiteY351" fmla="*/ 930692 h 1408309"/>
                  <a:gd name="connsiteX352" fmla="*/ 1196356 w 1477099"/>
                  <a:gd name="connsiteY352" fmla="*/ 964679 h 1408309"/>
                  <a:gd name="connsiteX353" fmla="*/ 1228470 w 1477099"/>
                  <a:gd name="connsiteY353" fmla="*/ 963973 h 1408309"/>
                  <a:gd name="connsiteX354" fmla="*/ 1249738 w 1477099"/>
                  <a:gd name="connsiteY354" fmla="*/ 886919 h 1408309"/>
                  <a:gd name="connsiteX355" fmla="*/ 1290367 w 1477099"/>
                  <a:gd name="connsiteY355" fmla="*/ 1190363 h 1408309"/>
                  <a:gd name="connsiteX356" fmla="*/ 1342902 w 1477099"/>
                  <a:gd name="connsiteY356" fmla="*/ 1179411 h 1408309"/>
                  <a:gd name="connsiteX357" fmla="*/ 1374098 w 1477099"/>
                  <a:gd name="connsiteY357" fmla="*/ 1147862 h 1408309"/>
                  <a:gd name="connsiteX358" fmla="*/ 1371801 w 1477099"/>
                  <a:gd name="connsiteY358" fmla="*/ 1054698 h 1408309"/>
                  <a:gd name="connsiteX359" fmla="*/ 1354772 w 1477099"/>
                  <a:gd name="connsiteY359" fmla="*/ 1114228 h 1408309"/>
                  <a:gd name="connsiteX360" fmla="*/ 1302944 w 1477099"/>
                  <a:gd name="connsiteY360" fmla="*/ 1177221 h 1408309"/>
                  <a:gd name="connsiteX361" fmla="*/ 1290367 w 1477099"/>
                  <a:gd name="connsiteY361" fmla="*/ 1190398 h 1408309"/>
                  <a:gd name="connsiteX362" fmla="*/ 1291568 w 1477099"/>
                  <a:gd name="connsiteY362" fmla="*/ 286815 h 1408309"/>
                  <a:gd name="connsiteX363" fmla="*/ 1258252 w 1477099"/>
                  <a:gd name="connsiteY363" fmla="*/ 207925 h 1408309"/>
                  <a:gd name="connsiteX364" fmla="*/ 1184096 w 1477099"/>
                  <a:gd name="connsiteY364" fmla="*/ 168638 h 1408309"/>
                  <a:gd name="connsiteX365" fmla="*/ 1173003 w 1477099"/>
                  <a:gd name="connsiteY365" fmla="*/ 169204 h 1408309"/>
                  <a:gd name="connsiteX366" fmla="*/ 1177454 w 1477099"/>
                  <a:gd name="connsiteY366" fmla="*/ 184289 h 1408309"/>
                  <a:gd name="connsiteX367" fmla="*/ 1209039 w 1477099"/>
                  <a:gd name="connsiteY367" fmla="*/ 197326 h 1408309"/>
                  <a:gd name="connsiteX368" fmla="*/ 1258889 w 1477099"/>
                  <a:gd name="connsiteY368" fmla="*/ 252475 h 1408309"/>
                  <a:gd name="connsiteX369" fmla="*/ 1276341 w 1477099"/>
                  <a:gd name="connsiteY369" fmla="*/ 277099 h 1408309"/>
                  <a:gd name="connsiteX370" fmla="*/ 1291604 w 1477099"/>
                  <a:gd name="connsiteY370" fmla="*/ 286780 h 1408309"/>
                  <a:gd name="connsiteX371" fmla="*/ 1372720 w 1477099"/>
                  <a:gd name="connsiteY371" fmla="*/ 698261 h 1408309"/>
                  <a:gd name="connsiteX372" fmla="*/ 1408614 w 1477099"/>
                  <a:gd name="connsiteY372" fmla="*/ 667241 h 1408309"/>
                  <a:gd name="connsiteX373" fmla="*/ 1392257 w 1477099"/>
                  <a:gd name="connsiteY373" fmla="*/ 629651 h 1408309"/>
                  <a:gd name="connsiteX374" fmla="*/ 1385862 w 1477099"/>
                  <a:gd name="connsiteY374" fmla="*/ 628732 h 1408309"/>
                  <a:gd name="connsiteX375" fmla="*/ 1357069 w 1477099"/>
                  <a:gd name="connsiteY375" fmla="*/ 645302 h 1408309"/>
                  <a:gd name="connsiteX376" fmla="*/ 1355762 w 1477099"/>
                  <a:gd name="connsiteY376" fmla="*/ 681514 h 1408309"/>
                  <a:gd name="connsiteX377" fmla="*/ 1372720 w 1477099"/>
                  <a:gd name="connsiteY377" fmla="*/ 698225 h 1408309"/>
                  <a:gd name="connsiteX378" fmla="*/ 67548 w 1477099"/>
                  <a:gd name="connsiteY378" fmla="*/ 445373 h 1408309"/>
                  <a:gd name="connsiteX379" fmla="*/ 67583 w 1477099"/>
                  <a:gd name="connsiteY379" fmla="*/ 457632 h 1408309"/>
                  <a:gd name="connsiteX380" fmla="*/ 81397 w 1477099"/>
                  <a:gd name="connsiteY380" fmla="*/ 463391 h 1408309"/>
                  <a:gd name="connsiteX381" fmla="*/ 101358 w 1477099"/>
                  <a:gd name="connsiteY381" fmla="*/ 438979 h 1408309"/>
                  <a:gd name="connsiteX382" fmla="*/ 127219 w 1477099"/>
                  <a:gd name="connsiteY382" fmla="*/ 388387 h 1408309"/>
                  <a:gd name="connsiteX383" fmla="*/ 126548 w 1477099"/>
                  <a:gd name="connsiteY383" fmla="*/ 379731 h 1408309"/>
                  <a:gd name="connsiteX384" fmla="*/ 120365 w 1477099"/>
                  <a:gd name="connsiteY384" fmla="*/ 380085 h 1408309"/>
                  <a:gd name="connsiteX385" fmla="*/ 67548 w 1477099"/>
                  <a:gd name="connsiteY385" fmla="*/ 445373 h 1408309"/>
                  <a:gd name="connsiteX386" fmla="*/ 1342054 w 1477099"/>
                  <a:gd name="connsiteY386" fmla="*/ 364010 h 1408309"/>
                  <a:gd name="connsiteX387" fmla="*/ 1345693 w 1477099"/>
                  <a:gd name="connsiteY387" fmla="*/ 376304 h 1408309"/>
                  <a:gd name="connsiteX388" fmla="*/ 1387417 w 1477099"/>
                  <a:gd name="connsiteY388" fmla="*/ 445550 h 1408309"/>
                  <a:gd name="connsiteX389" fmla="*/ 1406777 w 1477099"/>
                  <a:gd name="connsiteY389" fmla="*/ 553764 h 1408309"/>
                  <a:gd name="connsiteX390" fmla="*/ 1406565 w 1477099"/>
                  <a:gd name="connsiteY390" fmla="*/ 579095 h 1408309"/>
                  <a:gd name="connsiteX391" fmla="*/ 1417234 w 1477099"/>
                  <a:gd name="connsiteY391" fmla="*/ 483988 h 1408309"/>
                  <a:gd name="connsiteX392" fmla="*/ 1342054 w 1477099"/>
                  <a:gd name="connsiteY392" fmla="*/ 364010 h 1408309"/>
                  <a:gd name="connsiteX393" fmla="*/ 366611 w 1477099"/>
                  <a:gd name="connsiteY393" fmla="*/ 147441 h 1408309"/>
                  <a:gd name="connsiteX394" fmla="*/ 277899 w 1477099"/>
                  <a:gd name="connsiteY394" fmla="*/ 211034 h 1408309"/>
                  <a:gd name="connsiteX395" fmla="*/ 311709 w 1477099"/>
                  <a:gd name="connsiteY395" fmla="*/ 196443 h 1408309"/>
                  <a:gd name="connsiteX396" fmla="*/ 352126 w 1477099"/>
                  <a:gd name="connsiteY396" fmla="*/ 165035 h 1408309"/>
                  <a:gd name="connsiteX397" fmla="*/ 366611 w 1477099"/>
                  <a:gd name="connsiteY397" fmla="*/ 147441 h 1408309"/>
                  <a:gd name="connsiteX398" fmla="*/ 1430624 w 1477099"/>
                  <a:gd name="connsiteY398" fmla="*/ 678512 h 1408309"/>
                  <a:gd name="connsiteX399" fmla="*/ 1442000 w 1477099"/>
                  <a:gd name="connsiteY399" fmla="*/ 592061 h 1408309"/>
                  <a:gd name="connsiteX400" fmla="*/ 1430872 w 1477099"/>
                  <a:gd name="connsiteY400" fmla="*/ 590365 h 1408309"/>
                  <a:gd name="connsiteX401" fmla="*/ 1407484 w 1477099"/>
                  <a:gd name="connsiteY401" fmla="*/ 591389 h 1408309"/>
                  <a:gd name="connsiteX402" fmla="*/ 1415433 w 1477099"/>
                  <a:gd name="connsiteY402" fmla="*/ 602977 h 1408309"/>
                  <a:gd name="connsiteX403" fmla="*/ 1429706 w 1477099"/>
                  <a:gd name="connsiteY403" fmla="*/ 611668 h 1408309"/>
                  <a:gd name="connsiteX404" fmla="*/ 1431437 w 1477099"/>
                  <a:gd name="connsiteY404" fmla="*/ 663179 h 1408309"/>
                  <a:gd name="connsiteX405" fmla="*/ 1430660 w 1477099"/>
                  <a:gd name="connsiteY405" fmla="*/ 678476 h 1408309"/>
                  <a:gd name="connsiteX406" fmla="*/ 766751 w 1477099"/>
                  <a:gd name="connsiteY406" fmla="*/ 1349592 h 1408309"/>
                  <a:gd name="connsiteX407" fmla="*/ 855533 w 1477099"/>
                  <a:gd name="connsiteY407" fmla="*/ 1380364 h 1408309"/>
                  <a:gd name="connsiteX408" fmla="*/ 787878 w 1477099"/>
                  <a:gd name="connsiteY408" fmla="*/ 1352984 h 1408309"/>
                  <a:gd name="connsiteX409" fmla="*/ 766786 w 1477099"/>
                  <a:gd name="connsiteY409" fmla="*/ 1349557 h 1408309"/>
                  <a:gd name="connsiteX410" fmla="*/ 1325308 w 1477099"/>
                  <a:gd name="connsiteY410" fmla="*/ 365882 h 1408309"/>
                  <a:gd name="connsiteX411" fmla="*/ 1306901 w 1477099"/>
                  <a:gd name="connsiteY411" fmla="*/ 334863 h 1408309"/>
                  <a:gd name="connsiteX412" fmla="*/ 1325308 w 1477099"/>
                  <a:gd name="connsiteY412" fmla="*/ 365882 h 140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Lst>
                <a:rect l="l" t="t" r="r" b="b"/>
                <a:pathLst>
                  <a:path w="1477099" h="1408309">
                    <a:moveTo>
                      <a:pt x="1449985" y="526913"/>
                    </a:moveTo>
                    <a:cubicBezTo>
                      <a:pt x="1445109" y="543730"/>
                      <a:pt x="1450974" y="559911"/>
                      <a:pt x="1463163" y="578388"/>
                    </a:cubicBezTo>
                    <a:cubicBezTo>
                      <a:pt x="1484466" y="610714"/>
                      <a:pt x="1478778" y="646998"/>
                      <a:pt x="1463269" y="681373"/>
                    </a:cubicBezTo>
                    <a:cubicBezTo>
                      <a:pt x="1460195" y="688192"/>
                      <a:pt x="1456733" y="694410"/>
                      <a:pt x="1457510" y="702641"/>
                    </a:cubicBezTo>
                    <a:cubicBezTo>
                      <a:pt x="1459665" y="725570"/>
                      <a:pt x="1461220" y="748570"/>
                      <a:pt x="1462385" y="771569"/>
                    </a:cubicBezTo>
                    <a:cubicBezTo>
                      <a:pt x="1465035" y="823221"/>
                      <a:pt x="1460372" y="874307"/>
                      <a:pt x="1448748" y="924686"/>
                    </a:cubicBezTo>
                    <a:cubicBezTo>
                      <a:pt x="1443802" y="946131"/>
                      <a:pt x="1432815" y="965209"/>
                      <a:pt x="1420732" y="983156"/>
                    </a:cubicBezTo>
                    <a:cubicBezTo>
                      <a:pt x="1401407" y="1011879"/>
                      <a:pt x="1398016" y="1042616"/>
                      <a:pt x="1403173" y="1075896"/>
                    </a:cubicBezTo>
                    <a:cubicBezTo>
                      <a:pt x="1407236" y="1102181"/>
                      <a:pt x="1408508" y="1128643"/>
                      <a:pt x="1400064" y="1154786"/>
                    </a:cubicBezTo>
                    <a:cubicBezTo>
                      <a:pt x="1392292" y="1178881"/>
                      <a:pt x="1377489" y="1195804"/>
                      <a:pt x="1353395" y="1203647"/>
                    </a:cubicBezTo>
                    <a:cubicBezTo>
                      <a:pt x="1332338" y="1210501"/>
                      <a:pt x="1310999" y="1216754"/>
                      <a:pt x="1288636" y="1217284"/>
                    </a:cubicBezTo>
                    <a:cubicBezTo>
                      <a:pt x="1280263" y="1217461"/>
                      <a:pt x="1274398" y="1220570"/>
                      <a:pt x="1269629" y="1227247"/>
                    </a:cubicBezTo>
                    <a:cubicBezTo>
                      <a:pt x="1261256" y="1238941"/>
                      <a:pt x="1250833" y="1248515"/>
                      <a:pt x="1238150" y="1255404"/>
                    </a:cubicBezTo>
                    <a:cubicBezTo>
                      <a:pt x="1228011" y="1260880"/>
                      <a:pt x="1221404" y="1269925"/>
                      <a:pt x="1215328" y="1279040"/>
                    </a:cubicBezTo>
                    <a:cubicBezTo>
                      <a:pt x="1200913" y="1300661"/>
                      <a:pt x="1180175" y="1308999"/>
                      <a:pt x="1156540" y="1301827"/>
                    </a:cubicBezTo>
                    <a:cubicBezTo>
                      <a:pt x="1135307" y="1295362"/>
                      <a:pt x="1120150" y="1301827"/>
                      <a:pt x="1104181" y="1313910"/>
                    </a:cubicBezTo>
                    <a:cubicBezTo>
                      <a:pt x="1068039" y="1341184"/>
                      <a:pt x="1030908" y="1366904"/>
                      <a:pt x="986641" y="1380082"/>
                    </a:cubicBezTo>
                    <a:cubicBezTo>
                      <a:pt x="950463" y="1390857"/>
                      <a:pt x="913332" y="1396828"/>
                      <a:pt x="876484" y="1404282"/>
                    </a:cubicBezTo>
                    <a:cubicBezTo>
                      <a:pt x="836067" y="1412479"/>
                      <a:pt x="798053" y="1409334"/>
                      <a:pt x="763889" y="1383897"/>
                    </a:cubicBezTo>
                    <a:cubicBezTo>
                      <a:pt x="760851" y="1381636"/>
                      <a:pt x="757742" y="1379304"/>
                      <a:pt x="753184" y="1382413"/>
                    </a:cubicBezTo>
                    <a:cubicBezTo>
                      <a:pt x="733011" y="1396227"/>
                      <a:pt x="709906" y="1399054"/>
                      <a:pt x="686165" y="1400431"/>
                    </a:cubicBezTo>
                    <a:cubicBezTo>
                      <a:pt x="636633" y="1403293"/>
                      <a:pt x="587773" y="1400961"/>
                      <a:pt x="540325" y="1385028"/>
                    </a:cubicBezTo>
                    <a:cubicBezTo>
                      <a:pt x="517679" y="1377432"/>
                      <a:pt x="496976" y="1366515"/>
                      <a:pt x="483940" y="1345247"/>
                    </a:cubicBezTo>
                    <a:cubicBezTo>
                      <a:pt x="481113" y="1340619"/>
                      <a:pt x="477439" y="1340124"/>
                      <a:pt x="472811" y="1340124"/>
                    </a:cubicBezTo>
                    <a:cubicBezTo>
                      <a:pt x="449105" y="1340124"/>
                      <a:pt x="429744" y="1331009"/>
                      <a:pt x="415683" y="1311684"/>
                    </a:cubicBezTo>
                    <a:cubicBezTo>
                      <a:pt x="411797" y="1306314"/>
                      <a:pt x="407381" y="1303205"/>
                      <a:pt x="400668" y="1302145"/>
                    </a:cubicBezTo>
                    <a:cubicBezTo>
                      <a:pt x="387526" y="1300061"/>
                      <a:pt x="376326" y="1293913"/>
                      <a:pt x="368059" y="1283350"/>
                    </a:cubicBezTo>
                    <a:cubicBezTo>
                      <a:pt x="356895" y="1269112"/>
                      <a:pt x="342516" y="1261764"/>
                      <a:pt x="324710" y="1257913"/>
                    </a:cubicBezTo>
                    <a:cubicBezTo>
                      <a:pt x="278252" y="1247844"/>
                      <a:pt x="237588" y="1226010"/>
                      <a:pt x="203177" y="1193013"/>
                    </a:cubicBezTo>
                    <a:cubicBezTo>
                      <a:pt x="188586" y="1179022"/>
                      <a:pt x="177316" y="1162594"/>
                      <a:pt x="168978" y="1144294"/>
                    </a:cubicBezTo>
                    <a:cubicBezTo>
                      <a:pt x="166576" y="1139065"/>
                      <a:pt x="164279" y="1136133"/>
                      <a:pt x="158132" y="1134613"/>
                    </a:cubicBezTo>
                    <a:cubicBezTo>
                      <a:pt x="123616" y="1126099"/>
                      <a:pt x="90689" y="1098153"/>
                      <a:pt x="97931" y="1047915"/>
                    </a:cubicBezTo>
                    <a:cubicBezTo>
                      <a:pt x="98178" y="1046149"/>
                      <a:pt x="97931" y="1044312"/>
                      <a:pt x="98284" y="1042616"/>
                    </a:cubicBezTo>
                    <a:cubicBezTo>
                      <a:pt x="102206" y="1024527"/>
                      <a:pt x="96235" y="1011950"/>
                      <a:pt x="81467" y="999655"/>
                    </a:cubicBezTo>
                    <a:cubicBezTo>
                      <a:pt x="52533" y="975525"/>
                      <a:pt x="50484" y="941397"/>
                      <a:pt x="54087" y="906810"/>
                    </a:cubicBezTo>
                    <a:cubicBezTo>
                      <a:pt x="55819" y="890346"/>
                      <a:pt x="54017" y="877698"/>
                      <a:pt x="37271" y="868089"/>
                    </a:cubicBezTo>
                    <a:cubicBezTo>
                      <a:pt x="9431" y="852120"/>
                      <a:pt x="4591" y="823362"/>
                      <a:pt x="2966" y="794392"/>
                    </a:cubicBezTo>
                    <a:cubicBezTo>
                      <a:pt x="1517" y="768707"/>
                      <a:pt x="1305" y="742988"/>
                      <a:pt x="139" y="717303"/>
                    </a:cubicBezTo>
                    <a:cubicBezTo>
                      <a:pt x="-885" y="694975"/>
                      <a:pt x="3708" y="673919"/>
                      <a:pt x="14836" y="654770"/>
                    </a:cubicBezTo>
                    <a:cubicBezTo>
                      <a:pt x="27590" y="632866"/>
                      <a:pt x="35257" y="609655"/>
                      <a:pt x="36705" y="584465"/>
                    </a:cubicBezTo>
                    <a:cubicBezTo>
                      <a:pt x="37589" y="568991"/>
                      <a:pt x="42358" y="555000"/>
                      <a:pt x="51049" y="542246"/>
                    </a:cubicBezTo>
                    <a:cubicBezTo>
                      <a:pt x="57974" y="532107"/>
                      <a:pt x="59881" y="522497"/>
                      <a:pt x="54017" y="510202"/>
                    </a:cubicBezTo>
                    <a:cubicBezTo>
                      <a:pt x="45644" y="492608"/>
                      <a:pt x="41051" y="473283"/>
                      <a:pt x="40379" y="453746"/>
                    </a:cubicBezTo>
                    <a:cubicBezTo>
                      <a:pt x="39108" y="415661"/>
                      <a:pt x="53699" y="385667"/>
                      <a:pt x="88180" y="366907"/>
                    </a:cubicBezTo>
                    <a:cubicBezTo>
                      <a:pt x="105350" y="357544"/>
                      <a:pt x="122874" y="348959"/>
                      <a:pt x="142411" y="346027"/>
                    </a:cubicBezTo>
                    <a:cubicBezTo>
                      <a:pt x="149971" y="344896"/>
                      <a:pt x="152303" y="340268"/>
                      <a:pt x="154564" y="334086"/>
                    </a:cubicBezTo>
                    <a:cubicBezTo>
                      <a:pt x="165587" y="303702"/>
                      <a:pt x="183075" y="278124"/>
                      <a:pt x="211091" y="260813"/>
                    </a:cubicBezTo>
                    <a:cubicBezTo>
                      <a:pt x="215825" y="257916"/>
                      <a:pt x="217097" y="253535"/>
                      <a:pt x="218298" y="248730"/>
                    </a:cubicBezTo>
                    <a:cubicBezTo>
                      <a:pt x="224233" y="225660"/>
                      <a:pt x="236281" y="206759"/>
                      <a:pt x="255253" y="191920"/>
                    </a:cubicBezTo>
                    <a:cubicBezTo>
                      <a:pt x="271999" y="178813"/>
                      <a:pt x="283905" y="160477"/>
                      <a:pt x="301534" y="148077"/>
                    </a:cubicBezTo>
                    <a:cubicBezTo>
                      <a:pt x="333507" y="125537"/>
                      <a:pt x="369755" y="117128"/>
                      <a:pt x="407946" y="115326"/>
                    </a:cubicBezTo>
                    <a:cubicBezTo>
                      <a:pt x="416036" y="114938"/>
                      <a:pt x="420594" y="112500"/>
                      <a:pt x="424763" y="105646"/>
                    </a:cubicBezTo>
                    <a:cubicBezTo>
                      <a:pt x="442816" y="75863"/>
                      <a:pt x="462707" y="47741"/>
                      <a:pt x="495139" y="31384"/>
                    </a:cubicBezTo>
                    <a:cubicBezTo>
                      <a:pt x="535591" y="10928"/>
                      <a:pt x="578233" y="1919"/>
                      <a:pt x="623526" y="4428"/>
                    </a:cubicBezTo>
                    <a:cubicBezTo>
                      <a:pt x="650235" y="5911"/>
                      <a:pt x="676131" y="11529"/>
                      <a:pt x="701957" y="17782"/>
                    </a:cubicBezTo>
                    <a:cubicBezTo>
                      <a:pt x="711213" y="20008"/>
                      <a:pt x="719515" y="17711"/>
                      <a:pt x="727783" y="14355"/>
                    </a:cubicBezTo>
                    <a:cubicBezTo>
                      <a:pt x="745553" y="7183"/>
                      <a:pt x="762123" y="7148"/>
                      <a:pt x="777067" y="21209"/>
                    </a:cubicBezTo>
                    <a:cubicBezTo>
                      <a:pt x="783956" y="27674"/>
                      <a:pt x="792082" y="24530"/>
                      <a:pt x="799749" y="22340"/>
                    </a:cubicBezTo>
                    <a:cubicBezTo>
                      <a:pt x="820134" y="16510"/>
                      <a:pt x="839211" y="6830"/>
                      <a:pt x="860621" y="3827"/>
                    </a:cubicBezTo>
                    <a:cubicBezTo>
                      <a:pt x="986853" y="-14014"/>
                      <a:pt x="1086234" y="30819"/>
                      <a:pt x="1161380" y="132214"/>
                    </a:cubicBezTo>
                    <a:cubicBezTo>
                      <a:pt x="1164736" y="136736"/>
                      <a:pt x="1168233" y="137866"/>
                      <a:pt x="1173180" y="138962"/>
                    </a:cubicBezTo>
                    <a:cubicBezTo>
                      <a:pt x="1219108" y="149243"/>
                      <a:pt x="1260902" y="167119"/>
                      <a:pt x="1291250" y="205204"/>
                    </a:cubicBezTo>
                    <a:cubicBezTo>
                      <a:pt x="1311529" y="230641"/>
                      <a:pt x="1318171" y="260707"/>
                      <a:pt x="1318737" y="292256"/>
                    </a:cubicBezTo>
                    <a:cubicBezTo>
                      <a:pt x="1318913" y="301971"/>
                      <a:pt x="1321634" y="309002"/>
                      <a:pt x="1328629" y="315502"/>
                    </a:cubicBezTo>
                    <a:cubicBezTo>
                      <a:pt x="1356009" y="340834"/>
                      <a:pt x="1382117" y="367437"/>
                      <a:pt x="1403597" y="398138"/>
                    </a:cubicBezTo>
                    <a:cubicBezTo>
                      <a:pt x="1429953" y="435764"/>
                      <a:pt x="1449808" y="475792"/>
                      <a:pt x="1449914" y="527055"/>
                    </a:cubicBezTo>
                    <a:close/>
                    <a:moveTo>
                      <a:pt x="1302697" y="327903"/>
                    </a:moveTo>
                    <a:cubicBezTo>
                      <a:pt x="1302520" y="327585"/>
                      <a:pt x="1302379" y="327232"/>
                      <a:pt x="1302132" y="326985"/>
                    </a:cubicBezTo>
                    <a:cubicBezTo>
                      <a:pt x="1301990" y="326843"/>
                      <a:pt x="1301672" y="326879"/>
                      <a:pt x="1301425" y="326843"/>
                    </a:cubicBezTo>
                    <a:cubicBezTo>
                      <a:pt x="1301885" y="327161"/>
                      <a:pt x="1302344" y="327479"/>
                      <a:pt x="1302803" y="327762"/>
                    </a:cubicBezTo>
                    <a:cubicBezTo>
                      <a:pt x="1302873" y="328115"/>
                      <a:pt x="1302873" y="328468"/>
                      <a:pt x="1303015" y="328786"/>
                    </a:cubicBezTo>
                    <a:cubicBezTo>
                      <a:pt x="1303121" y="328963"/>
                      <a:pt x="1303439" y="329034"/>
                      <a:pt x="1303651" y="329140"/>
                    </a:cubicBezTo>
                    <a:cubicBezTo>
                      <a:pt x="1303333" y="328716"/>
                      <a:pt x="1302980" y="328292"/>
                      <a:pt x="1302662" y="327903"/>
                    </a:cubicBezTo>
                    <a:close/>
                    <a:moveTo>
                      <a:pt x="375867" y="1249292"/>
                    </a:moveTo>
                    <a:cubicBezTo>
                      <a:pt x="376008" y="1249610"/>
                      <a:pt x="376114" y="1249999"/>
                      <a:pt x="376326" y="1250246"/>
                    </a:cubicBezTo>
                    <a:cubicBezTo>
                      <a:pt x="376468" y="1250388"/>
                      <a:pt x="376786" y="1250352"/>
                      <a:pt x="377033" y="1250423"/>
                    </a:cubicBezTo>
                    <a:cubicBezTo>
                      <a:pt x="376609" y="1250070"/>
                      <a:pt x="376185" y="1249752"/>
                      <a:pt x="375761" y="1249398"/>
                    </a:cubicBezTo>
                    <a:cubicBezTo>
                      <a:pt x="376044" y="1242792"/>
                      <a:pt x="374631" y="1235408"/>
                      <a:pt x="368130" y="1233995"/>
                    </a:cubicBezTo>
                    <a:cubicBezTo>
                      <a:pt x="349759" y="1230003"/>
                      <a:pt x="331034" y="1227636"/>
                      <a:pt x="312451" y="1224633"/>
                    </a:cubicBezTo>
                    <a:cubicBezTo>
                      <a:pt x="333366" y="1233959"/>
                      <a:pt x="356577" y="1236291"/>
                      <a:pt x="375867" y="1249292"/>
                    </a:cubicBezTo>
                    <a:close/>
                    <a:moveTo>
                      <a:pt x="434443" y="1281301"/>
                    </a:moveTo>
                    <a:cubicBezTo>
                      <a:pt x="434125" y="1281054"/>
                      <a:pt x="433807" y="1280806"/>
                      <a:pt x="433524" y="1280559"/>
                    </a:cubicBezTo>
                    <a:cubicBezTo>
                      <a:pt x="433843" y="1280806"/>
                      <a:pt x="434125" y="1281054"/>
                      <a:pt x="434443" y="1281336"/>
                    </a:cubicBezTo>
                    <a:cubicBezTo>
                      <a:pt x="437340" y="1305466"/>
                      <a:pt x="454122" y="1316771"/>
                      <a:pt x="480442" y="1311119"/>
                    </a:cubicBezTo>
                    <a:cubicBezTo>
                      <a:pt x="464826" y="1309741"/>
                      <a:pt x="452814" y="1305077"/>
                      <a:pt x="447939" y="1289603"/>
                    </a:cubicBezTo>
                    <a:cubicBezTo>
                      <a:pt x="446066" y="1283668"/>
                      <a:pt x="441226" y="1280453"/>
                      <a:pt x="434478" y="1281336"/>
                    </a:cubicBezTo>
                    <a:close/>
                    <a:moveTo>
                      <a:pt x="740784" y="1355916"/>
                    </a:moveTo>
                    <a:cubicBezTo>
                      <a:pt x="725698" y="1357118"/>
                      <a:pt x="712344" y="1364890"/>
                      <a:pt x="697187" y="1366586"/>
                    </a:cubicBezTo>
                    <a:cubicBezTo>
                      <a:pt x="664472" y="1370260"/>
                      <a:pt x="631828" y="1370613"/>
                      <a:pt x="599290" y="1366127"/>
                    </a:cubicBezTo>
                    <a:cubicBezTo>
                      <a:pt x="567387" y="1361746"/>
                      <a:pt x="536580" y="1354115"/>
                      <a:pt x="514252" y="1327865"/>
                    </a:cubicBezTo>
                    <a:cubicBezTo>
                      <a:pt x="511320" y="1324438"/>
                      <a:pt x="508741" y="1319739"/>
                      <a:pt x="503229" y="1319457"/>
                    </a:cubicBezTo>
                    <a:cubicBezTo>
                      <a:pt x="501463" y="1321364"/>
                      <a:pt x="502699" y="1322954"/>
                      <a:pt x="503371" y="1324509"/>
                    </a:cubicBezTo>
                    <a:cubicBezTo>
                      <a:pt x="510825" y="1342315"/>
                      <a:pt x="525734" y="1351536"/>
                      <a:pt x="542657" y="1358036"/>
                    </a:cubicBezTo>
                    <a:cubicBezTo>
                      <a:pt x="592860" y="1377291"/>
                      <a:pt x="645253" y="1375454"/>
                      <a:pt x="697541" y="1373228"/>
                    </a:cubicBezTo>
                    <a:cubicBezTo>
                      <a:pt x="713474" y="1372557"/>
                      <a:pt x="729161" y="1368706"/>
                      <a:pt x="740643" y="1355810"/>
                    </a:cubicBezTo>
                    <a:cubicBezTo>
                      <a:pt x="742232" y="1355598"/>
                      <a:pt x="743857" y="1355386"/>
                      <a:pt x="745447" y="1355174"/>
                    </a:cubicBezTo>
                    <a:cubicBezTo>
                      <a:pt x="745235" y="1354751"/>
                      <a:pt x="744811" y="1353973"/>
                      <a:pt x="744776" y="1353973"/>
                    </a:cubicBezTo>
                    <a:cubicBezTo>
                      <a:pt x="743398" y="1354574"/>
                      <a:pt x="742055" y="1355280"/>
                      <a:pt x="740713" y="1355952"/>
                    </a:cubicBezTo>
                    <a:close/>
                    <a:moveTo>
                      <a:pt x="804624" y="1260033"/>
                    </a:moveTo>
                    <a:cubicBezTo>
                      <a:pt x="814728" y="1257630"/>
                      <a:pt x="818861" y="1267876"/>
                      <a:pt x="826493" y="1270455"/>
                    </a:cubicBezTo>
                    <a:cubicBezTo>
                      <a:pt x="839353" y="1274800"/>
                      <a:pt x="852778" y="1273670"/>
                      <a:pt x="866026" y="1273528"/>
                    </a:cubicBezTo>
                    <a:cubicBezTo>
                      <a:pt x="888531" y="1273281"/>
                      <a:pt x="905807" y="1261304"/>
                      <a:pt x="914004" y="1240389"/>
                    </a:cubicBezTo>
                    <a:cubicBezTo>
                      <a:pt x="924744" y="1212974"/>
                      <a:pt x="936190" y="1208310"/>
                      <a:pt x="963252" y="1221170"/>
                    </a:cubicBezTo>
                    <a:cubicBezTo>
                      <a:pt x="971696" y="1225198"/>
                      <a:pt x="979716" y="1226046"/>
                      <a:pt x="988902" y="1224279"/>
                    </a:cubicBezTo>
                    <a:cubicBezTo>
                      <a:pt x="1014445" y="1219368"/>
                      <a:pt x="1037939" y="1206544"/>
                      <a:pt x="1064400" y="1205095"/>
                    </a:cubicBezTo>
                    <a:cubicBezTo>
                      <a:pt x="1070053" y="1204778"/>
                      <a:pt x="1075600" y="1203400"/>
                      <a:pt x="1081005" y="1200962"/>
                    </a:cubicBezTo>
                    <a:cubicBezTo>
                      <a:pt x="1116970" y="1184640"/>
                      <a:pt x="1146117" y="1159803"/>
                      <a:pt x="1168763" y="1127971"/>
                    </a:cubicBezTo>
                    <a:cubicBezTo>
                      <a:pt x="1182224" y="1109035"/>
                      <a:pt x="1189431" y="1087661"/>
                      <a:pt x="1177136" y="1064379"/>
                    </a:cubicBezTo>
                    <a:cubicBezTo>
                      <a:pt x="1171448" y="1053603"/>
                      <a:pt x="1171342" y="1042545"/>
                      <a:pt x="1176253" y="1031098"/>
                    </a:cubicBezTo>
                    <a:cubicBezTo>
                      <a:pt x="1179504" y="1023467"/>
                      <a:pt x="1178514" y="1015447"/>
                      <a:pt x="1174451" y="1008028"/>
                    </a:cubicBezTo>
                    <a:cubicBezTo>
                      <a:pt x="1171484" y="1002588"/>
                      <a:pt x="1168905" y="997041"/>
                      <a:pt x="1164700" y="992271"/>
                    </a:cubicBezTo>
                    <a:cubicBezTo>
                      <a:pt x="1149509" y="975066"/>
                      <a:pt x="1146047" y="956553"/>
                      <a:pt x="1159684" y="936628"/>
                    </a:cubicBezTo>
                    <a:cubicBezTo>
                      <a:pt x="1173674" y="916243"/>
                      <a:pt x="1181729" y="893349"/>
                      <a:pt x="1187806" y="869643"/>
                    </a:cubicBezTo>
                    <a:cubicBezTo>
                      <a:pt x="1190738" y="858232"/>
                      <a:pt x="1196320" y="849718"/>
                      <a:pt x="1207944" y="845266"/>
                    </a:cubicBezTo>
                    <a:cubicBezTo>
                      <a:pt x="1214444" y="842758"/>
                      <a:pt x="1220450" y="838589"/>
                      <a:pt x="1226244" y="834597"/>
                    </a:cubicBezTo>
                    <a:cubicBezTo>
                      <a:pt x="1244792" y="821772"/>
                      <a:pt x="1263128" y="808630"/>
                      <a:pt x="1281676" y="795770"/>
                    </a:cubicBezTo>
                    <a:cubicBezTo>
                      <a:pt x="1284820" y="793579"/>
                      <a:pt x="1288919" y="789764"/>
                      <a:pt x="1292381" y="792555"/>
                    </a:cubicBezTo>
                    <a:cubicBezTo>
                      <a:pt x="1297150" y="796335"/>
                      <a:pt x="1292381" y="800751"/>
                      <a:pt x="1290508" y="804284"/>
                    </a:cubicBezTo>
                    <a:cubicBezTo>
                      <a:pt x="1286763" y="811279"/>
                      <a:pt x="1282065" y="817780"/>
                      <a:pt x="1278073" y="824669"/>
                    </a:cubicBezTo>
                    <a:cubicBezTo>
                      <a:pt x="1274010" y="831700"/>
                      <a:pt x="1275317" y="838765"/>
                      <a:pt x="1280404" y="844418"/>
                    </a:cubicBezTo>
                    <a:cubicBezTo>
                      <a:pt x="1286340" y="851025"/>
                      <a:pt x="1291886" y="844842"/>
                      <a:pt x="1296938" y="842157"/>
                    </a:cubicBezTo>
                    <a:cubicBezTo>
                      <a:pt x="1300718" y="840143"/>
                      <a:pt x="1304146" y="836893"/>
                      <a:pt x="1306795" y="833466"/>
                    </a:cubicBezTo>
                    <a:cubicBezTo>
                      <a:pt x="1317888" y="819122"/>
                      <a:pt x="1328982" y="804779"/>
                      <a:pt x="1339334" y="789905"/>
                    </a:cubicBezTo>
                    <a:cubicBezTo>
                      <a:pt x="1346082" y="780189"/>
                      <a:pt x="1353607" y="770474"/>
                      <a:pt x="1353677" y="757649"/>
                    </a:cubicBezTo>
                    <a:cubicBezTo>
                      <a:pt x="1353677" y="751855"/>
                      <a:pt x="1354242" y="746026"/>
                      <a:pt x="1347494" y="742882"/>
                    </a:cubicBezTo>
                    <a:cubicBezTo>
                      <a:pt x="1341418" y="740055"/>
                      <a:pt x="1335659" y="739101"/>
                      <a:pt x="1330077" y="743624"/>
                    </a:cubicBezTo>
                    <a:cubicBezTo>
                      <a:pt x="1325273" y="747510"/>
                      <a:pt x="1320397" y="751325"/>
                      <a:pt x="1315804" y="755424"/>
                    </a:cubicBezTo>
                    <a:cubicBezTo>
                      <a:pt x="1309339" y="761217"/>
                      <a:pt x="1301743" y="764150"/>
                      <a:pt x="1293794" y="760723"/>
                    </a:cubicBezTo>
                    <a:cubicBezTo>
                      <a:pt x="1286127" y="757402"/>
                      <a:pt x="1284432" y="749771"/>
                      <a:pt x="1284220" y="741716"/>
                    </a:cubicBezTo>
                    <a:cubicBezTo>
                      <a:pt x="1283902" y="728821"/>
                      <a:pt x="1289272" y="718434"/>
                      <a:pt x="1298175" y="709849"/>
                    </a:cubicBezTo>
                    <a:cubicBezTo>
                      <a:pt x="1305877" y="702429"/>
                      <a:pt x="1310293" y="693350"/>
                      <a:pt x="1312624" y="683387"/>
                    </a:cubicBezTo>
                    <a:cubicBezTo>
                      <a:pt x="1314921" y="673530"/>
                      <a:pt x="1316758" y="663567"/>
                      <a:pt x="1316440" y="653216"/>
                    </a:cubicBezTo>
                    <a:cubicBezTo>
                      <a:pt x="1315274" y="617745"/>
                      <a:pt x="1316299" y="582557"/>
                      <a:pt x="1326403" y="548005"/>
                    </a:cubicBezTo>
                    <a:cubicBezTo>
                      <a:pt x="1331137" y="531859"/>
                      <a:pt x="1331985" y="514654"/>
                      <a:pt x="1327958" y="498085"/>
                    </a:cubicBezTo>
                    <a:cubicBezTo>
                      <a:pt x="1324601" y="484341"/>
                      <a:pt x="1321881" y="471340"/>
                      <a:pt x="1330713" y="458622"/>
                    </a:cubicBezTo>
                    <a:cubicBezTo>
                      <a:pt x="1333116" y="455195"/>
                      <a:pt x="1332868" y="450779"/>
                      <a:pt x="1332056" y="446928"/>
                    </a:cubicBezTo>
                    <a:cubicBezTo>
                      <a:pt x="1327887" y="427390"/>
                      <a:pt x="1316581" y="412340"/>
                      <a:pt x="1301178" y="400293"/>
                    </a:cubicBezTo>
                    <a:cubicBezTo>
                      <a:pt x="1295030" y="395523"/>
                      <a:pt x="1291568" y="397537"/>
                      <a:pt x="1292240" y="405698"/>
                    </a:cubicBezTo>
                    <a:cubicBezTo>
                      <a:pt x="1293088" y="416085"/>
                      <a:pt x="1290932" y="425977"/>
                      <a:pt x="1286481" y="435340"/>
                    </a:cubicBezTo>
                    <a:cubicBezTo>
                      <a:pt x="1285315" y="437813"/>
                      <a:pt x="1284432" y="440038"/>
                      <a:pt x="1285916" y="442794"/>
                    </a:cubicBezTo>
                    <a:cubicBezTo>
                      <a:pt x="1296444" y="462367"/>
                      <a:pt x="1293299" y="482893"/>
                      <a:pt x="1289731" y="503349"/>
                    </a:cubicBezTo>
                    <a:cubicBezTo>
                      <a:pt x="1285527" y="527514"/>
                      <a:pt x="1285810" y="551573"/>
                      <a:pt x="1288495" y="575986"/>
                    </a:cubicBezTo>
                    <a:cubicBezTo>
                      <a:pt x="1291109" y="599833"/>
                      <a:pt x="1290897" y="624599"/>
                      <a:pt x="1280051" y="646291"/>
                    </a:cubicBezTo>
                    <a:cubicBezTo>
                      <a:pt x="1266378" y="673530"/>
                      <a:pt x="1257829" y="701546"/>
                      <a:pt x="1253342" y="731505"/>
                    </a:cubicBezTo>
                    <a:cubicBezTo>
                      <a:pt x="1250869" y="748004"/>
                      <a:pt x="1245605" y="764326"/>
                      <a:pt x="1234653" y="777822"/>
                    </a:cubicBezTo>
                    <a:cubicBezTo>
                      <a:pt x="1231049" y="782238"/>
                      <a:pt x="1226244" y="785347"/>
                      <a:pt x="1220803" y="781426"/>
                    </a:cubicBezTo>
                    <a:cubicBezTo>
                      <a:pt x="1216069" y="778034"/>
                      <a:pt x="1217165" y="772664"/>
                      <a:pt x="1219108" y="768036"/>
                    </a:cubicBezTo>
                    <a:cubicBezTo>
                      <a:pt x="1220450" y="764821"/>
                      <a:pt x="1222747" y="761995"/>
                      <a:pt x="1224760" y="759133"/>
                    </a:cubicBezTo>
                    <a:cubicBezTo>
                      <a:pt x="1229318" y="752632"/>
                      <a:pt x="1233734" y="746203"/>
                      <a:pt x="1236843" y="738677"/>
                    </a:cubicBezTo>
                    <a:cubicBezTo>
                      <a:pt x="1245534" y="717762"/>
                      <a:pt x="1247513" y="696070"/>
                      <a:pt x="1247336" y="673742"/>
                    </a:cubicBezTo>
                    <a:cubicBezTo>
                      <a:pt x="1247089" y="640214"/>
                      <a:pt x="1243591" y="606228"/>
                      <a:pt x="1259348" y="574502"/>
                    </a:cubicBezTo>
                    <a:cubicBezTo>
                      <a:pt x="1261715" y="569732"/>
                      <a:pt x="1261503" y="563832"/>
                      <a:pt x="1258782" y="557473"/>
                    </a:cubicBezTo>
                    <a:cubicBezTo>
                      <a:pt x="1248113" y="569414"/>
                      <a:pt x="1243732" y="583122"/>
                      <a:pt x="1236737" y="595311"/>
                    </a:cubicBezTo>
                    <a:cubicBezTo>
                      <a:pt x="1234935" y="598455"/>
                      <a:pt x="1233346" y="602165"/>
                      <a:pt x="1229071" y="601458"/>
                    </a:cubicBezTo>
                    <a:cubicBezTo>
                      <a:pt x="1224902" y="600752"/>
                      <a:pt x="1223842" y="596618"/>
                      <a:pt x="1223524" y="593262"/>
                    </a:cubicBezTo>
                    <a:cubicBezTo>
                      <a:pt x="1222923" y="586691"/>
                      <a:pt x="1222323" y="579978"/>
                      <a:pt x="1224301" y="573442"/>
                    </a:cubicBezTo>
                    <a:cubicBezTo>
                      <a:pt x="1231190" y="550619"/>
                      <a:pt x="1239599" y="528079"/>
                      <a:pt x="1236772" y="503455"/>
                    </a:cubicBezTo>
                    <a:cubicBezTo>
                      <a:pt x="1236455" y="500593"/>
                      <a:pt x="1238186" y="497484"/>
                      <a:pt x="1238998" y="494516"/>
                    </a:cubicBezTo>
                    <a:cubicBezTo>
                      <a:pt x="1240094" y="490665"/>
                      <a:pt x="1241224" y="487945"/>
                      <a:pt x="1246276" y="490913"/>
                    </a:cubicBezTo>
                    <a:cubicBezTo>
                      <a:pt x="1254967" y="496000"/>
                      <a:pt x="1257193" y="490418"/>
                      <a:pt x="1257758" y="483070"/>
                    </a:cubicBezTo>
                    <a:cubicBezTo>
                      <a:pt x="1259489" y="459752"/>
                      <a:pt x="1254578" y="438060"/>
                      <a:pt x="1241012" y="418841"/>
                    </a:cubicBezTo>
                    <a:cubicBezTo>
                      <a:pt x="1219143" y="387751"/>
                      <a:pt x="1188725" y="363515"/>
                      <a:pt x="1169788" y="329881"/>
                    </a:cubicBezTo>
                    <a:cubicBezTo>
                      <a:pt x="1165513" y="322250"/>
                      <a:pt x="1158447" y="323310"/>
                      <a:pt x="1152936" y="331401"/>
                    </a:cubicBezTo>
                    <a:cubicBezTo>
                      <a:pt x="1146259" y="341222"/>
                      <a:pt x="1148767" y="350514"/>
                      <a:pt x="1154561" y="358534"/>
                    </a:cubicBezTo>
                    <a:cubicBezTo>
                      <a:pt x="1166255" y="374785"/>
                      <a:pt x="1160320" y="391990"/>
                      <a:pt x="1161132" y="411351"/>
                    </a:cubicBezTo>
                    <a:cubicBezTo>
                      <a:pt x="1146789" y="401247"/>
                      <a:pt x="1140324" y="389447"/>
                      <a:pt x="1138133" y="375598"/>
                    </a:cubicBezTo>
                    <a:cubicBezTo>
                      <a:pt x="1133752" y="348041"/>
                      <a:pt x="1130678" y="320484"/>
                      <a:pt x="1109340" y="299004"/>
                    </a:cubicBezTo>
                    <a:cubicBezTo>
                      <a:pt x="1102803" y="292432"/>
                      <a:pt x="1104393" y="282258"/>
                      <a:pt x="1109163" y="273955"/>
                    </a:cubicBezTo>
                    <a:cubicBezTo>
                      <a:pt x="1113155" y="267031"/>
                      <a:pt x="1118348" y="261025"/>
                      <a:pt x="1123895" y="255195"/>
                    </a:cubicBezTo>
                    <a:cubicBezTo>
                      <a:pt x="1136296" y="242123"/>
                      <a:pt x="1147071" y="227638"/>
                      <a:pt x="1145340" y="208455"/>
                    </a:cubicBezTo>
                    <a:cubicBezTo>
                      <a:pt x="1140888" y="158993"/>
                      <a:pt x="1084538" y="99923"/>
                      <a:pt x="1036102" y="95365"/>
                    </a:cubicBezTo>
                    <a:cubicBezTo>
                      <a:pt x="1010311" y="92928"/>
                      <a:pt x="988831" y="79644"/>
                      <a:pt x="972756" y="58057"/>
                    </a:cubicBezTo>
                    <a:cubicBezTo>
                      <a:pt x="963147" y="45127"/>
                      <a:pt x="949898" y="36153"/>
                      <a:pt x="934071" y="31137"/>
                    </a:cubicBezTo>
                    <a:cubicBezTo>
                      <a:pt x="905348" y="22057"/>
                      <a:pt x="875954" y="25731"/>
                      <a:pt x="849068" y="33892"/>
                    </a:cubicBezTo>
                    <a:cubicBezTo>
                      <a:pt x="822394" y="41983"/>
                      <a:pt x="794308" y="47847"/>
                      <a:pt x="769577" y="62156"/>
                    </a:cubicBezTo>
                    <a:cubicBezTo>
                      <a:pt x="760957" y="67137"/>
                      <a:pt x="752407" y="66890"/>
                      <a:pt x="743045" y="62862"/>
                    </a:cubicBezTo>
                    <a:cubicBezTo>
                      <a:pt x="714322" y="50462"/>
                      <a:pt x="688708" y="55655"/>
                      <a:pt x="666769" y="78019"/>
                    </a:cubicBezTo>
                    <a:cubicBezTo>
                      <a:pt x="649670" y="95401"/>
                      <a:pt x="632641" y="112889"/>
                      <a:pt x="613704" y="128257"/>
                    </a:cubicBezTo>
                    <a:cubicBezTo>
                      <a:pt x="599926" y="139421"/>
                      <a:pt x="584875" y="147900"/>
                      <a:pt x="567635" y="153729"/>
                    </a:cubicBezTo>
                    <a:cubicBezTo>
                      <a:pt x="528914" y="166837"/>
                      <a:pt x="487826" y="168214"/>
                      <a:pt x="448858" y="179661"/>
                    </a:cubicBezTo>
                    <a:cubicBezTo>
                      <a:pt x="441438" y="181852"/>
                      <a:pt x="442922" y="177612"/>
                      <a:pt x="444053" y="173267"/>
                    </a:cubicBezTo>
                    <a:cubicBezTo>
                      <a:pt x="446243" y="164823"/>
                      <a:pt x="449988" y="156485"/>
                      <a:pt x="445430" y="147547"/>
                    </a:cubicBezTo>
                    <a:cubicBezTo>
                      <a:pt x="442957" y="142742"/>
                      <a:pt x="440661" y="139739"/>
                      <a:pt x="435856" y="145144"/>
                    </a:cubicBezTo>
                    <a:cubicBezTo>
                      <a:pt x="415683" y="167896"/>
                      <a:pt x="387667" y="178142"/>
                      <a:pt x="361665" y="191567"/>
                    </a:cubicBezTo>
                    <a:cubicBezTo>
                      <a:pt x="333401" y="206158"/>
                      <a:pt x="302594" y="215626"/>
                      <a:pt x="276380" y="234245"/>
                    </a:cubicBezTo>
                    <a:cubicBezTo>
                      <a:pt x="273235" y="236471"/>
                      <a:pt x="268572" y="237460"/>
                      <a:pt x="267512" y="241841"/>
                    </a:cubicBezTo>
                    <a:cubicBezTo>
                      <a:pt x="262707" y="262155"/>
                      <a:pt x="245431" y="270634"/>
                      <a:pt x="230345" y="281092"/>
                    </a:cubicBezTo>
                    <a:cubicBezTo>
                      <a:pt x="205791" y="298120"/>
                      <a:pt x="184735" y="317693"/>
                      <a:pt x="178729" y="348783"/>
                    </a:cubicBezTo>
                    <a:cubicBezTo>
                      <a:pt x="176715" y="359205"/>
                      <a:pt x="174843" y="369627"/>
                      <a:pt x="170604" y="379449"/>
                    </a:cubicBezTo>
                    <a:cubicBezTo>
                      <a:pt x="169049" y="383017"/>
                      <a:pt x="166435" y="387186"/>
                      <a:pt x="170074" y="390507"/>
                    </a:cubicBezTo>
                    <a:cubicBezTo>
                      <a:pt x="173536" y="393651"/>
                      <a:pt x="177563" y="391107"/>
                      <a:pt x="181238" y="389553"/>
                    </a:cubicBezTo>
                    <a:cubicBezTo>
                      <a:pt x="183534" y="388599"/>
                      <a:pt x="185936" y="386020"/>
                      <a:pt x="188445" y="388281"/>
                    </a:cubicBezTo>
                    <a:cubicBezTo>
                      <a:pt x="191236" y="390789"/>
                      <a:pt x="189999" y="394004"/>
                      <a:pt x="188657" y="396866"/>
                    </a:cubicBezTo>
                    <a:cubicBezTo>
                      <a:pt x="186572" y="401282"/>
                      <a:pt x="184205" y="405557"/>
                      <a:pt x="182086" y="409938"/>
                    </a:cubicBezTo>
                    <a:cubicBezTo>
                      <a:pt x="166293" y="442829"/>
                      <a:pt x="144990" y="473425"/>
                      <a:pt x="142481" y="511722"/>
                    </a:cubicBezTo>
                    <a:cubicBezTo>
                      <a:pt x="141704" y="523840"/>
                      <a:pt x="147357" y="538431"/>
                      <a:pt x="159863" y="546344"/>
                    </a:cubicBezTo>
                    <a:cubicBezTo>
                      <a:pt x="170921" y="553340"/>
                      <a:pt x="180531" y="553128"/>
                      <a:pt x="191307" y="544295"/>
                    </a:cubicBezTo>
                    <a:cubicBezTo>
                      <a:pt x="198761" y="538183"/>
                      <a:pt x="204696" y="529457"/>
                      <a:pt x="215048" y="525924"/>
                    </a:cubicBezTo>
                    <a:cubicBezTo>
                      <a:pt x="216320" y="531365"/>
                      <a:pt x="215401" y="535392"/>
                      <a:pt x="213953" y="539773"/>
                    </a:cubicBezTo>
                    <a:cubicBezTo>
                      <a:pt x="209395" y="553622"/>
                      <a:pt x="199326" y="562596"/>
                      <a:pt x="188092" y="570722"/>
                    </a:cubicBezTo>
                    <a:cubicBezTo>
                      <a:pt x="174878" y="580331"/>
                      <a:pt x="160499" y="588740"/>
                      <a:pt x="151561" y="603048"/>
                    </a:cubicBezTo>
                    <a:cubicBezTo>
                      <a:pt x="132165" y="634067"/>
                      <a:pt x="133154" y="667807"/>
                      <a:pt x="139655" y="701864"/>
                    </a:cubicBezTo>
                    <a:cubicBezTo>
                      <a:pt x="143259" y="720730"/>
                      <a:pt x="150642" y="738395"/>
                      <a:pt x="163326" y="753162"/>
                    </a:cubicBezTo>
                    <a:cubicBezTo>
                      <a:pt x="175691" y="767506"/>
                      <a:pt x="192896" y="764432"/>
                      <a:pt x="209183" y="764962"/>
                    </a:cubicBezTo>
                    <a:cubicBezTo>
                      <a:pt x="221690" y="765386"/>
                      <a:pt x="219959" y="773653"/>
                      <a:pt x="215578" y="780825"/>
                    </a:cubicBezTo>
                    <a:cubicBezTo>
                      <a:pt x="205827" y="796830"/>
                      <a:pt x="207417" y="813470"/>
                      <a:pt x="209784" y="830922"/>
                    </a:cubicBezTo>
                    <a:cubicBezTo>
                      <a:pt x="212539" y="851449"/>
                      <a:pt x="220665" y="871162"/>
                      <a:pt x="218828" y="892395"/>
                    </a:cubicBezTo>
                    <a:cubicBezTo>
                      <a:pt x="218263" y="898825"/>
                      <a:pt x="218439" y="905785"/>
                      <a:pt x="211020" y="907481"/>
                    </a:cubicBezTo>
                    <a:cubicBezTo>
                      <a:pt x="204272" y="909035"/>
                      <a:pt x="199220" y="904160"/>
                      <a:pt x="195864" y="898755"/>
                    </a:cubicBezTo>
                    <a:cubicBezTo>
                      <a:pt x="190741" y="890488"/>
                      <a:pt x="186926" y="881337"/>
                      <a:pt x="181344" y="873424"/>
                    </a:cubicBezTo>
                    <a:cubicBezTo>
                      <a:pt x="172229" y="860458"/>
                      <a:pt x="169544" y="843429"/>
                      <a:pt x="156472" y="833219"/>
                    </a:cubicBezTo>
                    <a:cubicBezTo>
                      <a:pt x="145060" y="824316"/>
                      <a:pt x="137818" y="813646"/>
                      <a:pt x="136228" y="798914"/>
                    </a:cubicBezTo>
                    <a:cubicBezTo>
                      <a:pt x="134497" y="783016"/>
                      <a:pt x="132448" y="765528"/>
                      <a:pt x="121178" y="754434"/>
                    </a:cubicBezTo>
                    <a:cubicBezTo>
                      <a:pt x="109978" y="743376"/>
                      <a:pt x="107258" y="729774"/>
                      <a:pt x="101287" y="717021"/>
                    </a:cubicBezTo>
                    <a:cubicBezTo>
                      <a:pt x="101111" y="716632"/>
                      <a:pt x="100722" y="716349"/>
                      <a:pt x="99203" y="714653"/>
                    </a:cubicBezTo>
                    <a:cubicBezTo>
                      <a:pt x="84965" y="754010"/>
                      <a:pt x="73907" y="792837"/>
                      <a:pt x="78959" y="834455"/>
                    </a:cubicBezTo>
                    <a:cubicBezTo>
                      <a:pt x="79878" y="841980"/>
                      <a:pt x="79772" y="849470"/>
                      <a:pt x="80372" y="856960"/>
                    </a:cubicBezTo>
                    <a:cubicBezTo>
                      <a:pt x="82563" y="884340"/>
                      <a:pt x="80726" y="911721"/>
                      <a:pt x="80902" y="939101"/>
                    </a:cubicBezTo>
                    <a:cubicBezTo>
                      <a:pt x="81044" y="964926"/>
                      <a:pt x="104396" y="992201"/>
                      <a:pt x="130187" y="998631"/>
                    </a:cubicBezTo>
                    <a:cubicBezTo>
                      <a:pt x="154776" y="1004743"/>
                      <a:pt x="174278" y="994497"/>
                      <a:pt x="189611" y="967894"/>
                    </a:cubicBezTo>
                    <a:cubicBezTo>
                      <a:pt x="192543" y="962807"/>
                      <a:pt x="194557" y="955847"/>
                      <a:pt x="202753" y="956765"/>
                    </a:cubicBezTo>
                    <a:cubicBezTo>
                      <a:pt x="211444" y="957755"/>
                      <a:pt x="212645" y="964750"/>
                      <a:pt x="213493" y="971356"/>
                    </a:cubicBezTo>
                    <a:cubicBezTo>
                      <a:pt x="216638" y="995698"/>
                      <a:pt x="232642" y="1007392"/>
                      <a:pt x="254617" y="1012197"/>
                    </a:cubicBezTo>
                    <a:cubicBezTo>
                      <a:pt x="267901" y="1015094"/>
                      <a:pt x="281679" y="1015801"/>
                      <a:pt x="295140" y="1018026"/>
                    </a:cubicBezTo>
                    <a:cubicBezTo>
                      <a:pt x="311568" y="1020712"/>
                      <a:pt x="328914" y="1020606"/>
                      <a:pt x="342869" y="1031734"/>
                    </a:cubicBezTo>
                    <a:cubicBezTo>
                      <a:pt x="345519" y="1033854"/>
                      <a:pt x="349193" y="1036221"/>
                      <a:pt x="347992" y="1040319"/>
                    </a:cubicBezTo>
                    <a:cubicBezTo>
                      <a:pt x="346968" y="1043852"/>
                      <a:pt x="343859" y="1045972"/>
                      <a:pt x="340043" y="1046643"/>
                    </a:cubicBezTo>
                    <a:cubicBezTo>
                      <a:pt x="326088" y="1049081"/>
                      <a:pt x="312098" y="1051377"/>
                      <a:pt x="297966" y="1047915"/>
                    </a:cubicBezTo>
                    <a:cubicBezTo>
                      <a:pt x="292313" y="1046537"/>
                      <a:pt x="286307" y="1045619"/>
                      <a:pt x="280972" y="1048056"/>
                    </a:cubicBezTo>
                    <a:cubicBezTo>
                      <a:pt x="248717" y="1062859"/>
                      <a:pt x="215472" y="1060068"/>
                      <a:pt x="182015" y="1054098"/>
                    </a:cubicBezTo>
                    <a:cubicBezTo>
                      <a:pt x="176645" y="1053144"/>
                      <a:pt x="171805" y="1051130"/>
                      <a:pt x="168060" y="1057313"/>
                    </a:cubicBezTo>
                    <a:cubicBezTo>
                      <a:pt x="164739" y="1062789"/>
                      <a:pt x="166117" y="1066816"/>
                      <a:pt x="169614" y="1071727"/>
                    </a:cubicBezTo>
                    <a:cubicBezTo>
                      <a:pt x="181838" y="1088897"/>
                      <a:pt x="190247" y="1107940"/>
                      <a:pt x="194168" y="1128643"/>
                    </a:cubicBezTo>
                    <a:cubicBezTo>
                      <a:pt x="195864" y="1137652"/>
                      <a:pt x="199927" y="1145354"/>
                      <a:pt x="204590" y="1152843"/>
                    </a:cubicBezTo>
                    <a:cubicBezTo>
                      <a:pt x="238153" y="1206756"/>
                      <a:pt x="304184" y="1215412"/>
                      <a:pt x="350995" y="1194921"/>
                    </a:cubicBezTo>
                    <a:cubicBezTo>
                      <a:pt x="379541" y="1182449"/>
                      <a:pt x="399962" y="1155776"/>
                      <a:pt x="389716" y="1119598"/>
                    </a:cubicBezTo>
                    <a:cubicBezTo>
                      <a:pt x="387102" y="1110342"/>
                      <a:pt x="383463" y="1101086"/>
                      <a:pt x="384134" y="1091088"/>
                    </a:cubicBezTo>
                    <a:cubicBezTo>
                      <a:pt x="384381" y="1087343"/>
                      <a:pt x="384982" y="1083845"/>
                      <a:pt x="388939" y="1082467"/>
                    </a:cubicBezTo>
                    <a:cubicBezTo>
                      <a:pt x="392613" y="1081160"/>
                      <a:pt x="395793" y="1082397"/>
                      <a:pt x="398760" y="1084834"/>
                    </a:cubicBezTo>
                    <a:cubicBezTo>
                      <a:pt x="405084" y="1090098"/>
                      <a:pt x="406992" y="1097306"/>
                      <a:pt x="407593" y="1104901"/>
                    </a:cubicBezTo>
                    <a:cubicBezTo>
                      <a:pt x="409465" y="1128784"/>
                      <a:pt x="428402" y="1150724"/>
                      <a:pt x="450518" y="1151819"/>
                    </a:cubicBezTo>
                    <a:cubicBezTo>
                      <a:pt x="460481" y="1152313"/>
                      <a:pt x="470408" y="1155458"/>
                      <a:pt x="480124" y="1158284"/>
                    </a:cubicBezTo>
                    <a:cubicBezTo>
                      <a:pt x="485141" y="1159733"/>
                      <a:pt x="490511" y="1162877"/>
                      <a:pt x="489521" y="1169448"/>
                    </a:cubicBezTo>
                    <a:cubicBezTo>
                      <a:pt x="488674" y="1174854"/>
                      <a:pt x="485459" y="1178634"/>
                      <a:pt x="479523" y="1180612"/>
                    </a:cubicBezTo>
                    <a:cubicBezTo>
                      <a:pt x="472034" y="1183121"/>
                      <a:pt x="464614" y="1182449"/>
                      <a:pt x="457124" y="1182414"/>
                    </a:cubicBezTo>
                    <a:cubicBezTo>
                      <a:pt x="451366" y="1182414"/>
                      <a:pt x="446808" y="1183898"/>
                      <a:pt x="443381" y="1188809"/>
                    </a:cubicBezTo>
                    <a:cubicBezTo>
                      <a:pt x="431687" y="1205590"/>
                      <a:pt x="440661" y="1230956"/>
                      <a:pt x="460410" y="1236221"/>
                    </a:cubicBezTo>
                    <a:cubicBezTo>
                      <a:pt x="476520" y="1240531"/>
                      <a:pt x="492842" y="1239612"/>
                      <a:pt x="509164" y="1237634"/>
                    </a:cubicBezTo>
                    <a:cubicBezTo>
                      <a:pt x="528278" y="1235337"/>
                      <a:pt x="548309" y="1228766"/>
                      <a:pt x="565762" y="1241131"/>
                    </a:cubicBezTo>
                    <a:cubicBezTo>
                      <a:pt x="583215" y="1253497"/>
                      <a:pt x="601904" y="1256570"/>
                      <a:pt x="622360" y="1255157"/>
                    </a:cubicBezTo>
                    <a:cubicBezTo>
                      <a:pt x="631192" y="1254557"/>
                      <a:pt x="640130" y="1254557"/>
                      <a:pt x="648963" y="1255157"/>
                    </a:cubicBezTo>
                    <a:cubicBezTo>
                      <a:pt x="658643" y="1255828"/>
                      <a:pt x="668500" y="1256782"/>
                      <a:pt x="676237" y="1263777"/>
                    </a:cubicBezTo>
                    <a:cubicBezTo>
                      <a:pt x="686235" y="1272822"/>
                      <a:pt x="683974" y="1285010"/>
                      <a:pt x="671538" y="1290274"/>
                    </a:cubicBezTo>
                    <a:cubicBezTo>
                      <a:pt x="667228" y="1292112"/>
                      <a:pt x="662741" y="1292394"/>
                      <a:pt x="658467" y="1291758"/>
                    </a:cubicBezTo>
                    <a:cubicBezTo>
                      <a:pt x="627023" y="1287095"/>
                      <a:pt x="599007" y="1268335"/>
                      <a:pt x="566045" y="1269324"/>
                    </a:cubicBezTo>
                    <a:cubicBezTo>
                      <a:pt x="562335" y="1269430"/>
                      <a:pt x="558590" y="1266710"/>
                      <a:pt x="554775" y="1265579"/>
                    </a:cubicBezTo>
                    <a:cubicBezTo>
                      <a:pt x="545024" y="1262718"/>
                      <a:pt x="535343" y="1259503"/>
                      <a:pt x="525381" y="1257453"/>
                    </a:cubicBezTo>
                    <a:cubicBezTo>
                      <a:pt x="518739" y="1256076"/>
                      <a:pt x="511850" y="1257100"/>
                      <a:pt x="508175" y="1264307"/>
                    </a:cubicBezTo>
                    <a:cubicBezTo>
                      <a:pt x="504360" y="1271797"/>
                      <a:pt x="511072" y="1275224"/>
                      <a:pt x="515100" y="1278192"/>
                    </a:cubicBezTo>
                    <a:cubicBezTo>
                      <a:pt x="536404" y="1293843"/>
                      <a:pt x="560251" y="1302004"/>
                      <a:pt x="587066" y="1300237"/>
                    </a:cubicBezTo>
                    <a:cubicBezTo>
                      <a:pt x="591199" y="1299955"/>
                      <a:pt x="596463" y="1297941"/>
                      <a:pt x="599325" y="1302710"/>
                    </a:cubicBezTo>
                    <a:cubicBezTo>
                      <a:pt x="602611" y="1308186"/>
                      <a:pt x="592754" y="1307586"/>
                      <a:pt x="593849" y="1312638"/>
                    </a:cubicBezTo>
                    <a:cubicBezTo>
                      <a:pt x="599785" y="1314899"/>
                      <a:pt x="605543" y="1317195"/>
                      <a:pt x="611337" y="1319315"/>
                    </a:cubicBezTo>
                    <a:cubicBezTo>
                      <a:pt x="632641" y="1327088"/>
                      <a:pt x="654404" y="1332528"/>
                      <a:pt x="677262" y="1332069"/>
                    </a:cubicBezTo>
                    <a:cubicBezTo>
                      <a:pt x="699696" y="1331645"/>
                      <a:pt x="708281" y="1323307"/>
                      <a:pt x="709800" y="1300838"/>
                    </a:cubicBezTo>
                    <a:cubicBezTo>
                      <a:pt x="710047" y="1296881"/>
                      <a:pt x="712662" y="1295821"/>
                      <a:pt x="715382" y="1294302"/>
                    </a:cubicBezTo>
                    <a:cubicBezTo>
                      <a:pt x="723013" y="1289957"/>
                      <a:pt x="730432" y="1292818"/>
                      <a:pt x="737074" y="1295963"/>
                    </a:cubicBezTo>
                    <a:cubicBezTo>
                      <a:pt x="753184" y="1303523"/>
                      <a:pt x="768729" y="1299955"/>
                      <a:pt x="783250" y="1293207"/>
                    </a:cubicBezTo>
                    <a:cubicBezTo>
                      <a:pt x="796498" y="1287059"/>
                      <a:pt x="806779" y="1276991"/>
                      <a:pt x="804765" y="1259997"/>
                    </a:cubicBezTo>
                    <a:lnTo>
                      <a:pt x="804695" y="1260068"/>
                    </a:lnTo>
                    <a:close/>
                    <a:moveTo>
                      <a:pt x="493196" y="138997"/>
                    </a:moveTo>
                    <a:cubicBezTo>
                      <a:pt x="500191" y="138467"/>
                      <a:pt x="507186" y="138997"/>
                      <a:pt x="514323" y="137831"/>
                    </a:cubicBezTo>
                    <a:cubicBezTo>
                      <a:pt x="546048" y="132461"/>
                      <a:pt x="573429" y="116952"/>
                      <a:pt x="600456" y="100912"/>
                    </a:cubicBezTo>
                    <a:cubicBezTo>
                      <a:pt x="623384" y="87310"/>
                      <a:pt x="644017" y="70564"/>
                      <a:pt x="659809" y="48589"/>
                    </a:cubicBezTo>
                    <a:cubicBezTo>
                      <a:pt x="665038" y="41311"/>
                      <a:pt x="666557" y="36507"/>
                      <a:pt x="654580" y="34669"/>
                    </a:cubicBezTo>
                    <a:cubicBezTo>
                      <a:pt x="629108" y="30819"/>
                      <a:pt x="603847" y="28628"/>
                      <a:pt x="578092" y="32408"/>
                    </a:cubicBezTo>
                    <a:cubicBezTo>
                      <a:pt x="523049" y="40499"/>
                      <a:pt x="477686" y="62827"/>
                      <a:pt x="450730" y="114478"/>
                    </a:cubicBezTo>
                    <a:cubicBezTo>
                      <a:pt x="447232" y="121156"/>
                      <a:pt x="448186" y="124512"/>
                      <a:pt x="454263" y="128363"/>
                    </a:cubicBezTo>
                    <a:cubicBezTo>
                      <a:pt x="466239" y="135888"/>
                      <a:pt x="478817" y="140552"/>
                      <a:pt x="493231" y="138962"/>
                    </a:cubicBezTo>
                    <a:close/>
                    <a:moveTo>
                      <a:pt x="852283" y="1361110"/>
                    </a:moveTo>
                    <a:cubicBezTo>
                      <a:pt x="870796" y="1363442"/>
                      <a:pt x="888284" y="1359096"/>
                      <a:pt x="904500" y="1352348"/>
                    </a:cubicBezTo>
                    <a:cubicBezTo>
                      <a:pt x="945623" y="1335213"/>
                      <a:pt x="986182" y="1316630"/>
                      <a:pt x="1026704" y="1298082"/>
                    </a:cubicBezTo>
                    <a:cubicBezTo>
                      <a:pt x="1033770" y="1294832"/>
                      <a:pt x="1039988" y="1289285"/>
                      <a:pt x="1045782" y="1283915"/>
                    </a:cubicBezTo>
                    <a:cubicBezTo>
                      <a:pt x="1052000" y="1278192"/>
                      <a:pt x="1055392" y="1270737"/>
                      <a:pt x="1050658" y="1262435"/>
                    </a:cubicBezTo>
                    <a:cubicBezTo>
                      <a:pt x="1045994" y="1254309"/>
                      <a:pt x="1038222" y="1252649"/>
                      <a:pt x="1029849" y="1255404"/>
                    </a:cubicBezTo>
                    <a:cubicBezTo>
                      <a:pt x="1024161" y="1257312"/>
                      <a:pt x="1018472" y="1256853"/>
                      <a:pt x="1012749" y="1257171"/>
                    </a:cubicBezTo>
                    <a:cubicBezTo>
                      <a:pt x="989714" y="1258407"/>
                      <a:pt x="967033" y="1261446"/>
                      <a:pt x="953467" y="1283209"/>
                    </a:cubicBezTo>
                    <a:cubicBezTo>
                      <a:pt x="943186" y="1299707"/>
                      <a:pt x="927535" y="1305961"/>
                      <a:pt x="910011" y="1310660"/>
                    </a:cubicBezTo>
                    <a:cubicBezTo>
                      <a:pt x="881147" y="1318432"/>
                      <a:pt x="851329" y="1317407"/>
                      <a:pt x="822041" y="1320870"/>
                    </a:cubicBezTo>
                    <a:cubicBezTo>
                      <a:pt x="812290" y="1322000"/>
                      <a:pt x="804589" y="1326416"/>
                      <a:pt x="802257" y="1335531"/>
                    </a:cubicBezTo>
                    <a:cubicBezTo>
                      <a:pt x="799536" y="1346236"/>
                      <a:pt x="807768" y="1351606"/>
                      <a:pt x="816389" y="1355068"/>
                    </a:cubicBezTo>
                    <a:cubicBezTo>
                      <a:pt x="827977" y="1359732"/>
                      <a:pt x="839847" y="1363300"/>
                      <a:pt x="852283" y="1361110"/>
                    </a:cubicBezTo>
                    <a:close/>
                    <a:moveTo>
                      <a:pt x="1432038" y="740197"/>
                    </a:moveTo>
                    <a:cubicBezTo>
                      <a:pt x="1426985" y="747898"/>
                      <a:pt x="1426774" y="755247"/>
                      <a:pt x="1427975" y="762030"/>
                    </a:cubicBezTo>
                    <a:cubicBezTo>
                      <a:pt x="1430059" y="773512"/>
                      <a:pt x="1428576" y="784641"/>
                      <a:pt x="1428222" y="796088"/>
                    </a:cubicBezTo>
                    <a:cubicBezTo>
                      <a:pt x="1426597" y="844807"/>
                      <a:pt x="1416140" y="891477"/>
                      <a:pt x="1398192" y="936486"/>
                    </a:cubicBezTo>
                    <a:cubicBezTo>
                      <a:pt x="1389360" y="958603"/>
                      <a:pt x="1383672" y="981814"/>
                      <a:pt x="1372190" y="1003118"/>
                    </a:cubicBezTo>
                    <a:cubicBezTo>
                      <a:pt x="1355833" y="1033430"/>
                      <a:pt x="1331278" y="1056182"/>
                      <a:pt x="1307926" y="1080383"/>
                    </a:cubicBezTo>
                    <a:cubicBezTo>
                      <a:pt x="1294076" y="1094727"/>
                      <a:pt x="1280899" y="1110166"/>
                      <a:pt x="1281429" y="1131999"/>
                    </a:cubicBezTo>
                    <a:cubicBezTo>
                      <a:pt x="1281676" y="1142174"/>
                      <a:pt x="1278426" y="1151077"/>
                      <a:pt x="1273974" y="1159839"/>
                    </a:cubicBezTo>
                    <a:cubicBezTo>
                      <a:pt x="1255002" y="1197146"/>
                      <a:pt x="1225290" y="1224562"/>
                      <a:pt x="1192293" y="1248974"/>
                    </a:cubicBezTo>
                    <a:cubicBezTo>
                      <a:pt x="1185509" y="1253991"/>
                      <a:pt x="1177666" y="1257136"/>
                      <a:pt x="1169788" y="1260174"/>
                    </a:cubicBezTo>
                    <a:cubicBezTo>
                      <a:pt x="1159896" y="1264025"/>
                      <a:pt x="1152335" y="1262223"/>
                      <a:pt x="1147566" y="1252543"/>
                    </a:cubicBezTo>
                    <a:cubicBezTo>
                      <a:pt x="1144634" y="1246572"/>
                      <a:pt x="1139652" y="1244452"/>
                      <a:pt x="1134529" y="1247279"/>
                    </a:cubicBezTo>
                    <a:cubicBezTo>
                      <a:pt x="1118348" y="1256182"/>
                      <a:pt x="1106902" y="1270137"/>
                      <a:pt x="1096162" y="1284728"/>
                    </a:cubicBezTo>
                    <a:cubicBezTo>
                      <a:pt x="1106690" y="1278157"/>
                      <a:pt x="1115946" y="1270172"/>
                      <a:pt x="1125909" y="1263106"/>
                    </a:cubicBezTo>
                    <a:cubicBezTo>
                      <a:pt x="1130007" y="1260209"/>
                      <a:pt x="1136013" y="1254945"/>
                      <a:pt x="1140429" y="1262965"/>
                    </a:cubicBezTo>
                    <a:cubicBezTo>
                      <a:pt x="1150675" y="1281583"/>
                      <a:pt x="1179256" y="1283032"/>
                      <a:pt x="1191904" y="1265579"/>
                    </a:cubicBezTo>
                    <a:cubicBezTo>
                      <a:pt x="1196568" y="1259149"/>
                      <a:pt x="1198617" y="1250529"/>
                      <a:pt x="1205683" y="1246219"/>
                    </a:cubicBezTo>
                    <a:cubicBezTo>
                      <a:pt x="1226280" y="1233677"/>
                      <a:pt x="1243203" y="1217107"/>
                      <a:pt x="1259984" y="1200079"/>
                    </a:cubicBezTo>
                    <a:cubicBezTo>
                      <a:pt x="1266237" y="1193719"/>
                      <a:pt x="1275529" y="1190787"/>
                      <a:pt x="1280051" y="1181778"/>
                    </a:cubicBezTo>
                    <a:cubicBezTo>
                      <a:pt x="1290544" y="1160757"/>
                      <a:pt x="1301531" y="1140125"/>
                      <a:pt x="1305665" y="1116489"/>
                    </a:cubicBezTo>
                    <a:cubicBezTo>
                      <a:pt x="1307855" y="1104054"/>
                      <a:pt x="1314214" y="1093490"/>
                      <a:pt x="1324778" y="1085576"/>
                    </a:cubicBezTo>
                    <a:cubicBezTo>
                      <a:pt x="1330395" y="1081337"/>
                      <a:pt x="1335588" y="1076285"/>
                      <a:pt x="1340040" y="1070809"/>
                    </a:cubicBezTo>
                    <a:cubicBezTo>
                      <a:pt x="1352017" y="1056147"/>
                      <a:pt x="1368551" y="1044135"/>
                      <a:pt x="1373603" y="1025198"/>
                    </a:cubicBezTo>
                    <a:cubicBezTo>
                      <a:pt x="1379291" y="1003859"/>
                      <a:pt x="1388724" y="984676"/>
                      <a:pt x="1399676" y="965880"/>
                    </a:cubicBezTo>
                    <a:cubicBezTo>
                      <a:pt x="1408791" y="950229"/>
                      <a:pt x="1418542" y="934967"/>
                      <a:pt x="1422605" y="916773"/>
                    </a:cubicBezTo>
                    <a:cubicBezTo>
                      <a:pt x="1435571" y="858797"/>
                      <a:pt x="1439139" y="800398"/>
                      <a:pt x="1432038" y="740126"/>
                    </a:cubicBezTo>
                    <a:close/>
                    <a:moveTo>
                      <a:pt x="34162" y="800716"/>
                    </a:moveTo>
                    <a:cubicBezTo>
                      <a:pt x="39991" y="784182"/>
                      <a:pt x="39850" y="767153"/>
                      <a:pt x="45008" y="751184"/>
                    </a:cubicBezTo>
                    <a:cubicBezTo>
                      <a:pt x="50908" y="732954"/>
                      <a:pt x="60588" y="716455"/>
                      <a:pt x="66771" y="698508"/>
                    </a:cubicBezTo>
                    <a:cubicBezTo>
                      <a:pt x="72494" y="681868"/>
                      <a:pt x="75532" y="664980"/>
                      <a:pt x="64580" y="649153"/>
                    </a:cubicBezTo>
                    <a:cubicBezTo>
                      <a:pt x="59528" y="641840"/>
                      <a:pt x="62284" y="637070"/>
                      <a:pt x="67901" y="632053"/>
                    </a:cubicBezTo>
                    <a:cubicBezTo>
                      <a:pt x="75744" y="625094"/>
                      <a:pt x="84506" y="619441"/>
                      <a:pt x="90229" y="609796"/>
                    </a:cubicBezTo>
                    <a:cubicBezTo>
                      <a:pt x="105809" y="583511"/>
                      <a:pt x="114077" y="554859"/>
                      <a:pt x="120507" y="525394"/>
                    </a:cubicBezTo>
                    <a:cubicBezTo>
                      <a:pt x="123792" y="510344"/>
                      <a:pt x="123828" y="495470"/>
                      <a:pt x="120400" y="480208"/>
                    </a:cubicBezTo>
                    <a:cubicBezTo>
                      <a:pt x="107293" y="499568"/>
                      <a:pt x="95811" y="519317"/>
                      <a:pt x="84153" y="538961"/>
                    </a:cubicBezTo>
                    <a:cubicBezTo>
                      <a:pt x="74932" y="554505"/>
                      <a:pt x="63061" y="569344"/>
                      <a:pt x="62990" y="588316"/>
                    </a:cubicBezTo>
                    <a:cubicBezTo>
                      <a:pt x="62884" y="619264"/>
                      <a:pt x="50236" y="645797"/>
                      <a:pt x="36175" y="672046"/>
                    </a:cubicBezTo>
                    <a:cubicBezTo>
                      <a:pt x="29781" y="684023"/>
                      <a:pt x="27025" y="696918"/>
                      <a:pt x="27378" y="710379"/>
                    </a:cubicBezTo>
                    <a:cubicBezTo>
                      <a:pt x="28120" y="737794"/>
                      <a:pt x="29110" y="765210"/>
                      <a:pt x="30063" y="792625"/>
                    </a:cubicBezTo>
                    <a:cubicBezTo>
                      <a:pt x="30134" y="795169"/>
                      <a:pt x="29710" y="798031"/>
                      <a:pt x="34162" y="800716"/>
                    </a:cubicBezTo>
                    <a:close/>
                    <a:moveTo>
                      <a:pt x="1246841" y="256644"/>
                    </a:moveTo>
                    <a:cubicBezTo>
                      <a:pt x="1241754" y="252546"/>
                      <a:pt x="1236348" y="248023"/>
                      <a:pt x="1230837" y="243713"/>
                    </a:cubicBezTo>
                    <a:cubicBezTo>
                      <a:pt x="1212784" y="229581"/>
                      <a:pt x="1194024" y="217358"/>
                      <a:pt x="1169364" y="222657"/>
                    </a:cubicBezTo>
                    <a:cubicBezTo>
                      <a:pt x="1160850" y="224494"/>
                      <a:pt x="1153183" y="227744"/>
                      <a:pt x="1151063" y="237601"/>
                    </a:cubicBezTo>
                    <a:cubicBezTo>
                      <a:pt x="1148838" y="247953"/>
                      <a:pt x="1156080" y="253111"/>
                      <a:pt x="1162863" y="257951"/>
                    </a:cubicBezTo>
                    <a:cubicBezTo>
                      <a:pt x="1180846" y="270776"/>
                      <a:pt x="1198122" y="284342"/>
                      <a:pt x="1214409" y="299322"/>
                    </a:cubicBezTo>
                    <a:cubicBezTo>
                      <a:pt x="1226386" y="310309"/>
                      <a:pt x="1239564" y="320095"/>
                      <a:pt x="1252883" y="329493"/>
                    </a:cubicBezTo>
                    <a:cubicBezTo>
                      <a:pt x="1263022" y="336629"/>
                      <a:pt x="1274221" y="330977"/>
                      <a:pt x="1276341" y="318717"/>
                    </a:cubicBezTo>
                    <a:cubicBezTo>
                      <a:pt x="1276836" y="315926"/>
                      <a:pt x="1275105" y="312393"/>
                      <a:pt x="1278602" y="310592"/>
                    </a:cubicBezTo>
                    <a:cubicBezTo>
                      <a:pt x="1283584" y="310486"/>
                      <a:pt x="1285032" y="317057"/>
                      <a:pt x="1290650" y="316174"/>
                    </a:cubicBezTo>
                    <a:cubicBezTo>
                      <a:pt x="1293335" y="309850"/>
                      <a:pt x="1292240" y="304303"/>
                      <a:pt x="1286657" y="300099"/>
                    </a:cubicBezTo>
                    <a:cubicBezTo>
                      <a:pt x="1272914" y="289747"/>
                      <a:pt x="1259701" y="278583"/>
                      <a:pt x="1244086" y="270917"/>
                    </a:cubicBezTo>
                    <a:cubicBezTo>
                      <a:pt x="1240447" y="269115"/>
                      <a:pt x="1233805" y="269892"/>
                      <a:pt x="1234370" y="263957"/>
                    </a:cubicBezTo>
                    <a:cubicBezTo>
                      <a:pt x="1234900" y="258092"/>
                      <a:pt x="1242390" y="263356"/>
                      <a:pt x="1246841" y="256714"/>
                    </a:cubicBezTo>
                    <a:close/>
                    <a:moveTo>
                      <a:pt x="1249738" y="886884"/>
                    </a:moveTo>
                    <a:cubicBezTo>
                      <a:pt x="1249738" y="885541"/>
                      <a:pt x="1249703" y="884234"/>
                      <a:pt x="1249738" y="882892"/>
                    </a:cubicBezTo>
                    <a:cubicBezTo>
                      <a:pt x="1250198" y="872470"/>
                      <a:pt x="1250798" y="861129"/>
                      <a:pt x="1237832" y="858161"/>
                    </a:cubicBezTo>
                    <a:cubicBezTo>
                      <a:pt x="1225926" y="855406"/>
                      <a:pt x="1221086" y="865580"/>
                      <a:pt x="1215928" y="873812"/>
                    </a:cubicBezTo>
                    <a:cubicBezTo>
                      <a:pt x="1210275" y="882786"/>
                      <a:pt x="1204022" y="891477"/>
                      <a:pt x="1199429" y="900980"/>
                    </a:cubicBezTo>
                    <a:cubicBezTo>
                      <a:pt x="1193953" y="912250"/>
                      <a:pt x="1176182" y="916843"/>
                      <a:pt x="1178868" y="930692"/>
                    </a:cubicBezTo>
                    <a:cubicBezTo>
                      <a:pt x="1181199" y="942704"/>
                      <a:pt x="1189820" y="953656"/>
                      <a:pt x="1196356" y="964679"/>
                    </a:cubicBezTo>
                    <a:cubicBezTo>
                      <a:pt x="1206990" y="982591"/>
                      <a:pt x="1218048" y="982344"/>
                      <a:pt x="1228470" y="963973"/>
                    </a:cubicBezTo>
                    <a:cubicBezTo>
                      <a:pt x="1242001" y="940125"/>
                      <a:pt x="1249138" y="914406"/>
                      <a:pt x="1249738" y="886919"/>
                    </a:cubicBezTo>
                    <a:close/>
                    <a:moveTo>
                      <a:pt x="1290367" y="1190363"/>
                    </a:moveTo>
                    <a:cubicBezTo>
                      <a:pt x="1309268" y="1190080"/>
                      <a:pt x="1326014" y="1184322"/>
                      <a:pt x="1342902" y="1179411"/>
                    </a:cubicBezTo>
                    <a:cubicBezTo>
                      <a:pt x="1359118" y="1174712"/>
                      <a:pt x="1368940" y="1163901"/>
                      <a:pt x="1374098" y="1147862"/>
                    </a:cubicBezTo>
                    <a:cubicBezTo>
                      <a:pt x="1384166" y="1116560"/>
                      <a:pt x="1376253" y="1085859"/>
                      <a:pt x="1371801" y="1054698"/>
                    </a:cubicBezTo>
                    <a:cubicBezTo>
                      <a:pt x="1368763" y="1075507"/>
                      <a:pt x="1358517" y="1094126"/>
                      <a:pt x="1354772" y="1114228"/>
                    </a:cubicBezTo>
                    <a:cubicBezTo>
                      <a:pt x="1348943" y="1145530"/>
                      <a:pt x="1328629" y="1163160"/>
                      <a:pt x="1302944" y="1177221"/>
                    </a:cubicBezTo>
                    <a:cubicBezTo>
                      <a:pt x="1297998" y="1179941"/>
                      <a:pt x="1292169" y="1181637"/>
                      <a:pt x="1290367" y="1190398"/>
                    </a:cubicBezTo>
                    <a:close/>
                    <a:moveTo>
                      <a:pt x="1291568" y="286815"/>
                    </a:moveTo>
                    <a:cubicBezTo>
                      <a:pt x="1289660" y="255195"/>
                      <a:pt x="1280228" y="229087"/>
                      <a:pt x="1258252" y="207925"/>
                    </a:cubicBezTo>
                    <a:cubicBezTo>
                      <a:pt x="1237161" y="187681"/>
                      <a:pt x="1211512" y="176517"/>
                      <a:pt x="1184096" y="168638"/>
                    </a:cubicBezTo>
                    <a:cubicBezTo>
                      <a:pt x="1180669" y="167649"/>
                      <a:pt x="1175476" y="162456"/>
                      <a:pt x="1173003" y="169204"/>
                    </a:cubicBezTo>
                    <a:cubicBezTo>
                      <a:pt x="1171060" y="174538"/>
                      <a:pt x="1171378" y="179979"/>
                      <a:pt x="1177454" y="184289"/>
                    </a:cubicBezTo>
                    <a:cubicBezTo>
                      <a:pt x="1187100" y="191108"/>
                      <a:pt x="1197875" y="194853"/>
                      <a:pt x="1209039" y="197326"/>
                    </a:cubicBezTo>
                    <a:cubicBezTo>
                      <a:pt x="1238892" y="203968"/>
                      <a:pt x="1254578" y="224741"/>
                      <a:pt x="1258889" y="252475"/>
                    </a:cubicBezTo>
                    <a:cubicBezTo>
                      <a:pt x="1260938" y="265653"/>
                      <a:pt x="1266096" y="271871"/>
                      <a:pt x="1276341" y="277099"/>
                    </a:cubicBezTo>
                    <a:cubicBezTo>
                      <a:pt x="1281005" y="279466"/>
                      <a:pt x="1285244" y="282717"/>
                      <a:pt x="1291604" y="286780"/>
                    </a:cubicBezTo>
                    <a:close/>
                    <a:moveTo>
                      <a:pt x="1372720" y="698261"/>
                    </a:moveTo>
                    <a:cubicBezTo>
                      <a:pt x="1389819" y="698119"/>
                      <a:pt x="1405187" y="682680"/>
                      <a:pt x="1408614" y="667241"/>
                    </a:cubicBezTo>
                    <a:cubicBezTo>
                      <a:pt x="1410063" y="660741"/>
                      <a:pt x="1397733" y="631983"/>
                      <a:pt x="1392257" y="629651"/>
                    </a:cubicBezTo>
                    <a:cubicBezTo>
                      <a:pt x="1390314" y="628838"/>
                      <a:pt x="1387664" y="628097"/>
                      <a:pt x="1385862" y="628732"/>
                    </a:cubicBezTo>
                    <a:cubicBezTo>
                      <a:pt x="1375264" y="632477"/>
                      <a:pt x="1363676" y="634632"/>
                      <a:pt x="1357069" y="645302"/>
                    </a:cubicBezTo>
                    <a:cubicBezTo>
                      <a:pt x="1349756" y="657102"/>
                      <a:pt x="1348166" y="669467"/>
                      <a:pt x="1355762" y="681514"/>
                    </a:cubicBezTo>
                    <a:cubicBezTo>
                      <a:pt x="1360849" y="689570"/>
                      <a:pt x="1366396" y="698049"/>
                      <a:pt x="1372720" y="698225"/>
                    </a:cubicBezTo>
                    <a:close/>
                    <a:moveTo>
                      <a:pt x="67548" y="445373"/>
                    </a:moveTo>
                    <a:cubicBezTo>
                      <a:pt x="67548" y="451450"/>
                      <a:pt x="67301" y="454559"/>
                      <a:pt x="67583" y="457632"/>
                    </a:cubicBezTo>
                    <a:cubicBezTo>
                      <a:pt x="68608" y="467984"/>
                      <a:pt x="72671" y="470351"/>
                      <a:pt x="81397" y="463391"/>
                    </a:cubicBezTo>
                    <a:cubicBezTo>
                      <a:pt x="89876" y="456643"/>
                      <a:pt x="95953" y="448235"/>
                      <a:pt x="101358" y="438979"/>
                    </a:cubicBezTo>
                    <a:cubicBezTo>
                      <a:pt x="111003" y="422621"/>
                      <a:pt x="121072" y="406511"/>
                      <a:pt x="127219" y="388387"/>
                    </a:cubicBezTo>
                    <a:cubicBezTo>
                      <a:pt x="128208" y="385419"/>
                      <a:pt x="129233" y="382169"/>
                      <a:pt x="126548" y="379731"/>
                    </a:cubicBezTo>
                    <a:cubicBezTo>
                      <a:pt x="124746" y="378106"/>
                      <a:pt x="122379" y="379131"/>
                      <a:pt x="120365" y="380085"/>
                    </a:cubicBezTo>
                    <a:cubicBezTo>
                      <a:pt x="85107" y="396795"/>
                      <a:pt x="69809" y="408560"/>
                      <a:pt x="67548" y="445373"/>
                    </a:cubicBezTo>
                    <a:close/>
                    <a:moveTo>
                      <a:pt x="1342054" y="364010"/>
                    </a:moveTo>
                    <a:cubicBezTo>
                      <a:pt x="1340782" y="371076"/>
                      <a:pt x="1343750" y="373831"/>
                      <a:pt x="1345693" y="376304"/>
                    </a:cubicBezTo>
                    <a:cubicBezTo>
                      <a:pt x="1362615" y="397608"/>
                      <a:pt x="1373391" y="422586"/>
                      <a:pt x="1387417" y="445550"/>
                    </a:cubicBezTo>
                    <a:cubicBezTo>
                      <a:pt x="1408226" y="479678"/>
                      <a:pt x="1413596" y="515184"/>
                      <a:pt x="1406777" y="553764"/>
                    </a:cubicBezTo>
                    <a:cubicBezTo>
                      <a:pt x="1405329" y="561960"/>
                      <a:pt x="1406565" y="570651"/>
                      <a:pt x="1406565" y="579095"/>
                    </a:cubicBezTo>
                    <a:cubicBezTo>
                      <a:pt x="1424336" y="548358"/>
                      <a:pt x="1426244" y="516809"/>
                      <a:pt x="1417234" y="483988"/>
                    </a:cubicBezTo>
                    <a:cubicBezTo>
                      <a:pt x="1404340" y="437106"/>
                      <a:pt x="1373214" y="402024"/>
                      <a:pt x="1342054" y="364010"/>
                    </a:cubicBezTo>
                    <a:close/>
                    <a:moveTo>
                      <a:pt x="366611" y="147441"/>
                    </a:moveTo>
                    <a:cubicBezTo>
                      <a:pt x="331917" y="155531"/>
                      <a:pt x="292031" y="183971"/>
                      <a:pt x="277899" y="211034"/>
                    </a:cubicBezTo>
                    <a:cubicBezTo>
                      <a:pt x="291041" y="208455"/>
                      <a:pt x="302806" y="206052"/>
                      <a:pt x="311709" y="196443"/>
                    </a:cubicBezTo>
                    <a:cubicBezTo>
                      <a:pt x="323438" y="183759"/>
                      <a:pt x="336016" y="172348"/>
                      <a:pt x="352126" y="165035"/>
                    </a:cubicBezTo>
                    <a:cubicBezTo>
                      <a:pt x="358803" y="161996"/>
                      <a:pt x="364456" y="156556"/>
                      <a:pt x="366611" y="147441"/>
                    </a:cubicBezTo>
                    <a:close/>
                    <a:moveTo>
                      <a:pt x="1430624" y="678512"/>
                    </a:moveTo>
                    <a:cubicBezTo>
                      <a:pt x="1448431" y="666817"/>
                      <a:pt x="1454931" y="617250"/>
                      <a:pt x="1442000" y="592061"/>
                    </a:cubicBezTo>
                    <a:cubicBezTo>
                      <a:pt x="1439386" y="586973"/>
                      <a:pt x="1435924" y="584818"/>
                      <a:pt x="1430872" y="590365"/>
                    </a:cubicBezTo>
                    <a:cubicBezTo>
                      <a:pt x="1424265" y="597607"/>
                      <a:pt x="1416987" y="604037"/>
                      <a:pt x="1407484" y="591389"/>
                    </a:cubicBezTo>
                    <a:cubicBezTo>
                      <a:pt x="1406247" y="600010"/>
                      <a:pt x="1410452" y="601458"/>
                      <a:pt x="1415433" y="602977"/>
                    </a:cubicBezTo>
                    <a:cubicBezTo>
                      <a:pt x="1420803" y="604638"/>
                      <a:pt x="1426844" y="605768"/>
                      <a:pt x="1429706" y="611668"/>
                    </a:cubicBezTo>
                    <a:cubicBezTo>
                      <a:pt x="1437832" y="628591"/>
                      <a:pt x="1442248" y="645797"/>
                      <a:pt x="1431437" y="663179"/>
                    </a:cubicBezTo>
                    <a:cubicBezTo>
                      <a:pt x="1428363" y="668125"/>
                      <a:pt x="1426844" y="672435"/>
                      <a:pt x="1430660" y="678476"/>
                    </a:cubicBezTo>
                    <a:close/>
                    <a:moveTo>
                      <a:pt x="766751" y="1349592"/>
                    </a:moveTo>
                    <a:cubicBezTo>
                      <a:pt x="782543" y="1372239"/>
                      <a:pt x="818367" y="1385275"/>
                      <a:pt x="855533" y="1380364"/>
                    </a:cubicBezTo>
                    <a:cubicBezTo>
                      <a:pt x="826811" y="1379728"/>
                      <a:pt x="805366" y="1370331"/>
                      <a:pt x="787878" y="1352984"/>
                    </a:cubicBezTo>
                    <a:cubicBezTo>
                      <a:pt x="781201" y="1346377"/>
                      <a:pt x="775407" y="1343763"/>
                      <a:pt x="766786" y="1349557"/>
                    </a:cubicBezTo>
                    <a:close/>
                    <a:moveTo>
                      <a:pt x="1325308" y="365882"/>
                    </a:moveTo>
                    <a:cubicBezTo>
                      <a:pt x="1321563" y="354082"/>
                      <a:pt x="1320220" y="340834"/>
                      <a:pt x="1306901" y="334863"/>
                    </a:cubicBezTo>
                    <a:cubicBezTo>
                      <a:pt x="1310893" y="346522"/>
                      <a:pt x="1317005" y="356838"/>
                      <a:pt x="1325308" y="365882"/>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98" name="Freeform: Shape 4197">
                <a:extLst>
                  <a:ext uri="{FF2B5EF4-FFF2-40B4-BE49-F238E27FC236}">
                    <a16:creationId xmlns:a16="http://schemas.microsoft.com/office/drawing/2014/main" id="{4EAFD4E7-5E0F-D976-3806-DB9EB9C5559F}"/>
                  </a:ext>
                </a:extLst>
              </p:cNvPr>
              <p:cNvSpPr/>
              <p:nvPr/>
            </p:nvSpPr>
            <p:spPr>
              <a:xfrm>
                <a:off x="5620468" y="2184395"/>
                <a:ext cx="979518" cy="1002762"/>
              </a:xfrm>
              <a:custGeom>
                <a:avLst/>
                <a:gdLst>
                  <a:gd name="connsiteX0" fmla="*/ 727050 w 1275984"/>
                  <a:gd name="connsiteY0" fmla="*/ 1234167 h 1306265"/>
                  <a:gd name="connsiteX1" fmla="*/ 705534 w 1275984"/>
                  <a:gd name="connsiteY1" fmla="*/ 1267376 h 1306265"/>
                  <a:gd name="connsiteX2" fmla="*/ 659359 w 1275984"/>
                  <a:gd name="connsiteY2" fmla="*/ 1270132 h 1306265"/>
                  <a:gd name="connsiteX3" fmla="*/ 637666 w 1275984"/>
                  <a:gd name="connsiteY3" fmla="*/ 1268471 h 1306265"/>
                  <a:gd name="connsiteX4" fmla="*/ 632084 w 1275984"/>
                  <a:gd name="connsiteY4" fmla="*/ 1275007 h 1306265"/>
                  <a:gd name="connsiteX5" fmla="*/ 599546 w 1275984"/>
                  <a:gd name="connsiteY5" fmla="*/ 1306239 h 1306265"/>
                  <a:gd name="connsiteX6" fmla="*/ 533622 w 1275984"/>
                  <a:gd name="connsiteY6" fmla="*/ 1293485 h 1306265"/>
                  <a:gd name="connsiteX7" fmla="*/ 516133 w 1275984"/>
                  <a:gd name="connsiteY7" fmla="*/ 1286807 h 1306265"/>
                  <a:gd name="connsiteX8" fmla="*/ 521609 w 1275984"/>
                  <a:gd name="connsiteY8" fmla="*/ 1276880 h 1306265"/>
                  <a:gd name="connsiteX9" fmla="*/ 509350 w 1275984"/>
                  <a:gd name="connsiteY9" fmla="*/ 1274407 h 1306265"/>
                  <a:gd name="connsiteX10" fmla="*/ 437384 w 1275984"/>
                  <a:gd name="connsiteY10" fmla="*/ 1252361 h 1306265"/>
                  <a:gd name="connsiteX11" fmla="*/ 430460 w 1275984"/>
                  <a:gd name="connsiteY11" fmla="*/ 1238477 h 1306265"/>
                  <a:gd name="connsiteX12" fmla="*/ 447665 w 1275984"/>
                  <a:gd name="connsiteY12" fmla="*/ 1231623 h 1306265"/>
                  <a:gd name="connsiteX13" fmla="*/ 477059 w 1275984"/>
                  <a:gd name="connsiteY13" fmla="*/ 1239749 h 1306265"/>
                  <a:gd name="connsiteX14" fmla="*/ 488329 w 1275984"/>
                  <a:gd name="connsiteY14" fmla="*/ 1243494 h 1306265"/>
                  <a:gd name="connsiteX15" fmla="*/ 580751 w 1275984"/>
                  <a:gd name="connsiteY15" fmla="*/ 1265928 h 1306265"/>
                  <a:gd name="connsiteX16" fmla="*/ 593822 w 1275984"/>
                  <a:gd name="connsiteY16" fmla="*/ 1264444 h 1306265"/>
                  <a:gd name="connsiteX17" fmla="*/ 598522 w 1275984"/>
                  <a:gd name="connsiteY17" fmla="*/ 1237947 h 1306265"/>
                  <a:gd name="connsiteX18" fmla="*/ 571247 w 1275984"/>
                  <a:gd name="connsiteY18" fmla="*/ 1229327 h 1306265"/>
                  <a:gd name="connsiteX19" fmla="*/ 544644 w 1275984"/>
                  <a:gd name="connsiteY19" fmla="*/ 1229327 h 1306265"/>
                  <a:gd name="connsiteX20" fmla="*/ 488047 w 1275984"/>
                  <a:gd name="connsiteY20" fmla="*/ 1215301 h 1306265"/>
                  <a:gd name="connsiteX21" fmla="*/ 431449 w 1275984"/>
                  <a:gd name="connsiteY21" fmla="*/ 1211803 h 1306265"/>
                  <a:gd name="connsiteX22" fmla="*/ 382695 w 1275984"/>
                  <a:gd name="connsiteY22" fmla="*/ 1210390 h 1306265"/>
                  <a:gd name="connsiteX23" fmla="*/ 365666 w 1275984"/>
                  <a:gd name="connsiteY23" fmla="*/ 1162978 h 1306265"/>
                  <a:gd name="connsiteX24" fmla="*/ 379409 w 1275984"/>
                  <a:gd name="connsiteY24" fmla="*/ 1156583 h 1306265"/>
                  <a:gd name="connsiteX25" fmla="*/ 401808 w 1275984"/>
                  <a:gd name="connsiteY25" fmla="*/ 1154782 h 1306265"/>
                  <a:gd name="connsiteX26" fmla="*/ 411806 w 1275984"/>
                  <a:gd name="connsiteY26" fmla="*/ 1143618 h 1306265"/>
                  <a:gd name="connsiteX27" fmla="*/ 402408 w 1275984"/>
                  <a:gd name="connsiteY27" fmla="*/ 1132453 h 1306265"/>
                  <a:gd name="connsiteX28" fmla="*/ 372802 w 1275984"/>
                  <a:gd name="connsiteY28" fmla="*/ 1125988 h 1306265"/>
                  <a:gd name="connsiteX29" fmla="*/ 329877 w 1275984"/>
                  <a:gd name="connsiteY29" fmla="*/ 1079071 h 1306265"/>
                  <a:gd name="connsiteX30" fmla="*/ 321045 w 1275984"/>
                  <a:gd name="connsiteY30" fmla="*/ 1059004 h 1306265"/>
                  <a:gd name="connsiteX31" fmla="*/ 311223 w 1275984"/>
                  <a:gd name="connsiteY31" fmla="*/ 1056637 h 1306265"/>
                  <a:gd name="connsiteX32" fmla="*/ 306418 w 1275984"/>
                  <a:gd name="connsiteY32" fmla="*/ 1065257 h 1306265"/>
                  <a:gd name="connsiteX33" fmla="*/ 312000 w 1275984"/>
                  <a:gd name="connsiteY33" fmla="*/ 1093768 h 1306265"/>
                  <a:gd name="connsiteX34" fmla="*/ 273279 w 1275984"/>
                  <a:gd name="connsiteY34" fmla="*/ 1169090 h 1306265"/>
                  <a:gd name="connsiteX35" fmla="*/ 126875 w 1275984"/>
                  <a:gd name="connsiteY35" fmla="*/ 1127013 h 1306265"/>
                  <a:gd name="connsiteX36" fmla="*/ 116452 w 1275984"/>
                  <a:gd name="connsiteY36" fmla="*/ 1102812 h 1306265"/>
                  <a:gd name="connsiteX37" fmla="*/ 91899 w 1275984"/>
                  <a:gd name="connsiteY37" fmla="*/ 1045897 h 1306265"/>
                  <a:gd name="connsiteX38" fmla="*/ 90344 w 1275984"/>
                  <a:gd name="connsiteY38" fmla="*/ 1031482 h 1306265"/>
                  <a:gd name="connsiteX39" fmla="*/ 104299 w 1275984"/>
                  <a:gd name="connsiteY39" fmla="*/ 1028267 h 1306265"/>
                  <a:gd name="connsiteX40" fmla="*/ 203257 w 1275984"/>
                  <a:gd name="connsiteY40" fmla="*/ 1022226 h 1306265"/>
                  <a:gd name="connsiteX41" fmla="*/ 220250 w 1275984"/>
                  <a:gd name="connsiteY41" fmla="*/ 1022085 h 1306265"/>
                  <a:gd name="connsiteX42" fmla="*/ 262327 w 1275984"/>
                  <a:gd name="connsiteY42" fmla="*/ 1020813 h 1306265"/>
                  <a:gd name="connsiteX43" fmla="*/ 270277 w 1275984"/>
                  <a:gd name="connsiteY43" fmla="*/ 1014489 h 1306265"/>
                  <a:gd name="connsiteX44" fmla="*/ 265154 w 1275984"/>
                  <a:gd name="connsiteY44" fmla="*/ 1005904 h 1306265"/>
                  <a:gd name="connsiteX45" fmla="*/ 217424 w 1275984"/>
                  <a:gd name="connsiteY45" fmla="*/ 992196 h 1306265"/>
                  <a:gd name="connsiteX46" fmla="*/ 176901 w 1275984"/>
                  <a:gd name="connsiteY46" fmla="*/ 986367 h 1306265"/>
                  <a:gd name="connsiteX47" fmla="*/ 135778 w 1275984"/>
                  <a:gd name="connsiteY47" fmla="*/ 945526 h 1306265"/>
                  <a:gd name="connsiteX48" fmla="*/ 125037 w 1275984"/>
                  <a:gd name="connsiteY48" fmla="*/ 930935 h 1306265"/>
                  <a:gd name="connsiteX49" fmla="*/ 111895 w 1275984"/>
                  <a:gd name="connsiteY49" fmla="*/ 942064 h 1306265"/>
                  <a:gd name="connsiteX50" fmla="*/ 52471 w 1275984"/>
                  <a:gd name="connsiteY50" fmla="*/ 972800 h 1306265"/>
                  <a:gd name="connsiteX51" fmla="*/ 3187 w 1275984"/>
                  <a:gd name="connsiteY51" fmla="*/ 913270 h 1306265"/>
                  <a:gd name="connsiteX52" fmla="*/ 2657 w 1275984"/>
                  <a:gd name="connsiteY52" fmla="*/ 831129 h 1306265"/>
                  <a:gd name="connsiteX53" fmla="*/ 1243 w 1275984"/>
                  <a:gd name="connsiteY53" fmla="*/ 808625 h 1306265"/>
                  <a:gd name="connsiteX54" fmla="*/ 21487 w 1275984"/>
                  <a:gd name="connsiteY54" fmla="*/ 688823 h 1306265"/>
                  <a:gd name="connsiteX55" fmla="*/ 23572 w 1275984"/>
                  <a:gd name="connsiteY55" fmla="*/ 691190 h 1306265"/>
                  <a:gd name="connsiteX56" fmla="*/ 43462 w 1275984"/>
                  <a:gd name="connsiteY56" fmla="*/ 728604 h 1306265"/>
                  <a:gd name="connsiteX57" fmla="*/ 58512 w 1275984"/>
                  <a:gd name="connsiteY57" fmla="*/ 773083 h 1306265"/>
                  <a:gd name="connsiteX58" fmla="*/ 78756 w 1275984"/>
                  <a:gd name="connsiteY58" fmla="*/ 807388 h 1306265"/>
                  <a:gd name="connsiteX59" fmla="*/ 103628 w 1275984"/>
                  <a:gd name="connsiteY59" fmla="*/ 847593 h 1306265"/>
                  <a:gd name="connsiteX60" fmla="*/ 118148 w 1275984"/>
                  <a:gd name="connsiteY60" fmla="*/ 872924 h 1306265"/>
                  <a:gd name="connsiteX61" fmla="*/ 133305 w 1275984"/>
                  <a:gd name="connsiteY61" fmla="*/ 881650 h 1306265"/>
                  <a:gd name="connsiteX62" fmla="*/ 141112 w 1275984"/>
                  <a:gd name="connsiteY62" fmla="*/ 866565 h 1306265"/>
                  <a:gd name="connsiteX63" fmla="*/ 132068 w 1275984"/>
                  <a:gd name="connsiteY63" fmla="*/ 805092 h 1306265"/>
                  <a:gd name="connsiteX64" fmla="*/ 137862 w 1275984"/>
                  <a:gd name="connsiteY64" fmla="*/ 754995 h 1306265"/>
                  <a:gd name="connsiteX65" fmla="*/ 131467 w 1275984"/>
                  <a:gd name="connsiteY65" fmla="*/ 739132 h 1306265"/>
                  <a:gd name="connsiteX66" fmla="*/ 85610 w 1275984"/>
                  <a:gd name="connsiteY66" fmla="*/ 727332 h 1306265"/>
                  <a:gd name="connsiteX67" fmla="*/ 61939 w 1275984"/>
                  <a:gd name="connsiteY67" fmla="*/ 676034 h 1306265"/>
                  <a:gd name="connsiteX68" fmla="*/ 73845 w 1275984"/>
                  <a:gd name="connsiteY68" fmla="*/ 577217 h 1306265"/>
                  <a:gd name="connsiteX69" fmla="*/ 110376 w 1275984"/>
                  <a:gd name="connsiteY69" fmla="*/ 544891 h 1306265"/>
                  <a:gd name="connsiteX70" fmla="*/ 136237 w 1275984"/>
                  <a:gd name="connsiteY70" fmla="*/ 513943 h 1306265"/>
                  <a:gd name="connsiteX71" fmla="*/ 137332 w 1275984"/>
                  <a:gd name="connsiteY71" fmla="*/ 500093 h 1306265"/>
                  <a:gd name="connsiteX72" fmla="*/ 113591 w 1275984"/>
                  <a:gd name="connsiteY72" fmla="*/ 518465 h 1306265"/>
                  <a:gd name="connsiteX73" fmla="*/ 82148 w 1275984"/>
                  <a:gd name="connsiteY73" fmla="*/ 520514 h 1306265"/>
                  <a:gd name="connsiteX74" fmla="*/ 64766 w 1275984"/>
                  <a:gd name="connsiteY74" fmla="*/ 485891 h 1306265"/>
                  <a:gd name="connsiteX75" fmla="*/ 104370 w 1275984"/>
                  <a:gd name="connsiteY75" fmla="*/ 384107 h 1306265"/>
                  <a:gd name="connsiteX76" fmla="*/ 110941 w 1275984"/>
                  <a:gd name="connsiteY76" fmla="*/ 371035 h 1306265"/>
                  <a:gd name="connsiteX77" fmla="*/ 110729 w 1275984"/>
                  <a:gd name="connsiteY77" fmla="*/ 362450 h 1306265"/>
                  <a:gd name="connsiteX78" fmla="*/ 103522 w 1275984"/>
                  <a:gd name="connsiteY78" fmla="*/ 363722 h 1306265"/>
                  <a:gd name="connsiteX79" fmla="*/ 92358 w 1275984"/>
                  <a:gd name="connsiteY79" fmla="*/ 364676 h 1306265"/>
                  <a:gd name="connsiteX80" fmla="*/ 92888 w 1275984"/>
                  <a:gd name="connsiteY80" fmla="*/ 353618 h 1306265"/>
                  <a:gd name="connsiteX81" fmla="*/ 101014 w 1275984"/>
                  <a:gd name="connsiteY81" fmla="*/ 322952 h 1306265"/>
                  <a:gd name="connsiteX82" fmla="*/ 152630 w 1275984"/>
                  <a:gd name="connsiteY82" fmla="*/ 255261 h 1306265"/>
                  <a:gd name="connsiteX83" fmla="*/ 189796 w 1275984"/>
                  <a:gd name="connsiteY83" fmla="*/ 216010 h 1306265"/>
                  <a:gd name="connsiteX84" fmla="*/ 198664 w 1275984"/>
                  <a:gd name="connsiteY84" fmla="*/ 208414 h 1306265"/>
                  <a:gd name="connsiteX85" fmla="*/ 283949 w 1275984"/>
                  <a:gd name="connsiteY85" fmla="*/ 165737 h 1306265"/>
                  <a:gd name="connsiteX86" fmla="*/ 358141 w 1275984"/>
                  <a:gd name="connsiteY86" fmla="*/ 119314 h 1306265"/>
                  <a:gd name="connsiteX87" fmla="*/ 367715 w 1275984"/>
                  <a:gd name="connsiteY87" fmla="*/ 121716 h 1306265"/>
                  <a:gd name="connsiteX88" fmla="*/ 366337 w 1275984"/>
                  <a:gd name="connsiteY88" fmla="*/ 147436 h 1306265"/>
                  <a:gd name="connsiteX89" fmla="*/ 371142 w 1275984"/>
                  <a:gd name="connsiteY89" fmla="*/ 153831 h 1306265"/>
                  <a:gd name="connsiteX90" fmla="*/ 489919 w 1275984"/>
                  <a:gd name="connsiteY90" fmla="*/ 127899 h 1306265"/>
                  <a:gd name="connsiteX91" fmla="*/ 535988 w 1275984"/>
                  <a:gd name="connsiteY91" fmla="*/ 102426 h 1306265"/>
                  <a:gd name="connsiteX92" fmla="*/ 589053 w 1275984"/>
                  <a:gd name="connsiteY92" fmla="*/ 52188 h 1306265"/>
                  <a:gd name="connsiteX93" fmla="*/ 665329 w 1275984"/>
                  <a:gd name="connsiteY93" fmla="*/ 37032 h 1306265"/>
                  <a:gd name="connsiteX94" fmla="*/ 691861 w 1275984"/>
                  <a:gd name="connsiteY94" fmla="*/ 36325 h 1306265"/>
                  <a:gd name="connsiteX95" fmla="*/ 771352 w 1275984"/>
                  <a:gd name="connsiteY95" fmla="*/ 8062 h 1306265"/>
                  <a:gd name="connsiteX96" fmla="*/ 856355 w 1275984"/>
                  <a:gd name="connsiteY96" fmla="*/ 5306 h 1306265"/>
                  <a:gd name="connsiteX97" fmla="*/ 895040 w 1275984"/>
                  <a:gd name="connsiteY97" fmla="*/ 32227 h 1306265"/>
                  <a:gd name="connsiteX98" fmla="*/ 958386 w 1275984"/>
                  <a:gd name="connsiteY98" fmla="*/ 69535 h 1306265"/>
                  <a:gd name="connsiteX99" fmla="*/ 1067624 w 1275984"/>
                  <a:gd name="connsiteY99" fmla="*/ 182624 h 1306265"/>
                  <a:gd name="connsiteX100" fmla="*/ 1046179 w 1275984"/>
                  <a:gd name="connsiteY100" fmla="*/ 229365 h 1306265"/>
                  <a:gd name="connsiteX101" fmla="*/ 1031447 w 1275984"/>
                  <a:gd name="connsiteY101" fmla="*/ 248125 h 1306265"/>
                  <a:gd name="connsiteX102" fmla="*/ 1031624 w 1275984"/>
                  <a:gd name="connsiteY102" fmla="*/ 273173 h 1306265"/>
                  <a:gd name="connsiteX103" fmla="*/ 1060417 w 1275984"/>
                  <a:gd name="connsiteY103" fmla="*/ 349767 h 1306265"/>
                  <a:gd name="connsiteX104" fmla="*/ 1083417 w 1275984"/>
                  <a:gd name="connsiteY104" fmla="*/ 385520 h 1306265"/>
                  <a:gd name="connsiteX105" fmla="*/ 1076845 w 1275984"/>
                  <a:gd name="connsiteY105" fmla="*/ 332703 h 1306265"/>
                  <a:gd name="connsiteX106" fmla="*/ 1075220 w 1275984"/>
                  <a:gd name="connsiteY106" fmla="*/ 305570 h 1306265"/>
                  <a:gd name="connsiteX107" fmla="*/ 1092072 w 1275984"/>
                  <a:gd name="connsiteY107" fmla="*/ 304051 h 1306265"/>
                  <a:gd name="connsiteX108" fmla="*/ 1163296 w 1275984"/>
                  <a:gd name="connsiteY108" fmla="*/ 393010 h 1306265"/>
                  <a:gd name="connsiteX109" fmla="*/ 1180042 w 1275984"/>
                  <a:gd name="connsiteY109" fmla="*/ 457239 h 1306265"/>
                  <a:gd name="connsiteX110" fmla="*/ 1168560 w 1275984"/>
                  <a:gd name="connsiteY110" fmla="*/ 465082 h 1306265"/>
                  <a:gd name="connsiteX111" fmla="*/ 1161282 w 1275984"/>
                  <a:gd name="connsiteY111" fmla="*/ 468686 h 1306265"/>
                  <a:gd name="connsiteX112" fmla="*/ 1159057 w 1275984"/>
                  <a:gd name="connsiteY112" fmla="*/ 477624 h 1306265"/>
                  <a:gd name="connsiteX113" fmla="*/ 1146586 w 1275984"/>
                  <a:gd name="connsiteY113" fmla="*/ 547611 h 1306265"/>
                  <a:gd name="connsiteX114" fmla="*/ 1145808 w 1275984"/>
                  <a:gd name="connsiteY114" fmla="*/ 567431 h 1306265"/>
                  <a:gd name="connsiteX115" fmla="*/ 1151355 w 1275984"/>
                  <a:gd name="connsiteY115" fmla="*/ 575628 h 1306265"/>
                  <a:gd name="connsiteX116" fmla="*/ 1159021 w 1275984"/>
                  <a:gd name="connsiteY116" fmla="*/ 569480 h 1306265"/>
                  <a:gd name="connsiteX117" fmla="*/ 1181067 w 1275984"/>
                  <a:gd name="connsiteY117" fmla="*/ 531643 h 1306265"/>
                  <a:gd name="connsiteX118" fmla="*/ 1181632 w 1275984"/>
                  <a:gd name="connsiteY118" fmla="*/ 548671 h 1306265"/>
                  <a:gd name="connsiteX119" fmla="*/ 1169620 w 1275984"/>
                  <a:gd name="connsiteY119" fmla="*/ 647911 h 1306265"/>
                  <a:gd name="connsiteX120" fmla="*/ 1159127 w 1275984"/>
                  <a:gd name="connsiteY120" fmla="*/ 712847 h 1306265"/>
                  <a:gd name="connsiteX121" fmla="*/ 1147045 w 1275984"/>
                  <a:gd name="connsiteY121" fmla="*/ 733302 h 1306265"/>
                  <a:gd name="connsiteX122" fmla="*/ 1141392 w 1275984"/>
                  <a:gd name="connsiteY122" fmla="*/ 742206 h 1306265"/>
                  <a:gd name="connsiteX123" fmla="*/ 1143088 w 1275984"/>
                  <a:gd name="connsiteY123" fmla="*/ 755595 h 1306265"/>
                  <a:gd name="connsiteX124" fmla="*/ 1156937 w 1275984"/>
                  <a:gd name="connsiteY124" fmla="*/ 751992 h 1306265"/>
                  <a:gd name="connsiteX125" fmla="*/ 1175626 w 1275984"/>
                  <a:gd name="connsiteY125" fmla="*/ 705675 h 1306265"/>
                  <a:gd name="connsiteX126" fmla="*/ 1202335 w 1275984"/>
                  <a:gd name="connsiteY126" fmla="*/ 620461 h 1306265"/>
                  <a:gd name="connsiteX127" fmla="*/ 1210779 w 1275984"/>
                  <a:gd name="connsiteY127" fmla="*/ 550155 h 1306265"/>
                  <a:gd name="connsiteX128" fmla="*/ 1212015 w 1275984"/>
                  <a:gd name="connsiteY128" fmla="*/ 477518 h 1306265"/>
                  <a:gd name="connsiteX129" fmla="*/ 1208200 w 1275984"/>
                  <a:gd name="connsiteY129" fmla="*/ 416964 h 1306265"/>
                  <a:gd name="connsiteX130" fmla="*/ 1208765 w 1275984"/>
                  <a:gd name="connsiteY130" fmla="*/ 409509 h 1306265"/>
                  <a:gd name="connsiteX131" fmla="*/ 1214524 w 1275984"/>
                  <a:gd name="connsiteY131" fmla="*/ 379868 h 1306265"/>
                  <a:gd name="connsiteX132" fmla="*/ 1223462 w 1275984"/>
                  <a:gd name="connsiteY132" fmla="*/ 374462 h 1306265"/>
                  <a:gd name="connsiteX133" fmla="*/ 1254340 w 1275984"/>
                  <a:gd name="connsiteY133" fmla="*/ 421097 h 1306265"/>
                  <a:gd name="connsiteX134" fmla="*/ 1252998 w 1275984"/>
                  <a:gd name="connsiteY134" fmla="*/ 432791 h 1306265"/>
                  <a:gd name="connsiteX135" fmla="*/ 1250242 w 1275984"/>
                  <a:gd name="connsiteY135" fmla="*/ 472254 h 1306265"/>
                  <a:gd name="connsiteX136" fmla="*/ 1248687 w 1275984"/>
                  <a:gd name="connsiteY136" fmla="*/ 522174 h 1306265"/>
                  <a:gd name="connsiteX137" fmla="*/ 1238724 w 1275984"/>
                  <a:gd name="connsiteY137" fmla="*/ 627385 h 1306265"/>
                  <a:gd name="connsiteX138" fmla="*/ 1234909 w 1275984"/>
                  <a:gd name="connsiteY138" fmla="*/ 657556 h 1306265"/>
                  <a:gd name="connsiteX139" fmla="*/ 1220459 w 1275984"/>
                  <a:gd name="connsiteY139" fmla="*/ 684018 h 1306265"/>
                  <a:gd name="connsiteX140" fmla="*/ 1206504 w 1275984"/>
                  <a:gd name="connsiteY140" fmla="*/ 715885 h 1306265"/>
                  <a:gd name="connsiteX141" fmla="*/ 1216078 w 1275984"/>
                  <a:gd name="connsiteY141" fmla="*/ 734892 h 1306265"/>
                  <a:gd name="connsiteX142" fmla="*/ 1238088 w 1275984"/>
                  <a:gd name="connsiteY142" fmla="*/ 729593 h 1306265"/>
                  <a:gd name="connsiteX143" fmla="*/ 1252362 w 1275984"/>
                  <a:gd name="connsiteY143" fmla="*/ 717793 h 1306265"/>
                  <a:gd name="connsiteX144" fmla="*/ 1269779 w 1275984"/>
                  <a:gd name="connsiteY144" fmla="*/ 717051 h 1306265"/>
                  <a:gd name="connsiteX145" fmla="*/ 1275962 w 1275984"/>
                  <a:gd name="connsiteY145" fmla="*/ 731819 h 1306265"/>
                  <a:gd name="connsiteX146" fmla="*/ 1261618 w 1275984"/>
                  <a:gd name="connsiteY146" fmla="*/ 764074 h 1306265"/>
                  <a:gd name="connsiteX147" fmla="*/ 1229080 w 1275984"/>
                  <a:gd name="connsiteY147" fmla="*/ 807635 h 1306265"/>
                  <a:gd name="connsiteX148" fmla="*/ 1219223 w 1275984"/>
                  <a:gd name="connsiteY148" fmla="*/ 816326 h 1306265"/>
                  <a:gd name="connsiteX149" fmla="*/ 1202688 w 1275984"/>
                  <a:gd name="connsiteY149" fmla="*/ 818588 h 1306265"/>
                  <a:gd name="connsiteX150" fmla="*/ 1200357 w 1275984"/>
                  <a:gd name="connsiteY150" fmla="*/ 798838 h 1306265"/>
                  <a:gd name="connsiteX151" fmla="*/ 1212793 w 1275984"/>
                  <a:gd name="connsiteY151" fmla="*/ 778453 h 1306265"/>
                  <a:gd name="connsiteX152" fmla="*/ 1214665 w 1275984"/>
                  <a:gd name="connsiteY152" fmla="*/ 766724 h 1306265"/>
                  <a:gd name="connsiteX153" fmla="*/ 1203960 w 1275984"/>
                  <a:gd name="connsiteY153" fmla="*/ 769939 h 1306265"/>
                  <a:gd name="connsiteX154" fmla="*/ 1148529 w 1275984"/>
                  <a:gd name="connsiteY154" fmla="*/ 808766 h 1306265"/>
                  <a:gd name="connsiteX155" fmla="*/ 1130228 w 1275984"/>
                  <a:gd name="connsiteY155" fmla="*/ 819435 h 1306265"/>
                  <a:gd name="connsiteX156" fmla="*/ 1110090 w 1275984"/>
                  <a:gd name="connsiteY156" fmla="*/ 843813 h 1306265"/>
                  <a:gd name="connsiteX157" fmla="*/ 1081968 w 1275984"/>
                  <a:gd name="connsiteY157" fmla="*/ 910797 h 1306265"/>
                  <a:gd name="connsiteX158" fmla="*/ 1086985 w 1275984"/>
                  <a:gd name="connsiteY158" fmla="*/ 966441 h 1306265"/>
                  <a:gd name="connsiteX159" fmla="*/ 1096736 w 1275984"/>
                  <a:gd name="connsiteY159" fmla="*/ 982198 h 1306265"/>
                  <a:gd name="connsiteX160" fmla="*/ 1098537 w 1275984"/>
                  <a:gd name="connsiteY160" fmla="*/ 1005268 h 1306265"/>
                  <a:gd name="connsiteX161" fmla="*/ 1099421 w 1275984"/>
                  <a:gd name="connsiteY161" fmla="*/ 1038548 h 1306265"/>
                  <a:gd name="connsiteX162" fmla="*/ 1091048 w 1275984"/>
                  <a:gd name="connsiteY162" fmla="*/ 1102141 h 1306265"/>
                  <a:gd name="connsiteX163" fmla="*/ 1003290 w 1275984"/>
                  <a:gd name="connsiteY163" fmla="*/ 1175131 h 1306265"/>
                  <a:gd name="connsiteX164" fmla="*/ 986685 w 1275984"/>
                  <a:gd name="connsiteY164" fmla="*/ 1179265 h 1306265"/>
                  <a:gd name="connsiteX165" fmla="*/ 911186 w 1275984"/>
                  <a:gd name="connsiteY165" fmla="*/ 1198449 h 1306265"/>
                  <a:gd name="connsiteX166" fmla="*/ 885537 w 1275984"/>
                  <a:gd name="connsiteY166" fmla="*/ 1195340 h 1306265"/>
                  <a:gd name="connsiteX167" fmla="*/ 836288 w 1275984"/>
                  <a:gd name="connsiteY167" fmla="*/ 1214559 h 1306265"/>
                  <a:gd name="connsiteX168" fmla="*/ 788311 w 1275984"/>
                  <a:gd name="connsiteY168" fmla="*/ 1247698 h 1306265"/>
                  <a:gd name="connsiteX169" fmla="*/ 748777 w 1275984"/>
                  <a:gd name="connsiteY169" fmla="*/ 1244624 h 1306265"/>
                  <a:gd name="connsiteX170" fmla="*/ 726908 w 1275984"/>
                  <a:gd name="connsiteY170" fmla="*/ 1234202 h 1306265"/>
                  <a:gd name="connsiteX171" fmla="*/ 746339 w 1275984"/>
                  <a:gd name="connsiteY171" fmla="*/ 1223179 h 1306265"/>
                  <a:gd name="connsiteX172" fmla="*/ 762944 w 1275984"/>
                  <a:gd name="connsiteY172" fmla="*/ 1210072 h 1306265"/>
                  <a:gd name="connsiteX173" fmla="*/ 766088 w 1275984"/>
                  <a:gd name="connsiteY173" fmla="*/ 1195304 h 1306265"/>
                  <a:gd name="connsiteX174" fmla="*/ 754500 w 1275984"/>
                  <a:gd name="connsiteY174" fmla="*/ 1191701 h 1306265"/>
                  <a:gd name="connsiteX175" fmla="*/ 735175 w 1275984"/>
                  <a:gd name="connsiteY175" fmla="*/ 1195410 h 1306265"/>
                  <a:gd name="connsiteX176" fmla="*/ 677200 w 1275984"/>
                  <a:gd name="connsiteY176" fmla="*/ 1207670 h 1306265"/>
                  <a:gd name="connsiteX177" fmla="*/ 653741 w 1275984"/>
                  <a:gd name="connsiteY177" fmla="*/ 1219187 h 1306265"/>
                  <a:gd name="connsiteX178" fmla="*/ 674797 w 1275984"/>
                  <a:gd name="connsiteY178" fmla="*/ 1236357 h 1306265"/>
                  <a:gd name="connsiteX179" fmla="*/ 677412 w 1275984"/>
                  <a:gd name="connsiteY179" fmla="*/ 1236675 h 1306265"/>
                  <a:gd name="connsiteX180" fmla="*/ 727014 w 1275984"/>
                  <a:gd name="connsiteY180" fmla="*/ 1234167 h 130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275984" h="1306265">
                    <a:moveTo>
                      <a:pt x="727050" y="1234167"/>
                    </a:moveTo>
                    <a:cubicBezTo>
                      <a:pt x="729099" y="1251160"/>
                      <a:pt x="718818" y="1261229"/>
                      <a:pt x="705534" y="1267376"/>
                    </a:cubicBezTo>
                    <a:cubicBezTo>
                      <a:pt x="691014" y="1274124"/>
                      <a:pt x="675469" y="1277657"/>
                      <a:pt x="659359" y="1270132"/>
                    </a:cubicBezTo>
                    <a:cubicBezTo>
                      <a:pt x="652717" y="1267023"/>
                      <a:pt x="645298" y="1264126"/>
                      <a:pt x="637666" y="1268471"/>
                    </a:cubicBezTo>
                    <a:cubicBezTo>
                      <a:pt x="634946" y="1270026"/>
                      <a:pt x="632367" y="1271086"/>
                      <a:pt x="632084" y="1275007"/>
                    </a:cubicBezTo>
                    <a:cubicBezTo>
                      <a:pt x="630565" y="1297477"/>
                      <a:pt x="622015" y="1305779"/>
                      <a:pt x="599546" y="1306239"/>
                    </a:cubicBezTo>
                    <a:cubicBezTo>
                      <a:pt x="576688" y="1306698"/>
                      <a:pt x="554925" y="1301257"/>
                      <a:pt x="533622" y="1293485"/>
                    </a:cubicBezTo>
                    <a:cubicBezTo>
                      <a:pt x="527828" y="1291365"/>
                      <a:pt x="522104" y="1289104"/>
                      <a:pt x="516133" y="1286807"/>
                    </a:cubicBezTo>
                    <a:cubicBezTo>
                      <a:pt x="515003" y="1281791"/>
                      <a:pt x="524895" y="1282391"/>
                      <a:pt x="521609" y="1276880"/>
                    </a:cubicBezTo>
                    <a:cubicBezTo>
                      <a:pt x="518748" y="1272146"/>
                      <a:pt x="513484" y="1274160"/>
                      <a:pt x="509350" y="1274407"/>
                    </a:cubicBezTo>
                    <a:cubicBezTo>
                      <a:pt x="482535" y="1276138"/>
                      <a:pt x="458723" y="1267977"/>
                      <a:pt x="437384" y="1252361"/>
                    </a:cubicBezTo>
                    <a:cubicBezTo>
                      <a:pt x="433357" y="1249394"/>
                      <a:pt x="426644" y="1246002"/>
                      <a:pt x="430460" y="1238477"/>
                    </a:cubicBezTo>
                    <a:cubicBezTo>
                      <a:pt x="434134" y="1231270"/>
                      <a:pt x="440988" y="1230280"/>
                      <a:pt x="447665" y="1231623"/>
                    </a:cubicBezTo>
                    <a:cubicBezTo>
                      <a:pt x="457593" y="1233672"/>
                      <a:pt x="467273" y="1236887"/>
                      <a:pt x="477059" y="1239749"/>
                    </a:cubicBezTo>
                    <a:cubicBezTo>
                      <a:pt x="480875" y="1240879"/>
                      <a:pt x="484619" y="1243600"/>
                      <a:pt x="488329" y="1243494"/>
                    </a:cubicBezTo>
                    <a:cubicBezTo>
                      <a:pt x="521256" y="1242469"/>
                      <a:pt x="549308" y="1261264"/>
                      <a:pt x="580751" y="1265928"/>
                    </a:cubicBezTo>
                    <a:cubicBezTo>
                      <a:pt x="585026" y="1266564"/>
                      <a:pt x="589512" y="1266246"/>
                      <a:pt x="593822" y="1264444"/>
                    </a:cubicBezTo>
                    <a:cubicBezTo>
                      <a:pt x="606258" y="1259180"/>
                      <a:pt x="608520" y="1246991"/>
                      <a:pt x="598522" y="1237947"/>
                    </a:cubicBezTo>
                    <a:cubicBezTo>
                      <a:pt x="590784" y="1230952"/>
                      <a:pt x="580892" y="1229998"/>
                      <a:pt x="571247" y="1229327"/>
                    </a:cubicBezTo>
                    <a:cubicBezTo>
                      <a:pt x="562415" y="1228691"/>
                      <a:pt x="553477" y="1228691"/>
                      <a:pt x="544644" y="1229327"/>
                    </a:cubicBezTo>
                    <a:cubicBezTo>
                      <a:pt x="524188" y="1230740"/>
                      <a:pt x="505499" y="1227666"/>
                      <a:pt x="488047" y="1215301"/>
                    </a:cubicBezTo>
                    <a:cubicBezTo>
                      <a:pt x="470558" y="1202936"/>
                      <a:pt x="450562" y="1209507"/>
                      <a:pt x="431449" y="1211803"/>
                    </a:cubicBezTo>
                    <a:cubicBezTo>
                      <a:pt x="415127" y="1213746"/>
                      <a:pt x="398805" y="1214665"/>
                      <a:pt x="382695" y="1210390"/>
                    </a:cubicBezTo>
                    <a:cubicBezTo>
                      <a:pt x="362945" y="1205126"/>
                      <a:pt x="353972" y="1179760"/>
                      <a:pt x="365666" y="1162978"/>
                    </a:cubicBezTo>
                    <a:cubicBezTo>
                      <a:pt x="369093" y="1158067"/>
                      <a:pt x="373650" y="1156583"/>
                      <a:pt x="379409" y="1156583"/>
                    </a:cubicBezTo>
                    <a:cubicBezTo>
                      <a:pt x="386863" y="1156583"/>
                      <a:pt x="394318" y="1157290"/>
                      <a:pt x="401808" y="1154782"/>
                    </a:cubicBezTo>
                    <a:cubicBezTo>
                      <a:pt x="407743" y="1152803"/>
                      <a:pt x="410958" y="1149023"/>
                      <a:pt x="411806" y="1143618"/>
                    </a:cubicBezTo>
                    <a:cubicBezTo>
                      <a:pt x="412830" y="1137046"/>
                      <a:pt x="407460" y="1133902"/>
                      <a:pt x="402408" y="1132453"/>
                    </a:cubicBezTo>
                    <a:cubicBezTo>
                      <a:pt x="392693" y="1129662"/>
                      <a:pt x="382765" y="1126518"/>
                      <a:pt x="372802" y="1125988"/>
                    </a:cubicBezTo>
                    <a:cubicBezTo>
                      <a:pt x="350686" y="1124893"/>
                      <a:pt x="331749" y="1102953"/>
                      <a:pt x="329877" y="1079071"/>
                    </a:cubicBezTo>
                    <a:cubicBezTo>
                      <a:pt x="329276" y="1071475"/>
                      <a:pt x="327369" y="1064233"/>
                      <a:pt x="321045" y="1059004"/>
                    </a:cubicBezTo>
                    <a:cubicBezTo>
                      <a:pt x="318077" y="1056531"/>
                      <a:pt x="314897" y="1055330"/>
                      <a:pt x="311223" y="1056637"/>
                    </a:cubicBezTo>
                    <a:cubicBezTo>
                      <a:pt x="307231" y="1058050"/>
                      <a:pt x="306666" y="1061547"/>
                      <a:pt x="306418" y="1065257"/>
                    </a:cubicBezTo>
                    <a:cubicBezTo>
                      <a:pt x="305747" y="1075255"/>
                      <a:pt x="309351" y="1084512"/>
                      <a:pt x="312000" y="1093768"/>
                    </a:cubicBezTo>
                    <a:cubicBezTo>
                      <a:pt x="322246" y="1129945"/>
                      <a:pt x="301826" y="1156583"/>
                      <a:pt x="273279" y="1169090"/>
                    </a:cubicBezTo>
                    <a:cubicBezTo>
                      <a:pt x="226468" y="1189546"/>
                      <a:pt x="160437" y="1180925"/>
                      <a:pt x="126875" y="1127013"/>
                    </a:cubicBezTo>
                    <a:cubicBezTo>
                      <a:pt x="122211" y="1119488"/>
                      <a:pt x="118148" y="1111821"/>
                      <a:pt x="116452" y="1102812"/>
                    </a:cubicBezTo>
                    <a:cubicBezTo>
                      <a:pt x="112531" y="1082109"/>
                      <a:pt x="104123" y="1063067"/>
                      <a:pt x="91899" y="1045897"/>
                    </a:cubicBezTo>
                    <a:cubicBezTo>
                      <a:pt x="88401" y="1040986"/>
                      <a:pt x="87023" y="1036958"/>
                      <a:pt x="90344" y="1031482"/>
                    </a:cubicBezTo>
                    <a:cubicBezTo>
                      <a:pt x="94089" y="1025264"/>
                      <a:pt x="98965" y="1027313"/>
                      <a:pt x="104299" y="1028267"/>
                    </a:cubicBezTo>
                    <a:cubicBezTo>
                      <a:pt x="137721" y="1034238"/>
                      <a:pt x="171001" y="1037029"/>
                      <a:pt x="203257" y="1022226"/>
                    </a:cubicBezTo>
                    <a:cubicBezTo>
                      <a:pt x="208591" y="1019753"/>
                      <a:pt x="214597" y="1020671"/>
                      <a:pt x="220250" y="1022085"/>
                    </a:cubicBezTo>
                    <a:cubicBezTo>
                      <a:pt x="234417" y="1025582"/>
                      <a:pt x="248372" y="1023250"/>
                      <a:pt x="262327" y="1020813"/>
                    </a:cubicBezTo>
                    <a:cubicBezTo>
                      <a:pt x="266108" y="1020141"/>
                      <a:pt x="269216" y="1017986"/>
                      <a:pt x="270277" y="1014489"/>
                    </a:cubicBezTo>
                    <a:cubicBezTo>
                      <a:pt x="271478" y="1010391"/>
                      <a:pt x="267803" y="1008023"/>
                      <a:pt x="265154" y="1005904"/>
                    </a:cubicBezTo>
                    <a:cubicBezTo>
                      <a:pt x="251163" y="994775"/>
                      <a:pt x="233852" y="994881"/>
                      <a:pt x="217424" y="992196"/>
                    </a:cubicBezTo>
                    <a:cubicBezTo>
                      <a:pt x="203963" y="990006"/>
                      <a:pt x="190185" y="989299"/>
                      <a:pt x="176901" y="986367"/>
                    </a:cubicBezTo>
                    <a:cubicBezTo>
                      <a:pt x="154926" y="981562"/>
                      <a:pt x="138922" y="969903"/>
                      <a:pt x="135778" y="945526"/>
                    </a:cubicBezTo>
                    <a:cubicBezTo>
                      <a:pt x="134930" y="938919"/>
                      <a:pt x="133729" y="931924"/>
                      <a:pt x="125037" y="930935"/>
                    </a:cubicBezTo>
                    <a:cubicBezTo>
                      <a:pt x="116876" y="930016"/>
                      <a:pt x="114827" y="936976"/>
                      <a:pt x="111895" y="942064"/>
                    </a:cubicBezTo>
                    <a:cubicBezTo>
                      <a:pt x="96562" y="968702"/>
                      <a:pt x="77060" y="978912"/>
                      <a:pt x="52471" y="972800"/>
                    </a:cubicBezTo>
                    <a:cubicBezTo>
                      <a:pt x="26681" y="966370"/>
                      <a:pt x="3328" y="939131"/>
                      <a:pt x="3187" y="913270"/>
                    </a:cubicBezTo>
                    <a:cubicBezTo>
                      <a:pt x="3010" y="885890"/>
                      <a:pt x="4847" y="858510"/>
                      <a:pt x="2657" y="831129"/>
                    </a:cubicBezTo>
                    <a:cubicBezTo>
                      <a:pt x="2056" y="823640"/>
                      <a:pt x="2162" y="816185"/>
                      <a:pt x="1243" y="808625"/>
                    </a:cubicBezTo>
                    <a:cubicBezTo>
                      <a:pt x="-3809" y="767042"/>
                      <a:pt x="7250" y="728180"/>
                      <a:pt x="21487" y="688823"/>
                    </a:cubicBezTo>
                    <a:cubicBezTo>
                      <a:pt x="23006" y="690519"/>
                      <a:pt x="23395" y="690801"/>
                      <a:pt x="23572" y="691190"/>
                    </a:cubicBezTo>
                    <a:cubicBezTo>
                      <a:pt x="29542" y="703944"/>
                      <a:pt x="32227" y="717546"/>
                      <a:pt x="43462" y="728604"/>
                    </a:cubicBezTo>
                    <a:cubicBezTo>
                      <a:pt x="54732" y="739732"/>
                      <a:pt x="56816" y="757185"/>
                      <a:pt x="58512" y="773083"/>
                    </a:cubicBezTo>
                    <a:cubicBezTo>
                      <a:pt x="60102" y="787816"/>
                      <a:pt x="67380" y="798485"/>
                      <a:pt x="78756" y="807388"/>
                    </a:cubicBezTo>
                    <a:cubicBezTo>
                      <a:pt x="91828" y="817598"/>
                      <a:pt x="94513" y="834662"/>
                      <a:pt x="103628" y="847593"/>
                    </a:cubicBezTo>
                    <a:cubicBezTo>
                      <a:pt x="109210" y="855507"/>
                      <a:pt x="112990" y="864657"/>
                      <a:pt x="118148" y="872924"/>
                    </a:cubicBezTo>
                    <a:cubicBezTo>
                      <a:pt x="121504" y="878329"/>
                      <a:pt x="126557" y="883170"/>
                      <a:pt x="133305" y="881650"/>
                    </a:cubicBezTo>
                    <a:cubicBezTo>
                      <a:pt x="140724" y="879955"/>
                      <a:pt x="140582" y="872995"/>
                      <a:pt x="141112" y="866565"/>
                    </a:cubicBezTo>
                    <a:cubicBezTo>
                      <a:pt x="142949" y="845332"/>
                      <a:pt x="134824" y="825618"/>
                      <a:pt x="132068" y="805092"/>
                    </a:cubicBezTo>
                    <a:cubicBezTo>
                      <a:pt x="129701" y="787639"/>
                      <a:pt x="128111" y="770999"/>
                      <a:pt x="137862" y="754995"/>
                    </a:cubicBezTo>
                    <a:cubicBezTo>
                      <a:pt x="142208" y="747823"/>
                      <a:pt x="143974" y="739556"/>
                      <a:pt x="131467" y="739132"/>
                    </a:cubicBezTo>
                    <a:cubicBezTo>
                      <a:pt x="115181" y="738567"/>
                      <a:pt x="97975" y="741676"/>
                      <a:pt x="85610" y="727332"/>
                    </a:cubicBezTo>
                    <a:cubicBezTo>
                      <a:pt x="72927" y="712600"/>
                      <a:pt x="65543" y="694899"/>
                      <a:pt x="61939" y="676034"/>
                    </a:cubicBezTo>
                    <a:cubicBezTo>
                      <a:pt x="55439" y="641976"/>
                      <a:pt x="54449" y="608237"/>
                      <a:pt x="73845" y="577217"/>
                    </a:cubicBezTo>
                    <a:cubicBezTo>
                      <a:pt x="82819" y="562874"/>
                      <a:pt x="97163" y="554465"/>
                      <a:pt x="110376" y="544891"/>
                    </a:cubicBezTo>
                    <a:cubicBezTo>
                      <a:pt x="121611" y="536730"/>
                      <a:pt x="131679" y="527756"/>
                      <a:pt x="136237" y="513943"/>
                    </a:cubicBezTo>
                    <a:cubicBezTo>
                      <a:pt x="137685" y="509562"/>
                      <a:pt x="138639" y="505570"/>
                      <a:pt x="137332" y="500093"/>
                    </a:cubicBezTo>
                    <a:cubicBezTo>
                      <a:pt x="126981" y="503626"/>
                      <a:pt x="121045" y="512353"/>
                      <a:pt x="113591" y="518465"/>
                    </a:cubicBezTo>
                    <a:cubicBezTo>
                      <a:pt x="102815" y="527297"/>
                      <a:pt x="93206" y="527509"/>
                      <a:pt x="82148" y="520514"/>
                    </a:cubicBezTo>
                    <a:cubicBezTo>
                      <a:pt x="69641" y="512600"/>
                      <a:pt x="63988" y="498009"/>
                      <a:pt x="64766" y="485891"/>
                    </a:cubicBezTo>
                    <a:cubicBezTo>
                      <a:pt x="67274" y="447594"/>
                      <a:pt x="88578" y="416999"/>
                      <a:pt x="104370" y="384107"/>
                    </a:cubicBezTo>
                    <a:cubicBezTo>
                      <a:pt x="106490" y="379726"/>
                      <a:pt x="108857" y="375452"/>
                      <a:pt x="110941" y="371035"/>
                    </a:cubicBezTo>
                    <a:cubicBezTo>
                      <a:pt x="112284" y="368209"/>
                      <a:pt x="113520" y="364959"/>
                      <a:pt x="110729" y="362450"/>
                    </a:cubicBezTo>
                    <a:cubicBezTo>
                      <a:pt x="108185" y="360189"/>
                      <a:pt x="105818" y="362768"/>
                      <a:pt x="103522" y="363722"/>
                    </a:cubicBezTo>
                    <a:cubicBezTo>
                      <a:pt x="99848" y="365277"/>
                      <a:pt x="95820" y="367820"/>
                      <a:pt x="92358" y="364676"/>
                    </a:cubicBezTo>
                    <a:cubicBezTo>
                      <a:pt x="88754" y="361390"/>
                      <a:pt x="91369" y="357222"/>
                      <a:pt x="92888" y="353618"/>
                    </a:cubicBezTo>
                    <a:cubicBezTo>
                      <a:pt x="97127" y="343796"/>
                      <a:pt x="99000" y="333374"/>
                      <a:pt x="101014" y="322952"/>
                    </a:cubicBezTo>
                    <a:cubicBezTo>
                      <a:pt x="107020" y="291862"/>
                      <a:pt x="128076" y="272290"/>
                      <a:pt x="152630" y="255261"/>
                    </a:cubicBezTo>
                    <a:cubicBezTo>
                      <a:pt x="167680" y="244804"/>
                      <a:pt x="184956" y="236289"/>
                      <a:pt x="189796" y="216010"/>
                    </a:cubicBezTo>
                    <a:cubicBezTo>
                      <a:pt x="190856" y="211629"/>
                      <a:pt x="195484" y="210640"/>
                      <a:pt x="198664" y="208414"/>
                    </a:cubicBezTo>
                    <a:cubicBezTo>
                      <a:pt x="224878" y="189760"/>
                      <a:pt x="255685" y="180328"/>
                      <a:pt x="283949" y="165737"/>
                    </a:cubicBezTo>
                    <a:cubicBezTo>
                      <a:pt x="309951" y="152311"/>
                      <a:pt x="337967" y="142031"/>
                      <a:pt x="358141" y="119314"/>
                    </a:cubicBezTo>
                    <a:cubicBezTo>
                      <a:pt x="362945" y="113908"/>
                      <a:pt x="365242" y="116876"/>
                      <a:pt x="367715" y="121716"/>
                    </a:cubicBezTo>
                    <a:cubicBezTo>
                      <a:pt x="372272" y="130654"/>
                      <a:pt x="368527" y="138957"/>
                      <a:pt x="366337" y="147436"/>
                    </a:cubicBezTo>
                    <a:cubicBezTo>
                      <a:pt x="365206" y="151781"/>
                      <a:pt x="363758" y="156021"/>
                      <a:pt x="371142" y="153831"/>
                    </a:cubicBezTo>
                    <a:cubicBezTo>
                      <a:pt x="410075" y="142384"/>
                      <a:pt x="451163" y="140971"/>
                      <a:pt x="489919" y="127899"/>
                    </a:cubicBezTo>
                    <a:cubicBezTo>
                      <a:pt x="507159" y="122069"/>
                      <a:pt x="522210" y="113626"/>
                      <a:pt x="535988" y="102426"/>
                    </a:cubicBezTo>
                    <a:cubicBezTo>
                      <a:pt x="554960" y="87058"/>
                      <a:pt x="571989" y="69605"/>
                      <a:pt x="589053" y="52188"/>
                    </a:cubicBezTo>
                    <a:cubicBezTo>
                      <a:pt x="611028" y="29825"/>
                      <a:pt x="636642" y="24631"/>
                      <a:pt x="665329" y="37032"/>
                    </a:cubicBezTo>
                    <a:cubicBezTo>
                      <a:pt x="674691" y="41059"/>
                      <a:pt x="683241" y="41307"/>
                      <a:pt x="691861" y="36325"/>
                    </a:cubicBezTo>
                    <a:cubicBezTo>
                      <a:pt x="716592" y="22017"/>
                      <a:pt x="744679" y="16152"/>
                      <a:pt x="771352" y="8062"/>
                    </a:cubicBezTo>
                    <a:cubicBezTo>
                      <a:pt x="798238" y="-99"/>
                      <a:pt x="827632" y="-3774"/>
                      <a:pt x="856355" y="5306"/>
                    </a:cubicBezTo>
                    <a:cubicBezTo>
                      <a:pt x="872182" y="10323"/>
                      <a:pt x="885396" y="19296"/>
                      <a:pt x="895040" y="32227"/>
                    </a:cubicBezTo>
                    <a:cubicBezTo>
                      <a:pt x="911115" y="53848"/>
                      <a:pt x="932596" y="67097"/>
                      <a:pt x="958386" y="69535"/>
                    </a:cubicBezTo>
                    <a:cubicBezTo>
                      <a:pt x="1006787" y="74092"/>
                      <a:pt x="1063173" y="133163"/>
                      <a:pt x="1067624" y="182624"/>
                    </a:cubicBezTo>
                    <a:cubicBezTo>
                      <a:pt x="1069355" y="201808"/>
                      <a:pt x="1058580" y="216293"/>
                      <a:pt x="1046179" y="229365"/>
                    </a:cubicBezTo>
                    <a:cubicBezTo>
                      <a:pt x="1040633" y="235194"/>
                      <a:pt x="1035439" y="241200"/>
                      <a:pt x="1031447" y="248125"/>
                    </a:cubicBezTo>
                    <a:cubicBezTo>
                      <a:pt x="1026642" y="256427"/>
                      <a:pt x="1025088" y="266602"/>
                      <a:pt x="1031624" y="273173"/>
                    </a:cubicBezTo>
                    <a:cubicBezTo>
                      <a:pt x="1052963" y="294689"/>
                      <a:pt x="1056037" y="322246"/>
                      <a:pt x="1060417" y="349767"/>
                    </a:cubicBezTo>
                    <a:cubicBezTo>
                      <a:pt x="1062608" y="363616"/>
                      <a:pt x="1069073" y="375416"/>
                      <a:pt x="1083417" y="385520"/>
                    </a:cubicBezTo>
                    <a:cubicBezTo>
                      <a:pt x="1082604" y="366160"/>
                      <a:pt x="1088539" y="348955"/>
                      <a:pt x="1076845" y="332703"/>
                    </a:cubicBezTo>
                    <a:cubicBezTo>
                      <a:pt x="1071052" y="324683"/>
                      <a:pt x="1068578" y="315392"/>
                      <a:pt x="1075220" y="305570"/>
                    </a:cubicBezTo>
                    <a:cubicBezTo>
                      <a:pt x="1080732" y="297444"/>
                      <a:pt x="1087798" y="296420"/>
                      <a:pt x="1092072" y="304051"/>
                    </a:cubicBezTo>
                    <a:cubicBezTo>
                      <a:pt x="1111009" y="337684"/>
                      <a:pt x="1141427" y="361920"/>
                      <a:pt x="1163296" y="393010"/>
                    </a:cubicBezTo>
                    <a:cubicBezTo>
                      <a:pt x="1176827" y="412265"/>
                      <a:pt x="1181774" y="433957"/>
                      <a:pt x="1180042" y="457239"/>
                    </a:cubicBezTo>
                    <a:cubicBezTo>
                      <a:pt x="1179512" y="464587"/>
                      <a:pt x="1177251" y="470205"/>
                      <a:pt x="1168560" y="465082"/>
                    </a:cubicBezTo>
                    <a:cubicBezTo>
                      <a:pt x="1163508" y="462114"/>
                      <a:pt x="1162378" y="464870"/>
                      <a:pt x="1161282" y="468686"/>
                    </a:cubicBezTo>
                    <a:cubicBezTo>
                      <a:pt x="1160434" y="471653"/>
                      <a:pt x="1158703" y="474762"/>
                      <a:pt x="1159057" y="477624"/>
                    </a:cubicBezTo>
                    <a:cubicBezTo>
                      <a:pt x="1161883" y="502249"/>
                      <a:pt x="1153475" y="524789"/>
                      <a:pt x="1146586" y="547611"/>
                    </a:cubicBezTo>
                    <a:cubicBezTo>
                      <a:pt x="1144607" y="554147"/>
                      <a:pt x="1145208" y="560825"/>
                      <a:pt x="1145808" y="567431"/>
                    </a:cubicBezTo>
                    <a:cubicBezTo>
                      <a:pt x="1146126" y="570823"/>
                      <a:pt x="1147221" y="574956"/>
                      <a:pt x="1151355" y="575628"/>
                    </a:cubicBezTo>
                    <a:cubicBezTo>
                      <a:pt x="1155630" y="576334"/>
                      <a:pt x="1157219" y="572625"/>
                      <a:pt x="1159021" y="569480"/>
                    </a:cubicBezTo>
                    <a:cubicBezTo>
                      <a:pt x="1166017" y="557292"/>
                      <a:pt x="1170362" y="543549"/>
                      <a:pt x="1181067" y="531643"/>
                    </a:cubicBezTo>
                    <a:cubicBezTo>
                      <a:pt x="1183787" y="538002"/>
                      <a:pt x="1183999" y="543937"/>
                      <a:pt x="1181632" y="548671"/>
                    </a:cubicBezTo>
                    <a:cubicBezTo>
                      <a:pt x="1165911" y="580397"/>
                      <a:pt x="1169373" y="614384"/>
                      <a:pt x="1169620" y="647911"/>
                    </a:cubicBezTo>
                    <a:cubicBezTo>
                      <a:pt x="1169797" y="670240"/>
                      <a:pt x="1167818" y="691967"/>
                      <a:pt x="1159127" y="712847"/>
                    </a:cubicBezTo>
                    <a:cubicBezTo>
                      <a:pt x="1156018" y="720372"/>
                      <a:pt x="1151602" y="726802"/>
                      <a:pt x="1147045" y="733302"/>
                    </a:cubicBezTo>
                    <a:cubicBezTo>
                      <a:pt x="1145031" y="736199"/>
                      <a:pt x="1142770" y="739026"/>
                      <a:pt x="1141392" y="742206"/>
                    </a:cubicBezTo>
                    <a:cubicBezTo>
                      <a:pt x="1139449" y="746798"/>
                      <a:pt x="1138354" y="752204"/>
                      <a:pt x="1143088" y="755595"/>
                    </a:cubicBezTo>
                    <a:cubicBezTo>
                      <a:pt x="1148529" y="759517"/>
                      <a:pt x="1153369" y="756373"/>
                      <a:pt x="1156937" y="751992"/>
                    </a:cubicBezTo>
                    <a:cubicBezTo>
                      <a:pt x="1167924" y="738531"/>
                      <a:pt x="1173153" y="722209"/>
                      <a:pt x="1175626" y="705675"/>
                    </a:cubicBezTo>
                    <a:cubicBezTo>
                      <a:pt x="1180113" y="675716"/>
                      <a:pt x="1188663" y="647664"/>
                      <a:pt x="1202335" y="620461"/>
                    </a:cubicBezTo>
                    <a:cubicBezTo>
                      <a:pt x="1213217" y="598804"/>
                      <a:pt x="1213429" y="574003"/>
                      <a:pt x="1210779" y="550155"/>
                    </a:cubicBezTo>
                    <a:cubicBezTo>
                      <a:pt x="1208094" y="525743"/>
                      <a:pt x="1207811" y="501683"/>
                      <a:pt x="1212015" y="477518"/>
                    </a:cubicBezTo>
                    <a:cubicBezTo>
                      <a:pt x="1215584" y="457062"/>
                      <a:pt x="1218728" y="436536"/>
                      <a:pt x="1208200" y="416964"/>
                    </a:cubicBezTo>
                    <a:cubicBezTo>
                      <a:pt x="1206716" y="414173"/>
                      <a:pt x="1207599" y="411982"/>
                      <a:pt x="1208765" y="409509"/>
                    </a:cubicBezTo>
                    <a:cubicBezTo>
                      <a:pt x="1213217" y="400147"/>
                      <a:pt x="1215407" y="390255"/>
                      <a:pt x="1214524" y="379868"/>
                    </a:cubicBezTo>
                    <a:cubicBezTo>
                      <a:pt x="1213852" y="371707"/>
                      <a:pt x="1217350" y="369693"/>
                      <a:pt x="1223462" y="374462"/>
                    </a:cubicBezTo>
                    <a:cubicBezTo>
                      <a:pt x="1238866" y="386474"/>
                      <a:pt x="1250206" y="401560"/>
                      <a:pt x="1254340" y="421097"/>
                    </a:cubicBezTo>
                    <a:cubicBezTo>
                      <a:pt x="1255153" y="424913"/>
                      <a:pt x="1255400" y="429364"/>
                      <a:pt x="1252998" y="432791"/>
                    </a:cubicBezTo>
                    <a:cubicBezTo>
                      <a:pt x="1244165" y="445474"/>
                      <a:pt x="1246885" y="458511"/>
                      <a:pt x="1250242" y="472254"/>
                    </a:cubicBezTo>
                    <a:cubicBezTo>
                      <a:pt x="1254269" y="488823"/>
                      <a:pt x="1253422" y="506029"/>
                      <a:pt x="1248687" y="522174"/>
                    </a:cubicBezTo>
                    <a:cubicBezTo>
                      <a:pt x="1238583" y="556726"/>
                      <a:pt x="1237559" y="591914"/>
                      <a:pt x="1238724" y="627385"/>
                    </a:cubicBezTo>
                    <a:cubicBezTo>
                      <a:pt x="1239042" y="637737"/>
                      <a:pt x="1237205" y="647700"/>
                      <a:pt x="1234909" y="657556"/>
                    </a:cubicBezTo>
                    <a:cubicBezTo>
                      <a:pt x="1232577" y="667519"/>
                      <a:pt x="1228161" y="676599"/>
                      <a:pt x="1220459" y="684018"/>
                    </a:cubicBezTo>
                    <a:cubicBezTo>
                      <a:pt x="1211591" y="692568"/>
                      <a:pt x="1206221" y="702955"/>
                      <a:pt x="1206504" y="715885"/>
                    </a:cubicBezTo>
                    <a:cubicBezTo>
                      <a:pt x="1206680" y="723940"/>
                      <a:pt x="1208412" y="731571"/>
                      <a:pt x="1216078" y="734892"/>
                    </a:cubicBezTo>
                    <a:cubicBezTo>
                      <a:pt x="1224027" y="738319"/>
                      <a:pt x="1231623" y="735387"/>
                      <a:pt x="1238088" y="729593"/>
                    </a:cubicBezTo>
                    <a:cubicBezTo>
                      <a:pt x="1242681" y="725459"/>
                      <a:pt x="1247592" y="721679"/>
                      <a:pt x="1252362" y="717793"/>
                    </a:cubicBezTo>
                    <a:cubicBezTo>
                      <a:pt x="1257979" y="713235"/>
                      <a:pt x="1263737" y="714225"/>
                      <a:pt x="1269779" y="717051"/>
                    </a:cubicBezTo>
                    <a:cubicBezTo>
                      <a:pt x="1276527" y="720195"/>
                      <a:pt x="1275997" y="726025"/>
                      <a:pt x="1275962" y="731819"/>
                    </a:cubicBezTo>
                    <a:cubicBezTo>
                      <a:pt x="1275891" y="744643"/>
                      <a:pt x="1268366" y="754359"/>
                      <a:pt x="1261618" y="764074"/>
                    </a:cubicBezTo>
                    <a:cubicBezTo>
                      <a:pt x="1251266" y="778948"/>
                      <a:pt x="1240173" y="793292"/>
                      <a:pt x="1229080" y="807635"/>
                    </a:cubicBezTo>
                    <a:cubicBezTo>
                      <a:pt x="1226430" y="811062"/>
                      <a:pt x="1223003" y="814313"/>
                      <a:pt x="1219223" y="816326"/>
                    </a:cubicBezTo>
                    <a:cubicBezTo>
                      <a:pt x="1214206" y="819011"/>
                      <a:pt x="1208659" y="825194"/>
                      <a:pt x="1202688" y="818588"/>
                    </a:cubicBezTo>
                    <a:cubicBezTo>
                      <a:pt x="1197601" y="812935"/>
                      <a:pt x="1196259" y="805869"/>
                      <a:pt x="1200357" y="798838"/>
                    </a:cubicBezTo>
                    <a:cubicBezTo>
                      <a:pt x="1204349" y="791949"/>
                      <a:pt x="1209048" y="785484"/>
                      <a:pt x="1212793" y="778453"/>
                    </a:cubicBezTo>
                    <a:cubicBezTo>
                      <a:pt x="1214665" y="774920"/>
                      <a:pt x="1219435" y="770504"/>
                      <a:pt x="1214665" y="766724"/>
                    </a:cubicBezTo>
                    <a:cubicBezTo>
                      <a:pt x="1211167" y="763968"/>
                      <a:pt x="1207104" y="767749"/>
                      <a:pt x="1203960" y="769939"/>
                    </a:cubicBezTo>
                    <a:cubicBezTo>
                      <a:pt x="1185413" y="782799"/>
                      <a:pt x="1167112" y="795941"/>
                      <a:pt x="1148529" y="808766"/>
                    </a:cubicBezTo>
                    <a:cubicBezTo>
                      <a:pt x="1142699" y="812793"/>
                      <a:pt x="1136729" y="816962"/>
                      <a:pt x="1130228" y="819435"/>
                    </a:cubicBezTo>
                    <a:cubicBezTo>
                      <a:pt x="1118605" y="823887"/>
                      <a:pt x="1112987" y="832401"/>
                      <a:pt x="1110090" y="843813"/>
                    </a:cubicBezTo>
                    <a:cubicBezTo>
                      <a:pt x="1104014" y="867483"/>
                      <a:pt x="1095923" y="890412"/>
                      <a:pt x="1081968" y="910797"/>
                    </a:cubicBezTo>
                    <a:cubicBezTo>
                      <a:pt x="1068296" y="930723"/>
                      <a:pt x="1071758" y="949236"/>
                      <a:pt x="1086985" y="966441"/>
                    </a:cubicBezTo>
                    <a:cubicBezTo>
                      <a:pt x="1091189" y="971210"/>
                      <a:pt x="1093768" y="976792"/>
                      <a:pt x="1096736" y="982198"/>
                    </a:cubicBezTo>
                    <a:cubicBezTo>
                      <a:pt x="1100834" y="989652"/>
                      <a:pt x="1101823" y="997637"/>
                      <a:pt x="1098537" y="1005268"/>
                    </a:cubicBezTo>
                    <a:cubicBezTo>
                      <a:pt x="1093627" y="1016714"/>
                      <a:pt x="1093733" y="1027773"/>
                      <a:pt x="1099421" y="1038548"/>
                    </a:cubicBezTo>
                    <a:cubicBezTo>
                      <a:pt x="1111715" y="1061830"/>
                      <a:pt x="1104508" y="1083204"/>
                      <a:pt x="1091048" y="1102141"/>
                    </a:cubicBezTo>
                    <a:cubicBezTo>
                      <a:pt x="1068402" y="1133973"/>
                      <a:pt x="1039255" y="1158809"/>
                      <a:pt x="1003290" y="1175131"/>
                    </a:cubicBezTo>
                    <a:cubicBezTo>
                      <a:pt x="997884" y="1177604"/>
                      <a:pt x="992338" y="1178982"/>
                      <a:pt x="986685" y="1179265"/>
                    </a:cubicBezTo>
                    <a:cubicBezTo>
                      <a:pt x="960258" y="1180713"/>
                      <a:pt x="936729" y="1193538"/>
                      <a:pt x="911186" y="1198449"/>
                    </a:cubicBezTo>
                    <a:cubicBezTo>
                      <a:pt x="902000" y="1200215"/>
                      <a:pt x="894016" y="1199367"/>
                      <a:pt x="885537" y="1195340"/>
                    </a:cubicBezTo>
                    <a:cubicBezTo>
                      <a:pt x="858510" y="1182480"/>
                      <a:pt x="847063" y="1187143"/>
                      <a:pt x="836288" y="1214559"/>
                    </a:cubicBezTo>
                    <a:cubicBezTo>
                      <a:pt x="828092" y="1235474"/>
                      <a:pt x="810851" y="1247450"/>
                      <a:pt x="788311" y="1247698"/>
                    </a:cubicBezTo>
                    <a:cubicBezTo>
                      <a:pt x="775062" y="1247839"/>
                      <a:pt x="761637" y="1248970"/>
                      <a:pt x="748777" y="1244624"/>
                    </a:cubicBezTo>
                    <a:cubicBezTo>
                      <a:pt x="741111" y="1242010"/>
                      <a:pt x="737012" y="1231800"/>
                      <a:pt x="726908" y="1234202"/>
                    </a:cubicBezTo>
                    <a:cubicBezTo>
                      <a:pt x="732137" y="1228337"/>
                      <a:pt x="739697" y="1226571"/>
                      <a:pt x="746339" y="1223179"/>
                    </a:cubicBezTo>
                    <a:cubicBezTo>
                      <a:pt x="752840" y="1219858"/>
                      <a:pt x="757892" y="1215089"/>
                      <a:pt x="762944" y="1210072"/>
                    </a:cubicBezTo>
                    <a:cubicBezTo>
                      <a:pt x="767289" y="1205727"/>
                      <a:pt x="767819" y="1200462"/>
                      <a:pt x="766088" y="1195304"/>
                    </a:cubicBezTo>
                    <a:cubicBezTo>
                      <a:pt x="764180" y="1189616"/>
                      <a:pt x="758599" y="1192054"/>
                      <a:pt x="754500" y="1191701"/>
                    </a:cubicBezTo>
                    <a:cubicBezTo>
                      <a:pt x="747753" y="1191136"/>
                      <a:pt x="741499" y="1192725"/>
                      <a:pt x="735175" y="1195410"/>
                    </a:cubicBezTo>
                    <a:cubicBezTo>
                      <a:pt x="716698" y="1203254"/>
                      <a:pt x="697338" y="1207528"/>
                      <a:pt x="677200" y="1207670"/>
                    </a:cubicBezTo>
                    <a:cubicBezTo>
                      <a:pt x="667272" y="1207740"/>
                      <a:pt x="654554" y="1207246"/>
                      <a:pt x="653741" y="1219187"/>
                    </a:cubicBezTo>
                    <a:cubicBezTo>
                      <a:pt x="652999" y="1229892"/>
                      <a:pt x="665824" y="1232754"/>
                      <a:pt x="674797" y="1236357"/>
                    </a:cubicBezTo>
                    <a:cubicBezTo>
                      <a:pt x="675575" y="1236675"/>
                      <a:pt x="676599" y="1236392"/>
                      <a:pt x="677412" y="1236675"/>
                    </a:cubicBezTo>
                    <a:cubicBezTo>
                      <a:pt x="694264" y="1242186"/>
                      <a:pt x="710445" y="1234237"/>
                      <a:pt x="727014" y="123416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99" name="Freeform: Shape 4198">
                <a:extLst>
                  <a:ext uri="{FF2B5EF4-FFF2-40B4-BE49-F238E27FC236}">
                    <a16:creationId xmlns:a16="http://schemas.microsoft.com/office/drawing/2014/main" id="{012B38EB-E3E2-C369-3A6B-6D938FB2728A}"/>
                  </a:ext>
                </a:extLst>
              </p:cNvPr>
              <p:cNvSpPr/>
              <p:nvPr/>
            </p:nvSpPr>
            <p:spPr>
              <a:xfrm>
                <a:off x="5819426" y="2503499"/>
                <a:ext cx="637889" cy="611541"/>
              </a:xfrm>
              <a:custGeom>
                <a:avLst/>
                <a:gdLst>
                  <a:gd name="connsiteX0" fmla="*/ 157469 w 830957"/>
                  <a:gd name="connsiteY0" fmla="*/ 124752 h 796634"/>
                  <a:gd name="connsiteX1" fmla="*/ 152028 w 830957"/>
                  <a:gd name="connsiteY1" fmla="*/ 115672 h 796634"/>
                  <a:gd name="connsiteX2" fmla="*/ 134116 w 830957"/>
                  <a:gd name="connsiteY2" fmla="*/ 83840 h 796634"/>
                  <a:gd name="connsiteX3" fmla="*/ 117829 w 830957"/>
                  <a:gd name="connsiteY3" fmla="*/ 77870 h 796634"/>
                  <a:gd name="connsiteX4" fmla="*/ 102955 w 830957"/>
                  <a:gd name="connsiteY4" fmla="*/ 114824 h 796634"/>
                  <a:gd name="connsiteX5" fmla="*/ 127933 w 830957"/>
                  <a:gd name="connsiteY5" fmla="*/ 148952 h 796634"/>
                  <a:gd name="connsiteX6" fmla="*/ 97091 w 830957"/>
                  <a:gd name="connsiteY6" fmla="*/ 171740 h 796634"/>
                  <a:gd name="connsiteX7" fmla="*/ 7036 w 830957"/>
                  <a:gd name="connsiteY7" fmla="*/ 300480 h 796634"/>
                  <a:gd name="connsiteX8" fmla="*/ 3362 w 830957"/>
                  <a:gd name="connsiteY8" fmla="*/ 424945 h 796634"/>
                  <a:gd name="connsiteX9" fmla="*/ 960 w 830957"/>
                  <a:gd name="connsiteY9" fmla="*/ 533547 h 796634"/>
                  <a:gd name="connsiteX10" fmla="*/ 6082 w 830957"/>
                  <a:gd name="connsiteY10" fmla="*/ 600532 h 796634"/>
                  <a:gd name="connsiteX11" fmla="*/ 71265 w 830957"/>
                  <a:gd name="connsiteY11" fmla="*/ 686064 h 796634"/>
                  <a:gd name="connsiteX12" fmla="*/ 126273 w 830957"/>
                  <a:gd name="connsiteY12" fmla="*/ 716624 h 796634"/>
                  <a:gd name="connsiteX13" fmla="*/ 226714 w 830957"/>
                  <a:gd name="connsiteY13" fmla="*/ 761704 h 796634"/>
                  <a:gd name="connsiteX14" fmla="*/ 390536 w 830957"/>
                  <a:gd name="connsiteY14" fmla="*/ 786470 h 796634"/>
                  <a:gd name="connsiteX15" fmla="*/ 485431 w 830957"/>
                  <a:gd name="connsiteY15" fmla="*/ 781842 h 796634"/>
                  <a:gd name="connsiteX16" fmla="*/ 568526 w 830957"/>
                  <a:gd name="connsiteY16" fmla="*/ 786718 h 796634"/>
                  <a:gd name="connsiteX17" fmla="*/ 682392 w 830957"/>
                  <a:gd name="connsiteY17" fmla="*/ 684404 h 796634"/>
                  <a:gd name="connsiteX18" fmla="*/ 720972 w 830957"/>
                  <a:gd name="connsiteY18" fmla="*/ 634448 h 796634"/>
                  <a:gd name="connsiteX19" fmla="*/ 756584 w 830957"/>
                  <a:gd name="connsiteY19" fmla="*/ 606856 h 796634"/>
                  <a:gd name="connsiteX20" fmla="*/ 797142 w 830957"/>
                  <a:gd name="connsiteY20" fmla="*/ 450382 h 796634"/>
                  <a:gd name="connsiteX21" fmla="*/ 802052 w 830957"/>
                  <a:gd name="connsiteY21" fmla="*/ 386966 h 796634"/>
                  <a:gd name="connsiteX22" fmla="*/ 815372 w 830957"/>
                  <a:gd name="connsiteY22" fmla="*/ 355099 h 796634"/>
                  <a:gd name="connsiteX23" fmla="*/ 827914 w 830957"/>
                  <a:gd name="connsiteY23" fmla="*/ 271333 h 796634"/>
                  <a:gd name="connsiteX24" fmla="*/ 730864 w 830957"/>
                  <a:gd name="connsiteY24" fmla="*/ 131429 h 796634"/>
                  <a:gd name="connsiteX25" fmla="*/ 662890 w 830957"/>
                  <a:gd name="connsiteY25" fmla="*/ 70344 h 796634"/>
                  <a:gd name="connsiteX26" fmla="*/ 595870 w 830957"/>
                  <a:gd name="connsiteY26" fmla="*/ 30140 h 796634"/>
                  <a:gd name="connsiteX27" fmla="*/ 529734 w 830957"/>
                  <a:gd name="connsiteY27" fmla="*/ 25617 h 796634"/>
                  <a:gd name="connsiteX28" fmla="*/ 433638 w 830957"/>
                  <a:gd name="connsiteY28" fmla="*/ 8836 h 796634"/>
                  <a:gd name="connsiteX29" fmla="*/ 342171 w 830957"/>
                  <a:gd name="connsiteY29" fmla="*/ 3819 h 796634"/>
                  <a:gd name="connsiteX30" fmla="*/ 245015 w 830957"/>
                  <a:gd name="connsiteY30" fmla="*/ 42152 h 796634"/>
                  <a:gd name="connsiteX31" fmla="*/ 176476 w 830957"/>
                  <a:gd name="connsiteY31" fmla="*/ 102953 h 796634"/>
                  <a:gd name="connsiteX32" fmla="*/ 157469 w 830957"/>
                  <a:gd name="connsiteY32" fmla="*/ 124858 h 79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0957" h="796634">
                    <a:moveTo>
                      <a:pt x="157469" y="124752"/>
                    </a:moveTo>
                    <a:cubicBezTo>
                      <a:pt x="155667" y="121713"/>
                      <a:pt x="153794" y="118710"/>
                      <a:pt x="152028" y="115672"/>
                    </a:cubicBezTo>
                    <a:cubicBezTo>
                      <a:pt x="146022" y="105214"/>
                      <a:pt x="133162" y="99314"/>
                      <a:pt x="134116" y="83840"/>
                    </a:cubicBezTo>
                    <a:cubicBezTo>
                      <a:pt x="134469" y="78117"/>
                      <a:pt x="125001" y="74796"/>
                      <a:pt x="117829" y="77870"/>
                    </a:cubicBezTo>
                    <a:cubicBezTo>
                      <a:pt x="109562" y="81367"/>
                      <a:pt x="99952" y="106027"/>
                      <a:pt x="102955" y="114824"/>
                    </a:cubicBezTo>
                    <a:cubicBezTo>
                      <a:pt x="107725" y="128814"/>
                      <a:pt x="113448" y="142063"/>
                      <a:pt x="127933" y="148952"/>
                    </a:cubicBezTo>
                    <a:cubicBezTo>
                      <a:pt x="117652" y="156583"/>
                      <a:pt x="107548" y="164426"/>
                      <a:pt x="97091" y="171740"/>
                    </a:cubicBezTo>
                    <a:cubicBezTo>
                      <a:pt x="51304" y="203677"/>
                      <a:pt x="20002" y="246320"/>
                      <a:pt x="7036" y="300480"/>
                    </a:cubicBezTo>
                    <a:cubicBezTo>
                      <a:pt x="-2715" y="341285"/>
                      <a:pt x="748" y="383610"/>
                      <a:pt x="3362" y="424945"/>
                    </a:cubicBezTo>
                    <a:cubicBezTo>
                      <a:pt x="5658" y="461440"/>
                      <a:pt x="3963" y="497441"/>
                      <a:pt x="960" y="533547"/>
                    </a:cubicBezTo>
                    <a:cubicBezTo>
                      <a:pt x="-948" y="556335"/>
                      <a:pt x="-383" y="578804"/>
                      <a:pt x="6082" y="600532"/>
                    </a:cubicBezTo>
                    <a:cubicBezTo>
                      <a:pt x="16928" y="636992"/>
                      <a:pt x="43461" y="662358"/>
                      <a:pt x="71265" y="686064"/>
                    </a:cubicBezTo>
                    <a:cubicBezTo>
                      <a:pt x="87375" y="699807"/>
                      <a:pt x="104157" y="714257"/>
                      <a:pt x="126273" y="716624"/>
                    </a:cubicBezTo>
                    <a:cubicBezTo>
                      <a:pt x="164888" y="720722"/>
                      <a:pt x="196720" y="739094"/>
                      <a:pt x="226714" y="761704"/>
                    </a:cubicBezTo>
                    <a:cubicBezTo>
                      <a:pt x="276952" y="799613"/>
                      <a:pt x="332455" y="804665"/>
                      <a:pt x="390536" y="786470"/>
                    </a:cubicBezTo>
                    <a:cubicBezTo>
                      <a:pt x="422262" y="776543"/>
                      <a:pt x="452963" y="773681"/>
                      <a:pt x="485431" y="781842"/>
                    </a:cubicBezTo>
                    <a:cubicBezTo>
                      <a:pt x="512564" y="788661"/>
                      <a:pt x="540686" y="791063"/>
                      <a:pt x="568526" y="786718"/>
                    </a:cubicBezTo>
                    <a:cubicBezTo>
                      <a:pt x="628338" y="777355"/>
                      <a:pt x="664480" y="739871"/>
                      <a:pt x="682392" y="684404"/>
                    </a:cubicBezTo>
                    <a:cubicBezTo>
                      <a:pt x="689564" y="662182"/>
                      <a:pt x="701788" y="646601"/>
                      <a:pt x="720972" y="634448"/>
                    </a:cubicBezTo>
                    <a:cubicBezTo>
                      <a:pt x="733619" y="626428"/>
                      <a:pt x="746550" y="617773"/>
                      <a:pt x="756584" y="606856"/>
                    </a:cubicBezTo>
                    <a:cubicBezTo>
                      <a:pt x="797566" y="562129"/>
                      <a:pt x="815266" y="510831"/>
                      <a:pt x="797142" y="450382"/>
                    </a:cubicBezTo>
                    <a:cubicBezTo>
                      <a:pt x="790676" y="428796"/>
                      <a:pt x="792443" y="407563"/>
                      <a:pt x="802052" y="386966"/>
                    </a:cubicBezTo>
                    <a:cubicBezTo>
                      <a:pt x="806928" y="376544"/>
                      <a:pt x="811592" y="365945"/>
                      <a:pt x="815372" y="355099"/>
                    </a:cubicBezTo>
                    <a:cubicBezTo>
                      <a:pt x="824875" y="328037"/>
                      <a:pt x="836605" y="301080"/>
                      <a:pt x="827914" y="271333"/>
                    </a:cubicBezTo>
                    <a:cubicBezTo>
                      <a:pt x="811097" y="213958"/>
                      <a:pt x="781950" y="165133"/>
                      <a:pt x="730864" y="131429"/>
                    </a:cubicBezTo>
                    <a:cubicBezTo>
                      <a:pt x="705180" y="114506"/>
                      <a:pt x="682851" y="93944"/>
                      <a:pt x="662890" y="70344"/>
                    </a:cubicBezTo>
                    <a:cubicBezTo>
                      <a:pt x="645438" y="49677"/>
                      <a:pt x="623498" y="35510"/>
                      <a:pt x="595870" y="30140"/>
                    </a:cubicBezTo>
                    <a:cubicBezTo>
                      <a:pt x="573860" y="25865"/>
                      <a:pt x="551850" y="25723"/>
                      <a:pt x="529734" y="25617"/>
                    </a:cubicBezTo>
                    <a:cubicBezTo>
                      <a:pt x="496737" y="25476"/>
                      <a:pt x="464799" y="19717"/>
                      <a:pt x="433638" y="8836"/>
                    </a:cubicBezTo>
                    <a:cubicBezTo>
                      <a:pt x="403714" y="-1586"/>
                      <a:pt x="373331" y="-2151"/>
                      <a:pt x="342171" y="3819"/>
                    </a:cubicBezTo>
                    <a:cubicBezTo>
                      <a:pt x="307230" y="10532"/>
                      <a:pt x="275928" y="25511"/>
                      <a:pt x="245015" y="42152"/>
                    </a:cubicBezTo>
                    <a:cubicBezTo>
                      <a:pt x="217316" y="57061"/>
                      <a:pt x="192162" y="74301"/>
                      <a:pt x="176476" y="102953"/>
                    </a:cubicBezTo>
                    <a:cubicBezTo>
                      <a:pt x="171954" y="111256"/>
                      <a:pt x="165983" y="119452"/>
                      <a:pt x="157469" y="12485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0" name="Freeform: Shape 4199">
                <a:extLst>
                  <a:ext uri="{FF2B5EF4-FFF2-40B4-BE49-F238E27FC236}">
                    <a16:creationId xmlns:a16="http://schemas.microsoft.com/office/drawing/2014/main" id="{5D95C137-AE52-E65F-62E2-F82F0EF599DF}"/>
                  </a:ext>
                </a:extLst>
              </p:cNvPr>
              <p:cNvSpPr/>
              <p:nvPr/>
            </p:nvSpPr>
            <p:spPr>
              <a:xfrm>
                <a:off x="5791424" y="2468873"/>
                <a:ext cx="46094" cy="87847"/>
              </a:xfrm>
              <a:custGeom>
                <a:avLst/>
                <a:gdLst>
                  <a:gd name="connsiteX0" fmla="*/ 44922 w 60045"/>
                  <a:gd name="connsiteY0" fmla="*/ 15893 h 114436"/>
                  <a:gd name="connsiteX1" fmla="*/ 29129 w 60045"/>
                  <a:gd name="connsiteY1" fmla="*/ 22924 h 114436"/>
                  <a:gd name="connsiteX2" fmla="*/ 3586 w 60045"/>
                  <a:gd name="connsiteY2" fmla="*/ 70654 h 114436"/>
                  <a:gd name="connsiteX3" fmla="*/ 11147 w 60045"/>
                  <a:gd name="connsiteY3" fmla="*/ 108951 h 114436"/>
                  <a:gd name="connsiteX4" fmla="*/ 29235 w 60045"/>
                  <a:gd name="connsiteY4" fmla="*/ 113579 h 114436"/>
                  <a:gd name="connsiteX5" fmla="*/ 36761 w 60045"/>
                  <a:gd name="connsiteY5" fmla="*/ 98317 h 114436"/>
                  <a:gd name="connsiteX6" fmla="*/ 42625 w 60045"/>
                  <a:gd name="connsiteY6" fmla="*/ 70371 h 114436"/>
                  <a:gd name="connsiteX7" fmla="*/ 44745 w 60045"/>
                  <a:gd name="connsiteY7" fmla="*/ 15823 h 114436"/>
                  <a:gd name="connsiteX8" fmla="*/ 60042 w 60045"/>
                  <a:gd name="connsiteY8" fmla="*/ 5718 h 114436"/>
                  <a:gd name="connsiteX9" fmla="*/ 51175 w 60045"/>
                  <a:gd name="connsiteY9" fmla="*/ 101 h 114436"/>
                  <a:gd name="connsiteX10" fmla="*/ 44922 w 60045"/>
                  <a:gd name="connsiteY10" fmla="*/ 14621 h 114436"/>
                  <a:gd name="connsiteX11" fmla="*/ 44886 w 60045"/>
                  <a:gd name="connsiteY11" fmla="*/ 15929 h 11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045" h="114436">
                    <a:moveTo>
                      <a:pt x="44922" y="15893"/>
                    </a:moveTo>
                    <a:cubicBezTo>
                      <a:pt x="36301" y="10523"/>
                      <a:pt x="32026" y="18119"/>
                      <a:pt x="29129" y="22924"/>
                    </a:cubicBezTo>
                    <a:cubicBezTo>
                      <a:pt x="19802" y="38363"/>
                      <a:pt x="10546" y="54084"/>
                      <a:pt x="3586" y="70654"/>
                    </a:cubicBezTo>
                    <a:cubicBezTo>
                      <a:pt x="-1996" y="83973"/>
                      <a:pt x="-2172" y="97893"/>
                      <a:pt x="11147" y="108951"/>
                    </a:cubicBezTo>
                    <a:cubicBezTo>
                      <a:pt x="16976" y="113791"/>
                      <a:pt x="22664" y="115699"/>
                      <a:pt x="29235" y="113579"/>
                    </a:cubicBezTo>
                    <a:cubicBezTo>
                      <a:pt x="36337" y="111282"/>
                      <a:pt x="37290" y="104923"/>
                      <a:pt x="36761" y="98317"/>
                    </a:cubicBezTo>
                    <a:cubicBezTo>
                      <a:pt x="35983" y="88424"/>
                      <a:pt x="37573" y="79239"/>
                      <a:pt x="42625" y="70371"/>
                    </a:cubicBezTo>
                    <a:cubicBezTo>
                      <a:pt x="52694" y="52706"/>
                      <a:pt x="53012" y="34335"/>
                      <a:pt x="44745" y="15823"/>
                    </a:cubicBezTo>
                    <a:cubicBezTo>
                      <a:pt x="52164" y="15893"/>
                      <a:pt x="59760" y="15434"/>
                      <a:pt x="60042" y="5718"/>
                    </a:cubicBezTo>
                    <a:cubicBezTo>
                      <a:pt x="60184" y="843"/>
                      <a:pt x="55379" y="-394"/>
                      <a:pt x="51175" y="101"/>
                    </a:cubicBezTo>
                    <a:cubicBezTo>
                      <a:pt x="40859" y="1232"/>
                      <a:pt x="46299" y="9463"/>
                      <a:pt x="44922" y="14621"/>
                    </a:cubicBezTo>
                    <a:cubicBezTo>
                      <a:pt x="44815" y="15045"/>
                      <a:pt x="44922" y="15505"/>
                      <a:pt x="44886" y="1592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1" name="Freeform: Shape 4200">
                <a:extLst>
                  <a:ext uri="{FF2B5EF4-FFF2-40B4-BE49-F238E27FC236}">
                    <a16:creationId xmlns:a16="http://schemas.microsoft.com/office/drawing/2014/main" id="{1AE3D2D6-E1BB-8333-B0C4-8F305F83FE39}"/>
                  </a:ext>
                </a:extLst>
              </p:cNvPr>
              <p:cNvSpPr/>
              <p:nvPr/>
            </p:nvSpPr>
            <p:spPr>
              <a:xfrm>
                <a:off x="6287060" y="2952604"/>
                <a:ext cx="125639" cy="115211"/>
              </a:xfrm>
              <a:custGeom>
                <a:avLst/>
                <a:gdLst>
                  <a:gd name="connsiteX0" fmla="*/ 163517 w 163666"/>
                  <a:gd name="connsiteY0" fmla="*/ 30513 h 150082"/>
                  <a:gd name="connsiteX1" fmla="*/ 163517 w 163666"/>
                  <a:gd name="connsiteY1" fmla="*/ 18148 h 150082"/>
                  <a:gd name="connsiteX2" fmla="*/ 155357 w 163666"/>
                  <a:gd name="connsiteY2" fmla="*/ 200 h 150082"/>
                  <a:gd name="connsiteX3" fmla="*/ 144228 w 163666"/>
                  <a:gd name="connsiteY3" fmla="*/ 11788 h 150082"/>
                  <a:gd name="connsiteX4" fmla="*/ 139670 w 163666"/>
                  <a:gd name="connsiteY4" fmla="*/ 19879 h 150082"/>
                  <a:gd name="connsiteX5" fmla="*/ 104553 w 163666"/>
                  <a:gd name="connsiteY5" fmla="*/ 62062 h 150082"/>
                  <a:gd name="connsiteX6" fmla="*/ 74452 w 163666"/>
                  <a:gd name="connsiteY6" fmla="*/ 94035 h 150082"/>
                  <a:gd name="connsiteX7" fmla="*/ 46260 w 163666"/>
                  <a:gd name="connsiteY7" fmla="*/ 120002 h 150082"/>
                  <a:gd name="connsiteX8" fmla="*/ 12379 w 163666"/>
                  <a:gd name="connsiteY8" fmla="*/ 131520 h 150082"/>
                  <a:gd name="connsiteX9" fmla="*/ 190 w 163666"/>
                  <a:gd name="connsiteY9" fmla="*/ 143249 h 150082"/>
                  <a:gd name="connsiteX10" fmla="*/ 15806 w 163666"/>
                  <a:gd name="connsiteY10" fmla="*/ 149820 h 150082"/>
                  <a:gd name="connsiteX11" fmla="*/ 64383 w 163666"/>
                  <a:gd name="connsiteY11" fmla="*/ 144733 h 150082"/>
                  <a:gd name="connsiteX12" fmla="*/ 120345 w 163666"/>
                  <a:gd name="connsiteY12" fmla="*/ 104811 h 150082"/>
                  <a:gd name="connsiteX13" fmla="*/ 137974 w 163666"/>
                  <a:gd name="connsiteY13" fmla="*/ 79020 h 150082"/>
                  <a:gd name="connsiteX14" fmla="*/ 163447 w 163666"/>
                  <a:gd name="connsiteY14" fmla="*/ 30513 h 15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666" h="150082">
                    <a:moveTo>
                      <a:pt x="163517" y="30513"/>
                    </a:moveTo>
                    <a:cubicBezTo>
                      <a:pt x="163517" y="25249"/>
                      <a:pt x="163517" y="21681"/>
                      <a:pt x="163517" y="18148"/>
                    </a:cubicBezTo>
                    <a:cubicBezTo>
                      <a:pt x="163482" y="10835"/>
                      <a:pt x="162352" y="2250"/>
                      <a:pt x="155357" y="200"/>
                    </a:cubicBezTo>
                    <a:cubicBezTo>
                      <a:pt x="149598" y="-1460"/>
                      <a:pt x="147867" y="7620"/>
                      <a:pt x="144228" y="11788"/>
                    </a:cubicBezTo>
                    <a:cubicBezTo>
                      <a:pt x="142249" y="14085"/>
                      <a:pt x="141154" y="17159"/>
                      <a:pt x="139670" y="19879"/>
                    </a:cubicBezTo>
                    <a:cubicBezTo>
                      <a:pt x="130697" y="36272"/>
                      <a:pt x="121617" y="53265"/>
                      <a:pt x="104553" y="62062"/>
                    </a:cubicBezTo>
                    <a:cubicBezTo>
                      <a:pt x="90209" y="69481"/>
                      <a:pt x="80917" y="79762"/>
                      <a:pt x="74452" y="94035"/>
                    </a:cubicBezTo>
                    <a:cubicBezTo>
                      <a:pt x="68835" y="106400"/>
                      <a:pt x="60674" y="116363"/>
                      <a:pt x="46260" y="120002"/>
                    </a:cubicBezTo>
                    <a:cubicBezTo>
                      <a:pt x="34742" y="122935"/>
                      <a:pt x="23472" y="127139"/>
                      <a:pt x="12379" y="131520"/>
                    </a:cubicBezTo>
                    <a:cubicBezTo>
                      <a:pt x="6973" y="133675"/>
                      <a:pt x="-1364" y="135582"/>
                      <a:pt x="190" y="143249"/>
                    </a:cubicBezTo>
                    <a:cubicBezTo>
                      <a:pt x="1674" y="150491"/>
                      <a:pt x="9482" y="150456"/>
                      <a:pt x="15806" y="149820"/>
                    </a:cubicBezTo>
                    <a:cubicBezTo>
                      <a:pt x="32022" y="148195"/>
                      <a:pt x="48167" y="145369"/>
                      <a:pt x="64383" y="144733"/>
                    </a:cubicBezTo>
                    <a:cubicBezTo>
                      <a:pt x="93424" y="143602"/>
                      <a:pt x="111089" y="131802"/>
                      <a:pt x="120345" y="104811"/>
                    </a:cubicBezTo>
                    <a:cubicBezTo>
                      <a:pt x="123878" y="94459"/>
                      <a:pt x="128577" y="84920"/>
                      <a:pt x="137974" y="79020"/>
                    </a:cubicBezTo>
                    <a:cubicBezTo>
                      <a:pt x="156664" y="67255"/>
                      <a:pt x="165178" y="50686"/>
                      <a:pt x="163447" y="3051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2" name="Freeform: Shape 4201">
                <a:extLst>
                  <a:ext uri="{FF2B5EF4-FFF2-40B4-BE49-F238E27FC236}">
                    <a16:creationId xmlns:a16="http://schemas.microsoft.com/office/drawing/2014/main" id="{D6176A54-79C0-9405-1DAC-F9B7216B55E2}"/>
                  </a:ext>
                </a:extLst>
              </p:cNvPr>
              <p:cNvSpPr/>
              <p:nvPr/>
            </p:nvSpPr>
            <p:spPr>
              <a:xfrm>
                <a:off x="6057696" y="2249732"/>
                <a:ext cx="198836" cy="138180"/>
              </a:xfrm>
              <a:custGeom>
                <a:avLst/>
                <a:gdLst>
                  <a:gd name="connsiteX0" fmla="*/ 259018 w 259017"/>
                  <a:gd name="connsiteY0" fmla="*/ 60131 h 180003"/>
                  <a:gd name="connsiteX1" fmla="*/ 233439 w 259017"/>
                  <a:gd name="connsiteY1" fmla="*/ 48296 h 180003"/>
                  <a:gd name="connsiteX2" fmla="*/ 184649 w 259017"/>
                  <a:gd name="connsiteY2" fmla="*/ 22682 h 180003"/>
                  <a:gd name="connsiteX3" fmla="*/ 79791 w 259017"/>
                  <a:gd name="connsiteY3" fmla="*/ 8480 h 180003"/>
                  <a:gd name="connsiteX4" fmla="*/ 28423 w 259017"/>
                  <a:gd name="connsiteY4" fmla="*/ 100866 h 180003"/>
                  <a:gd name="connsiteX5" fmla="*/ 11182 w 259017"/>
                  <a:gd name="connsiteY5" fmla="*/ 158206 h 180003"/>
                  <a:gd name="connsiteX6" fmla="*/ 124 w 259017"/>
                  <a:gd name="connsiteY6" fmla="*/ 180004 h 180003"/>
                  <a:gd name="connsiteX7" fmla="*/ 41354 w 259017"/>
                  <a:gd name="connsiteY7" fmla="*/ 112065 h 180003"/>
                  <a:gd name="connsiteX8" fmla="*/ 41777 w 259017"/>
                  <a:gd name="connsiteY8" fmla="*/ 77478 h 180003"/>
                  <a:gd name="connsiteX9" fmla="*/ 50327 w 259017"/>
                  <a:gd name="connsiteY9" fmla="*/ 48614 h 180003"/>
                  <a:gd name="connsiteX10" fmla="*/ 129818 w 259017"/>
                  <a:gd name="connsiteY10" fmla="*/ 17877 h 180003"/>
                  <a:gd name="connsiteX11" fmla="*/ 173768 w 259017"/>
                  <a:gd name="connsiteY11" fmla="*/ 59637 h 180003"/>
                  <a:gd name="connsiteX12" fmla="*/ 194577 w 259017"/>
                  <a:gd name="connsiteY12" fmla="*/ 83555 h 180003"/>
                  <a:gd name="connsiteX13" fmla="*/ 242766 w 259017"/>
                  <a:gd name="connsiteY13" fmla="*/ 90621 h 180003"/>
                  <a:gd name="connsiteX14" fmla="*/ 258488 w 259017"/>
                  <a:gd name="connsiteY14" fmla="*/ 85992 h 180003"/>
                  <a:gd name="connsiteX15" fmla="*/ 242342 w 259017"/>
                  <a:gd name="connsiteY15" fmla="*/ 80481 h 180003"/>
                  <a:gd name="connsiteX16" fmla="*/ 198215 w 259017"/>
                  <a:gd name="connsiteY16" fmla="*/ 70624 h 180003"/>
                  <a:gd name="connsiteX17" fmla="*/ 259018 w 259017"/>
                  <a:gd name="connsiteY17" fmla="*/ 60061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017" h="180003">
                    <a:moveTo>
                      <a:pt x="259018" y="60131"/>
                    </a:moveTo>
                    <a:cubicBezTo>
                      <a:pt x="251245" y="53030"/>
                      <a:pt x="242236" y="50663"/>
                      <a:pt x="233439" y="48296"/>
                    </a:cubicBezTo>
                    <a:cubicBezTo>
                      <a:pt x="215209" y="43385"/>
                      <a:pt x="199099" y="35012"/>
                      <a:pt x="184649" y="22682"/>
                    </a:cubicBezTo>
                    <a:cubicBezTo>
                      <a:pt x="152923" y="-4345"/>
                      <a:pt x="115686" y="-4698"/>
                      <a:pt x="79791" y="8480"/>
                    </a:cubicBezTo>
                    <a:cubicBezTo>
                      <a:pt x="38598" y="23636"/>
                      <a:pt x="21816" y="56174"/>
                      <a:pt x="28423" y="100866"/>
                    </a:cubicBezTo>
                    <a:cubicBezTo>
                      <a:pt x="31779" y="123654"/>
                      <a:pt x="24784" y="141248"/>
                      <a:pt x="11182" y="158206"/>
                    </a:cubicBezTo>
                    <a:cubicBezTo>
                      <a:pt x="6731" y="163788"/>
                      <a:pt x="-1077" y="168274"/>
                      <a:pt x="124" y="180004"/>
                    </a:cubicBezTo>
                    <a:cubicBezTo>
                      <a:pt x="23689" y="161527"/>
                      <a:pt x="39163" y="140753"/>
                      <a:pt x="41354" y="112065"/>
                    </a:cubicBezTo>
                    <a:cubicBezTo>
                      <a:pt x="42237" y="100583"/>
                      <a:pt x="41424" y="89031"/>
                      <a:pt x="41777" y="77478"/>
                    </a:cubicBezTo>
                    <a:cubicBezTo>
                      <a:pt x="42095" y="67197"/>
                      <a:pt x="44497" y="57482"/>
                      <a:pt x="50327" y="48614"/>
                    </a:cubicBezTo>
                    <a:cubicBezTo>
                      <a:pt x="65978" y="24837"/>
                      <a:pt x="100777" y="10918"/>
                      <a:pt x="129818" y="17877"/>
                    </a:cubicBezTo>
                    <a:cubicBezTo>
                      <a:pt x="152287" y="23248"/>
                      <a:pt x="169599" y="34447"/>
                      <a:pt x="173768" y="59637"/>
                    </a:cubicBezTo>
                    <a:cubicBezTo>
                      <a:pt x="175746" y="71543"/>
                      <a:pt x="183519" y="79103"/>
                      <a:pt x="194577" y="83555"/>
                    </a:cubicBezTo>
                    <a:cubicBezTo>
                      <a:pt x="210086" y="89773"/>
                      <a:pt x="226444" y="90444"/>
                      <a:pt x="242766" y="90621"/>
                    </a:cubicBezTo>
                    <a:cubicBezTo>
                      <a:pt x="248383" y="90691"/>
                      <a:pt x="258452" y="93588"/>
                      <a:pt x="258488" y="85992"/>
                    </a:cubicBezTo>
                    <a:cubicBezTo>
                      <a:pt x="258523" y="76701"/>
                      <a:pt x="248136" y="80658"/>
                      <a:pt x="242342" y="80481"/>
                    </a:cubicBezTo>
                    <a:cubicBezTo>
                      <a:pt x="227044" y="80022"/>
                      <a:pt x="211888" y="79845"/>
                      <a:pt x="198215" y="70624"/>
                    </a:cubicBezTo>
                    <a:cubicBezTo>
                      <a:pt x="218636" y="69246"/>
                      <a:pt x="239374" y="70589"/>
                      <a:pt x="259018" y="6006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3" name="Freeform: Shape 4202">
                <a:extLst>
                  <a:ext uri="{FF2B5EF4-FFF2-40B4-BE49-F238E27FC236}">
                    <a16:creationId xmlns:a16="http://schemas.microsoft.com/office/drawing/2014/main" id="{E2925723-72A4-5ACC-21DB-3D2ACFAB027F}"/>
                  </a:ext>
                </a:extLst>
              </p:cNvPr>
              <p:cNvSpPr/>
              <p:nvPr/>
            </p:nvSpPr>
            <p:spPr>
              <a:xfrm>
                <a:off x="5910037" y="2394929"/>
                <a:ext cx="69616" cy="49365"/>
              </a:xfrm>
              <a:custGeom>
                <a:avLst/>
                <a:gdLst>
                  <a:gd name="connsiteX0" fmla="*/ 22647 w 90687"/>
                  <a:gd name="connsiteY0" fmla="*/ 64276 h 64306"/>
                  <a:gd name="connsiteX1" fmla="*/ 71931 w 90687"/>
                  <a:gd name="connsiteY1" fmla="*/ 57245 h 64306"/>
                  <a:gd name="connsiteX2" fmla="*/ 84332 w 90687"/>
                  <a:gd name="connsiteY2" fmla="*/ 39192 h 64306"/>
                  <a:gd name="connsiteX3" fmla="*/ 87794 w 90687"/>
                  <a:gd name="connsiteY3" fmla="*/ 19478 h 64306"/>
                  <a:gd name="connsiteX4" fmla="*/ 88112 w 90687"/>
                  <a:gd name="connsiteY4" fmla="*/ 3297 h 64306"/>
                  <a:gd name="connsiteX5" fmla="*/ 73627 w 90687"/>
                  <a:gd name="connsiteY5" fmla="*/ 3015 h 64306"/>
                  <a:gd name="connsiteX6" fmla="*/ 15475 w 90687"/>
                  <a:gd name="connsiteY6" fmla="*/ 27851 h 64306"/>
                  <a:gd name="connsiteX7" fmla="*/ 495 w 90687"/>
                  <a:gd name="connsiteY7" fmla="*/ 50391 h 64306"/>
                  <a:gd name="connsiteX8" fmla="*/ 22682 w 90687"/>
                  <a:gd name="connsiteY8" fmla="*/ 64276 h 6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687" h="64306">
                    <a:moveTo>
                      <a:pt x="22647" y="64276"/>
                    </a:moveTo>
                    <a:cubicBezTo>
                      <a:pt x="39711" y="61873"/>
                      <a:pt x="55856" y="59789"/>
                      <a:pt x="71931" y="57245"/>
                    </a:cubicBezTo>
                    <a:cubicBezTo>
                      <a:pt x="82106" y="55655"/>
                      <a:pt x="87088" y="48978"/>
                      <a:pt x="84332" y="39192"/>
                    </a:cubicBezTo>
                    <a:cubicBezTo>
                      <a:pt x="82177" y="31490"/>
                      <a:pt x="83307" y="25696"/>
                      <a:pt x="87794" y="19478"/>
                    </a:cubicBezTo>
                    <a:cubicBezTo>
                      <a:pt x="91433" y="14461"/>
                      <a:pt x="91751" y="8243"/>
                      <a:pt x="88112" y="3297"/>
                    </a:cubicBezTo>
                    <a:cubicBezTo>
                      <a:pt x="84014" y="-2250"/>
                      <a:pt x="77761" y="294"/>
                      <a:pt x="73627" y="3015"/>
                    </a:cubicBezTo>
                    <a:cubicBezTo>
                      <a:pt x="55680" y="14920"/>
                      <a:pt x="35613" y="21138"/>
                      <a:pt x="15475" y="27851"/>
                    </a:cubicBezTo>
                    <a:cubicBezTo>
                      <a:pt x="6501" y="30819"/>
                      <a:pt x="-2190" y="39474"/>
                      <a:pt x="495" y="50391"/>
                    </a:cubicBezTo>
                    <a:cubicBezTo>
                      <a:pt x="3039" y="60813"/>
                      <a:pt x="12825" y="64700"/>
                      <a:pt x="22682" y="6427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4" name="Freeform: Shape 4203">
                <a:extLst>
                  <a:ext uri="{FF2B5EF4-FFF2-40B4-BE49-F238E27FC236}">
                    <a16:creationId xmlns:a16="http://schemas.microsoft.com/office/drawing/2014/main" id="{57C60E2C-7ADD-DEE5-BEA3-7C46D2436F5F}"/>
                  </a:ext>
                </a:extLst>
              </p:cNvPr>
              <p:cNvSpPr/>
              <p:nvPr/>
            </p:nvSpPr>
            <p:spPr>
              <a:xfrm>
                <a:off x="5799432" y="2321023"/>
                <a:ext cx="64220" cy="71627"/>
              </a:xfrm>
              <a:custGeom>
                <a:avLst/>
                <a:gdLst>
                  <a:gd name="connsiteX0" fmla="*/ 8 w 83657"/>
                  <a:gd name="connsiteY0" fmla="*/ 65373 h 93306"/>
                  <a:gd name="connsiteX1" fmla="*/ 8134 w 83657"/>
                  <a:gd name="connsiteY1" fmla="*/ 84698 h 93306"/>
                  <a:gd name="connsiteX2" fmla="*/ 23325 w 83657"/>
                  <a:gd name="connsiteY2" fmla="*/ 84451 h 93306"/>
                  <a:gd name="connsiteX3" fmla="*/ 73917 w 83657"/>
                  <a:gd name="connsiteY3" fmla="*/ 15630 h 93306"/>
                  <a:gd name="connsiteX4" fmla="*/ 82820 w 83657"/>
                  <a:gd name="connsiteY4" fmla="*/ 3017 h 93306"/>
                  <a:gd name="connsiteX5" fmla="*/ 63142 w 83657"/>
                  <a:gd name="connsiteY5" fmla="*/ 2734 h 93306"/>
                  <a:gd name="connsiteX6" fmla="*/ 58513 w 83657"/>
                  <a:gd name="connsiteY6" fmla="*/ 5313 h 93306"/>
                  <a:gd name="connsiteX7" fmla="*/ 20040 w 83657"/>
                  <a:gd name="connsiteY7" fmla="*/ 33259 h 93306"/>
                  <a:gd name="connsiteX8" fmla="*/ 8 w 83657"/>
                  <a:gd name="connsiteY8" fmla="*/ 65373 h 93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657" h="93306">
                    <a:moveTo>
                      <a:pt x="8" y="65373"/>
                    </a:moveTo>
                    <a:cubicBezTo>
                      <a:pt x="-63" y="70531"/>
                      <a:pt x="1280" y="74135"/>
                      <a:pt x="8134" y="84698"/>
                    </a:cubicBezTo>
                    <a:cubicBezTo>
                      <a:pt x="15624" y="96286"/>
                      <a:pt x="16790" y="96145"/>
                      <a:pt x="23325" y="84451"/>
                    </a:cubicBezTo>
                    <a:cubicBezTo>
                      <a:pt x="37281" y="59403"/>
                      <a:pt x="52472" y="35237"/>
                      <a:pt x="73917" y="15630"/>
                    </a:cubicBezTo>
                    <a:cubicBezTo>
                      <a:pt x="77803" y="12061"/>
                      <a:pt x="86353" y="7504"/>
                      <a:pt x="82820" y="3017"/>
                    </a:cubicBezTo>
                    <a:cubicBezTo>
                      <a:pt x="78899" y="-1964"/>
                      <a:pt x="69854" y="155"/>
                      <a:pt x="63142" y="2734"/>
                    </a:cubicBezTo>
                    <a:cubicBezTo>
                      <a:pt x="61516" y="3370"/>
                      <a:pt x="59962" y="4289"/>
                      <a:pt x="58513" y="5313"/>
                    </a:cubicBezTo>
                    <a:cubicBezTo>
                      <a:pt x="45618" y="14534"/>
                      <a:pt x="32087" y="23049"/>
                      <a:pt x="20040" y="33259"/>
                    </a:cubicBezTo>
                    <a:cubicBezTo>
                      <a:pt x="10925" y="40996"/>
                      <a:pt x="-345" y="48239"/>
                      <a:pt x="8" y="6537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5" name="Freeform: Shape 4204">
                <a:extLst>
                  <a:ext uri="{FF2B5EF4-FFF2-40B4-BE49-F238E27FC236}">
                    <a16:creationId xmlns:a16="http://schemas.microsoft.com/office/drawing/2014/main" id="{3293AF8A-2B36-2CD2-B2F2-0FCF485B53D8}"/>
                  </a:ext>
                </a:extLst>
              </p:cNvPr>
              <p:cNvSpPr/>
              <p:nvPr/>
            </p:nvSpPr>
            <p:spPr>
              <a:xfrm>
                <a:off x="5797175" y="2595429"/>
                <a:ext cx="28839" cy="57263"/>
              </a:xfrm>
              <a:custGeom>
                <a:avLst/>
                <a:gdLst>
                  <a:gd name="connsiteX0" fmla="*/ 263 w 37568"/>
                  <a:gd name="connsiteY0" fmla="*/ 33333 h 74595"/>
                  <a:gd name="connsiteX1" fmla="*/ 20154 w 37568"/>
                  <a:gd name="connsiteY1" fmla="*/ 71630 h 74595"/>
                  <a:gd name="connsiteX2" fmla="*/ 37041 w 37568"/>
                  <a:gd name="connsiteY2" fmla="*/ 65200 h 74595"/>
                  <a:gd name="connsiteX3" fmla="*/ 36794 w 37568"/>
                  <a:gd name="connsiteY3" fmla="*/ 53329 h 74595"/>
                  <a:gd name="connsiteX4" fmla="*/ 34109 w 37568"/>
                  <a:gd name="connsiteY4" fmla="*/ 16975 h 74595"/>
                  <a:gd name="connsiteX5" fmla="*/ 24676 w 37568"/>
                  <a:gd name="connsiteY5" fmla="*/ 1042 h 74595"/>
                  <a:gd name="connsiteX6" fmla="*/ 7258 w 37568"/>
                  <a:gd name="connsiteY6" fmla="*/ 6977 h 74595"/>
                  <a:gd name="connsiteX7" fmla="*/ 263 w 37568"/>
                  <a:gd name="connsiteY7" fmla="*/ 33297 h 74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68" h="74595">
                    <a:moveTo>
                      <a:pt x="263" y="33333"/>
                    </a:moveTo>
                    <a:cubicBezTo>
                      <a:pt x="-1821" y="50573"/>
                      <a:pt x="8813" y="61490"/>
                      <a:pt x="20154" y="71630"/>
                    </a:cubicBezTo>
                    <a:cubicBezTo>
                      <a:pt x="26831" y="77600"/>
                      <a:pt x="35381" y="74103"/>
                      <a:pt x="37041" y="65200"/>
                    </a:cubicBezTo>
                    <a:cubicBezTo>
                      <a:pt x="37748" y="61384"/>
                      <a:pt x="37818" y="57039"/>
                      <a:pt x="36794" y="53329"/>
                    </a:cubicBezTo>
                    <a:cubicBezTo>
                      <a:pt x="33438" y="41352"/>
                      <a:pt x="30399" y="29800"/>
                      <a:pt x="34109" y="16975"/>
                    </a:cubicBezTo>
                    <a:cubicBezTo>
                      <a:pt x="36016" y="10404"/>
                      <a:pt x="31388" y="3621"/>
                      <a:pt x="24676" y="1042"/>
                    </a:cubicBezTo>
                    <a:cubicBezTo>
                      <a:pt x="17963" y="-1537"/>
                      <a:pt x="11886" y="759"/>
                      <a:pt x="7258" y="6977"/>
                    </a:cubicBezTo>
                    <a:cubicBezTo>
                      <a:pt x="1358" y="14926"/>
                      <a:pt x="-337" y="23723"/>
                      <a:pt x="263" y="3329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6" name="Freeform: Shape 4205">
                <a:extLst>
                  <a:ext uri="{FF2B5EF4-FFF2-40B4-BE49-F238E27FC236}">
                    <a16:creationId xmlns:a16="http://schemas.microsoft.com/office/drawing/2014/main" id="{41D48388-F9F9-2065-4A6A-6B351DC131B3}"/>
                  </a:ext>
                </a:extLst>
              </p:cNvPr>
              <p:cNvSpPr/>
              <p:nvPr/>
            </p:nvSpPr>
            <p:spPr>
              <a:xfrm>
                <a:off x="5884991" y="2350948"/>
                <a:ext cx="55412" cy="89200"/>
              </a:xfrm>
              <a:custGeom>
                <a:avLst/>
                <a:gdLst>
                  <a:gd name="connsiteX0" fmla="*/ 1149 w 72183"/>
                  <a:gd name="connsiteY0" fmla="*/ 116198 h 116198"/>
                  <a:gd name="connsiteX1" fmla="*/ 8108 w 72183"/>
                  <a:gd name="connsiteY1" fmla="*/ 104645 h 116198"/>
                  <a:gd name="connsiteX2" fmla="*/ 30048 w 72183"/>
                  <a:gd name="connsiteY2" fmla="*/ 51051 h 116198"/>
                  <a:gd name="connsiteX3" fmla="*/ 67744 w 72183"/>
                  <a:gd name="connsiteY3" fmla="*/ 9998 h 116198"/>
                  <a:gd name="connsiteX4" fmla="*/ 70959 w 72183"/>
                  <a:gd name="connsiteY4" fmla="*/ 1272 h 116198"/>
                  <a:gd name="connsiteX5" fmla="*/ 63081 w 72183"/>
                  <a:gd name="connsiteY5" fmla="*/ 3498 h 116198"/>
                  <a:gd name="connsiteX6" fmla="*/ 41318 w 72183"/>
                  <a:gd name="connsiteY6" fmla="*/ 18619 h 116198"/>
                  <a:gd name="connsiteX7" fmla="*/ 1149 w 72183"/>
                  <a:gd name="connsiteY7" fmla="*/ 116198 h 1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83" h="116198">
                    <a:moveTo>
                      <a:pt x="1149" y="116198"/>
                    </a:moveTo>
                    <a:cubicBezTo>
                      <a:pt x="6872" y="112347"/>
                      <a:pt x="7543" y="108602"/>
                      <a:pt x="8108" y="104645"/>
                    </a:cubicBezTo>
                    <a:cubicBezTo>
                      <a:pt x="10864" y="84932"/>
                      <a:pt x="19273" y="67550"/>
                      <a:pt x="30048" y="51051"/>
                    </a:cubicBezTo>
                    <a:cubicBezTo>
                      <a:pt x="40399" y="35259"/>
                      <a:pt x="54814" y="23353"/>
                      <a:pt x="67744" y="9998"/>
                    </a:cubicBezTo>
                    <a:cubicBezTo>
                      <a:pt x="70041" y="7631"/>
                      <a:pt x="74280" y="5052"/>
                      <a:pt x="70959" y="1272"/>
                    </a:cubicBezTo>
                    <a:cubicBezTo>
                      <a:pt x="68027" y="-2049"/>
                      <a:pt x="65377" y="2014"/>
                      <a:pt x="63081" y="3498"/>
                    </a:cubicBezTo>
                    <a:cubicBezTo>
                      <a:pt x="55662" y="8338"/>
                      <a:pt x="47925" y="12825"/>
                      <a:pt x="41318" y="18619"/>
                    </a:cubicBezTo>
                    <a:cubicBezTo>
                      <a:pt x="12595" y="43844"/>
                      <a:pt x="-4751" y="74050"/>
                      <a:pt x="1149" y="11619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7" name="Freeform: Shape 4206">
                <a:extLst>
                  <a:ext uri="{FF2B5EF4-FFF2-40B4-BE49-F238E27FC236}">
                    <a16:creationId xmlns:a16="http://schemas.microsoft.com/office/drawing/2014/main" id="{BD2E4F86-C9F8-D4D2-D46A-FF8513461374}"/>
                  </a:ext>
                </a:extLst>
              </p:cNvPr>
              <p:cNvSpPr/>
              <p:nvPr/>
            </p:nvSpPr>
            <p:spPr>
              <a:xfrm>
                <a:off x="5848470" y="2356516"/>
                <a:ext cx="36111" cy="44290"/>
              </a:xfrm>
              <a:custGeom>
                <a:avLst/>
                <a:gdLst>
                  <a:gd name="connsiteX0" fmla="*/ 74 w 47041"/>
                  <a:gd name="connsiteY0" fmla="*/ 42631 h 57695"/>
                  <a:gd name="connsiteX1" fmla="*/ 11309 w 47041"/>
                  <a:gd name="connsiteY1" fmla="*/ 57010 h 57695"/>
                  <a:gd name="connsiteX2" fmla="*/ 28373 w 47041"/>
                  <a:gd name="connsiteY2" fmla="*/ 48036 h 57695"/>
                  <a:gd name="connsiteX3" fmla="*/ 45225 w 47041"/>
                  <a:gd name="connsiteY3" fmla="*/ 14898 h 57695"/>
                  <a:gd name="connsiteX4" fmla="*/ 44342 w 47041"/>
                  <a:gd name="connsiteY4" fmla="*/ 2497 h 57695"/>
                  <a:gd name="connsiteX5" fmla="*/ 37417 w 47041"/>
                  <a:gd name="connsiteY5" fmla="*/ 271 h 57695"/>
                  <a:gd name="connsiteX6" fmla="*/ 74 w 47041"/>
                  <a:gd name="connsiteY6" fmla="*/ 42666 h 5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41" h="57695">
                    <a:moveTo>
                      <a:pt x="74" y="42631"/>
                    </a:moveTo>
                    <a:cubicBezTo>
                      <a:pt x="-703" y="50934"/>
                      <a:pt x="4738" y="54961"/>
                      <a:pt x="11309" y="57010"/>
                    </a:cubicBezTo>
                    <a:cubicBezTo>
                      <a:pt x="19435" y="59554"/>
                      <a:pt x="26430" y="54678"/>
                      <a:pt x="28373" y="48036"/>
                    </a:cubicBezTo>
                    <a:cubicBezTo>
                      <a:pt x="31977" y="35707"/>
                      <a:pt x="35934" y="24225"/>
                      <a:pt x="45225" y="14898"/>
                    </a:cubicBezTo>
                    <a:cubicBezTo>
                      <a:pt x="49005" y="11082"/>
                      <a:pt x="45967" y="6454"/>
                      <a:pt x="44342" y="2497"/>
                    </a:cubicBezTo>
                    <a:cubicBezTo>
                      <a:pt x="43070" y="-541"/>
                      <a:pt x="40067" y="-117"/>
                      <a:pt x="37417" y="271"/>
                    </a:cubicBezTo>
                    <a:cubicBezTo>
                      <a:pt x="28196" y="1614"/>
                      <a:pt x="604" y="32986"/>
                      <a:pt x="74" y="4266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8" name="Freeform: Shape 4207">
                <a:extLst>
                  <a:ext uri="{FF2B5EF4-FFF2-40B4-BE49-F238E27FC236}">
                    <a16:creationId xmlns:a16="http://schemas.microsoft.com/office/drawing/2014/main" id="{D6A6B391-FAFE-8E19-3161-96285F1D1529}"/>
                  </a:ext>
                </a:extLst>
              </p:cNvPr>
              <p:cNvSpPr/>
              <p:nvPr/>
            </p:nvSpPr>
            <p:spPr>
              <a:xfrm>
                <a:off x="6146248" y="2311760"/>
                <a:ext cx="41805" cy="22337"/>
              </a:xfrm>
              <a:custGeom>
                <a:avLst/>
                <a:gdLst>
                  <a:gd name="connsiteX0" fmla="*/ 15736 w 54458"/>
                  <a:gd name="connsiteY0" fmla="*/ 29075 h 29098"/>
                  <a:gd name="connsiteX1" fmla="*/ 53009 w 54458"/>
                  <a:gd name="connsiteY1" fmla="*/ 9714 h 29098"/>
                  <a:gd name="connsiteX2" fmla="*/ 52903 w 54458"/>
                  <a:gd name="connsiteY2" fmla="*/ 1094 h 29098"/>
                  <a:gd name="connsiteX3" fmla="*/ 45237 w 54458"/>
                  <a:gd name="connsiteY3" fmla="*/ 3744 h 29098"/>
                  <a:gd name="connsiteX4" fmla="*/ 15454 w 54458"/>
                  <a:gd name="connsiteY4" fmla="*/ 17557 h 29098"/>
                  <a:gd name="connsiteX5" fmla="*/ 15 w 54458"/>
                  <a:gd name="connsiteY5" fmla="*/ 23811 h 29098"/>
                  <a:gd name="connsiteX6" fmla="*/ 15701 w 54458"/>
                  <a:gd name="connsiteY6" fmla="*/ 29075 h 2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58" h="29098">
                    <a:moveTo>
                      <a:pt x="15736" y="29075"/>
                    </a:moveTo>
                    <a:cubicBezTo>
                      <a:pt x="33719" y="29110"/>
                      <a:pt x="48593" y="21161"/>
                      <a:pt x="53009" y="9714"/>
                    </a:cubicBezTo>
                    <a:cubicBezTo>
                      <a:pt x="54139" y="6782"/>
                      <a:pt x="55659" y="3496"/>
                      <a:pt x="52903" y="1094"/>
                    </a:cubicBezTo>
                    <a:cubicBezTo>
                      <a:pt x="49512" y="-1874"/>
                      <a:pt x="47462" y="1942"/>
                      <a:pt x="45237" y="3744"/>
                    </a:cubicBezTo>
                    <a:cubicBezTo>
                      <a:pt x="36475" y="10880"/>
                      <a:pt x="26300" y="14943"/>
                      <a:pt x="15454" y="17557"/>
                    </a:cubicBezTo>
                    <a:cubicBezTo>
                      <a:pt x="9695" y="18935"/>
                      <a:pt x="-444" y="17981"/>
                      <a:pt x="15" y="23811"/>
                    </a:cubicBezTo>
                    <a:cubicBezTo>
                      <a:pt x="686" y="32290"/>
                      <a:pt x="10755" y="27662"/>
                      <a:pt x="15701" y="2907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09" name="Freeform: Shape 4208">
                <a:extLst>
                  <a:ext uri="{FF2B5EF4-FFF2-40B4-BE49-F238E27FC236}">
                    <a16:creationId xmlns:a16="http://schemas.microsoft.com/office/drawing/2014/main" id="{EA6E98E6-14A6-8B9A-C6CB-14A678867542}"/>
                  </a:ext>
                </a:extLst>
              </p:cNvPr>
              <p:cNvSpPr/>
              <p:nvPr/>
            </p:nvSpPr>
            <p:spPr>
              <a:xfrm>
                <a:off x="5989629" y="2389199"/>
                <a:ext cx="11940" cy="11896"/>
              </a:xfrm>
              <a:custGeom>
                <a:avLst/>
                <a:gdLst>
                  <a:gd name="connsiteX0" fmla="*/ 15555 w 15554"/>
                  <a:gd name="connsiteY0" fmla="*/ 7475 h 15497"/>
                  <a:gd name="connsiteX1" fmla="*/ 6723 w 15554"/>
                  <a:gd name="connsiteY1" fmla="*/ 56 h 15497"/>
                  <a:gd name="connsiteX2" fmla="*/ 10 w 15554"/>
                  <a:gd name="connsiteY2" fmla="*/ 8111 h 15497"/>
                  <a:gd name="connsiteX3" fmla="*/ 7429 w 15554"/>
                  <a:gd name="connsiteY3" fmla="*/ 15495 h 15497"/>
                  <a:gd name="connsiteX4" fmla="*/ 15555 w 15554"/>
                  <a:gd name="connsiteY4" fmla="*/ 7475 h 15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4" h="15497">
                    <a:moveTo>
                      <a:pt x="15555" y="7475"/>
                    </a:moveTo>
                    <a:cubicBezTo>
                      <a:pt x="15060" y="1964"/>
                      <a:pt x="11881" y="-403"/>
                      <a:pt x="6723" y="56"/>
                    </a:cubicBezTo>
                    <a:cubicBezTo>
                      <a:pt x="2023" y="480"/>
                      <a:pt x="-167" y="3518"/>
                      <a:pt x="10" y="8111"/>
                    </a:cubicBezTo>
                    <a:cubicBezTo>
                      <a:pt x="187" y="12810"/>
                      <a:pt x="2766" y="15389"/>
                      <a:pt x="7429" y="15495"/>
                    </a:cubicBezTo>
                    <a:cubicBezTo>
                      <a:pt x="12799" y="15601"/>
                      <a:pt x="15413" y="12704"/>
                      <a:pt x="15555" y="747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0" name="Freeform: Shape 4209">
                <a:extLst>
                  <a:ext uri="{FF2B5EF4-FFF2-40B4-BE49-F238E27FC236}">
                    <a16:creationId xmlns:a16="http://schemas.microsoft.com/office/drawing/2014/main" id="{D227B756-7757-183E-9AE5-82DE34B94D34}"/>
                  </a:ext>
                </a:extLst>
              </p:cNvPr>
              <p:cNvSpPr/>
              <p:nvPr/>
            </p:nvSpPr>
            <p:spPr>
              <a:xfrm>
                <a:off x="5826032" y="2612256"/>
                <a:ext cx="11484" cy="11527"/>
              </a:xfrm>
              <a:custGeom>
                <a:avLst/>
                <a:gdLst>
                  <a:gd name="connsiteX0" fmla="*/ 14961 w 14960"/>
                  <a:gd name="connsiteY0" fmla="*/ 7915 h 15016"/>
                  <a:gd name="connsiteX1" fmla="*/ 7400 w 14960"/>
                  <a:gd name="connsiteY1" fmla="*/ 108 h 15016"/>
                  <a:gd name="connsiteX2" fmla="*/ 16 w 14960"/>
                  <a:gd name="connsiteY2" fmla="*/ 7067 h 15016"/>
                  <a:gd name="connsiteX3" fmla="*/ 6482 w 14960"/>
                  <a:gd name="connsiteY3" fmla="*/ 15017 h 15016"/>
                  <a:gd name="connsiteX4" fmla="*/ 14925 w 14960"/>
                  <a:gd name="connsiteY4" fmla="*/ 7915 h 15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60" h="15016">
                    <a:moveTo>
                      <a:pt x="14961" y="7915"/>
                    </a:moveTo>
                    <a:cubicBezTo>
                      <a:pt x="14183" y="3641"/>
                      <a:pt x="11498" y="743"/>
                      <a:pt x="7400" y="108"/>
                    </a:cubicBezTo>
                    <a:cubicBezTo>
                      <a:pt x="2560" y="-634"/>
                      <a:pt x="264" y="2545"/>
                      <a:pt x="16" y="7067"/>
                    </a:cubicBezTo>
                    <a:cubicBezTo>
                      <a:pt x="-196" y="11519"/>
                      <a:pt x="1642" y="14981"/>
                      <a:pt x="6482" y="15017"/>
                    </a:cubicBezTo>
                    <a:cubicBezTo>
                      <a:pt x="10827" y="15017"/>
                      <a:pt x="13300" y="11837"/>
                      <a:pt x="14925" y="791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1" name="Freeform: Shape 4210">
                <a:extLst>
                  <a:ext uri="{FF2B5EF4-FFF2-40B4-BE49-F238E27FC236}">
                    <a16:creationId xmlns:a16="http://schemas.microsoft.com/office/drawing/2014/main" id="{DDF6192F-9C99-2DD0-EDB7-4A9F908BAF65}"/>
                  </a:ext>
                </a:extLst>
              </p:cNvPr>
              <p:cNvSpPr/>
              <p:nvPr/>
            </p:nvSpPr>
            <p:spPr>
              <a:xfrm>
                <a:off x="5902248" y="2185306"/>
                <a:ext cx="165067" cy="83532"/>
              </a:xfrm>
              <a:custGeom>
                <a:avLst/>
                <a:gdLst>
                  <a:gd name="connsiteX0" fmla="*/ 44523 w 215027"/>
                  <a:gd name="connsiteY0" fmla="*/ 108516 h 108815"/>
                  <a:gd name="connsiteX1" fmla="*/ 5555 w 215027"/>
                  <a:gd name="connsiteY1" fmla="*/ 97917 h 108815"/>
                  <a:gd name="connsiteX2" fmla="*/ 2022 w 215027"/>
                  <a:gd name="connsiteY2" fmla="*/ 84033 h 108815"/>
                  <a:gd name="connsiteX3" fmla="*/ 129385 w 215027"/>
                  <a:gd name="connsiteY3" fmla="*/ 1963 h 108815"/>
                  <a:gd name="connsiteX4" fmla="*/ 205873 w 215027"/>
                  <a:gd name="connsiteY4" fmla="*/ 4224 h 108815"/>
                  <a:gd name="connsiteX5" fmla="*/ 211101 w 215027"/>
                  <a:gd name="connsiteY5" fmla="*/ 18143 h 108815"/>
                  <a:gd name="connsiteX6" fmla="*/ 151748 w 215027"/>
                  <a:gd name="connsiteY6" fmla="*/ 70466 h 108815"/>
                  <a:gd name="connsiteX7" fmla="*/ 65615 w 215027"/>
                  <a:gd name="connsiteY7" fmla="*/ 107385 h 108815"/>
                  <a:gd name="connsiteX8" fmla="*/ 44488 w 215027"/>
                  <a:gd name="connsiteY8" fmla="*/ 108551 h 10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027" h="108815">
                    <a:moveTo>
                      <a:pt x="44523" y="108516"/>
                    </a:moveTo>
                    <a:cubicBezTo>
                      <a:pt x="30109" y="110070"/>
                      <a:pt x="17532" y="105442"/>
                      <a:pt x="5555" y="97917"/>
                    </a:cubicBezTo>
                    <a:cubicBezTo>
                      <a:pt x="-522" y="94102"/>
                      <a:pt x="-1476" y="90745"/>
                      <a:pt x="2022" y="84033"/>
                    </a:cubicBezTo>
                    <a:cubicBezTo>
                      <a:pt x="28943" y="32381"/>
                      <a:pt x="74306" y="10053"/>
                      <a:pt x="129385" y="1963"/>
                    </a:cubicBezTo>
                    <a:cubicBezTo>
                      <a:pt x="155175" y="-1818"/>
                      <a:pt x="180400" y="373"/>
                      <a:pt x="205873" y="4224"/>
                    </a:cubicBezTo>
                    <a:cubicBezTo>
                      <a:pt x="217884" y="6061"/>
                      <a:pt x="216330" y="10866"/>
                      <a:pt x="211101" y="18143"/>
                    </a:cubicBezTo>
                    <a:cubicBezTo>
                      <a:pt x="195309" y="40118"/>
                      <a:pt x="174677" y="56829"/>
                      <a:pt x="151748" y="70466"/>
                    </a:cubicBezTo>
                    <a:cubicBezTo>
                      <a:pt x="124756" y="86470"/>
                      <a:pt x="97376" y="101980"/>
                      <a:pt x="65615" y="107385"/>
                    </a:cubicBezTo>
                    <a:cubicBezTo>
                      <a:pt x="58514" y="108587"/>
                      <a:pt x="51483" y="108057"/>
                      <a:pt x="44488" y="10855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2" name="Freeform: Shape 4211">
                <a:extLst>
                  <a:ext uri="{FF2B5EF4-FFF2-40B4-BE49-F238E27FC236}">
                    <a16:creationId xmlns:a16="http://schemas.microsoft.com/office/drawing/2014/main" id="{A2D922E3-2722-29D3-0895-FE611CEFAD9F}"/>
                  </a:ext>
                </a:extLst>
              </p:cNvPr>
              <p:cNvSpPr/>
              <p:nvPr/>
            </p:nvSpPr>
            <p:spPr>
              <a:xfrm>
                <a:off x="6173272" y="3124668"/>
                <a:ext cx="192798" cy="82611"/>
              </a:xfrm>
              <a:custGeom>
                <a:avLst/>
                <a:gdLst>
                  <a:gd name="connsiteX0" fmla="*/ 50556 w 251152"/>
                  <a:gd name="connsiteY0" fmla="*/ 106954 h 107615"/>
                  <a:gd name="connsiteX1" fmla="*/ 14661 w 251152"/>
                  <a:gd name="connsiteY1" fmla="*/ 100913 h 107615"/>
                  <a:gd name="connsiteX2" fmla="*/ 529 w 251152"/>
                  <a:gd name="connsiteY2" fmla="*/ 81376 h 107615"/>
                  <a:gd name="connsiteX3" fmla="*/ 20313 w 251152"/>
                  <a:gd name="connsiteY3" fmla="*/ 66714 h 107615"/>
                  <a:gd name="connsiteX4" fmla="*/ 108284 w 251152"/>
                  <a:gd name="connsiteY4" fmla="*/ 56504 h 107615"/>
                  <a:gd name="connsiteX5" fmla="*/ 151739 w 251152"/>
                  <a:gd name="connsiteY5" fmla="*/ 29053 h 107615"/>
                  <a:gd name="connsiteX6" fmla="*/ 211021 w 251152"/>
                  <a:gd name="connsiteY6" fmla="*/ 3015 h 107615"/>
                  <a:gd name="connsiteX7" fmla="*/ 228121 w 251152"/>
                  <a:gd name="connsiteY7" fmla="*/ 1249 h 107615"/>
                  <a:gd name="connsiteX8" fmla="*/ 248930 w 251152"/>
                  <a:gd name="connsiteY8" fmla="*/ 8279 h 107615"/>
                  <a:gd name="connsiteX9" fmla="*/ 244054 w 251152"/>
                  <a:gd name="connsiteY9" fmla="*/ 29760 h 107615"/>
                  <a:gd name="connsiteX10" fmla="*/ 224977 w 251152"/>
                  <a:gd name="connsiteY10" fmla="*/ 43927 h 107615"/>
                  <a:gd name="connsiteX11" fmla="*/ 102772 w 251152"/>
                  <a:gd name="connsiteY11" fmla="*/ 98193 h 107615"/>
                  <a:gd name="connsiteX12" fmla="*/ 50556 w 251152"/>
                  <a:gd name="connsiteY12" fmla="*/ 106954 h 107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152" h="107615">
                    <a:moveTo>
                      <a:pt x="50556" y="106954"/>
                    </a:moveTo>
                    <a:cubicBezTo>
                      <a:pt x="38120" y="109145"/>
                      <a:pt x="26214" y="105576"/>
                      <a:pt x="14661" y="100913"/>
                    </a:cubicBezTo>
                    <a:cubicBezTo>
                      <a:pt x="6041" y="97451"/>
                      <a:pt x="-2191" y="92045"/>
                      <a:pt x="529" y="81376"/>
                    </a:cubicBezTo>
                    <a:cubicBezTo>
                      <a:pt x="2861" y="72296"/>
                      <a:pt x="10563" y="67845"/>
                      <a:pt x="20313" y="66714"/>
                    </a:cubicBezTo>
                    <a:cubicBezTo>
                      <a:pt x="49637" y="63287"/>
                      <a:pt x="79419" y="64276"/>
                      <a:pt x="108284" y="56504"/>
                    </a:cubicBezTo>
                    <a:cubicBezTo>
                      <a:pt x="125807" y="51805"/>
                      <a:pt x="141458" y="45552"/>
                      <a:pt x="151739" y="29053"/>
                    </a:cubicBezTo>
                    <a:cubicBezTo>
                      <a:pt x="165341" y="7255"/>
                      <a:pt x="187987" y="4252"/>
                      <a:pt x="211021" y="3015"/>
                    </a:cubicBezTo>
                    <a:cubicBezTo>
                      <a:pt x="216744" y="2697"/>
                      <a:pt x="222398" y="3157"/>
                      <a:pt x="228121" y="1249"/>
                    </a:cubicBezTo>
                    <a:cubicBezTo>
                      <a:pt x="236494" y="-1542"/>
                      <a:pt x="244266" y="154"/>
                      <a:pt x="248930" y="8279"/>
                    </a:cubicBezTo>
                    <a:cubicBezTo>
                      <a:pt x="253664" y="16582"/>
                      <a:pt x="250272" y="24036"/>
                      <a:pt x="244054" y="29760"/>
                    </a:cubicBezTo>
                    <a:cubicBezTo>
                      <a:pt x="238260" y="35130"/>
                      <a:pt x="232042" y="40676"/>
                      <a:pt x="224977" y="43927"/>
                    </a:cubicBezTo>
                    <a:cubicBezTo>
                      <a:pt x="184454" y="62510"/>
                      <a:pt x="143895" y="81058"/>
                      <a:pt x="102772" y="98193"/>
                    </a:cubicBezTo>
                    <a:cubicBezTo>
                      <a:pt x="86591" y="104941"/>
                      <a:pt x="69068" y="109286"/>
                      <a:pt x="50556" y="10695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3" name="Freeform: Shape 4212">
                <a:extLst>
                  <a:ext uri="{FF2B5EF4-FFF2-40B4-BE49-F238E27FC236}">
                    <a16:creationId xmlns:a16="http://schemas.microsoft.com/office/drawing/2014/main" id="{05EDA118-EF00-6921-EC24-E6739319DBDA}"/>
                  </a:ext>
                </a:extLst>
              </p:cNvPr>
              <p:cNvSpPr/>
              <p:nvPr/>
            </p:nvSpPr>
            <p:spPr>
              <a:xfrm>
                <a:off x="6399296" y="2730124"/>
                <a:ext cx="260602" cy="418066"/>
              </a:xfrm>
              <a:custGeom>
                <a:avLst/>
                <a:gdLst>
                  <a:gd name="connsiteX0" fmla="*/ 335876 w 339477"/>
                  <a:gd name="connsiteY0" fmla="*/ 0 h 544601"/>
                  <a:gd name="connsiteX1" fmla="*/ 326443 w 339477"/>
                  <a:gd name="connsiteY1" fmla="*/ 176647 h 544601"/>
                  <a:gd name="connsiteX2" fmla="*/ 303514 w 339477"/>
                  <a:gd name="connsiteY2" fmla="*/ 225755 h 544601"/>
                  <a:gd name="connsiteX3" fmla="*/ 277441 w 339477"/>
                  <a:gd name="connsiteY3" fmla="*/ 285073 h 544601"/>
                  <a:gd name="connsiteX4" fmla="*/ 243878 w 339477"/>
                  <a:gd name="connsiteY4" fmla="*/ 330683 h 544601"/>
                  <a:gd name="connsiteX5" fmla="*/ 228616 w 339477"/>
                  <a:gd name="connsiteY5" fmla="*/ 345450 h 544601"/>
                  <a:gd name="connsiteX6" fmla="*/ 209503 w 339477"/>
                  <a:gd name="connsiteY6" fmla="*/ 376364 h 544601"/>
                  <a:gd name="connsiteX7" fmla="*/ 183889 w 339477"/>
                  <a:gd name="connsiteY7" fmla="*/ 441652 h 544601"/>
                  <a:gd name="connsiteX8" fmla="*/ 163822 w 339477"/>
                  <a:gd name="connsiteY8" fmla="*/ 459953 h 544601"/>
                  <a:gd name="connsiteX9" fmla="*/ 109521 w 339477"/>
                  <a:gd name="connsiteY9" fmla="*/ 506093 h 544601"/>
                  <a:gd name="connsiteX10" fmla="*/ 95742 w 339477"/>
                  <a:gd name="connsiteY10" fmla="*/ 525453 h 544601"/>
                  <a:gd name="connsiteX11" fmla="*/ 44267 w 339477"/>
                  <a:gd name="connsiteY11" fmla="*/ 522839 h 544601"/>
                  <a:gd name="connsiteX12" fmla="*/ 29747 w 339477"/>
                  <a:gd name="connsiteY12" fmla="*/ 522980 h 544601"/>
                  <a:gd name="connsiteX13" fmla="*/ 0 w 339477"/>
                  <a:gd name="connsiteY13" fmla="*/ 544602 h 544601"/>
                  <a:gd name="connsiteX14" fmla="*/ 38368 w 339477"/>
                  <a:gd name="connsiteY14" fmla="*/ 507153 h 544601"/>
                  <a:gd name="connsiteX15" fmla="*/ 51404 w 339477"/>
                  <a:gd name="connsiteY15" fmla="*/ 512417 h 544601"/>
                  <a:gd name="connsiteX16" fmla="*/ 73626 w 339477"/>
                  <a:gd name="connsiteY16" fmla="*/ 520048 h 544601"/>
                  <a:gd name="connsiteX17" fmla="*/ 96131 w 339477"/>
                  <a:gd name="connsiteY17" fmla="*/ 508849 h 544601"/>
                  <a:gd name="connsiteX18" fmla="*/ 177812 w 339477"/>
                  <a:gd name="connsiteY18" fmla="*/ 419713 h 544601"/>
                  <a:gd name="connsiteX19" fmla="*/ 185267 w 339477"/>
                  <a:gd name="connsiteY19" fmla="*/ 391873 h 544601"/>
                  <a:gd name="connsiteX20" fmla="*/ 211764 w 339477"/>
                  <a:gd name="connsiteY20" fmla="*/ 340257 h 544601"/>
                  <a:gd name="connsiteX21" fmla="*/ 276028 w 339477"/>
                  <a:gd name="connsiteY21" fmla="*/ 262992 h 544601"/>
                  <a:gd name="connsiteX22" fmla="*/ 302031 w 339477"/>
                  <a:gd name="connsiteY22" fmla="*/ 196360 h 544601"/>
                  <a:gd name="connsiteX23" fmla="*/ 332060 w 339477"/>
                  <a:gd name="connsiteY23" fmla="*/ 55962 h 544601"/>
                  <a:gd name="connsiteX24" fmla="*/ 331813 w 339477"/>
                  <a:gd name="connsiteY24" fmla="*/ 21904 h 544601"/>
                  <a:gd name="connsiteX25" fmla="*/ 335876 w 339477"/>
                  <a:gd name="connsiteY25" fmla="*/ 71 h 54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9477" h="544601">
                    <a:moveTo>
                      <a:pt x="335876" y="0"/>
                    </a:moveTo>
                    <a:cubicBezTo>
                      <a:pt x="342977" y="60272"/>
                      <a:pt x="339444" y="118671"/>
                      <a:pt x="326443" y="176647"/>
                    </a:cubicBezTo>
                    <a:cubicBezTo>
                      <a:pt x="322380" y="194841"/>
                      <a:pt x="312629" y="210104"/>
                      <a:pt x="303514" y="225755"/>
                    </a:cubicBezTo>
                    <a:cubicBezTo>
                      <a:pt x="292562" y="244550"/>
                      <a:pt x="283129" y="263734"/>
                      <a:pt x="277441" y="285073"/>
                    </a:cubicBezTo>
                    <a:cubicBezTo>
                      <a:pt x="272389" y="304009"/>
                      <a:pt x="255855" y="316021"/>
                      <a:pt x="243878" y="330683"/>
                    </a:cubicBezTo>
                    <a:cubicBezTo>
                      <a:pt x="239427" y="336123"/>
                      <a:pt x="234233" y="341211"/>
                      <a:pt x="228616" y="345450"/>
                    </a:cubicBezTo>
                    <a:cubicBezTo>
                      <a:pt x="218088" y="353364"/>
                      <a:pt x="211693" y="363928"/>
                      <a:pt x="209503" y="376364"/>
                    </a:cubicBezTo>
                    <a:cubicBezTo>
                      <a:pt x="205369" y="399964"/>
                      <a:pt x="194382" y="420631"/>
                      <a:pt x="183889" y="441652"/>
                    </a:cubicBezTo>
                    <a:cubicBezTo>
                      <a:pt x="179402" y="450661"/>
                      <a:pt x="170075" y="453629"/>
                      <a:pt x="163822" y="459953"/>
                    </a:cubicBezTo>
                    <a:cubicBezTo>
                      <a:pt x="147041" y="476981"/>
                      <a:pt x="130118" y="493586"/>
                      <a:pt x="109521" y="506093"/>
                    </a:cubicBezTo>
                    <a:cubicBezTo>
                      <a:pt x="102490" y="510368"/>
                      <a:pt x="100406" y="519023"/>
                      <a:pt x="95742" y="525453"/>
                    </a:cubicBezTo>
                    <a:cubicBezTo>
                      <a:pt x="83094" y="542906"/>
                      <a:pt x="54513" y="541422"/>
                      <a:pt x="44267" y="522839"/>
                    </a:cubicBezTo>
                    <a:cubicBezTo>
                      <a:pt x="39851" y="514819"/>
                      <a:pt x="33845" y="520083"/>
                      <a:pt x="29747" y="522980"/>
                    </a:cubicBezTo>
                    <a:cubicBezTo>
                      <a:pt x="19784" y="530011"/>
                      <a:pt x="10528" y="538031"/>
                      <a:pt x="0" y="544602"/>
                    </a:cubicBezTo>
                    <a:cubicBezTo>
                      <a:pt x="10704" y="529975"/>
                      <a:pt x="22186" y="516056"/>
                      <a:pt x="38368" y="507153"/>
                    </a:cubicBezTo>
                    <a:cubicBezTo>
                      <a:pt x="43490" y="504326"/>
                      <a:pt x="48472" y="506446"/>
                      <a:pt x="51404" y="512417"/>
                    </a:cubicBezTo>
                    <a:cubicBezTo>
                      <a:pt x="56173" y="522097"/>
                      <a:pt x="63734" y="523899"/>
                      <a:pt x="73626" y="520048"/>
                    </a:cubicBezTo>
                    <a:cubicBezTo>
                      <a:pt x="81505" y="516974"/>
                      <a:pt x="89348" y="513865"/>
                      <a:pt x="96131" y="508849"/>
                    </a:cubicBezTo>
                    <a:cubicBezTo>
                      <a:pt x="129128" y="484436"/>
                      <a:pt x="158841" y="456985"/>
                      <a:pt x="177812" y="419713"/>
                    </a:cubicBezTo>
                    <a:cubicBezTo>
                      <a:pt x="182264" y="410916"/>
                      <a:pt x="185514" y="402048"/>
                      <a:pt x="185267" y="391873"/>
                    </a:cubicBezTo>
                    <a:cubicBezTo>
                      <a:pt x="184737" y="370040"/>
                      <a:pt x="197915" y="354565"/>
                      <a:pt x="211764" y="340257"/>
                    </a:cubicBezTo>
                    <a:cubicBezTo>
                      <a:pt x="235117" y="316092"/>
                      <a:pt x="259671" y="293340"/>
                      <a:pt x="276028" y="262992"/>
                    </a:cubicBezTo>
                    <a:cubicBezTo>
                      <a:pt x="287545" y="241653"/>
                      <a:pt x="293198" y="218477"/>
                      <a:pt x="302031" y="196360"/>
                    </a:cubicBezTo>
                    <a:cubicBezTo>
                      <a:pt x="320013" y="151351"/>
                      <a:pt x="330435" y="104681"/>
                      <a:pt x="332060" y="55962"/>
                    </a:cubicBezTo>
                    <a:cubicBezTo>
                      <a:pt x="332449" y="44550"/>
                      <a:pt x="333897" y="33386"/>
                      <a:pt x="331813" y="21904"/>
                    </a:cubicBezTo>
                    <a:cubicBezTo>
                      <a:pt x="330576" y="15121"/>
                      <a:pt x="330824" y="7772"/>
                      <a:pt x="335876" y="71"/>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4" name="Freeform: Shape 4213">
                <a:extLst>
                  <a:ext uri="{FF2B5EF4-FFF2-40B4-BE49-F238E27FC236}">
                    <a16:creationId xmlns:a16="http://schemas.microsoft.com/office/drawing/2014/main" id="{DA32B854-3371-F383-4F99-95123790CA13}"/>
                  </a:ext>
                </a:extLst>
              </p:cNvPr>
              <p:cNvSpPr/>
              <p:nvPr/>
            </p:nvSpPr>
            <p:spPr>
              <a:xfrm>
                <a:off x="5578815" y="2530542"/>
                <a:ext cx="73395" cy="246039"/>
              </a:xfrm>
              <a:custGeom>
                <a:avLst/>
                <a:gdLst>
                  <a:gd name="connsiteX0" fmla="*/ 6814 w 95609"/>
                  <a:gd name="connsiteY0" fmla="*/ 320508 h 320507"/>
                  <a:gd name="connsiteX1" fmla="*/ 2715 w 95609"/>
                  <a:gd name="connsiteY1" fmla="*/ 312417 h 320507"/>
                  <a:gd name="connsiteX2" fmla="*/ 30 w 95609"/>
                  <a:gd name="connsiteY2" fmla="*/ 230171 h 320507"/>
                  <a:gd name="connsiteX3" fmla="*/ 8828 w 95609"/>
                  <a:gd name="connsiteY3" fmla="*/ 191838 h 320507"/>
                  <a:gd name="connsiteX4" fmla="*/ 35642 w 95609"/>
                  <a:gd name="connsiteY4" fmla="*/ 108108 h 320507"/>
                  <a:gd name="connsiteX5" fmla="*/ 56805 w 95609"/>
                  <a:gd name="connsiteY5" fmla="*/ 58753 h 320507"/>
                  <a:gd name="connsiteX6" fmla="*/ 93053 w 95609"/>
                  <a:gd name="connsiteY6" fmla="*/ 0 h 320507"/>
                  <a:gd name="connsiteX7" fmla="*/ 93159 w 95609"/>
                  <a:gd name="connsiteY7" fmla="*/ 45186 h 320507"/>
                  <a:gd name="connsiteX8" fmla="*/ 62881 w 95609"/>
                  <a:gd name="connsiteY8" fmla="*/ 129588 h 320507"/>
                  <a:gd name="connsiteX9" fmla="*/ 40553 w 95609"/>
                  <a:gd name="connsiteY9" fmla="*/ 151846 h 320507"/>
                  <a:gd name="connsiteX10" fmla="*/ 37232 w 95609"/>
                  <a:gd name="connsiteY10" fmla="*/ 168945 h 320507"/>
                  <a:gd name="connsiteX11" fmla="*/ 39423 w 95609"/>
                  <a:gd name="connsiteY11" fmla="*/ 218300 h 320507"/>
                  <a:gd name="connsiteX12" fmla="*/ 17660 w 95609"/>
                  <a:gd name="connsiteY12" fmla="*/ 270976 h 320507"/>
                  <a:gd name="connsiteX13" fmla="*/ 6814 w 95609"/>
                  <a:gd name="connsiteY13" fmla="*/ 320508 h 320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609" h="320507">
                    <a:moveTo>
                      <a:pt x="6814" y="320508"/>
                    </a:moveTo>
                    <a:cubicBezTo>
                      <a:pt x="2362" y="317858"/>
                      <a:pt x="2821" y="314961"/>
                      <a:pt x="2715" y="312417"/>
                    </a:cubicBezTo>
                    <a:cubicBezTo>
                      <a:pt x="1762" y="285002"/>
                      <a:pt x="808" y="257586"/>
                      <a:pt x="30" y="230171"/>
                    </a:cubicBezTo>
                    <a:cubicBezTo>
                      <a:pt x="-323" y="216710"/>
                      <a:pt x="2398" y="203815"/>
                      <a:pt x="8828" y="191838"/>
                    </a:cubicBezTo>
                    <a:cubicBezTo>
                      <a:pt x="22889" y="165589"/>
                      <a:pt x="35501" y="139056"/>
                      <a:pt x="35642" y="108108"/>
                    </a:cubicBezTo>
                    <a:cubicBezTo>
                      <a:pt x="35713" y="89136"/>
                      <a:pt x="47548" y="74298"/>
                      <a:pt x="56805" y="58753"/>
                    </a:cubicBezTo>
                    <a:cubicBezTo>
                      <a:pt x="68463" y="39110"/>
                      <a:pt x="79945" y="19360"/>
                      <a:pt x="93053" y="0"/>
                    </a:cubicBezTo>
                    <a:cubicBezTo>
                      <a:pt x="96444" y="15262"/>
                      <a:pt x="96444" y="30171"/>
                      <a:pt x="93159" y="45186"/>
                    </a:cubicBezTo>
                    <a:cubicBezTo>
                      <a:pt x="86729" y="74651"/>
                      <a:pt x="78462" y="103303"/>
                      <a:pt x="62881" y="129588"/>
                    </a:cubicBezTo>
                    <a:cubicBezTo>
                      <a:pt x="57158" y="139233"/>
                      <a:pt x="48396" y="144886"/>
                      <a:pt x="40553" y="151846"/>
                    </a:cubicBezTo>
                    <a:cubicBezTo>
                      <a:pt x="34936" y="156827"/>
                      <a:pt x="32180" y="161632"/>
                      <a:pt x="37232" y="168945"/>
                    </a:cubicBezTo>
                    <a:cubicBezTo>
                      <a:pt x="48184" y="184808"/>
                      <a:pt x="45146" y="201695"/>
                      <a:pt x="39423" y="218300"/>
                    </a:cubicBezTo>
                    <a:cubicBezTo>
                      <a:pt x="33240" y="236283"/>
                      <a:pt x="23560" y="252746"/>
                      <a:pt x="17660" y="270976"/>
                    </a:cubicBezTo>
                    <a:cubicBezTo>
                      <a:pt x="12502" y="286945"/>
                      <a:pt x="12643" y="303974"/>
                      <a:pt x="6814" y="320508"/>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5" name="Freeform: Shape 4214">
                <a:extLst>
                  <a:ext uri="{FF2B5EF4-FFF2-40B4-BE49-F238E27FC236}">
                    <a16:creationId xmlns:a16="http://schemas.microsoft.com/office/drawing/2014/main" id="{FA5EDA16-15BF-13CD-6694-8A42D4368C55}"/>
                  </a:ext>
                </a:extLst>
              </p:cNvPr>
              <p:cNvSpPr/>
              <p:nvPr/>
            </p:nvSpPr>
            <p:spPr>
              <a:xfrm>
                <a:off x="6441127" y="2331808"/>
                <a:ext cx="108532" cy="85389"/>
              </a:xfrm>
              <a:custGeom>
                <a:avLst/>
                <a:gdLst>
                  <a:gd name="connsiteX0" fmla="*/ 96188 w 141381"/>
                  <a:gd name="connsiteY0" fmla="*/ 35320 h 111234"/>
                  <a:gd name="connsiteX1" fmla="*/ 83717 w 141381"/>
                  <a:gd name="connsiteY1" fmla="*/ 42562 h 111234"/>
                  <a:gd name="connsiteX2" fmla="*/ 93433 w 141381"/>
                  <a:gd name="connsiteY2" fmla="*/ 49522 h 111234"/>
                  <a:gd name="connsiteX3" fmla="*/ 136004 w 141381"/>
                  <a:gd name="connsiteY3" fmla="*/ 78704 h 111234"/>
                  <a:gd name="connsiteX4" fmla="*/ 139997 w 141381"/>
                  <a:gd name="connsiteY4" fmla="*/ 94779 h 111234"/>
                  <a:gd name="connsiteX5" fmla="*/ 127949 w 141381"/>
                  <a:gd name="connsiteY5" fmla="*/ 89197 h 111234"/>
                  <a:gd name="connsiteX6" fmla="*/ 125688 w 141381"/>
                  <a:gd name="connsiteY6" fmla="*/ 97323 h 111234"/>
                  <a:gd name="connsiteX7" fmla="*/ 102230 w 141381"/>
                  <a:gd name="connsiteY7" fmla="*/ 108098 h 111234"/>
                  <a:gd name="connsiteX8" fmla="*/ 63756 w 141381"/>
                  <a:gd name="connsiteY8" fmla="*/ 77927 h 111234"/>
                  <a:gd name="connsiteX9" fmla="*/ 12210 w 141381"/>
                  <a:gd name="connsiteY9" fmla="*/ 36556 h 111234"/>
                  <a:gd name="connsiteX10" fmla="*/ 410 w 141381"/>
                  <a:gd name="connsiteY10" fmla="*/ 16207 h 111234"/>
                  <a:gd name="connsiteX11" fmla="*/ 18711 w 141381"/>
                  <a:gd name="connsiteY11" fmla="*/ 1262 h 111234"/>
                  <a:gd name="connsiteX12" fmla="*/ 80184 w 141381"/>
                  <a:gd name="connsiteY12" fmla="*/ 22319 h 111234"/>
                  <a:gd name="connsiteX13" fmla="*/ 96188 w 141381"/>
                  <a:gd name="connsiteY13" fmla="*/ 35249 h 11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381" h="111234">
                    <a:moveTo>
                      <a:pt x="96188" y="35320"/>
                    </a:moveTo>
                    <a:cubicBezTo>
                      <a:pt x="91737" y="41962"/>
                      <a:pt x="84247" y="36698"/>
                      <a:pt x="83717" y="42562"/>
                    </a:cubicBezTo>
                    <a:cubicBezTo>
                      <a:pt x="83152" y="48533"/>
                      <a:pt x="89794" y="47756"/>
                      <a:pt x="93433" y="49522"/>
                    </a:cubicBezTo>
                    <a:cubicBezTo>
                      <a:pt x="109048" y="57189"/>
                      <a:pt x="122261" y="68353"/>
                      <a:pt x="136004" y="78704"/>
                    </a:cubicBezTo>
                    <a:cubicBezTo>
                      <a:pt x="141587" y="82908"/>
                      <a:pt x="142646" y="88490"/>
                      <a:pt x="139997" y="94779"/>
                    </a:cubicBezTo>
                    <a:cubicBezTo>
                      <a:pt x="134379" y="95662"/>
                      <a:pt x="132931" y="89091"/>
                      <a:pt x="127949" y="89197"/>
                    </a:cubicBezTo>
                    <a:cubicBezTo>
                      <a:pt x="124452" y="90999"/>
                      <a:pt x="126183" y="94532"/>
                      <a:pt x="125688" y="97323"/>
                    </a:cubicBezTo>
                    <a:cubicBezTo>
                      <a:pt x="123568" y="109582"/>
                      <a:pt x="112369" y="115235"/>
                      <a:pt x="102230" y="108098"/>
                    </a:cubicBezTo>
                    <a:cubicBezTo>
                      <a:pt x="88910" y="98701"/>
                      <a:pt x="75733" y="88914"/>
                      <a:pt x="63756" y="77927"/>
                    </a:cubicBezTo>
                    <a:cubicBezTo>
                      <a:pt x="47434" y="62947"/>
                      <a:pt x="30193" y="49381"/>
                      <a:pt x="12210" y="36556"/>
                    </a:cubicBezTo>
                    <a:cubicBezTo>
                      <a:pt x="5427" y="31716"/>
                      <a:pt x="-1816" y="26523"/>
                      <a:pt x="410" y="16207"/>
                    </a:cubicBezTo>
                    <a:cubicBezTo>
                      <a:pt x="2530" y="6385"/>
                      <a:pt x="10197" y="3099"/>
                      <a:pt x="18711" y="1262"/>
                    </a:cubicBezTo>
                    <a:cubicBezTo>
                      <a:pt x="43371" y="-4037"/>
                      <a:pt x="62130" y="8187"/>
                      <a:pt x="80184" y="22319"/>
                    </a:cubicBezTo>
                    <a:cubicBezTo>
                      <a:pt x="85695" y="26664"/>
                      <a:pt x="91101" y="31151"/>
                      <a:pt x="96188" y="3524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6" name="Freeform: Shape 4215">
                <a:extLst>
                  <a:ext uri="{FF2B5EF4-FFF2-40B4-BE49-F238E27FC236}">
                    <a16:creationId xmlns:a16="http://schemas.microsoft.com/office/drawing/2014/main" id="{CB04C53A-24C2-84B0-A7C4-CD975198D476}"/>
                  </a:ext>
                </a:extLst>
              </p:cNvPr>
              <p:cNvSpPr/>
              <p:nvPr/>
            </p:nvSpPr>
            <p:spPr>
              <a:xfrm>
                <a:off x="6462575" y="2820300"/>
                <a:ext cx="54755" cy="92298"/>
              </a:xfrm>
              <a:custGeom>
                <a:avLst/>
                <a:gdLst>
                  <a:gd name="connsiteX0" fmla="*/ 71145 w 71328"/>
                  <a:gd name="connsiteY0" fmla="*/ 29218 h 120233"/>
                  <a:gd name="connsiteX1" fmla="*/ 49877 w 71328"/>
                  <a:gd name="connsiteY1" fmla="*/ 106272 h 120233"/>
                  <a:gd name="connsiteX2" fmla="*/ 17763 w 71328"/>
                  <a:gd name="connsiteY2" fmla="*/ 106978 h 120233"/>
                  <a:gd name="connsiteX3" fmla="*/ 274 w 71328"/>
                  <a:gd name="connsiteY3" fmla="*/ 72991 h 120233"/>
                  <a:gd name="connsiteX4" fmla="*/ 20836 w 71328"/>
                  <a:gd name="connsiteY4" fmla="*/ 43280 h 120233"/>
                  <a:gd name="connsiteX5" fmla="*/ 37335 w 71328"/>
                  <a:gd name="connsiteY5" fmla="*/ 16111 h 120233"/>
                  <a:gd name="connsiteX6" fmla="*/ 59239 w 71328"/>
                  <a:gd name="connsiteY6" fmla="*/ 460 h 120233"/>
                  <a:gd name="connsiteX7" fmla="*/ 71145 w 71328"/>
                  <a:gd name="connsiteY7" fmla="*/ 25191 h 120233"/>
                  <a:gd name="connsiteX8" fmla="*/ 71145 w 71328"/>
                  <a:gd name="connsiteY8" fmla="*/ 29183 h 12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28" h="120233">
                    <a:moveTo>
                      <a:pt x="71145" y="29218"/>
                    </a:moveTo>
                    <a:cubicBezTo>
                      <a:pt x="70509" y="56705"/>
                      <a:pt x="63408" y="82424"/>
                      <a:pt x="49877" y="106272"/>
                    </a:cubicBezTo>
                    <a:cubicBezTo>
                      <a:pt x="39455" y="124643"/>
                      <a:pt x="28397" y="124890"/>
                      <a:pt x="17763" y="106978"/>
                    </a:cubicBezTo>
                    <a:cubicBezTo>
                      <a:pt x="11226" y="95956"/>
                      <a:pt x="2606" y="85004"/>
                      <a:pt x="274" y="72991"/>
                    </a:cubicBezTo>
                    <a:cubicBezTo>
                      <a:pt x="-2411" y="59142"/>
                      <a:pt x="15360" y="54585"/>
                      <a:pt x="20836" y="43280"/>
                    </a:cubicBezTo>
                    <a:cubicBezTo>
                      <a:pt x="25429" y="33776"/>
                      <a:pt x="31718" y="25085"/>
                      <a:pt x="37335" y="16111"/>
                    </a:cubicBezTo>
                    <a:cubicBezTo>
                      <a:pt x="42493" y="7880"/>
                      <a:pt x="47333" y="-2295"/>
                      <a:pt x="59239" y="460"/>
                    </a:cubicBezTo>
                    <a:cubicBezTo>
                      <a:pt x="72205" y="3463"/>
                      <a:pt x="71605" y="14769"/>
                      <a:pt x="71145" y="25191"/>
                    </a:cubicBezTo>
                    <a:cubicBezTo>
                      <a:pt x="71075" y="26533"/>
                      <a:pt x="71145" y="27841"/>
                      <a:pt x="71145" y="2918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7" name="Freeform: Shape 4216">
                <a:extLst>
                  <a:ext uri="{FF2B5EF4-FFF2-40B4-BE49-F238E27FC236}">
                    <a16:creationId xmlns:a16="http://schemas.microsoft.com/office/drawing/2014/main" id="{EED28A03-6E5F-3089-136E-9266632AAFA2}"/>
                  </a:ext>
                </a:extLst>
              </p:cNvPr>
              <p:cNvSpPr/>
              <p:nvPr/>
            </p:nvSpPr>
            <p:spPr>
              <a:xfrm>
                <a:off x="6548379" y="2971525"/>
                <a:ext cx="68025" cy="104171"/>
              </a:xfrm>
              <a:custGeom>
                <a:avLst/>
                <a:gdLst>
                  <a:gd name="connsiteX0" fmla="*/ 0 w 88614"/>
                  <a:gd name="connsiteY0" fmla="*/ 135700 h 135700"/>
                  <a:gd name="connsiteX1" fmla="*/ 12577 w 88614"/>
                  <a:gd name="connsiteY1" fmla="*/ 122522 h 135700"/>
                  <a:gd name="connsiteX2" fmla="*/ 64405 w 88614"/>
                  <a:gd name="connsiteY2" fmla="*/ 59530 h 135700"/>
                  <a:gd name="connsiteX3" fmla="*/ 81434 w 88614"/>
                  <a:gd name="connsiteY3" fmla="*/ 0 h 135700"/>
                  <a:gd name="connsiteX4" fmla="*/ 83730 w 88614"/>
                  <a:gd name="connsiteY4" fmla="*/ 93163 h 135700"/>
                  <a:gd name="connsiteX5" fmla="*/ 52535 w 88614"/>
                  <a:gd name="connsiteY5" fmla="*/ 124713 h 135700"/>
                  <a:gd name="connsiteX6" fmla="*/ 0 w 88614"/>
                  <a:gd name="connsiteY6" fmla="*/ 135665 h 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14" h="135700">
                    <a:moveTo>
                      <a:pt x="0" y="135700"/>
                    </a:moveTo>
                    <a:cubicBezTo>
                      <a:pt x="1802" y="126974"/>
                      <a:pt x="7631" y="125243"/>
                      <a:pt x="12577" y="122522"/>
                    </a:cubicBezTo>
                    <a:cubicBezTo>
                      <a:pt x="38226" y="108461"/>
                      <a:pt x="58541" y="90832"/>
                      <a:pt x="64405" y="59530"/>
                    </a:cubicBezTo>
                    <a:cubicBezTo>
                      <a:pt x="68150" y="39428"/>
                      <a:pt x="78431" y="20809"/>
                      <a:pt x="81434" y="0"/>
                    </a:cubicBezTo>
                    <a:cubicBezTo>
                      <a:pt x="85885" y="31161"/>
                      <a:pt x="93799" y="61862"/>
                      <a:pt x="83730" y="93163"/>
                    </a:cubicBezTo>
                    <a:cubicBezTo>
                      <a:pt x="78572" y="109168"/>
                      <a:pt x="68786" y="120014"/>
                      <a:pt x="52535" y="124713"/>
                    </a:cubicBezTo>
                    <a:cubicBezTo>
                      <a:pt x="35647" y="129623"/>
                      <a:pt x="18901" y="135382"/>
                      <a:pt x="0" y="13566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8" name="Freeform: Shape 4217">
                <a:extLst>
                  <a:ext uri="{FF2B5EF4-FFF2-40B4-BE49-F238E27FC236}">
                    <a16:creationId xmlns:a16="http://schemas.microsoft.com/office/drawing/2014/main" id="{05CB1AF0-3566-523A-44FC-C7AE3FF249B2}"/>
                  </a:ext>
                </a:extLst>
              </p:cNvPr>
              <p:cNvSpPr/>
              <p:nvPr/>
            </p:nvSpPr>
            <p:spPr>
              <a:xfrm>
                <a:off x="6457443" y="2289210"/>
                <a:ext cx="91858" cy="92899"/>
              </a:xfrm>
              <a:custGeom>
                <a:avLst/>
                <a:gdLst>
                  <a:gd name="connsiteX0" fmla="*/ 119661 w 119660"/>
                  <a:gd name="connsiteY0" fmla="*/ 120982 h 121016"/>
                  <a:gd name="connsiteX1" fmla="*/ 104399 w 119660"/>
                  <a:gd name="connsiteY1" fmla="*/ 111301 h 121016"/>
                  <a:gd name="connsiteX2" fmla="*/ 86946 w 119660"/>
                  <a:gd name="connsiteY2" fmla="*/ 86677 h 121016"/>
                  <a:gd name="connsiteX3" fmla="*/ 37096 w 119660"/>
                  <a:gd name="connsiteY3" fmla="*/ 31528 h 121016"/>
                  <a:gd name="connsiteX4" fmla="*/ 5512 w 119660"/>
                  <a:gd name="connsiteY4" fmla="*/ 18491 h 121016"/>
                  <a:gd name="connsiteX5" fmla="*/ 1061 w 119660"/>
                  <a:gd name="connsiteY5" fmla="*/ 3406 h 121016"/>
                  <a:gd name="connsiteX6" fmla="*/ 12154 w 119660"/>
                  <a:gd name="connsiteY6" fmla="*/ 2840 h 121016"/>
                  <a:gd name="connsiteX7" fmla="*/ 86310 w 119660"/>
                  <a:gd name="connsiteY7" fmla="*/ 42127 h 121016"/>
                  <a:gd name="connsiteX8" fmla="*/ 119626 w 119660"/>
                  <a:gd name="connsiteY8" fmla="*/ 121017 h 12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60" h="121016">
                    <a:moveTo>
                      <a:pt x="119661" y="120982"/>
                    </a:moveTo>
                    <a:cubicBezTo>
                      <a:pt x="113301" y="116919"/>
                      <a:pt x="109062" y="113668"/>
                      <a:pt x="104399" y="111301"/>
                    </a:cubicBezTo>
                    <a:cubicBezTo>
                      <a:pt x="94153" y="106073"/>
                      <a:pt x="88995" y="99855"/>
                      <a:pt x="86946" y="86677"/>
                    </a:cubicBezTo>
                    <a:cubicBezTo>
                      <a:pt x="82636" y="58943"/>
                      <a:pt x="66949" y="38134"/>
                      <a:pt x="37096" y="31528"/>
                    </a:cubicBezTo>
                    <a:cubicBezTo>
                      <a:pt x="25932" y="29055"/>
                      <a:pt x="15157" y="25310"/>
                      <a:pt x="5512" y="18491"/>
                    </a:cubicBezTo>
                    <a:cubicBezTo>
                      <a:pt x="-565" y="14181"/>
                      <a:pt x="-883" y="8740"/>
                      <a:pt x="1061" y="3406"/>
                    </a:cubicBezTo>
                    <a:cubicBezTo>
                      <a:pt x="3533" y="-3342"/>
                      <a:pt x="8727" y="1851"/>
                      <a:pt x="12154" y="2840"/>
                    </a:cubicBezTo>
                    <a:cubicBezTo>
                      <a:pt x="39605" y="10719"/>
                      <a:pt x="65254" y="21883"/>
                      <a:pt x="86310" y="42127"/>
                    </a:cubicBezTo>
                    <a:cubicBezTo>
                      <a:pt x="108320" y="63289"/>
                      <a:pt x="117718" y="89362"/>
                      <a:pt x="119626" y="121017"/>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9" name="Freeform: Shape 4218">
                <a:extLst>
                  <a:ext uri="{FF2B5EF4-FFF2-40B4-BE49-F238E27FC236}">
                    <a16:creationId xmlns:a16="http://schemas.microsoft.com/office/drawing/2014/main" id="{EBEA8BF4-0F6C-6619-B846-ECFACBA77C84}"/>
                  </a:ext>
                </a:extLst>
              </p:cNvPr>
              <p:cNvSpPr/>
              <p:nvPr/>
            </p:nvSpPr>
            <p:spPr>
              <a:xfrm>
                <a:off x="6594749" y="2644397"/>
                <a:ext cx="44489" cy="53562"/>
              </a:xfrm>
              <a:custGeom>
                <a:avLst/>
                <a:gdLst>
                  <a:gd name="connsiteX0" fmla="*/ 21948 w 57954"/>
                  <a:gd name="connsiteY0" fmla="*/ 69738 h 69773"/>
                  <a:gd name="connsiteX1" fmla="*/ 4990 w 57954"/>
                  <a:gd name="connsiteY1" fmla="*/ 53027 h 69773"/>
                  <a:gd name="connsiteX2" fmla="*/ 6297 w 57954"/>
                  <a:gd name="connsiteY2" fmla="*/ 16815 h 69773"/>
                  <a:gd name="connsiteX3" fmla="*/ 35090 w 57954"/>
                  <a:gd name="connsiteY3" fmla="*/ 245 h 69773"/>
                  <a:gd name="connsiteX4" fmla="*/ 41485 w 57954"/>
                  <a:gd name="connsiteY4" fmla="*/ 1164 h 69773"/>
                  <a:gd name="connsiteX5" fmla="*/ 57842 w 57954"/>
                  <a:gd name="connsiteY5" fmla="*/ 38754 h 69773"/>
                  <a:gd name="connsiteX6" fmla="*/ 21948 w 57954"/>
                  <a:gd name="connsiteY6" fmla="*/ 69773 h 6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954" h="69773">
                    <a:moveTo>
                      <a:pt x="21948" y="69738"/>
                    </a:moveTo>
                    <a:cubicBezTo>
                      <a:pt x="15589" y="69561"/>
                      <a:pt x="10042" y="61082"/>
                      <a:pt x="4990" y="53027"/>
                    </a:cubicBezTo>
                    <a:cubicBezTo>
                      <a:pt x="-2606" y="40980"/>
                      <a:pt x="-1016" y="28615"/>
                      <a:pt x="6297" y="16815"/>
                    </a:cubicBezTo>
                    <a:cubicBezTo>
                      <a:pt x="12904" y="6180"/>
                      <a:pt x="24492" y="3990"/>
                      <a:pt x="35090" y="245"/>
                    </a:cubicBezTo>
                    <a:cubicBezTo>
                      <a:pt x="36927" y="-391"/>
                      <a:pt x="39542" y="316"/>
                      <a:pt x="41485" y="1164"/>
                    </a:cubicBezTo>
                    <a:cubicBezTo>
                      <a:pt x="46926" y="3460"/>
                      <a:pt x="59256" y="32254"/>
                      <a:pt x="57842" y="38754"/>
                    </a:cubicBezTo>
                    <a:cubicBezTo>
                      <a:pt x="54415" y="54193"/>
                      <a:pt x="39082" y="69632"/>
                      <a:pt x="21948" y="6977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0" name="Freeform: Shape 4219">
                <a:extLst>
                  <a:ext uri="{FF2B5EF4-FFF2-40B4-BE49-F238E27FC236}">
                    <a16:creationId xmlns:a16="http://schemas.microsoft.com/office/drawing/2014/main" id="{2D6A5357-93FA-60FB-F5F8-10E8760472D5}"/>
                  </a:ext>
                </a:extLst>
              </p:cNvPr>
              <p:cNvSpPr/>
              <p:nvPr/>
            </p:nvSpPr>
            <p:spPr>
              <a:xfrm>
                <a:off x="5609598" y="2452754"/>
                <a:ext cx="46686" cy="67923"/>
              </a:xfrm>
              <a:custGeom>
                <a:avLst/>
                <a:gdLst>
                  <a:gd name="connsiteX0" fmla="*/ 100 w 60816"/>
                  <a:gd name="connsiteY0" fmla="*/ 66496 h 88481"/>
                  <a:gd name="connsiteX1" fmla="*/ 52917 w 60816"/>
                  <a:gd name="connsiteY1" fmla="*/ 1207 h 88481"/>
                  <a:gd name="connsiteX2" fmla="*/ 59100 w 60816"/>
                  <a:gd name="connsiteY2" fmla="*/ 854 h 88481"/>
                  <a:gd name="connsiteX3" fmla="*/ 59771 w 60816"/>
                  <a:gd name="connsiteY3" fmla="*/ 9510 h 88481"/>
                  <a:gd name="connsiteX4" fmla="*/ 33910 w 60816"/>
                  <a:gd name="connsiteY4" fmla="*/ 60101 h 88481"/>
                  <a:gd name="connsiteX5" fmla="*/ 13949 w 60816"/>
                  <a:gd name="connsiteY5" fmla="*/ 84514 h 88481"/>
                  <a:gd name="connsiteX6" fmla="*/ 135 w 60816"/>
                  <a:gd name="connsiteY6" fmla="*/ 78755 h 88481"/>
                  <a:gd name="connsiteX7" fmla="*/ 100 w 60816"/>
                  <a:gd name="connsiteY7" fmla="*/ 66496 h 8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16" h="88481">
                    <a:moveTo>
                      <a:pt x="100" y="66496"/>
                    </a:moveTo>
                    <a:cubicBezTo>
                      <a:pt x="2326" y="29683"/>
                      <a:pt x="17623" y="17918"/>
                      <a:pt x="52917" y="1207"/>
                    </a:cubicBezTo>
                    <a:cubicBezTo>
                      <a:pt x="54931" y="253"/>
                      <a:pt x="57334" y="-771"/>
                      <a:pt x="59100" y="854"/>
                    </a:cubicBezTo>
                    <a:cubicBezTo>
                      <a:pt x="61785" y="3292"/>
                      <a:pt x="60761" y="6542"/>
                      <a:pt x="59771" y="9510"/>
                    </a:cubicBezTo>
                    <a:cubicBezTo>
                      <a:pt x="53659" y="27669"/>
                      <a:pt x="43555" y="43744"/>
                      <a:pt x="33910" y="60101"/>
                    </a:cubicBezTo>
                    <a:cubicBezTo>
                      <a:pt x="28470" y="69322"/>
                      <a:pt x="22428" y="77731"/>
                      <a:pt x="13949" y="84514"/>
                    </a:cubicBezTo>
                    <a:cubicBezTo>
                      <a:pt x="5223" y="91474"/>
                      <a:pt x="1160" y="89107"/>
                      <a:pt x="135" y="78755"/>
                    </a:cubicBezTo>
                    <a:cubicBezTo>
                      <a:pt x="-147" y="75682"/>
                      <a:pt x="100" y="72573"/>
                      <a:pt x="100" y="6649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1" name="Freeform: Shape 4220">
                <a:extLst>
                  <a:ext uri="{FF2B5EF4-FFF2-40B4-BE49-F238E27FC236}">
                    <a16:creationId xmlns:a16="http://schemas.microsoft.com/office/drawing/2014/main" id="{5ABFBAA4-1977-835B-ED68-D69341FD0A90}"/>
                  </a:ext>
                </a:extLst>
              </p:cNvPr>
              <p:cNvSpPr/>
              <p:nvPr/>
            </p:nvSpPr>
            <p:spPr>
              <a:xfrm>
                <a:off x="6587820" y="2441341"/>
                <a:ext cx="61995" cy="165111"/>
              </a:xfrm>
              <a:custGeom>
                <a:avLst/>
                <a:gdLst>
                  <a:gd name="connsiteX0" fmla="*/ 309 w 80759"/>
                  <a:gd name="connsiteY0" fmla="*/ 0 h 215085"/>
                  <a:gd name="connsiteX1" fmla="*/ 75490 w 80759"/>
                  <a:gd name="connsiteY1" fmla="*/ 119978 h 215085"/>
                  <a:gd name="connsiteX2" fmla="*/ 64821 w 80759"/>
                  <a:gd name="connsiteY2" fmla="*/ 215085 h 215085"/>
                  <a:gd name="connsiteX3" fmla="*/ 65033 w 80759"/>
                  <a:gd name="connsiteY3" fmla="*/ 189754 h 215085"/>
                  <a:gd name="connsiteX4" fmla="*/ 45672 w 80759"/>
                  <a:gd name="connsiteY4" fmla="*/ 81540 h 215085"/>
                  <a:gd name="connsiteX5" fmla="*/ 3948 w 80759"/>
                  <a:gd name="connsiteY5" fmla="*/ 12295 h 215085"/>
                  <a:gd name="connsiteX6" fmla="*/ 309 w 80759"/>
                  <a:gd name="connsiteY6" fmla="*/ 0 h 215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59" h="215085">
                    <a:moveTo>
                      <a:pt x="309" y="0"/>
                    </a:moveTo>
                    <a:cubicBezTo>
                      <a:pt x="31505" y="38014"/>
                      <a:pt x="62631" y="73096"/>
                      <a:pt x="75490" y="119978"/>
                    </a:cubicBezTo>
                    <a:cubicBezTo>
                      <a:pt x="84499" y="152764"/>
                      <a:pt x="82591" y="184349"/>
                      <a:pt x="64821" y="215085"/>
                    </a:cubicBezTo>
                    <a:cubicBezTo>
                      <a:pt x="64821" y="206641"/>
                      <a:pt x="63584" y="197950"/>
                      <a:pt x="65033" y="189754"/>
                    </a:cubicBezTo>
                    <a:cubicBezTo>
                      <a:pt x="71851" y="151210"/>
                      <a:pt x="66481" y="115668"/>
                      <a:pt x="45672" y="81540"/>
                    </a:cubicBezTo>
                    <a:cubicBezTo>
                      <a:pt x="31647" y="58576"/>
                      <a:pt x="20871" y="33598"/>
                      <a:pt x="3948" y="12295"/>
                    </a:cubicBezTo>
                    <a:cubicBezTo>
                      <a:pt x="1970" y="9822"/>
                      <a:pt x="-962" y="7101"/>
                      <a:pt x="309" y="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2" name="Freeform: Shape 4221">
                <a:extLst>
                  <a:ext uri="{FF2B5EF4-FFF2-40B4-BE49-F238E27FC236}">
                    <a16:creationId xmlns:a16="http://schemas.microsoft.com/office/drawing/2014/main" id="{0ECCD600-5A2E-9832-B498-C4C9D858BDA3}"/>
                  </a:ext>
                </a:extLst>
              </p:cNvPr>
              <p:cNvSpPr/>
              <p:nvPr/>
            </p:nvSpPr>
            <p:spPr>
              <a:xfrm>
                <a:off x="5943477" y="3174796"/>
                <a:ext cx="183038" cy="42307"/>
              </a:xfrm>
              <a:custGeom>
                <a:avLst/>
                <a:gdLst>
                  <a:gd name="connsiteX0" fmla="*/ 238297 w 238438"/>
                  <a:gd name="connsiteY0" fmla="*/ 36354 h 55112"/>
                  <a:gd name="connsiteX1" fmla="*/ 195195 w 238438"/>
                  <a:gd name="connsiteY1" fmla="*/ 53771 h 55112"/>
                  <a:gd name="connsiteX2" fmla="*/ 40311 w 238438"/>
                  <a:gd name="connsiteY2" fmla="*/ 38580 h 55112"/>
                  <a:gd name="connsiteX3" fmla="*/ 1025 w 238438"/>
                  <a:gd name="connsiteY3" fmla="*/ 5052 h 55112"/>
                  <a:gd name="connsiteX4" fmla="*/ 884 w 238438"/>
                  <a:gd name="connsiteY4" fmla="*/ 0 h 55112"/>
                  <a:gd name="connsiteX5" fmla="*/ 11906 w 238438"/>
                  <a:gd name="connsiteY5" fmla="*/ 8408 h 55112"/>
                  <a:gd name="connsiteX6" fmla="*/ 96944 w 238438"/>
                  <a:gd name="connsiteY6" fmla="*/ 46670 h 55112"/>
                  <a:gd name="connsiteX7" fmla="*/ 194842 w 238438"/>
                  <a:gd name="connsiteY7" fmla="*/ 47129 h 55112"/>
                  <a:gd name="connsiteX8" fmla="*/ 238438 w 238438"/>
                  <a:gd name="connsiteY8" fmla="*/ 36460 h 55112"/>
                  <a:gd name="connsiteX9" fmla="*/ 238332 w 238438"/>
                  <a:gd name="connsiteY9" fmla="*/ 36354 h 5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438" h="55112">
                    <a:moveTo>
                      <a:pt x="238297" y="36354"/>
                    </a:moveTo>
                    <a:cubicBezTo>
                      <a:pt x="226815" y="49249"/>
                      <a:pt x="211129" y="53100"/>
                      <a:pt x="195195" y="53771"/>
                    </a:cubicBezTo>
                    <a:cubicBezTo>
                      <a:pt x="142908" y="55997"/>
                      <a:pt x="90514" y="57834"/>
                      <a:pt x="40311" y="38580"/>
                    </a:cubicBezTo>
                    <a:cubicBezTo>
                      <a:pt x="23353" y="32079"/>
                      <a:pt x="8444" y="22858"/>
                      <a:pt x="1025" y="5052"/>
                    </a:cubicBezTo>
                    <a:cubicBezTo>
                      <a:pt x="389" y="3498"/>
                      <a:pt x="-847" y="1908"/>
                      <a:pt x="884" y="0"/>
                    </a:cubicBezTo>
                    <a:cubicBezTo>
                      <a:pt x="6360" y="283"/>
                      <a:pt x="8974" y="4981"/>
                      <a:pt x="11906" y="8408"/>
                    </a:cubicBezTo>
                    <a:cubicBezTo>
                      <a:pt x="34235" y="34693"/>
                      <a:pt x="65042" y="42289"/>
                      <a:pt x="96944" y="46670"/>
                    </a:cubicBezTo>
                    <a:cubicBezTo>
                      <a:pt x="129483" y="51122"/>
                      <a:pt x="162127" y="50768"/>
                      <a:pt x="194842" y="47129"/>
                    </a:cubicBezTo>
                    <a:cubicBezTo>
                      <a:pt x="209998" y="45433"/>
                      <a:pt x="223352" y="37661"/>
                      <a:pt x="238438" y="36460"/>
                    </a:cubicBezTo>
                    <a:lnTo>
                      <a:pt x="238332" y="36354"/>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3" name="Freeform: Shape 4222">
                <a:extLst>
                  <a:ext uri="{FF2B5EF4-FFF2-40B4-BE49-F238E27FC236}">
                    <a16:creationId xmlns:a16="http://schemas.microsoft.com/office/drawing/2014/main" id="{C94A4DEC-E151-D48A-94A6-FAABFF7F0021}"/>
                  </a:ext>
                </a:extLst>
              </p:cNvPr>
              <p:cNvSpPr/>
              <p:nvPr/>
            </p:nvSpPr>
            <p:spPr>
              <a:xfrm>
                <a:off x="5771152" y="2275091"/>
                <a:ext cx="68100" cy="48817"/>
              </a:xfrm>
              <a:custGeom>
                <a:avLst/>
                <a:gdLst>
                  <a:gd name="connsiteX0" fmla="*/ 88712 w 88711"/>
                  <a:gd name="connsiteY0" fmla="*/ 0 h 63592"/>
                  <a:gd name="connsiteX1" fmla="*/ 74227 w 88711"/>
                  <a:gd name="connsiteY1" fmla="*/ 17594 h 63592"/>
                  <a:gd name="connsiteX2" fmla="*/ 33810 w 88711"/>
                  <a:gd name="connsiteY2" fmla="*/ 49002 h 63592"/>
                  <a:gd name="connsiteX3" fmla="*/ 0 w 88711"/>
                  <a:gd name="connsiteY3" fmla="*/ 63593 h 63592"/>
                  <a:gd name="connsiteX4" fmla="*/ 88712 w 88711"/>
                  <a:gd name="connsiteY4" fmla="*/ 0 h 63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711" h="63592">
                    <a:moveTo>
                      <a:pt x="88712" y="0"/>
                    </a:moveTo>
                    <a:cubicBezTo>
                      <a:pt x="86557" y="9115"/>
                      <a:pt x="80904" y="14591"/>
                      <a:pt x="74227" y="17594"/>
                    </a:cubicBezTo>
                    <a:cubicBezTo>
                      <a:pt x="58152" y="24907"/>
                      <a:pt x="45540" y="36319"/>
                      <a:pt x="33810" y="49002"/>
                    </a:cubicBezTo>
                    <a:cubicBezTo>
                      <a:pt x="24907" y="58647"/>
                      <a:pt x="13142" y="61049"/>
                      <a:pt x="0" y="63593"/>
                    </a:cubicBezTo>
                    <a:cubicBezTo>
                      <a:pt x="14132" y="36531"/>
                      <a:pt x="54018" y="8055"/>
                      <a:pt x="88712" y="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4" name="Freeform: Shape 4223">
                <a:extLst>
                  <a:ext uri="{FF2B5EF4-FFF2-40B4-BE49-F238E27FC236}">
                    <a16:creationId xmlns:a16="http://schemas.microsoft.com/office/drawing/2014/main" id="{3CE1D268-ACED-38AE-4651-9F9B5DCBF60C}"/>
                  </a:ext>
                </a:extLst>
              </p:cNvPr>
              <p:cNvSpPr/>
              <p:nvPr/>
            </p:nvSpPr>
            <p:spPr>
              <a:xfrm>
                <a:off x="6638091" y="2612623"/>
                <a:ext cx="31856" cy="70175"/>
              </a:xfrm>
              <a:custGeom>
                <a:avLst/>
                <a:gdLst>
                  <a:gd name="connsiteX0" fmla="*/ 23393 w 41498"/>
                  <a:gd name="connsiteY0" fmla="*/ 91379 h 91414"/>
                  <a:gd name="connsiteX1" fmla="*/ 24170 w 41498"/>
                  <a:gd name="connsiteY1" fmla="*/ 76081 h 91414"/>
                  <a:gd name="connsiteX2" fmla="*/ 22439 w 41498"/>
                  <a:gd name="connsiteY2" fmla="*/ 24571 h 91414"/>
                  <a:gd name="connsiteX3" fmla="*/ 8166 w 41498"/>
                  <a:gd name="connsiteY3" fmla="*/ 15880 h 91414"/>
                  <a:gd name="connsiteX4" fmla="*/ 217 w 41498"/>
                  <a:gd name="connsiteY4" fmla="*/ 4292 h 91414"/>
                  <a:gd name="connsiteX5" fmla="*/ 23605 w 41498"/>
                  <a:gd name="connsiteY5" fmla="*/ 3267 h 91414"/>
                  <a:gd name="connsiteX6" fmla="*/ 34733 w 41498"/>
                  <a:gd name="connsiteY6" fmla="*/ 4963 h 91414"/>
                  <a:gd name="connsiteX7" fmla="*/ 23357 w 41498"/>
                  <a:gd name="connsiteY7" fmla="*/ 91414 h 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98" h="91414">
                    <a:moveTo>
                      <a:pt x="23393" y="91379"/>
                    </a:moveTo>
                    <a:cubicBezTo>
                      <a:pt x="19577" y="85337"/>
                      <a:pt x="21096" y="81027"/>
                      <a:pt x="24170" y="76081"/>
                    </a:cubicBezTo>
                    <a:cubicBezTo>
                      <a:pt x="35016" y="58664"/>
                      <a:pt x="30600" y="41494"/>
                      <a:pt x="22439" y="24571"/>
                    </a:cubicBezTo>
                    <a:cubicBezTo>
                      <a:pt x="19577" y="18671"/>
                      <a:pt x="13571" y="17540"/>
                      <a:pt x="8166" y="15880"/>
                    </a:cubicBezTo>
                    <a:cubicBezTo>
                      <a:pt x="3220" y="14361"/>
                      <a:pt x="-1020" y="12912"/>
                      <a:pt x="217" y="4292"/>
                    </a:cubicBezTo>
                    <a:cubicBezTo>
                      <a:pt x="9685" y="16940"/>
                      <a:pt x="16998" y="10474"/>
                      <a:pt x="23605" y="3267"/>
                    </a:cubicBezTo>
                    <a:cubicBezTo>
                      <a:pt x="28692" y="-2279"/>
                      <a:pt x="32154" y="-124"/>
                      <a:pt x="34733" y="4963"/>
                    </a:cubicBezTo>
                    <a:cubicBezTo>
                      <a:pt x="47629" y="30153"/>
                      <a:pt x="41128" y="79720"/>
                      <a:pt x="23357" y="9141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5" name="Freeform: Shape 4224">
                <a:extLst>
                  <a:ext uri="{FF2B5EF4-FFF2-40B4-BE49-F238E27FC236}">
                    <a16:creationId xmlns:a16="http://schemas.microsoft.com/office/drawing/2014/main" id="{FD68BA7F-6D3C-CD28-8138-4690CDE45EC1}"/>
                  </a:ext>
                </a:extLst>
              </p:cNvPr>
              <p:cNvSpPr/>
              <p:nvPr/>
            </p:nvSpPr>
            <p:spPr>
              <a:xfrm>
                <a:off x="6146395" y="3195450"/>
                <a:ext cx="68154" cy="26918"/>
              </a:xfrm>
              <a:custGeom>
                <a:avLst/>
                <a:gdLst>
                  <a:gd name="connsiteX0" fmla="*/ 35 w 88782"/>
                  <a:gd name="connsiteY0" fmla="*/ 3230 h 35065"/>
                  <a:gd name="connsiteX1" fmla="*/ 21127 w 88782"/>
                  <a:gd name="connsiteY1" fmla="*/ 6657 h 35065"/>
                  <a:gd name="connsiteX2" fmla="*/ 88782 w 88782"/>
                  <a:gd name="connsiteY2" fmla="*/ 34037 h 35065"/>
                  <a:gd name="connsiteX3" fmla="*/ 0 w 88782"/>
                  <a:gd name="connsiteY3" fmla="*/ 3266 h 35065"/>
                </a:gdLst>
                <a:ahLst/>
                <a:cxnLst>
                  <a:cxn ang="0">
                    <a:pos x="connsiteX0" y="connsiteY0"/>
                  </a:cxn>
                  <a:cxn ang="0">
                    <a:pos x="connsiteX1" y="connsiteY1"/>
                  </a:cxn>
                  <a:cxn ang="0">
                    <a:pos x="connsiteX2" y="connsiteY2"/>
                  </a:cxn>
                  <a:cxn ang="0">
                    <a:pos x="connsiteX3" y="connsiteY3"/>
                  </a:cxn>
                </a:cxnLst>
                <a:rect l="l" t="t" r="r" b="b"/>
                <a:pathLst>
                  <a:path w="88782" h="35065">
                    <a:moveTo>
                      <a:pt x="35" y="3230"/>
                    </a:moveTo>
                    <a:cubicBezTo>
                      <a:pt x="8656" y="-2599"/>
                      <a:pt x="14450" y="15"/>
                      <a:pt x="21127" y="6657"/>
                    </a:cubicBezTo>
                    <a:cubicBezTo>
                      <a:pt x="38615" y="24004"/>
                      <a:pt x="60060" y="33366"/>
                      <a:pt x="88782" y="34037"/>
                    </a:cubicBezTo>
                    <a:cubicBezTo>
                      <a:pt x="51616" y="38948"/>
                      <a:pt x="15827" y="25876"/>
                      <a:pt x="0" y="326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6" name="Freeform: Shape 4225">
                <a:extLst>
                  <a:ext uri="{FF2B5EF4-FFF2-40B4-BE49-F238E27FC236}">
                    <a16:creationId xmlns:a16="http://schemas.microsoft.com/office/drawing/2014/main" id="{A7CEDE23-46F1-81DA-8C86-AACD33DD08A4}"/>
                  </a:ext>
                </a:extLst>
              </p:cNvPr>
              <p:cNvSpPr/>
              <p:nvPr/>
            </p:nvSpPr>
            <p:spPr>
              <a:xfrm>
                <a:off x="5891297" y="3145394"/>
                <a:ext cx="35311" cy="24075"/>
              </a:xfrm>
              <a:custGeom>
                <a:avLst/>
                <a:gdLst>
                  <a:gd name="connsiteX0" fmla="*/ 35 w 45998"/>
                  <a:gd name="connsiteY0" fmla="*/ 145 h 31362"/>
                  <a:gd name="connsiteX1" fmla="*/ 13496 w 45998"/>
                  <a:gd name="connsiteY1" fmla="*/ 8412 h 31362"/>
                  <a:gd name="connsiteX2" fmla="*/ 45999 w 45998"/>
                  <a:gd name="connsiteY2" fmla="*/ 29927 h 31362"/>
                  <a:gd name="connsiteX3" fmla="*/ 0 w 45998"/>
                  <a:gd name="connsiteY3" fmla="*/ 145 h 31362"/>
                  <a:gd name="connsiteX4" fmla="*/ 0 w 45998"/>
                  <a:gd name="connsiteY4" fmla="*/ 145 h 31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98" h="31362">
                    <a:moveTo>
                      <a:pt x="35" y="145"/>
                    </a:moveTo>
                    <a:cubicBezTo>
                      <a:pt x="6748" y="-739"/>
                      <a:pt x="11588" y="2476"/>
                      <a:pt x="13496" y="8412"/>
                    </a:cubicBezTo>
                    <a:cubicBezTo>
                      <a:pt x="18407" y="23921"/>
                      <a:pt x="30383" y="28549"/>
                      <a:pt x="45999" y="29927"/>
                    </a:cubicBezTo>
                    <a:cubicBezTo>
                      <a:pt x="19678" y="35580"/>
                      <a:pt x="2932" y="24310"/>
                      <a:pt x="0" y="145"/>
                    </a:cubicBezTo>
                    <a:lnTo>
                      <a:pt x="0" y="145"/>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7" name="Freeform: Shape 4226">
                <a:extLst>
                  <a:ext uri="{FF2B5EF4-FFF2-40B4-BE49-F238E27FC236}">
                    <a16:creationId xmlns:a16="http://schemas.microsoft.com/office/drawing/2014/main" id="{11B684B8-1C7D-EB96-ED0B-416E482B1B8F}"/>
                  </a:ext>
                </a:extLst>
              </p:cNvPr>
              <p:cNvSpPr/>
              <p:nvPr/>
            </p:nvSpPr>
            <p:spPr>
              <a:xfrm>
                <a:off x="5797676" y="3102004"/>
                <a:ext cx="48682" cy="19011"/>
              </a:xfrm>
              <a:custGeom>
                <a:avLst/>
                <a:gdLst>
                  <a:gd name="connsiteX0" fmla="*/ 63416 w 63416"/>
                  <a:gd name="connsiteY0" fmla="*/ 24660 h 24765"/>
                  <a:gd name="connsiteX1" fmla="*/ 0 w 63416"/>
                  <a:gd name="connsiteY1" fmla="*/ 0 h 24765"/>
                  <a:gd name="connsiteX2" fmla="*/ 55679 w 63416"/>
                  <a:gd name="connsiteY2" fmla="*/ 9362 h 24765"/>
                  <a:gd name="connsiteX3" fmla="*/ 63310 w 63416"/>
                  <a:gd name="connsiteY3" fmla="*/ 24766 h 24765"/>
                  <a:gd name="connsiteX4" fmla="*/ 63381 w 63416"/>
                  <a:gd name="connsiteY4" fmla="*/ 24660 h 24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16" h="24765">
                    <a:moveTo>
                      <a:pt x="63416" y="24660"/>
                    </a:moveTo>
                    <a:cubicBezTo>
                      <a:pt x="44126" y="11659"/>
                      <a:pt x="20915" y="9327"/>
                      <a:pt x="0" y="0"/>
                    </a:cubicBezTo>
                    <a:cubicBezTo>
                      <a:pt x="18583" y="3003"/>
                      <a:pt x="37308" y="5370"/>
                      <a:pt x="55679" y="9362"/>
                    </a:cubicBezTo>
                    <a:cubicBezTo>
                      <a:pt x="62180" y="10775"/>
                      <a:pt x="63593" y="18159"/>
                      <a:pt x="63310" y="24766"/>
                    </a:cubicBezTo>
                    <a:lnTo>
                      <a:pt x="63381" y="24660"/>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8" name="Freeform: Shape 4227">
                <a:extLst>
                  <a:ext uri="{FF2B5EF4-FFF2-40B4-BE49-F238E27FC236}">
                    <a16:creationId xmlns:a16="http://schemas.microsoft.com/office/drawing/2014/main" id="{4B09B040-CE26-A304-A09D-FE2498F2B34F}"/>
                  </a:ext>
                </a:extLst>
              </p:cNvPr>
              <p:cNvSpPr/>
              <p:nvPr/>
            </p:nvSpPr>
            <p:spPr>
              <a:xfrm>
                <a:off x="6561071" y="2418967"/>
                <a:ext cx="14129" cy="23812"/>
              </a:xfrm>
              <a:custGeom>
                <a:avLst/>
                <a:gdLst>
                  <a:gd name="connsiteX0" fmla="*/ 18407 w 18406"/>
                  <a:gd name="connsiteY0" fmla="*/ 31019 h 31019"/>
                  <a:gd name="connsiteX1" fmla="*/ 0 w 18406"/>
                  <a:gd name="connsiteY1" fmla="*/ 0 h 31019"/>
                  <a:gd name="connsiteX2" fmla="*/ 18407 w 18406"/>
                  <a:gd name="connsiteY2" fmla="*/ 31019 h 31019"/>
                </a:gdLst>
                <a:ahLst/>
                <a:cxnLst>
                  <a:cxn ang="0">
                    <a:pos x="connsiteX0" y="connsiteY0"/>
                  </a:cxn>
                  <a:cxn ang="0">
                    <a:pos x="connsiteX1" y="connsiteY1"/>
                  </a:cxn>
                  <a:cxn ang="0">
                    <a:pos x="connsiteX2" y="connsiteY2"/>
                  </a:cxn>
                </a:cxnLst>
                <a:rect l="l" t="t" r="r" b="b"/>
                <a:pathLst>
                  <a:path w="18406" h="31019">
                    <a:moveTo>
                      <a:pt x="18407" y="31019"/>
                    </a:moveTo>
                    <a:cubicBezTo>
                      <a:pt x="10104" y="22010"/>
                      <a:pt x="3992" y="11659"/>
                      <a:pt x="0" y="0"/>
                    </a:cubicBezTo>
                    <a:cubicBezTo>
                      <a:pt x="13284" y="5935"/>
                      <a:pt x="14662" y="19219"/>
                      <a:pt x="18407" y="31019"/>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29" name="Freeform: Shape 4228">
                <a:extLst>
                  <a:ext uri="{FF2B5EF4-FFF2-40B4-BE49-F238E27FC236}">
                    <a16:creationId xmlns:a16="http://schemas.microsoft.com/office/drawing/2014/main" id="{713D8050-A7F3-CC19-05E4-8AB61E1952AE}"/>
                  </a:ext>
                </a:extLst>
              </p:cNvPr>
              <p:cNvSpPr/>
              <p:nvPr/>
            </p:nvSpPr>
            <p:spPr>
              <a:xfrm>
                <a:off x="6126434" y="3201266"/>
                <a:ext cx="3689" cy="1518"/>
              </a:xfrm>
              <a:custGeom>
                <a:avLst/>
                <a:gdLst>
                  <a:gd name="connsiteX0" fmla="*/ 71 w 4805"/>
                  <a:gd name="connsiteY0" fmla="*/ 1978 h 1978"/>
                  <a:gd name="connsiteX1" fmla="*/ 4134 w 4805"/>
                  <a:gd name="connsiteY1" fmla="*/ 0 h 1978"/>
                  <a:gd name="connsiteX2" fmla="*/ 4805 w 4805"/>
                  <a:gd name="connsiteY2" fmla="*/ 1201 h 1978"/>
                  <a:gd name="connsiteX3" fmla="*/ 0 w 4805"/>
                  <a:gd name="connsiteY3" fmla="*/ 1837 h 1978"/>
                  <a:gd name="connsiteX4" fmla="*/ 106 w 4805"/>
                  <a:gd name="connsiteY4" fmla="*/ 1943 h 1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5" h="1978">
                    <a:moveTo>
                      <a:pt x="71" y="1978"/>
                    </a:moveTo>
                    <a:cubicBezTo>
                      <a:pt x="1413" y="1307"/>
                      <a:pt x="2756" y="636"/>
                      <a:pt x="4134" y="0"/>
                    </a:cubicBezTo>
                    <a:cubicBezTo>
                      <a:pt x="4134" y="0"/>
                      <a:pt x="4558" y="777"/>
                      <a:pt x="4805" y="1201"/>
                    </a:cubicBezTo>
                    <a:cubicBezTo>
                      <a:pt x="3215" y="1413"/>
                      <a:pt x="1590" y="1625"/>
                      <a:pt x="0" y="1837"/>
                    </a:cubicBezTo>
                    <a:cubicBezTo>
                      <a:pt x="0" y="1837"/>
                      <a:pt x="106" y="1943"/>
                      <a:pt x="106" y="194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0" name="Freeform: Shape 4229">
                <a:extLst>
                  <a:ext uri="{FF2B5EF4-FFF2-40B4-BE49-F238E27FC236}">
                    <a16:creationId xmlns:a16="http://schemas.microsoft.com/office/drawing/2014/main" id="{CFE08681-8CE6-93D1-9F93-6534A9B49E65}"/>
                  </a:ext>
                </a:extLst>
              </p:cNvPr>
              <p:cNvSpPr/>
              <p:nvPr/>
            </p:nvSpPr>
            <p:spPr>
              <a:xfrm>
                <a:off x="6557844" y="2413515"/>
                <a:ext cx="759" cy="1057"/>
              </a:xfrm>
              <a:custGeom>
                <a:avLst/>
                <a:gdLst>
                  <a:gd name="connsiteX0" fmla="*/ 0 w 989"/>
                  <a:gd name="connsiteY0" fmla="*/ 141 h 1377"/>
                  <a:gd name="connsiteX1" fmla="*/ 989 w 989"/>
                  <a:gd name="connsiteY1" fmla="*/ 1378 h 1377"/>
                  <a:gd name="connsiteX2" fmla="*/ 353 w 989"/>
                  <a:gd name="connsiteY2" fmla="*/ 1025 h 1377"/>
                  <a:gd name="connsiteX3" fmla="*/ 141 w 989"/>
                  <a:gd name="connsiteY3" fmla="*/ 0 h 1377"/>
                  <a:gd name="connsiteX4" fmla="*/ 35 w 989"/>
                  <a:gd name="connsiteY4" fmla="*/ 106 h 1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 h="1377">
                    <a:moveTo>
                      <a:pt x="0" y="141"/>
                    </a:moveTo>
                    <a:lnTo>
                      <a:pt x="989" y="1378"/>
                    </a:lnTo>
                    <a:cubicBezTo>
                      <a:pt x="777" y="1272"/>
                      <a:pt x="424" y="1201"/>
                      <a:pt x="353" y="1025"/>
                    </a:cubicBezTo>
                    <a:cubicBezTo>
                      <a:pt x="212" y="742"/>
                      <a:pt x="176" y="353"/>
                      <a:pt x="141" y="0"/>
                    </a:cubicBezTo>
                    <a:lnTo>
                      <a:pt x="35" y="106"/>
                    </a:ln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1" name="Freeform: Shape 4230">
                <a:extLst>
                  <a:ext uri="{FF2B5EF4-FFF2-40B4-BE49-F238E27FC236}">
                    <a16:creationId xmlns:a16="http://schemas.microsoft.com/office/drawing/2014/main" id="{578D2A8A-7F66-30C2-1C9E-E73580076D62}"/>
                  </a:ext>
                </a:extLst>
              </p:cNvPr>
              <p:cNvSpPr/>
              <p:nvPr/>
            </p:nvSpPr>
            <p:spPr>
              <a:xfrm>
                <a:off x="6556868" y="2412810"/>
                <a:ext cx="1057" cy="813"/>
              </a:xfrm>
              <a:custGeom>
                <a:avLst/>
                <a:gdLst>
                  <a:gd name="connsiteX0" fmla="*/ 1378 w 1377"/>
                  <a:gd name="connsiteY0" fmla="*/ 919 h 1059"/>
                  <a:gd name="connsiteX1" fmla="*/ 0 w 1377"/>
                  <a:gd name="connsiteY1" fmla="*/ 0 h 1059"/>
                  <a:gd name="connsiteX2" fmla="*/ 706 w 1377"/>
                  <a:gd name="connsiteY2" fmla="*/ 141 h 1059"/>
                  <a:gd name="connsiteX3" fmla="*/ 1272 w 1377"/>
                  <a:gd name="connsiteY3" fmla="*/ 1060 h 1059"/>
                  <a:gd name="connsiteX4" fmla="*/ 1378 w 1377"/>
                  <a:gd name="connsiteY4" fmla="*/ 954 h 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 h="1059">
                    <a:moveTo>
                      <a:pt x="1378" y="919"/>
                    </a:moveTo>
                    <a:cubicBezTo>
                      <a:pt x="919" y="601"/>
                      <a:pt x="459" y="283"/>
                      <a:pt x="0" y="0"/>
                    </a:cubicBezTo>
                    <a:cubicBezTo>
                      <a:pt x="247" y="35"/>
                      <a:pt x="565" y="0"/>
                      <a:pt x="706" y="141"/>
                    </a:cubicBezTo>
                    <a:cubicBezTo>
                      <a:pt x="954" y="389"/>
                      <a:pt x="1095" y="742"/>
                      <a:pt x="1272" y="1060"/>
                    </a:cubicBezTo>
                    <a:cubicBezTo>
                      <a:pt x="1272" y="1060"/>
                      <a:pt x="1378" y="954"/>
                      <a:pt x="1378" y="954"/>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2" name="Freeform: Shape 4231">
                <a:extLst>
                  <a:ext uri="{FF2B5EF4-FFF2-40B4-BE49-F238E27FC236}">
                    <a16:creationId xmlns:a16="http://schemas.microsoft.com/office/drawing/2014/main" id="{C5C4D0CF-2341-2F04-7D3F-BDF179AE26AF}"/>
                  </a:ext>
                </a:extLst>
              </p:cNvPr>
              <p:cNvSpPr/>
              <p:nvPr/>
            </p:nvSpPr>
            <p:spPr>
              <a:xfrm>
                <a:off x="5846276" y="3120934"/>
                <a:ext cx="976" cy="867"/>
              </a:xfrm>
              <a:custGeom>
                <a:avLst/>
                <a:gdLst>
                  <a:gd name="connsiteX0" fmla="*/ 0 w 1271"/>
                  <a:gd name="connsiteY0" fmla="*/ 106 h 1130"/>
                  <a:gd name="connsiteX1" fmla="*/ 1272 w 1271"/>
                  <a:gd name="connsiteY1" fmla="*/ 1131 h 1130"/>
                  <a:gd name="connsiteX2" fmla="*/ 565 w 1271"/>
                  <a:gd name="connsiteY2" fmla="*/ 954 h 1130"/>
                  <a:gd name="connsiteX3" fmla="*/ 106 w 1271"/>
                  <a:gd name="connsiteY3" fmla="*/ 0 h 1130"/>
                  <a:gd name="connsiteX4" fmla="*/ 35 w 1271"/>
                  <a:gd name="connsiteY4" fmla="*/ 106 h 1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 h="1130">
                    <a:moveTo>
                      <a:pt x="0" y="106"/>
                    </a:moveTo>
                    <a:lnTo>
                      <a:pt x="1272" y="1131"/>
                    </a:lnTo>
                    <a:cubicBezTo>
                      <a:pt x="1024" y="1095"/>
                      <a:pt x="706" y="1131"/>
                      <a:pt x="565" y="954"/>
                    </a:cubicBezTo>
                    <a:cubicBezTo>
                      <a:pt x="353" y="707"/>
                      <a:pt x="247" y="318"/>
                      <a:pt x="106" y="0"/>
                    </a:cubicBezTo>
                    <a:cubicBezTo>
                      <a:pt x="106" y="0"/>
                      <a:pt x="35" y="106"/>
                      <a:pt x="35" y="10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3" name="Freeform: Shape 4232">
                <a:extLst>
                  <a:ext uri="{FF2B5EF4-FFF2-40B4-BE49-F238E27FC236}">
                    <a16:creationId xmlns:a16="http://schemas.microsoft.com/office/drawing/2014/main" id="{AF8CA2CB-6A1D-710E-7212-BF28F8A11639}"/>
                  </a:ext>
                </a:extLst>
              </p:cNvPr>
              <p:cNvSpPr/>
              <p:nvPr/>
            </p:nvSpPr>
            <p:spPr>
              <a:xfrm>
                <a:off x="5890591" y="3144909"/>
                <a:ext cx="705" cy="596"/>
              </a:xfrm>
              <a:custGeom>
                <a:avLst/>
                <a:gdLst>
                  <a:gd name="connsiteX0" fmla="*/ 919 w 918"/>
                  <a:gd name="connsiteY0" fmla="*/ 777 h 777"/>
                  <a:gd name="connsiteX1" fmla="*/ 0 w 918"/>
                  <a:gd name="connsiteY1" fmla="*/ 0 h 777"/>
                  <a:gd name="connsiteX2" fmla="*/ 919 w 918"/>
                  <a:gd name="connsiteY2" fmla="*/ 742 h 777"/>
                  <a:gd name="connsiteX3" fmla="*/ 919 w 918"/>
                  <a:gd name="connsiteY3" fmla="*/ 742 h 777"/>
                </a:gdLst>
                <a:ahLst/>
                <a:cxnLst>
                  <a:cxn ang="0">
                    <a:pos x="connsiteX0" y="connsiteY0"/>
                  </a:cxn>
                  <a:cxn ang="0">
                    <a:pos x="connsiteX1" y="connsiteY1"/>
                  </a:cxn>
                  <a:cxn ang="0">
                    <a:pos x="connsiteX2" y="connsiteY2"/>
                  </a:cxn>
                  <a:cxn ang="0">
                    <a:pos x="connsiteX3" y="connsiteY3"/>
                  </a:cxn>
                </a:cxnLst>
                <a:rect l="l" t="t" r="r" b="b"/>
                <a:pathLst>
                  <a:path w="918" h="777">
                    <a:moveTo>
                      <a:pt x="919" y="777"/>
                    </a:moveTo>
                    <a:cubicBezTo>
                      <a:pt x="601" y="530"/>
                      <a:pt x="318" y="283"/>
                      <a:pt x="0" y="0"/>
                    </a:cubicBezTo>
                    <a:cubicBezTo>
                      <a:pt x="318" y="247"/>
                      <a:pt x="636" y="495"/>
                      <a:pt x="919" y="742"/>
                    </a:cubicBezTo>
                    <a:cubicBezTo>
                      <a:pt x="919" y="742"/>
                      <a:pt x="919" y="742"/>
                      <a:pt x="919" y="742"/>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4" name="Freeform: Shape 4233">
                <a:extLst>
                  <a:ext uri="{FF2B5EF4-FFF2-40B4-BE49-F238E27FC236}">
                    <a16:creationId xmlns:a16="http://schemas.microsoft.com/office/drawing/2014/main" id="{B4609636-77F1-EB05-85F9-CA275C458BFC}"/>
                  </a:ext>
                </a:extLst>
              </p:cNvPr>
              <p:cNvSpPr/>
              <p:nvPr/>
            </p:nvSpPr>
            <p:spPr>
              <a:xfrm>
                <a:off x="6287108" y="2952599"/>
                <a:ext cx="125639" cy="115217"/>
              </a:xfrm>
              <a:custGeom>
                <a:avLst/>
                <a:gdLst>
                  <a:gd name="connsiteX0" fmla="*/ 163455 w 163666"/>
                  <a:gd name="connsiteY0" fmla="*/ 30520 h 150089"/>
                  <a:gd name="connsiteX1" fmla="*/ 137983 w 163666"/>
                  <a:gd name="connsiteY1" fmla="*/ 79028 h 150089"/>
                  <a:gd name="connsiteX2" fmla="*/ 120353 w 163666"/>
                  <a:gd name="connsiteY2" fmla="*/ 104818 h 150089"/>
                  <a:gd name="connsiteX3" fmla="*/ 64392 w 163666"/>
                  <a:gd name="connsiteY3" fmla="*/ 144740 h 150089"/>
                  <a:gd name="connsiteX4" fmla="*/ 15814 w 163666"/>
                  <a:gd name="connsiteY4" fmla="*/ 149828 h 150089"/>
                  <a:gd name="connsiteX5" fmla="*/ 198 w 163666"/>
                  <a:gd name="connsiteY5" fmla="*/ 143256 h 150089"/>
                  <a:gd name="connsiteX6" fmla="*/ 12387 w 163666"/>
                  <a:gd name="connsiteY6" fmla="*/ 131527 h 150089"/>
                  <a:gd name="connsiteX7" fmla="*/ 46268 w 163666"/>
                  <a:gd name="connsiteY7" fmla="*/ 120010 h 150089"/>
                  <a:gd name="connsiteX8" fmla="*/ 74460 w 163666"/>
                  <a:gd name="connsiteY8" fmla="*/ 94043 h 150089"/>
                  <a:gd name="connsiteX9" fmla="*/ 104561 w 163666"/>
                  <a:gd name="connsiteY9" fmla="*/ 62069 h 150089"/>
                  <a:gd name="connsiteX10" fmla="*/ 139678 w 163666"/>
                  <a:gd name="connsiteY10" fmla="*/ 19886 h 150089"/>
                  <a:gd name="connsiteX11" fmla="*/ 144236 w 163666"/>
                  <a:gd name="connsiteY11" fmla="*/ 11796 h 150089"/>
                  <a:gd name="connsiteX12" fmla="*/ 155365 w 163666"/>
                  <a:gd name="connsiteY12" fmla="*/ 208 h 150089"/>
                  <a:gd name="connsiteX13" fmla="*/ 163526 w 163666"/>
                  <a:gd name="connsiteY13" fmla="*/ 18155 h 150089"/>
                  <a:gd name="connsiteX14" fmla="*/ 163526 w 163666"/>
                  <a:gd name="connsiteY14" fmla="*/ 30520 h 15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666" h="150089">
                    <a:moveTo>
                      <a:pt x="163455" y="30520"/>
                    </a:moveTo>
                    <a:cubicBezTo>
                      <a:pt x="165151" y="50693"/>
                      <a:pt x="156672" y="67263"/>
                      <a:pt x="137983" y="79028"/>
                    </a:cubicBezTo>
                    <a:cubicBezTo>
                      <a:pt x="128620" y="84928"/>
                      <a:pt x="123921" y="94467"/>
                      <a:pt x="120353" y="104818"/>
                    </a:cubicBezTo>
                    <a:cubicBezTo>
                      <a:pt x="111097" y="131845"/>
                      <a:pt x="93432" y="143610"/>
                      <a:pt x="64392" y="144740"/>
                    </a:cubicBezTo>
                    <a:cubicBezTo>
                      <a:pt x="48140" y="145376"/>
                      <a:pt x="32030" y="148202"/>
                      <a:pt x="15814" y="149828"/>
                    </a:cubicBezTo>
                    <a:cubicBezTo>
                      <a:pt x="9490" y="150464"/>
                      <a:pt x="1682" y="150499"/>
                      <a:pt x="198" y="143256"/>
                    </a:cubicBezTo>
                    <a:cubicBezTo>
                      <a:pt x="-1392" y="135590"/>
                      <a:pt x="6946" y="133682"/>
                      <a:pt x="12387" y="131527"/>
                    </a:cubicBezTo>
                    <a:cubicBezTo>
                      <a:pt x="23480" y="127146"/>
                      <a:pt x="34715" y="122942"/>
                      <a:pt x="46268" y="120010"/>
                    </a:cubicBezTo>
                    <a:cubicBezTo>
                      <a:pt x="60682" y="116335"/>
                      <a:pt x="68878" y="106408"/>
                      <a:pt x="74460" y="94043"/>
                    </a:cubicBezTo>
                    <a:cubicBezTo>
                      <a:pt x="80926" y="79770"/>
                      <a:pt x="90217" y="69453"/>
                      <a:pt x="104561" y="62069"/>
                    </a:cubicBezTo>
                    <a:cubicBezTo>
                      <a:pt x="121625" y="53272"/>
                      <a:pt x="130704" y="36279"/>
                      <a:pt x="139678" y="19886"/>
                    </a:cubicBezTo>
                    <a:cubicBezTo>
                      <a:pt x="141162" y="17166"/>
                      <a:pt x="142222" y="14092"/>
                      <a:pt x="144236" y="11796"/>
                    </a:cubicBezTo>
                    <a:cubicBezTo>
                      <a:pt x="147875" y="7627"/>
                      <a:pt x="149606" y="-1488"/>
                      <a:pt x="155365" y="208"/>
                    </a:cubicBezTo>
                    <a:cubicBezTo>
                      <a:pt x="162360" y="2257"/>
                      <a:pt x="163490" y="10842"/>
                      <a:pt x="163526" y="18155"/>
                    </a:cubicBezTo>
                    <a:cubicBezTo>
                      <a:pt x="163526" y="21688"/>
                      <a:pt x="163526" y="25256"/>
                      <a:pt x="163526" y="30520"/>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5" name="Freeform: Shape 4234">
                <a:extLst>
                  <a:ext uri="{FF2B5EF4-FFF2-40B4-BE49-F238E27FC236}">
                    <a16:creationId xmlns:a16="http://schemas.microsoft.com/office/drawing/2014/main" id="{8C0B700E-413B-8243-2534-1012ED36ADE7}"/>
                  </a:ext>
                </a:extLst>
              </p:cNvPr>
              <p:cNvSpPr/>
              <p:nvPr/>
            </p:nvSpPr>
            <p:spPr>
              <a:xfrm>
                <a:off x="6057696" y="2249779"/>
                <a:ext cx="198837" cy="138189"/>
              </a:xfrm>
              <a:custGeom>
                <a:avLst/>
                <a:gdLst>
                  <a:gd name="connsiteX0" fmla="*/ 259018 w 259018"/>
                  <a:gd name="connsiteY0" fmla="*/ 60071 h 180014"/>
                  <a:gd name="connsiteX1" fmla="*/ 198216 w 259018"/>
                  <a:gd name="connsiteY1" fmla="*/ 70635 h 180014"/>
                  <a:gd name="connsiteX2" fmla="*/ 242342 w 259018"/>
                  <a:gd name="connsiteY2" fmla="*/ 80491 h 180014"/>
                  <a:gd name="connsiteX3" fmla="*/ 258488 w 259018"/>
                  <a:gd name="connsiteY3" fmla="*/ 86003 h 180014"/>
                  <a:gd name="connsiteX4" fmla="*/ 242766 w 259018"/>
                  <a:gd name="connsiteY4" fmla="*/ 90631 h 180014"/>
                  <a:gd name="connsiteX5" fmla="*/ 194577 w 259018"/>
                  <a:gd name="connsiteY5" fmla="*/ 83565 h 180014"/>
                  <a:gd name="connsiteX6" fmla="*/ 173768 w 259018"/>
                  <a:gd name="connsiteY6" fmla="*/ 59647 h 180014"/>
                  <a:gd name="connsiteX7" fmla="*/ 129818 w 259018"/>
                  <a:gd name="connsiteY7" fmla="*/ 17888 h 180014"/>
                  <a:gd name="connsiteX8" fmla="*/ 50327 w 259018"/>
                  <a:gd name="connsiteY8" fmla="*/ 48624 h 180014"/>
                  <a:gd name="connsiteX9" fmla="*/ 41778 w 259018"/>
                  <a:gd name="connsiteY9" fmla="*/ 77488 h 180014"/>
                  <a:gd name="connsiteX10" fmla="*/ 41354 w 259018"/>
                  <a:gd name="connsiteY10" fmla="*/ 112076 h 180014"/>
                  <a:gd name="connsiteX11" fmla="*/ 125 w 259018"/>
                  <a:gd name="connsiteY11" fmla="*/ 180014 h 180014"/>
                  <a:gd name="connsiteX12" fmla="*/ 11183 w 259018"/>
                  <a:gd name="connsiteY12" fmla="*/ 158216 h 180014"/>
                  <a:gd name="connsiteX13" fmla="*/ 28423 w 259018"/>
                  <a:gd name="connsiteY13" fmla="*/ 100876 h 180014"/>
                  <a:gd name="connsiteX14" fmla="*/ 79792 w 259018"/>
                  <a:gd name="connsiteY14" fmla="*/ 8490 h 180014"/>
                  <a:gd name="connsiteX15" fmla="*/ 184650 w 259018"/>
                  <a:gd name="connsiteY15" fmla="*/ 22693 h 180014"/>
                  <a:gd name="connsiteX16" fmla="*/ 233440 w 259018"/>
                  <a:gd name="connsiteY16" fmla="*/ 48306 h 180014"/>
                  <a:gd name="connsiteX17" fmla="*/ 259018 w 259018"/>
                  <a:gd name="connsiteY17" fmla="*/ 60142 h 1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018" h="180014">
                    <a:moveTo>
                      <a:pt x="259018" y="60071"/>
                    </a:moveTo>
                    <a:cubicBezTo>
                      <a:pt x="239375" y="70564"/>
                      <a:pt x="218636" y="69257"/>
                      <a:pt x="198216" y="70635"/>
                    </a:cubicBezTo>
                    <a:cubicBezTo>
                      <a:pt x="211853" y="79856"/>
                      <a:pt x="227045" y="80032"/>
                      <a:pt x="242342" y="80491"/>
                    </a:cubicBezTo>
                    <a:cubicBezTo>
                      <a:pt x="248136" y="80668"/>
                      <a:pt x="258559" y="76711"/>
                      <a:pt x="258488" y="86003"/>
                    </a:cubicBezTo>
                    <a:cubicBezTo>
                      <a:pt x="258453" y="93599"/>
                      <a:pt x="248384" y="90702"/>
                      <a:pt x="242766" y="90631"/>
                    </a:cubicBezTo>
                    <a:cubicBezTo>
                      <a:pt x="226444" y="90454"/>
                      <a:pt x="210087" y="89783"/>
                      <a:pt x="194577" y="83565"/>
                    </a:cubicBezTo>
                    <a:cubicBezTo>
                      <a:pt x="183484" y="79114"/>
                      <a:pt x="175711" y="71588"/>
                      <a:pt x="173768" y="59647"/>
                    </a:cubicBezTo>
                    <a:cubicBezTo>
                      <a:pt x="169599" y="34457"/>
                      <a:pt x="152288" y="23258"/>
                      <a:pt x="129818" y="17888"/>
                    </a:cubicBezTo>
                    <a:cubicBezTo>
                      <a:pt x="100778" y="10928"/>
                      <a:pt x="65943" y="24812"/>
                      <a:pt x="50327" y="48624"/>
                    </a:cubicBezTo>
                    <a:cubicBezTo>
                      <a:pt x="44498" y="57457"/>
                      <a:pt x="42096" y="67172"/>
                      <a:pt x="41778" y="77488"/>
                    </a:cubicBezTo>
                    <a:cubicBezTo>
                      <a:pt x="41424" y="89006"/>
                      <a:pt x="42237" y="100594"/>
                      <a:pt x="41354" y="112076"/>
                    </a:cubicBezTo>
                    <a:cubicBezTo>
                      <a:pt x="39163" y="140763"/>
                      <a:pt x="23689" y="161537"/>
                      <a:pt x="125" y="180014"/>
                    </a:cubicBezTo>
                    <a:cubicBezTo>
                      <a:pt x="-1077" y="168285"/>
                      <a:pt x="6696" y="163798"/>
                      <a:pt x="11183" y="158216"/>
                    </a:cubicBezTo>
                    <a:cubicBezTo>
                      <a:pt x="24784" y="141258"/>
                      <a:pt x="31779" y="123664"/>
                      <a:pt x="28423" y="100876"/>
                    </a:cubicBezTo>
                    <a:cubicBezTo>
                      <a:pt x="21817" y="56185"/>
                      <a:pt x="38598" y="23647"/>
                      <a:pt x="79792" y="8490"/>
                    </a:cubicBezTo>
                    <a:cubicBezTo>
                      <a:pt x="115687" y="-4688"/>
                      <a:pt x="152924" y="-4370"/>
                      <a:pt x="184650" y="22693"/>
                    </a:cubicBezTo>
                    <a:cubicBezTo>
                      <a:pt x="199099" y="35023"/>
                      <a:pt x="215210" y="43396"/>
                      <a:pt x="233440" y="48306"/>
                    </a:cubicBezTo>
                    <a:cubicBezTo>
                      <a:pt x="242237" y="50673"/>
                      <a:pt x="251245" y="53076"/>
                      <a:pt x="259018" y="60142"/>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6" name="Freeform: Shape 4235">
                <a:extLst>
                  <a:ext uri="{FF2B5EF4-FFF2-40B4-BE49-F238E27FC236}">
                    <a16:creationId xmlns:a16="http://schemas.microsoft.com/office/drawing/2014/main" id="{C3F9FA20-F325-8D0D-D4AA-DED424922947}"/>
                  </a:ext>
                </a:extLst>
              </p:cNvPr>
              <p:cNvSpPr/>
              <p:nvPr/>
            </p:nvSpPr>
            <p:spPr>
              <a:xfrm>
                <a:off x="6119279" y="3096353"/>
                <a:ext cx="86972" cy="36190"/>
              </a:xfrm>
              <a:custGeom>
                <a:avLst/>
                <a:gdLst>
                  <a:gd name="connsiteX0" fmla="*/ 73302 w 113296"/>
                  <a:gd name="connsiteY0" fmla="*/ 42691 h 47143"/>
                  <a:gd name="connsiteX1" fmla="*/ 23699 w 113296"/>
                  <a:gd name="connsiteY1" fmla="*/ 45199 h 47143"/>
                  <a:gd name="connsiteX2" fmla="*/ 21085 w 113296"/>
                  <a:gd name="connsiteY2" fmla="*/ 44881 h 47143"/>
                  <a:gd name="connsiteX3" fmla="*/ 28 w 113296"/>
                  <a:gd name="connsiteY3" fmla="*/ 27711 h 47143"/>
                  <a:gd name="connsiteX4" fmla="*/ 23487 w 113296"/>
                  <a:gd name="connsiteY4" fmla="*/ 16194 h 47143"/>
                  <a:gd name="connsiteX5" fmla="*/ 81462 w 113296"/>
                  <a:gd name="connsiteY5" fmla="*/ 3934 h 47143"/>
                  <a:gd name="connsiteX6" fmla="*/ 100787 w 113296"/>
                  <a:gd name="connsiteY6" fmla="*/ 225 h 47143"/>
                  <a:gd name="connsiteX7" fmla="*/ 112376 w 113296"/>
                  <a:gd name="connsiteY7" fmla="*/ 3828 h 47143"/>
                  <a:gd name="connsiteX8" fmla="*/ 109231 w 113296"/>
                  <a:gd name="connsiteY8" fmla="*/ 18596 h 47143"/>
                  <a:gd name="connsiteX9" fmla="*/ 92627 w 113296"/>
                  <a:gd name="connsiteY9" fmla="*/ 31703 h 47143"/>
                  <a:gd name="connsiteX10" fmla="*/ 73195 w 113296"/>
                  <a:gd name="connsiteY10" fmla="*/ 42726 h 47143"/>
                  <a:gd name="connsiteX11" fmla="*/ 73266 w 113296"/>
                  <a:gd name="connsiteY11" fmla="*/ 42655 h 4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296" h="47143">
                    <a:moveTo>
                      <a:pt x="73302" y="42691"/>
                    </a:moveTo>
                    <a:cubicBezTo>
                      <a:pt x="56732" y="42761"/>
                      <a:pt x="40551" y="50710"/>
                      <a:pt x="23699" y="45199"/>
                    </a:cubicBezTo>
                    <a:cubicBezTo>
                      <a:pt x="22886" y="44916"/>
                      <a:pt x="21862" y="45199"/>
                      <a:pt x="21085" y="44881"/>
                    </a:cubicBezTo>
                    <a:cubicBezTo>
                      <a:pt x="12111" y="41278"/>
                      <a:pt x="-678" y="38381"/>
                      <a:pt x="28" y="27711"/>
                    </a:cubicBezTo>
                    <a:cubicBezTo>
                      <a:pt x="841" y="15805"/>
                      <a:pt x="13559" y="16264"/>
                      <a:pt x="23487" y="16194"/>
                    </a:cubicBezTo>
                    <a:cubicBezTo>
                      <a:pt x="43625" y="16052"/>
                      <a:pt x="62985" y="11813"/>
                      <a:pt x="81462" y="3934"/>
                    </a:cubicBezTo>
                    <a:cubicBezTo>
                      <a:pt x="87786" y="1249"/>
                      <a:pt x="94040" y="-340"/>
                      <a:pt x="100787" y="225"/>
                    </a:cubicBezTo>
                    <a:cubicBezTo>
                      <a:pt x="104886" y="578"/>
                      <a:pt x="110468" y="-1860"/>
                      <a:pt x="112376" y="3828"/>
                    </a:cubicBezTo>
                    <a:cubicBezTo>
                      <a:pt x="114107" y="8986"/>
                      <a:pt x="113577" y="14251"/>
                      <a:pt x="109231" y="18596"/>
                    </a:cubicBezTo>
                    <a:cubicBezTo>
                      <a:pt x="104179" y="23613"/>
                      <a:pt x="99127" y="28382"/>
                      <a:pt x="92627" y="31703"/>
                    </a:cubicBezTo>
                    <a:cubicBezTo>
                      <a:pt x="86020" y="35095"/>
                      <a:pt x="78424" y="36861"/>
                      <a:pt x="73195" y="42726"/>
                    </a:cubicBezTo>
                    <a:cubicBezTo>
                      <a:pt x="73195" y="42726"/>
                      <a:pt x="73266" y="42655"/>
                      <a:pt x="73266" y="42655"/>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7" name="Freeform: Shape 4236">
                <a:extLst>
                  <a:ext uri="{FF2B5EF4-FFF2-40B4-BE49-F238E27FC236}">
                    <a16:creationId xmlns:a16="http://schemas.microsoft.com/office/drawing/2014/main" id="{7D2CE773-E757-CB9C-BD24-655B074A99CB}"/>
                  </a:ext>
                </a:extLst>
              </p:cNvPr>
              <p:cNvSpPr/>
              <p:nvPr/>
            </p:nvSpPr>
            <p:spPr>
              <a:xfrm>
                <a:off x="5799432" y="2321023"/>
                <a:ext cx="64220" cy="71627"/>
              </a:xfrm>
              <a:custGeom>
                <a:avLst/>
                <a:gdLst>
                  <a:gd name="connsiteX0" fmla="*/ 8 w 83657"/>
                  <a:gd name="connsiteY0" fmla="*/ 65373 h 93306"/>
                  <a:gd name="connsiteX1" fmla="*/ 20040 w 83657"/>
                  <a:gd name="connsiteY1" fmla="*/ 33259 h 93306"/>
                  <a:gd name="connsiteX2" fmla="*/ 58513 w 83657"/>
                  <a:gd name="connsiteY2" fmla="*/ 5313 h 93306"/>
                  <a:gd name="connsiteX3" fmla="*/ 63142 w 83657"/>
                  <a:gd name="connsiteY3" fmla="*/ 2734 h 93306"/>
                  <a:gd name="connsiteX4" fmla="*/ 82820 w 83657"/>
                  <a:gd name="connsiteY4" fmla="*/ 3017 h 93306"/>
                  <a:gd name="connsiteX5" fmla="*/ 73917 w 83657"/>
                  <a:gd name="connsiteY5" fmla="*/ 15630 h 93306"/>
                  <a:gd name="connsiteX6" fmla="*/ 23325 w 83657"/>
                  <a:gd name="connsiteY6" fmla="*/ 84451 h 93306"/>
                  <a:gd name="connsiteX7" fmla="*/ 8134 w 83657"/>
                  <a:gd name="connsiteY7" fmla="*/ 84698 h 93306"/>
                  <a:gd name="connsiteX8" fmla="*/ 8 w 83657"/>
                  <a:gd name="connsiteY8" fmla="*/ 65373 h 93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657" h="93306">
                    <a:moveTo>
                      <a:pt x="8" y="65373"/>
                    </a:moveTo>
                    <a:cubicBezTo>
                      <a:pt x="-345" y="48239"/>
                      <a:pt x="10925" y="40996"/>
                      <a:pt x="20040" y="33259"/>
                    </a:cubicBezTo>
                    <a:cubicBezTo>
                      <a:pt x="32087" y="23013"/>
                      <a:pt x="45583" y="14499"/>
                      <a:pt x="58513" y="5313"/>
                    </a:cubicBezTo>
                    <a:cubicBezTo>
                      <a:pt x="59927" y="4289"/>
                      <a:pt x="61516" y="3370"/>
                      <a:pt x="63142" y="2734"/>
                    </a:cubicBezTo>
                    <a:cubicBezTo>
                      <a:pt x="69854" y="155"/>
                      <a:pt x="78899" y="-1964"/>
                      <a:pt x="82820" y="3017"/>
                    </a:cubicBezTo>
                    <a:cubicBezTo>
                      <a:pt x="86353" y="7468"/>
                      <a:pt x="77803" y="12061"/>
                      <a:pt x="73917" y="15630"/>
                    </a:cubicBezTo>
                    <a:cubicBezTo>
                      <a:pt x="52472" y="35273"/>
                      <a:pt x="37281" y="59403"/>
                      <a:pt x="23325" y="84451"/>
                    </a:cubicBezTo>
                    <a:cubicBezTo>
                      <a:pt x="16825" y="96145"/>
                      <a:pt x="15659" y="96286"/>
                      <a:pt x="8134" y="84698"/>
                    </a:cubicBezTo>
                    <a:cubicBezTo>
                      <a:pt x="1280" y="74100"/>
                      <a:pt x="-63" y="70531"/>
                      <a:pt x="8" y="65373"/>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8" name="Freeform: Shape 4237">
                <a:extLst>
                  <a:ext uri="{FF2B5EF4-FFF2-40B4-BE49-F238E27FC236}">
                    <a16:creationId xmlns:a16="http://schemas.microsoft.com/office/drawing/2014/main" id="{DE6B072C-857F-ACF5-E8B6-C8C6206CBC3E}"/>
                  </a:ext>
                </a:extLst>
              </p:cNvPr>
              <p:cNvSpPr/>
              <p:nvPr/>
            </p:nvSpPr>
            <p:spPr>
              <a:xfrm>
                <a:off x="5884990" y="2350943"/>
                <a:ext cx="55413" cy="89205"/>
              </a:xfrm>
              <a:custGeom>
                <a:avLst/>
                <a:gdLst>
                  <a:gd name="connsiteX0" fmla="*/ 1150 w 72185"/>
                  <a:gd name="connsiteY0" fmla="*/ 116204 h 116204"/>
                  <a:gd name="connsiteX1" fmla="*/ 41320 w 72185"/>
                  <a:gd name="connsiteY1" fmla="*/ 18624 h 116204"/>
                  <a:gd name="connsiteX2" fmla="*/ 63083 w 72185"/>
                  <a:gd name="connsiteY2" fmla="*/ 3503 h 116204"/>
                  <a:gd name="connsiteX3" fmla="*/ 70961 w 72185"/>
                  <a:gd name="connsiteY3" fmla="*/ 1278 h 116204"/>
                  <a:gd name="connsiteX4" fmla="*/ 67746 w 72185"/>
                  <a:gd name="connsiteY4" fmla="*/ 10004 h 116204"/>
                  <a:gd name="connsiteX5" fmla="*/ 30050 w 72185"/>
                  <a:gd name="connsiteY5" fmla="*/ 51057 h 116204"/>
                  <a:gd name="connsiteX6" fmla="*/ 8110 w 72185"/>
                  <a:gd name="connsiteY6" fmla="*/ 104651 h 116204"/>
                  <a:gd name="connsiteX7" fmla="*/ 1150 w 72185"/>
                  <a:gd name="connsiteY7" fmla="*/ 116204 h 11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85" h="116204">
                    <a:moveTo>
                      <a:pt x="1150" y="116204"/>
                    </a:moveTo>
                    <a:cubicBezTo>
                      <a:pt x="-4750" y="74056"/>
                      <a:pt x="12561" y="43850"/>
                      <a:pt x="41320" y="18624"/>
                    </a:cubicBezTo>
                    <a:cubicBezTo>
                      <a:pt x="47926" y="12830"/>
                      <a:pt x="55699" y="8344"/>
                      <a:pt x="63083" y="3503"/>
                    </a:cubicBezTo>
                    <a:cubicBezTo>
                      <a:pt x="65379" y="1984"/>
                      <a:pt x="68029" y="-2043"/>
                      <a:pt x="70961" y="1278"/>
                    </a:cubicBezTo>
                    <a:cubicBezTo>
                      <a:pt x="74282" y="5058"/>
                      <a:pt x="70042" y="7637"/>
                      <a:pt x="67746" y="10004"/>
                    </a:cubicBezTo>
                    <a:cubicBezTo>
                      <a:pt x="54851" y="23394"/>
                      <a:pt x="40401" y="35265"/>
                      <a:pt x="30050" y="51057"/>
                    </a:cubicBezTo>
                    <a:cubicBezTo>
                      <a:pt x="19239" y="67556"/>
                      <a:pt x="10866" y="84938"/>
                      <a:pt x="8110" y="104651"/>
                    </a:cubicBezTo>
                    <a:cubicBezTo>
                      <a:pt x="7545" y="108573"/>
                      <a:pt x="6873" y="112318"/>
                      <a:pt x="1150" y="116204"/>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39" name="Freeform: Shape 4238">
                <a:extLst>
                  <a:ext uri="{FF2B5EF4-FFF2-40B4-BE49-F238E27FC236}">
                    <a16:creationId xmlns:a16="http://schemas.microsoft.com/office/drawing/2014/main" id="{CC5D5199-35BF-5FDF-E59B-2A801DD76D1A}"/>
                  </a:ext>
                </a:extLst>
              </p:cNvPr>
              <p:cNvSpPr/>
              <p:nvPr/>
            </p:nvSpPr>
            <p:spPr>
              <a:xfrm>
                <a:off x="6146275" y="2311771"/>
                <a:ext cx="41805" cy="22325"/>
              </a:xfrm>
              <a:custGeom>
                <a:avLst/>
                <a:gdLst>
                  <a:gd name="connsiteX0" fmla="*/ 15701 w 54458"/>
                  <a:gd name="connsiteY0" fmla="*/ 29060 h 29082"/>
                  <a:gd name="connsiteX1" fmla="*/ 15 w 54458"/>
                  <a:gd name="connsiteY1" fmla="*/ 23796 h 29082"/>
                  <a:gd name="connsiteX2" fmla="*/ 15454 w 54458"/>
                  <a:gd name="connsiteY2" fmla="*/ 17542 h 29082"/>
                  <a:gd name="connsiteX3" fmla="*/ 45236 w 54458"/>
                  <a:gd name="connsiteY3" fmla="*/ 3729 h 29082"/>
                  <a:gd name="connsiteX4" fmla="*/ 52903 w 54458"/>
                  <a:gd name="connsiteY4" fmla="*/ 1079 h 29082"/>
                  <a:gd name="connsiteX5" fmla="*/ 53009 w 54458"/>
                  <a:gd name="connsiteY5" fmla="*/ 9699 h 29082"/>
                  <a:gd name="connsiteX6" fmla="*/ 15736 w 54458"/>
                  <a:gd name="connsiteY6" fmla="*/ 29060 h 2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58" h="29082">
                    <a:moveTo>
                      <a:pt x="15701" y="29060"/>
                    </a:moveTo>
                    <a:cubicBezTo>
                      <a:pt x="10790" y="27646"/>
                      <a:pt x="721" y="32275"/>
                      <a:pt x="15" y="23796"/>
                    </a:cubicBezTo>
                    <a:cubicBezTo>
                      <a:pt x="-444" y="17966"/>
                      <a:pt x="9695" y="18885"/>
                      <a:pt x="15454" y="17542"/>
                    </a:cubicBezTo>
                    <a:cubicBezTo>
                      <a:pt x="26265" y="14963"/>
                      <a:pt x="36475" y="10865"/>
                      <a:pt x="45236" y="3729"/>
                    </a:cubicBezTo>
                    <a:cubicBezTo>
                      <a:pt x="47427" y="1927"/>
                      <a:pt x="49476" y="-1854"/>
                      <a:pt x="52903" y="1079"/>
                    </a:cubicBezTo>
                    <a:cubicBezTo>
                      <a:pt x="55659" y="3446"/>
                      <a:pt x="54139" y="6767"/>
                      <a:pt x="53009" y="9699"/>
                    </a:cubicBezTo>
                    <a:cubicBezTo>
                      <a:pt x="48593" y="21146"/>
                      <a:pt x="33719" y="29095"/>
                      <a:pt x="15736" y="29060"/>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0" name="Freeform: Shape 4239">
                <a:extLst>
                  <a:ext uri="{FF2B5EF4-FFF2-40B4-BE49-F238E27FC236}">
                    <a16:creationId xmlns:a16="http://schemas.microsoft.com/office/drawing/2014/main" id="{CA289233-F8B6-1D0E-AD58-EC40352CA813}"/>
                  </a:ext>
                </a:extLst>
              </p:cNvPr>
              <p:cNvSpPr/>
              <p:nvPr/>
            </p:nvSpPr>
            <p:spPr>
              <a:xfrm>
                <a:off x="5869253" y="2433938"/>
                <a:ext cx="260563" cy="290149"/>
              </a:xfrm>
              <a:custGeom>
                <a:avLst/>
                <a:gdLst>
                  <a:gd name="connsiteX0" fmla="*/ 170528 w 339427"/>
                  <a:gd name="connsiteY0" fmla="*/ 170993 h 377968"/>
                  <a:gd name="connsiteX1" fmla="*/ 191867 w 339427"/>
                  <a:gd name="connsiteY1" fmla="*/ 140433 h 377968"/>
                  <a:gd name="connsiteX2" fmla="*/ 216597 w 339427"/>
                  <a:gd name="connsiteY2" fmla="*/ 91467 h 377968"/>
                  <a:gd name="connsiteX3" fmla="*/ 221790 w 339427"/>
                  <a:gd name="connsiteY3" fmla="*/ 81857 h 377968"/>
                  <a:gd name="connsiteX4" fmla="*/ 175191 w 339427"/>
                  <a:gd name="connsiteY4" fmla="*/ 93445 h 377968"/>
                  <a:gd name="connsiteX5" fmla="*/ 161165 w 339427"/>
                  <a:gd name="connsiteY5" fmla="*/ 90195 h 377968"/>
                  <a:gd name="connsiteX6" fmla="*/ 158374 w 339427"/>
                  <a:gd name="connsiteY6" fmla="*/ 71788 h 377968"/>
                  <a:gd name="connsiteX7" fmla="*/ 179289 w 339427"/>
                  <a:gd name="connsiteY7" fmla="*/ 53488 h 377968"/>
                  <a:gd name="connsiteX8" fmla="*/ 290223 w 339427"/>
                  <a:gd name="connsiteY8" fmla="*/ 4203 h 377968"/>
                  <a:gd name="connsiteX9" fmla="*/ 330994 w 339427"/>
                  <a:gd name="connsiteY9" fmla="*/ 69 h 377968"/>
                  <a:gd name="connsiteX10" fmla="*/ 337918 w 339427"/>
                  <a:gd name="connsiteY10" fmla="*/ 10350 h 377968"/>
                  <a:gd name="connsiteX11" fmla="*/ 309018 w 339427"/>
                  <a:gd name="connsiteY11" fmla="*/ 42182 h 377968"/>
                  <a:gd name="connsiteX12" fmla="*/ 302483 w 339427"/>
                  <a:gd name="connsiteY12" fmla="*/ 53805 h 377968"/>
                  <a:gd name="connsiteX13" fmla="*/ 299020 w 339427"/>
                  <a:gd name="connsiteY13" fmla="*/ 63450 h 377968"/>
                  <a:gd name="connsiteX14" fmla="*/ 233343 w 339427"/>
                  <a:gd name="connsiteY14" fmla="*/ 209396 h 377968"/>
                  <a:gd name="connsiteX15" fmla="*/ 195647 w 339427"/>
                  <a:gd name="connsiteY15" fmla="*/ 303973 h 377968"/>
                  <a:gd name="connsiteX16" fmla="*/ 141416 w 339427"/>
                  <a:gd name="connsiteY16" fmla="*/ 345979 h 377968"/>
                  <a:gd name="connsiteX17" fmla="*/ 111245 w 339427"/>
                  <a:gd name="connsiteY17" fmla="*/ 362054 h 377968"/>
                  <a:gd name="connsiteX18" fmla="*/ 68850 w 339427"/>
                  <a:gd name="connsiteY18" fmla="*/ 375197 h 377968"/>
                  <a:gd name="connsiteX19" fmla="*/ 17622 w 339427"/>
                  <a:gd name="connsiteY19" fmla="*/ 345202 h 377968"/>
                  <a:gd name="connsiteX20" fmla="*/ 5539 w 339427"/>
                  <a:gd name="connsiteY20" fmla="*/ 329728 h 377968"/>
                  <a:gd name="connsiteX21" fmla="*/ 1936 w 339427"/>
                  <a:gd name="connsiteY21" fmla="*/ 317256 h 377968"/>
                  <a:gd name="connsiteX22" fmla="*/ 33485 w 339427"/>
                  <a:gd name="connsiteY22" fmla="*/ 276592 h 377968"/>
                  <a:gd name="connsiteX23" fmla="*/ 44684 w 339427"/>
                  <a:gd name="connsiteY23" fmla="*/ 253204 h 377968"/>
                  <a:gd name="connsiteX24" fmla="*/ 115908 w 339427"/>
                  <a:gd name="connsiteY24" fmla="*/ 145662 h 377968"/>
                  <a:gd name="connsiteX25" fmla="*/ 147351 w 339427"/>
                  <a:gd name="connsiteY25" fmla="*/ 131459 h 377968"/>
                  <a:gd name="connsiteX26" fmla="*/ 174343 w 339427"/>
                  <a:gd name="connsiteY26" fmla="*/ 158557 h 377968"/>
                  <a:gd name="connsiteX27" fmla="*/ 170563 w 339427"/>
                  <a:gd name="connsiteY27" fmla="*/ 170922 h 377968"/>
                  <a:gd name="connsiteX28" fmla="*/ 99657 w 339427"/>
                  <a:gd name="connsiteY28" fmla="*/ 311568 h 377968"/>
                  <a:gd name="connsiteX29" fmla="*/ 107429 w 339427"/>
                  <a:gd name="connsiteY29" fmla="*/ 306764 h 377968"/>
                  <a:gd name="connsiteX30" fmla="*/ 110962 w 339427"/>
                  <a:gd name="connsiteY30" fmla="*/ 280938 h 377968"/>
                  <a:gd name="connsiteX31" fmla="*/ 107535 w 339427"/>
                  <a:gd name="connsiteY31" fmla="*/ 272070 h 377968"/>
                  <a:gd name="connsiteX32" fmla="*/ 64363 w 339427"/>
                  <a:gd name="connsiteY32" fmla="*/ 272777 h 377968"/>
                  <a:gd name="connsiteX33" fmla="*/ 58957 w 339427"/>
                  <a:gd name="connsiteY33" fmla="*/ 279737 h 377968"/>
                  <a:gd name="connsiteX34" fmla="*/ 64221 w 339427"/>
                  <a:gd name="connsiteY34" fmla="*/ 284789 h 377968"/>
                  <a:gd name="connsiteX35" fmla="*/ 87115 w 339427"/>
                  <a:gd name="connsiteY35" fmla="*/ 305456 h 377968"/>
                  <a:gd name="connsiteX36" fmla="*/ 99621 w 339427"/>
                  <a:gd name="connsiteY36" fmla="*/ 311533 h 377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9427" h="377968">
                    <a:moveTo>
                      <a:pt x="170528" y="170993"/>
                    </a:moveTo>
                    <a:cubicBezTo>
                      <a:pt x="182964" y="164210"/>
                      <a:pt x="194446" y="158592"/>
                      <a:pt x="191867" y="140433"/>
                    </a:cubicBezTo>
                    <a:cubicBezTo>
                      <a:pt x="188969" y="120048"/>
                      <a:pt x="202465" y="104856"/>
                      <a:pt x="216597" y="91467"/>
                    </a:cubicBezTo>
                    <a:cubicBezTo>
                      <a:pt x="218752" y="89453"/>
                      <a:pt x="222426" y="88852"/>
                      <a:pt x="221790" y="81857"/>
                    </a:cubicBezTo>
                    <a:cubicBezTo>
                      <a:pt x="206987" y="90831"/>
                      <a:pt x="191725" y="95211"/>
                      <a:pt x="175191" y="93445"/>
                    </a:cubicBezTo>
                    <a:cubicBezTo>
                      <a:pt x="170315" y="92915"/>
                      <a:pt x="165440" y="92950"/>
                      <a:pt x="161165" y="90195"/>
                    </a:cubicBezTo>
                    <a:cubicBezTo>
                      <a:pt x="153287" y="85143"/>
                      <a:pt x="151132" y="79137"/>
                      <a:pt x="158374" y="71788"/>
                    </a:cubicBezTo>
                    <a:cubicBezTo>
                      <a:pt x="164910" y="65182"/>
                      <a:pt x="170916" y="57939"/>
                      <a:pt x="179289" y="53488"/>
                    </a:cubicBezTo>
                    <a:cubicBezTo>
                      <a:pt x="215148" y="34551"/>
                      <a:pt x="249277" y="11552"/>
                      <a:pt x="290223" y="4203"/>
                    </a:cubicBezTo>
                    <a:cubicBezTo>
                      <a:pt x="303648" y="1801"/>
                      <a:pt x="317180" y="-425"/>
                      <a:pt x="330994" y="69"/>
                    </a:cubicBezTo>
                    <a:cubicBezTo>
                      <a:pt x="338978" y="352"/>
                      <a:pt x="341309" y="2225"/>
                      <a:pt x="337918" y="10350"/>
                    </a:cubicBezTo>
                    <a:cubicBezTo>
                      <a:pt x="331982" y="24553"/>
                      <a:pt x="321949" y="34657"/>
                      <a:pt x="309018" y="42182"/>
                    </a:cubicBezTo>
                    <a:cubicBezTo>
                      <a:pt x="304355" y="44902"/>
                      <a:pt x="299197" y="46386"/>
                      <a:pt x="302483" y="53805"/>
                    </a:cubicBezTo>
                    <a:cubicBezTo>
                      <a:pt x="303967" y="57162"/>
                      <a:pt x="301246" y="60942"/>
                      <a:pt x="299020" y="63450"/>
                    </a:cubicBezTo>
                    <a:cubicBezTo>
                      <a:pt x="261854" y="105280"/>
                      <a:pt x="247086" y="156967"/>
                      <a:pt x="233343" y="209396"/>
                    </a:cubicBezTo>
                    <a:cubicBezTo>
                      <a:pt x="224723" y="242323"/>
                      <a:pt x="213417" y="274331"/>
                      <a:pt x="195647" y="303973"/>
                    </a:cubicBezTo>
                    <a:cubicBezTo>
                      <a:pt x="182751" y="325523"/>
                      <a:pt x="163249" y="337394"/>
                      <a:pt x="141416" y="345979"/>
                    </a:cubicBezTo>
                    <a:cubicBezTo>
                      <a:pt x="130500" y="350254"/>
                      <a:pt x="122621" y="359616"/>
                      <a:pt x="111245" y="362054"/>
                    </a:cubicBezTo>
                    <a:cubicBezTo>
                      <a:pt x="96654" y="365198"/>
                      <a:pt x="82840" y="370180"/>
                      <a:pt x="68850" y="375197"/>
                    </a:cubicBezTo>
                    <a:cubicBezTo>
                      <a:pt x="44084" y="384099"/>
                      <a:pt x="23593" y="370886"/>
                      <a:pt x="17622" y="345202"/>
                    </a:cubicBezTo>
                    <a:cubicBezTo>
                      <a:pt x="16103" y="338631"/>
                      <a:pt x="14760" y="331459"/>
                      <a:pt x="5539" y="329728"/>
                    </a:cubicBezTo>
                    <a:cubicBezTo>
                      <a:pt x="-2162" y="328314"/>
                      <a:pt x="-255" y="322768"/>
                      <a:pt x="1936" y="317256"/>
                    </a:cubicBezTo>
                    <a:cubicBezTo>
                      <a:pt x="8507" y="300581"/>
                      <a:pt x="23028" y="290194"/>
                      <a:pt x="33485" y="276592"/>
                    </a:cubicBezTo>
                    <a:cubicBezTo>
                      <a:pt x="38996" y="269420"/>
                      <a:pt x="44720" y="262567"/>
                      <a:pt x="44684" y="253204"/>
                    </a:cubicBezTo>
                    <a:cubicBezTo>
                      <a:pt x="44508" y="201447"/>
                      <a:pt x="72630" y="168520"/>
                      <a:pt x="115908" y="145662"/>
                    </a:cubicBezTo>
                    <a:cubicBezTo>
                      <a:pt x="126083" y="140292"/>
                      <a:pt x="136081" y="134356"/>
                      <a:pt x="147351" y="131459"/>
                    </a:cubicBezTo>
                    <a:cubicBezTo>
                      <a:pt x="167525" y="126266"/>
                      <a:pt x="179431" y="138243"/>
                      <a:pt x="174343" y="158557"/>
                    </a:cubicBezTo>
                    <a:cubicBezTo>
                      <a:pt x="173283" y="162726"/>
                      <a:pt x="171835" y="166824"/>
                      <a:pt x="170563" y="170922"/>
                    </a:cubicBezTo>
                    <a:close/>
                    <a:moveTo>
                      <a:pt x="99657" y="311568"/>
                    </a:moveTo>
                    <a:cubicBezTo>
                      <a:pt x="102271" y="310756"/>
                      <a:pt x="107571" y="313935"/>
                      <a:pt x="107429" y="306764"/>
                    </a:cubicBezTo>
                    <a:cubicBezTo>
                      <a:pt x="107253" y="298002"/>
                      <a:pt x="108878" y="289452"/>
                      <a:pt x="110962" y="280938"/>
                    </a:cubicBezTo>
                    <a:cubicBezTo>
                      <a:pt x="111739" y="277723"/>
                      <a:pt x="112057" y="273943"/>
                      <a:pt x="107535" y="272070"/>
                    </a:cubicBezTo>
                    <a:cubicBezTo>
                      <a:pt x="92980" y="266099"/>
                      <a:pt x="78565" y="262743"/>
                      <a:pt x="64363" y="272777"/>
                    </a:cubicBezTo>
                    <a:cubicBezTo>
                      <a:pt x="61854" y="274543"/>
                      <a:pt x="58922" y="276239"/>
                      <a:pt x="58957" y="279737"/>
                    </a:cubicBezTo>
                    <a:cubicBezTo>
                      <a:pt x="58993" y="282881"/>
                      <a:pt x="61748" y="283764"/>
                      <a:pt x="64221" y="284789"/>
                    </a:cubicBezTo>
                    <a:cubicBezTo>
                      <a:pt x="74290" y="288958"/>
                      <a:pt x="82628" y="295140"/>
                      <a:pt x="87115" y="305456"/>
                    </a:cubicBezTo>
                    <a:cubicBezTo>
                      <a:pt x="89482" y="310932"/>
                      <a:pt x="93898" y="311851"/>
                      <a:pt x="99621" y="311533"/>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1" name="Freeform: Shape 4240">
                <a:extLst>
                  <a:ext uri="{FF2B5EF4-FFF2-40B4-BE49-F238E27FC236}">
                    <a16:creationId xmlns:a16="http://schemas.microsoft.com/office/drawing/2014/main" id="{75C2EE41-8A5E-FBD9-7BF4-347A6FF4A583}"/>
                  </a:ext>
                </a:extLst>
              </p:cNvPr>
              <p:cNvSpPr/>
              <p:nvPr/>
            </p:nvSpPr>
            <p:spPr>
              <a:xfrm>
                <a:off x="5848254" y="2565310"/>
                <a:ext cx="63345" cy="132153"/>
              </a:xfrm>
              <a:custGeom>
                <a:avLst/>
                <a:gdLst>
                  <a:gd name="connsiteX0" fmla="*/ 81791 w 82518"/>
                  <a:gd name="connsiteY0" fmla="*/ 0 h 172151"/>
                  <a:gd name="connsiteX1" fmla="*/ 76421 w 82518"/>
                  <a:gd name="connsiteY1" fmla="*/ 24377 h 172151"/>
                  <a:gd name="connsiteX2" fmla="*/ 39325 w 82518"/>
                  <a:gd name="connsiteY2" fmla="*/ 100406 h 172151"/>
                  <a:gd name="connsiteX3" fmla="*/ 12899 w 82518"/>
                  <a:gd name="connsiteY3" fmla="*/ 166401 h 172151"/>
                  <a:gd name="connsiteX4" fmla="*/ 5267 w 82518"/>
                  <a:gd name="connsiteY4" fmla="*/ 172125 h 172151"/>
                  <a:gd name="connsiteX5" fmla="*/ 321 w 82518"/>
                  <a:gd name="connsiteY5" fmla="*/ 164317 h 172151"/>
                  <a:gd name="connsiteX6" fmla="*/ 35474 w 82518"/>
                  <a:gd name="connsiteY6" fmla="*/ 45822 h 172151"/>
                  <a:gd name="connsiteX7" fmla="*/ 81791 w 82518"/>
                  <a:gd name="connsiteY7" fmla="*/ 35 h 17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518" h="172151">
                    <a:moveTo>
                      <a:pt x="81791" y="0"/>
                    </a:moveTo>
                    <a:cubicBezTo>
                      <a:pt x="83875" y="10316"/>
                      <a:pt x="81296" y="18619"/>
                      <a:pt x="76421" y="24377"/>
                    </a:cubicBezTo>
                    <a:cubicBezTo>
                      <a:pt x="57449" y="46635"/>
                      <a:pt x="51125" y="74828"/>
                      <a:pt x="39325" y="100406"/>
                    </a:cubicBezTo>
                    <a:cubicBezTo>
                      <a:pt x="29433" y="121886"/>
                      <a:pt x="14665" y="141565"/>
                      <a:pt x="12899" y="166401"/>
                    </a:cubicBezTo>
                    <a:cubicBezTo>
                      <a:pt x="12616" y="170464"/>
                      <a:pt x="9366" y="172407"/>
                      <a:pt x="5267" y="172125"/>
                    </a:cubicBezTo>
                    <a:cubicBezTo>
                      <a:pt x="180" y="171771"/>
                      <a:pt x="533" y="167850"/>
                      <a:pt x="321" y="164317"/>
                    </a:cubicBezTo>
                    <a:cubicBezTo>
                      <a:pt x="-2223" y="120579"/>
                      <a:pt x="10425" y="81222"/>
                      <a:pt x="35474" y="45822"/>
                    </a:cubicBezTo>
                    <a:cubicBezTo>
                      <a:pt x="47769" y="28440"/>
                      <a:pt x="62819" y="13496"/>
                      <a:pt x="81791" y="35"/>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2" name="Freeform: Shape 4241">
                <a:extLst>
                  <a:ext uri="{FF2B5EF4-FFF2-40B4-BE49-F238E27FC236}">
                    <a16:creationId xmlns:a16="http://schemas.microsoft.com/office/drawing/2014/main" id="{5B7FDC40-4AA2-FB9D-3D95-F9072F655702}"/>
                  </a:ext>
                </a:extLst>
              </p:cNvPr>
              <p:cNvSpPr/>
              <p:nvPr/>
            </p:nvSpPr>
            <p:spPr>
              <a:xfrm>
                <a:off x="6042374" y="2603950"/>
                <a:ext cx="61319" cy="65425"/>
              </a:xfrm>
              <a:custGeom>
                <a:avLst/>
                <a:gdLst>
                  <a:gd name="connsiteX0" fmla="*/ 18742 w 79878"/>
                  <a:gd name="connsiteY0" fmla="*/ 84976 h 85227"/>
                  <a:gd name="connsiteX1" fmla="*/ 759 w 79878"/>
                  <a:gd name="connsiteY1" fmla="*/ 73918 h 85227"/>
                  <a:gd name="connsiteX2" fmla="*/ 11782 w 79878"/>
                  <a:gd name="connsiteY2" fmla="*/ 55229 h 85227"/>
                  <a:gd name="connsiteX3" fmla="*/ 32732 w 79878"/>
                  <a:gd name="connsiteY3" fmla="*/ 29474 h 85227"/>
                  <a:gd name="connsiteX4" fmla="*/ 46087 w 79878"/>
                  <a:gd name="connsiteY4" fmla="*/ 5556 h 85227"/>
                  <a:gd name="connsiteX5" fmla="*/ 75551 w 79878"/>
                  <a:gd name="connsiteY5" fmla="*/ 11703 h 85227"/>
                  <a:gd name="connsiteX6" fmla="*/ 77989 w 79878"/>
                  <a:gd name="connsiteY6" fmla="*/ 39861 h 85227"/>
                  <a:gd name="connsiteX7" fmla="*/ 18777 w 79878"/>
                  <a:gd name="connsiteY7" fmla="*/ 84976 h 8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78" h="85227">
                    <a:moveTo>
                      <a:pt x="18742" y="84976"/>
                    </a:moveTo>
                    <a:cubicBezTo>
                      <a:pt x="10333" y="86283"/>
                      <a:pt x="3479" y="82468"/>
                      <a:pt x="759" y="73918"/>
                    </a:cubicBezTo>
                    <a:cubicBezTo>
                      <a:pt x="-2279" y="64450"/>
                      <a:pt x="4292" y="58903"/>
                      <a:pt x="11782" y="55229"/>
                    </a:cubicBezTo>
                    <a:cubicBezTo>
                      <a:pt x="22875" y="49788"/>
                      <a:pt x="29234" y="41345"/>
                      <a:pt x="32732" y="29474"/>
                    </a:cubicBezTo>
                    <a:cubicBezTo>
                      <a:pt x="35311" y="20783"/>
                      <a:pt x="38279" y="11845"/>
                      <a:pt x="46087" y="5556"/>
                    </a:cubicBezTo>
                    <a:cubicBezTo>
                      <a:pt x="57392" y="-3524"/>
                      <a:pt x="69086" y="-1475"/>
                      <a:pt x="75551" y="11703"/>
                    </a:cubicBezTo>
                    <a:cubicBezTo>
                      <a:pt x="79932" y="20642"/>
                      <a:pt x="81416" y="29757"/>
                      <a:pt x="77989" y="39861"/>
                    </a:cubicBezTo>
                    <a:cubicBezTo>
                      <a:pt x="69828" y="63779"/>
                      <a:pt x="42836" y="85082"/>
                      <a:pt x="18777" y="84976"/>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3" name="Freeform: Shape 4242">
                <a:extLst>
                  <a:ext uri="{FF2B5EF4-FFF2-40B4-BE49-F238E27FC236}">
                    <a16:creationId xmlns:a16="http://schemas.microsoft.com/office/drawing/2014/main" id="{EBD52D91-14FE-0FA4-F61A-ECE46B776DBC}"/>
                  </a:ext>
                </a:extLst>
              </p:cNvPr>
              <p:cNvSpPr/>
              <p:nvPr/>
            </p:nvSpPr>
            <p:spPr>
              <a:xfrm>
                <a:off x="6099660" y="2477029"/>
                <a:ext cx="73502" cy="53096"/>
              </a:xfrm>
              <a:custGeom>
                <a:avLst/>
                <a:gdLst>
                  <a:gd name="connsiteX0" fmla="*/ 80558 w 95748"/>
                  <a:gd name="connsiteY0" fmla="*/ 5 h 69166"/>
                  <a:gd name="connsiteX1" fmla="*/ 95397 w 95748"/>
                  <a:gd name="connsiteY1" fmla="*/ 16716 h 69166"/>
                  <a:gd name="connsiteX2" fmla="*/ 57382 w 95748"/>
                  <a:gd name="connsiteY2" fmla="*/ 47063 h 69166"/>
                  <a:gd name="connsiteX3" fmla="*/ 31663 w 95748"/>
                  <a:gd name="connsiteY3" fmla="*/ 60453 h 69166"/>
                  <a:gd name="connsiteX4" fmla="*/ 4530 w 95748"/>
                  <a:gd name="connsiteY4" fmla="*/ 63598 h 69166"/>
                  <a:gd name="connsiteX5" fmla="*/ 7109 w 95748"/>
                  <a:gd name="connsiteY5" fmla="*/ 33921 h 69166"/>
                  <a:gd name="connsiteX6" fmla="*/ 23007 w 95748"/>
                  <a:gd name="connsiteY6" fmla="*/ 24700 h 69166"/>
                  <a:gd name="connsiteX7" fmla="*/ 74694 w 95748"/>
                  <a:gd name="connsiteY7" fmla="*/ 1913 h 69166"/>
                  <a:gd name="connsiteX8" fmla="*/ 80558 w 95748"/>
                  <a:gd name="connsiteY8" fmla="*/ 40 h 6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748" h="69166">
                    <a:moveTo>
                      <a:pt x="80558" y="5"/>
                    </a:moveTo>
                    <a:cubicBezTo>
                      <a:pt x="91828" y="-207"/>
                      <a:pt x="97234" y="6647"/>
                      <a:pt x="95397" y="16716"/>
                    </a:cubicBezTo>
                    <a:cubicBezTo>
                      <a:pt x="92217" y="34098"/>
                      <a:pt x="79746" y="45509"/>
                      <a:pt x="57382" y="47063"/>
                    </a:cubicBezTo>
                    <a:cubicBezTo>
                      <a:pt x="45794" y="47841"/>
                      <a:pt x="38764" y="52822"/>
                      <a:pt x="31663" y="60453"/>
                    </a:cubicBezTo>
                    <a:cubicBezTo>
                      <a:pt x="21806" y="71017"/>
                      <a:pt x="11949" y="71865"/>
                      <a:pt x="4530" y="63598"/>
                    </a:cubicBezTo>
                    <a:cubicBezTo>
                      <a:pt x="-2501" y="55754"/>
                      <a:pt x="-1123" y="42011"/>
                      <a:pt x="7109" y="33921"/>
                    </a:cubicBezTo>
                    <a:cubicBezTo>
                      <a:pt x="11666" y="29434"/>
                      <a:pt x="17177" y="26537"/>
                      <a:pt x="23007" y="24700"/>
                    </a:cubicBezTo>
                    <a:cubicBezTo>
                      <a:pt x="41060" y="18941"/>
                      <a:pt x="59078" y="13218"/>
                      <a:pt x="74694" y="1913"/>
                    </a:cubicBezTo>
                    <a:cubicBezTo>
                      <a:pt x="76672" y="464"/>
                      <a:pt x="79569" y="323"/>
                      <a:pt x="80558" y="40"/>
                    </a:cubicBezTo>
                    <a:close/>
                  </a:path>
                </a:pathLst>
              </a:custGeom>
              <a:solidFill>
                <a:srgbClr val="F3CA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4" name="Freeform: Shape 4243">
                <a:extLst>
                  <a:ext uri="{FF2B5EF4-FFF2-40B4-BE49-F238E27FC236}">
                    <a16:creationId xmlns:a16="http://schemas.microsoft.com/office/drawing/2014/main" id="{4BBFF685-38A4-8056-FF7E-C2CB7E4C1B17}"/>
                  </a:ext>
                </a:extLst>
              </p:cNvPr>
              <p:cNvSpPr/>
              <p:nvPr/>
            </p:nvSpPr>
            <p:spPr>
              <a:xfrm>
                <a:off x="5914539" y="2638455"/>
                <a:ext cx="40277" cy="34710"/>
              </a:xfrm>
              <a:custGeom>
                <a:avLst/>
                <a:gdLst>
                  <a:gd name="connsiteX0" fmla="*/ 40664 w 52467"/>
                  <a:gd name="connsiteY0" fmla="*/ 45152 h 45216"/>
                  <a:gd name="connsiteX1" fmla="*/ 28158 w 52467"/>
                  <a:gd name="connsiteY1" fmla="*/ 39075 h 45216"/>
                  <a:gd name="connsiteX2" fmla="*/ 5264 w 52467"/>
                  <a:gd name="connsiteY2" fmla="*/ 18407 h 45216"/>
                  <a:gd name="connsiteX3" fmla="*/ 0 w 52467"/>
                  <a:gd name="connsiteY3" fmla="*/ 13355 h 45216"/>
                  <a:gd name="connsiteX4" fmla="*/ 5406 w 52467"/>
                  <a:gd name="connsiteY4" fmla="*/ 6395 h 45216"/>
                  <a:gd name="connsiteX5" fmla="*/ 48578 w 52467"/>
                  <a:gd name="connsiteY5" fmla="*/ 5689 h 45216"/>
                  <a:gd name="connsiteX6" fmla="*/ 52005 w 52467"/>
                  <a:gd name="connsiteY6" fmla="*/ 14556 h 45216"/>
                  <a:gd name="connsiteX7" fmla="*/ 48472 w 52467"/>
                  <a:gd name="connsiteY7" fmla="*/ 40382 h 45216"/>
                  <a:gd name="connsiteX8" fmla="*/ 40700 w 52467"/>
                  <a:gd name="connsiteY8" fmla="*/ 45187 h 4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67" h="45216">
                    <a:moveTo>
                      <a:pt x="40664" y="45152"/>
                    </a:moveTo>
                    <a:cubicBezTo>
                      <a:pt x="34941" y="45505"/>
                      <a:pt x="30525" y="44551"/>
                      <a:pt x="28158" y="39075"/>
                    </a:cubicBezTo>
                    <a:cubicBezTo>
                      <a:pt x="23706" y="28759"/>
                      <a:pt x="15333" y="22576"/>
                      <a:pt x="5264" y="18407"/>
                    </a:cubicBezTo>
                    <a:cubicBezTo>
                      <a:pt x="2756" y="17383"/>
                      <a:pt x="36" y="16499"/>
                      <a:pt x="0" y="13355"/>
                    </a:cubicBezTo>
                    <a:cubicBezTo>
                      <a:pt x="-35" y="9858"/>
                      <a:pt x="2897" y="8162"/>
                      <a:pt x="5406" y="6395"/>
                    </a:cubicBezTo>
                    <a:cubicBezTo>
                      <a:pt x="19643" y="-3638"/>
                      <a:pt x="34058" y="-282"/>
                      <a:pt x="48578" y="5689"/>
                    </a:cubicBezTo>
                    <a:cubicBezTo>
                      <a:pt x="53100" y="7526"/>
                      <a:pt x="52782" y="11341"/>
                      <a:pt x="52005" y="14556"/>
                    </a:cubicBezTo>
                    <a:cubicBezTo>
                      <a:pt x="49921" y="23071"/>
                      <a:pt x="48295" y="31620"/>
                      <a:pt x="48472" y="40382"/>
                    </a:cubicBezTo>
                    <a:cubicBezTo>
                      <a:pt x="48614" y="47554"/>
                      <a:pt x="43314" y="44374"/>
                      <a:pt x="40700" y="45187"/>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5" name="Freeform: Shape 4244">
                <a:extLst>
                  <a:ext uri="{FF2B5EF4-FFF2-40B4-BE49-F238E27FC236}">
                    <a16:creationId xmlns:a16="http://schemas.microsoft.com/office/drawing/2014/main" id="{F89A483C-D344-52BC-C3EC-15B932FE139C}"/>
                  </a:ext>
                </a:extLst>
              </p:cNvPr>
              <p:cNvSpPr/>
              <p:nvPr/>
            </p:nvSpPr>
            <p:spPr>
              <a:xfrm>
                <a:off x="5550663" y="2301533"/>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6" name="Freeform: Shape 4245">
                <a:extLst>
                  <a:ext uri="{FF2B5EF4-FFF2-40B4-BE49-F238E27FC236}">
                    <a16:creationId xmlns:a16="http://schemas.microsoft.com/office/drawing/2014/main" id="{39C585D5-A8CD-F43A-EB86-106EE9972563}"/>
                  </a:ext>
                </a:extLst>
              </p:cNvPr>
              <p:cNvSpPr/>
              <p:nvPr/>
            </p:nvSpPr>
            <p:spPr>
              <a:xfrm rot="3911719">
                <a:off x="6068211" y="2049582"/>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7" name="Freeform: Shape 4246">
                <a:extLst>
                  <a:ext uri="{FF2B5EF4-FFF2-40B4-BE49-F238E27FC236}">
                    <a16:creationId xmlns:a16="http://schemas.microsoft.com/office/drawing/2014/main" id="{C302741E-D097-F27F-BDA3-C9D7E43C0182}"/>
                  </a:ext>
                </a:extLst>
              </p:cNvPr>
              <p:cNvSpPr/>
              <p:nvPr/>
            </p:nvSpPr>
            <p:spPr>
              <a:xfrm rot="5597451">
                <a:off x="6256793" y="2049582"/>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8" name="Freeform: Shape 4247">
                <a:extLst>
                  <a:ext uri="{FF2B5EF4-FFF2-40B4-BE49-F238E27FC236}">
                    <a16:creationId xmlns:a16="http://schemas.microsoft.com/office/drawing/2014/main" id="{EDCFD04A-4DC9-ABBC-F442-0888BE76F0B7}"/>
                  </a:ext>
                </a:extLst>
              </p:cNvPr>
              <p:cNvSpPr/>
              <p:nvPr/>
            </p:nvSpPr>
            <p:spPr>
              <a:xfrm rot="9635826">
                <a:off x="6680930" y="2608170"/>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49" name="Freeform: Shape 4248">
                <a:extLst>
                  <a:ext uri="{FF2B5EF4-FFF2-40B4-BE49-F238E27FC236}">
                    <a16:creationId xmlns:a16="http://schemas.microsoft.com/office/drawing/2014/main" id="{800D7B2F-23FF-8E5D-A547-5F6884B5BE09}"/>
                  </a:ext>
                </a:extLst>
              </p:cNvPr>
              <p:cNvSpPr/>
              <p:nvPr/>
            </p:nvSpPr>
            <p:spPr>
              <a:xfrm rot="15025914">
                <a:off x="6004721" y="3238558"/>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50" name="Freeform: Shape 4249">
                <a:extLst>
                  <a:ext uri="{FF2B5EF4-FFF2-40B4-BE49-F238E27FC236}">
                    <a16:creationId xmlns:a16="http://schemas.microsoft.com/office/drawing/2014/main" id="{C99C5014-97D4-A3FA-7F6C-DDA16F25E1D3}"/>
                  </a:ext>
                </a:extLst>
              </p:cNvPr>
              <p:cNvSpPr/>
              <p:nvPr/>
            </p:nvSpPr>
            <p:spPr>
              <a:xfrm rot="17207955">
                <a:off x="5805709" y="3169539"/>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51" name="Freeform: Shape 4250">
                <a:extLst>
                  <a:ext uri="{FF2B5EF4-FFF2-40B4-BE49-F238E27FC236}">
                    <a16:creationId xmlns:a16="http://schemas.microsoft.com/office/drawing/2014/main" id="{56CA8182-82DD-BBB2-4317-0A3AC1CEFAAA}"/>
                  </a:ext>
                </a:extLst>
              </p:cNvPr>
              <p:cNvSpPr/>
              <p:nvPr/>
            </p:nvSpPr>
            <p:spPr>
              <a:xfrm rot="18910163">
                <a:off x="5601179" y="3013066"/>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52" name="Freeform: Shape 4251">
                <a:extLst>
                  <a:ext uri="{FF2B5EF4-FFF2-40B4-BE49-F238E27FC236}">
                    <a16:creationId xmlns:a16="http://schemas.microsoft.com/office/drawing/2014/main" id="{BB36B6CA-3CEA-1A2F-B7DF-AC89B72942AC}"/>
                  </a:ext>
                </a:extLst>
              </p:cNvPr>
              <p:cNvSpPr/>
              <p:nvPr/>
            </p:nvSpPr>
            <p:spPr>
              <a:xfrm rot="20175320">
                <a:off x="5449384" y="2636418"/>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53" name="Arc 4252">
                <a:extLst>
                  <a:ext uri="{FF2B5EF4-FFF2-40B4-BE49-F238E27FC236}">
                    <a16:creationId xmlns:a16="http://schemas.microsoft.com/office/drawing/2014/main" id="{98337234-9B45-F730-D20F-4FE76C2E79AF}"/>
                  </a:ext>
                </a:extLst>
              </p:cNvPr>
              <p:cNvSpPr/>
              <p:nvPr/>
            </p:nvSpPr>
            <p:spPr>
              <a:xfrm rot="6111996" flipH="1">
                <a:off x="6033346" y="2421176"/>
                <a:ext cx="351338" cy="228475"/>
              </a:xfrm>
              <a:prstGeom prst="arc">
                <a:avLst>
                  <a:gd name="adj1" fmla="val 16200000"/>
                  <a:gd name="adj2" fmla="val 306786"/>
                </a:avLst>
              </a:prstGeom>
              <a:ln w="12700">
                <a:solidFill>
                  <a:schemeClr val="tx1"/>
                </a:solidFill>
                <a:headEnd type="triangle" w="sm"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54" name="Freeform: Shape 4253">
                <a:extLst>
                  <a:ext uri="{FF2B5EF4-FFF2-40B4-BE49-F238E27FC236}">
                    <a16:creationId xmlns:a16="http://schemas.microsoft.com/office/drawing/2014/main" id="{D020D662-C8E6-B652-1CFC-8FBD26EDB893}"/>
                  </a:ext>
                </a:extLst>
              </p:cNvPr>
              <p:cNvSpPr/>
              <p:nvPr/>
            </p:nvSpPr>
            <p:spPr>
              <a:xfrm rot="2686062">
                <a:off x="6458769" y="3143925"/>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55" name="Freeform: Shape 4254">
                <a:extLst>
                  <a:ext uri="{FF2B5EF4-FFF2-40B4-BE49-F238E27FC236}">
                    <a16:creationId xmlns:a16="http://schemas.microsoft.com/office/drawing/2014/main" id="{6356B5F0-6F83-3A34-DCB5-6C0159612640}"/>
                  </a:ext>
                </a:extLst>
              </p:cNvPr>
              <p:cNvSpPr/>
              <p:nvPr/>
            </p:nvSpPr>
            <p:spPr>
              <a:xfrm rot="1844608">
                <a:off x="5856151" y="2169623"/>
                <a:ext cx="343649" cy="332737"/>
              </a:xfrm>
              <a:custGeom>
                <a:avLst/>
                <a:gdLst>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221450 w 830972"/>
                  <a:gd name="connsiteY29" fmla="*/ 191585 h 796660"/>
                  <a:gd name="connsiteX30" fmla="*/ 225230 w 830972"/>
                  <a:gd name="connsiteY30" fmla="*/ 179220 h 796660"/>
                  <a:gd name="connsiteX31" fmla="*/ 198238 w 830972"/>
                  <a:gd name="connsiteY31" fmla="*/ 152122 h 796660"/>
                  <a:gd name="connsiteX32" fmla="*/ 166796 w 830972"/>
                  <a:gd name="connsiteY32" fmla="*/ 166325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81881 w 830972"/>
                  <a:gd name="connsiteY47" fmla="*/ 20732 h 796660"/>
                  <a:gd name="connsiteX48" fmla="*/ 341111 w 830972"/>
                  <a:gd name="connsiteY48" fmla="*/ 24866 h 796660"/>
                  <a:gd name="connsiteX49" fmla="*/ 230176 w 830972"/>
                  <a:gd name="connsiteY49" fmla="*/ 74150 h 796660"/>
                  <a:gd name="connsiteX50" fmla="*/ 209261 w 830972"/>
                  <a:gd name="connsiteY50" fmla="*/ 92451 h 796660"/>
                  <a:gd name="connsiteX51" fmla="*/ 212052 w 830972"/>
                  <a:gd name="connsiteY51" fmla="*/ 110857 h 796660"/>
                  <a:gd name="connsiteX52" fmla="*/ 226078 w 830972"/>
                  <a:gd name="connsiteY52" fmla="*/ 114108 h 796660"/>
                  <a:gd name="connsiteX53" fmla="*/ 272678 w 830972"/>
                  <a:gd name="connsiteY53" fmla="*/ 102520 h 796660"/>
                  <a:gd name="connsiteX54" fmla="*/ 267484 w 830972"/>
                  <a:gd name="connsiteY54" fmla="*/ 112129 h 796660"/>
                  <a:gd name="connsiteX55" fmla="*/ 242754 w 830972"/>
                  <a:gd name="connsiteY55" fmla="*/ 161096 h 796660"/>
                  <a:gd name="connsiteX56" fmla="*/ 221415 w 830972"/>
                  <a:gd name="connsiteY56" fmla="*/ 191656 h 796660"/>
                  <a:gd name="connsiteX57" fmla="*/ 105358 w 830972"/>
                  <a:gd name="connsiteY57" fmla="*/ 191726 h 796660"/>
                  <a:gd name="connsiteX58" fmla="*/ 59041 w 830972"/>
                  <a:gd name="connsiteY58" fmla="*/ 237513 h 796660"/>
                  <a:gd name="connsiteX59" fmla="*/ 23888 w 830972"/>
                  <a:gd name="connsiteY59" fmla="*/ 356008 h 796660"/>
                  <a:gd name="connsiteX60" fmla="*/ 28834 w 830972"/>
                  <a:gd name="connsiteY60" fmla="*/ 363816 h 796660"/>
                  <a:gd name="connsiteX61" fmla="*/ 36466 w 830972"/>
                  <a:gd name="connsiteY61" fmla="*/ 358092 h 796660"/>
                  <a:gd name="connsiteX62" fmla="*/ 62892 w 830972"/>
                  <a:gd name="connsiteY62" fmla="*/ 292097 h 796660"/>
                  <a:gd name="connsiteX63" fmla="*/ 99988 w 830972"/>
                  <a:gd name="connsiteY63" fmla="*/ 216068 h 796660"/>
                  <a:gd name="connsiteX64" fmla="*/ 105358 w 830972"/>
                  <a:gd name="connsiteY64" fmla="*/ 191691 h 796660"/>
                  <a:gd name="connsiteX65" fmla="*/ 295182 w 830972"/>
                  <a:gd name="connsiteY65" fmla="*/ 327038 h 796660"/>
                  <a:gd name="connsiteX66" fmla="*/ 354394 w 830972"/>
                  <a:gd name="connsiteY66" fmla="*/ 281922 h 796660"/>
                  <a:gd name="connsiteX67" fmla="*/ 351956 w 830972"/>
                  <a:gd name="connsiteY67" fmla="*/ 253765 h 796660"/>
                  <a:gd name="connsiteX68" fmla="*/ 322492 w 830972"/>
                  <a:gd name="connsiteY68" fmla="*/ 247617 h 796660"/>
                  <a:gd name="connsiteX69" fmla="*/ 309137 w 830972"/>
                  <a:gd name="connsiteY69" fmla="*/ 271535 h 796660"/>
                  <a:gd name="connsiteX70" fmla="*/ 288187 w 830972"/>
                  <a:gd name="connsiteY70" fmla="*/ 297290 h 796660"/>
                  <a:gd name="connsiteX71" fmla="*/ 277165 w 830972"/>
                  <a:gd name="connsiteY71" fmla="*/ 315980 h 796660"/>
                  <a:gd name="connsiteX72" fmla="*/ 295147 w 830972"/>
                  <a:gd name="connsiteY72" fmla="*/ 327038 h 796660"/>
                  <a:gd name="connsiteX73" fmla="*/ 431624 w 830972"/>
                  <a:gd name="connsiteY73" fmla="*/ 76729 h 796660"/>
                  <a:gd name="connsiteX74" fmla="*/ 425760 w 830972"/>
                  <a:gd name="connsiteY74" fmla="*/ 78602 h 796660"/>
                  <a:gd name="connsiteX75" fmla="*/ 374073 w 830972"/>
                  <a:gd name="connsiteY75" fmla="*/ 101389 h 796660"/>
                  <a:gd name="connsiteX76" fmla="*/ 358174 w 830972"/>
                  <a:gd name="connsiteY76" fmla="*/ 110610 h 796660"/>
                  <a:gd name="connsiteX77" fmla="*/ 355596 w 830972"/>
                  <a:gd name="connsiteY77" fmla="*/ 140287 h 796660"/>
                  <a:gd name="connsiteX78" fmla="*/ 382729 w 830972"/>
                  <a:gd name="connsiteY78" fmla="*/ 137143 h 796660"/>
                  <a:gd name="connsiteX79" fmla="*/ 408448 w 830972"/>
                  <a:gd name="connsiteY79" fmla="*/ 123753 h 796660"/>
                  <a:gd name="connsiteX80" fmla="*/ 446462 w 830972"/>
                  <a:gd name="connsiteY80" fmla="*/ 93405 h 796660"/>
                  <a:gd name="connsiteX81" fmla="*/ 431624 w 830972"/>
                  <a:gd name="connsiteY81"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21450 w 830972"/>
                  <a:gd name="connsiteY30" fmla="*/ 191585 h 796660"/>
                  <a:gd name="connsiteX31" fmla="*/ 225230 w 830972"/>
                  <a:gd name="connsiteY31" fmla="*/ 179220 h 796660"/>
                  <a:gd name="connsiteX32" fmla="*/ 198238 w 830972"/>
                  <a:gd name="connsiteY32" fmla="*/ 152122 h 796660"/>
                  <a:gd name="connsiteX33" fmla="*/ 166796 w 830972"/>
                  <a:gd name="connsiteY33" fmla="*/ 166325 h 796660"/>
                  <a:gd name="connsiteX34" fmla="*/ 95572 w 830972"/>
                  <a:gd name="connsiteY34" fmla="*/ 273867 h 796660"/>
                  <a:gd name="connsiteX35" fmla="*/ 84372 w 830972"/>
                  <a:gd name="connsiteY35" fmla="*/ 297255 h 796660"/>
                  <a:gd name="connsiteX36" fmla="*/ 52823 w 830972"/>
                  <a:gd name="connsiteY36" fmla="*/ 337919 h 796660"/>
                  <a:gd name="connsiteX37" fmla="*/ 56427 w 830972"/>
                  <a:gd name="connsiteY37" fmla="*/ 350390 h 796660"/>
                  <a:gd name="connsiteX38" fmla="*/ 68509 w 830972"/>
                  <a:gd name="connsiteY38" fmla="*/ 365865 h 796660"/>
                  <a:gd name="connsiteX39" fmla="*/ 119737 w 830972"/>
                  <a:gd name="connsiteY39" fmla="*/ 395859 h 796660"/>
                  <a:gd name="connsiteX40" fmla="*/ 162132 w 830972"/>
                  <a:gd name="connsiteY40" fmla="*/ 382717 h 796660"/>
                  <a:gd name="connsiteX41" fmla="*/ 192303 w 830972"/>
                  <a:gd name="connsiteY41" fmla="*/ 366642 h 796660"/>
                  <a:gd name="connsiteX42" fmla="*/ 246534 w 830972"/>
                  <a:gd name="connsiteY42" fmla="*/ 324635 h 796660"/>
                  <a:gd name="connsiteX43" fmla="*/ 284230 w 830972"/>
                  <a:gd name="connsiteY43" fmla="*/ 230059 h 796660"/>
                  <a:gd name="connsiteX44" fmla="*/ 349908 w 830972"/>
                  <a:gd name="connsiteY44" fmla="*/ 84113 h 796660"/>
                  <a:gd name="connsiteX45" fmla="*/ 353370 w 830972"/>
                  <a:gd name="connsiteY45" fmla="*/ 74468 h 796660"/>
                  <a:gd name="connsiteX46" fmla="*/ 359906 w 830972"/>
                  <a:gd name="connsiteY46" fmla="*/ 62845 h 796660"/>
                  <a:gd name="connsiteX47" fmla="*/ 388805 w 830972"/>
                  <a:gd name="connsiteY47" fmla="*/ 31013 h 796660"/>
                  <a:gd name="connsiteX48" fmla="*/ 341111 w 830972"/>
                  <a:gd name="connsiteY48" fmla="*/ 24866 h 796660"/>
                  <a:gd name="connsiteX49" fmla="*/ 230176 w 830972"/>
                  <a:gd name="connsiteY49" fmla="*/ 74150 h 796660"/>
                  <a:gd name="connsiteX50" fmla="*/ 209261 w 830972"/>
                  <a:gd name="connsiteY50" fmla="*/ 92451 h 796660"/>
                  <a:gd name="connsiteX51" fmla="*/ 212052 w 830972"/>
                  <a:gd name="connsiteY51" fmla="*/ 110857 h 796660"/>
                  <a:gd name="connsiteX52" fmla="*/ 226078 w 830972"/>
                  <a:gd name="connsiteY52" fmla="*/ 114108 h 796660"/>
                  <a:gd name="connsiteX53" fmla="*/ 272678 w 830972"/>
                  <a:gd name="connsiteY53" fmla="*/ 102520 h 796660"/>
                  <a:gd name="connsiteX54" fmla="*/ 267484 w 830972"/>
                  <a:gd name="connsiteY54" fmla="*/ 112129 h 796660"/>
                  <a:gd name="connsiteX55" fmla="*/ 242754 w 830972"/>
                  <a:gd name="connsiteY55" fmla="*/ 161096 h 796660"/>
                  <a:gd name="connsiteX56" fmla="*/ 221415 w 830972"/>
                  <a:gd name="connsiteY56" fmla="*/ 191656 h 796660"/>
                  <a:gd name="connsiteX57" fmla="*/ 221450 w 830972"/>
                  <a:gd name="connsiteY57" fmla="*/ 191585 h 796660"/>
                  <a:gd name="connsiteX58" fmla="*/ 105358 w 830972"/>
                  <a:gd name="connsiteY58" fmla="*/ 191726 h 796660"/>
                  <a:gd name="connsiteX59" fmla="*/ 59041 w 830972"/>
                  <a:gd name="connsiteY59" fmla="*/ 237513 h 796660"/>
                  <a:gd name="connsiteX60" fmla="*/ 23888 w 830972"/>
                  <a:gd name="connsiteY60" fmla="*/ 356008 h 796660"/>
                  <a:gd name="connsiteX61" fmla="*/ 28834 w 830972"/>
                  <a:gd name="connsiteY61" fmla="*/ 363816 h 796660"/>
                  <a:gd name="connsiteX62" fmla="*/ 36466 w 830972"/>
                  <a:gd name="connsiteY62" fmla="*/ 358092 h 796660"/>
                  <a:gd name="connsiteX63" fmla="*/ 62892 w 830972"/>
                  <a:gd name="connsiteY63" fmla="*/ 292097 h 796660"/>
                  <a:gd name="connsiteX64" fmla="*/ 99988 w 830972"/>
                  <a:gd name="connsiteY64" fmla="*/ 216068 h 796660"/>
                  <a:gd name="connsiteX65" fmla="*/ 105358 w 830972"/>
                  <a:gd name="connsiteY65" fmla="*/ 191691 h 796660"/>
                  <a:gd name="connsiteX66" fmla="*/ 105358 w 830972"/>
                  <a:gd name="connsiteY66" fmla="*/ 191726 h 796660"/>
                  <a:gd name="connsiteX67" fmla="*/ 295182 w 830972"/>
                  <a:gd name="connsiteY67" fmla="*/ 327038 h 796660"/>
                  <a:gd name="connsiteX68" fmla="*/ 354394 w 830972"/>
                  <a:gd name="connsiteY68" fmla="*/ 281922 h 796660"/>
                  <a:gd name="connsiteX69" fmla="*/ 351956 w 830972"/>
                  <a:gd name="connsiteY69" fmla="*/ 253765 h 796660"/>
                  <a:gd name="connsiteX70" fmla="*/ 322492 w 830972"/>
                  <a:gd name="connsiteY70" fmla="*/ 247617 h 796660"/>
                  <a:gd name="connsiteX71" fmla="*/ 309137 w 830972"/>
                  <a:gd name="connsiteY71" fmla="*/ 271535 h 796660"/>
                  <a:gd name="connsiteX72" fmla="*/ 288187 w 830972"/>
                  <a:gd name="connsiteY72" fmla="*/ 297290 h 796660"/>
                  <a:gd name="connsiteX73" fmla="*/ 277165 w 830972"/>
                  <a:gd name="connsiteY73" fmla="*/ 315980 h 796660"/>
                  <a:gd name="connsiteX74" fmla="*/ 295147 w 830972"/>
                  <a:gd name="connsiteY74" fmla="*/ 327038 h 796660"/>
                  <a:gd name="connsiteX75" fmla="*/ 295182 w 830972"/>
                  <a:gd name="connsiteY75" fmla="*/ 327038 h 796660"/>
                  <a:gd name="connsiteX76" fmla="*/ 431624 w 830972"/>
                  <a:gd name="connsiteY76" fmla="*/ 76729 h 796660"/>
                  <a:gd name="connsiteX77" fmla="*/ 425760 w 830972"/>
                  <a:gd name="connsiteY77" fmla="*/ 78602 h 796660"/>
                  <a:gd name="connsiteX78" fmla="*/ 374073 w 830972"/>
                  <a:gd name="connsiteY78" fmla="*/ 101389 h 796660"/>
                  <a:gd name="connsiteX79" fmla="*/ 358174 w 830972"/>
                  <a:gd name="connsiteY79" fmla="*/ 110610 h 796660"/>
                  <a:gd name="connsiteX80" fmla="*/ 355596 w 830972"/>
                  <a:gd name="connsiteY80" fmla="*/ 140287 h 796660"/>
                  <a:gd name="connsiteX81" fmla="*/ 382729 w 830972"/>
                  <a:gd name="connsiteY81" fmla="*/ 137143 h 796660"/>
                  <a:gd name="connsiteX82" fmla="*/ 408448 w 830972"/>
                  <a:gd name="connsiteY82" fmla="*/ 123753 h 796660"/>
                  <a:gd name="connsiteX83" fmla="*/ 446462 w 830972"/>
                  <a:gd name="connsiteY83" fmla="*/ 93405 h 796660"/>
                  <a:gd name="connsiteX84" fmla="*/ 431624 w 830972"/>
                  <a:gd name="connsiteY84" fmla="*/ 76694 h 796660"/>
                  <a:gd name="connsiteX85" fmla="*/ 431624 w 830972"/>
                  <a:gd name="connsiteY85" fmla="*/ 76729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21450 w 830972"/>
                  <a:gd name="connsiteY30" fmla="*/ 191585 h 796660"/>
                  <a:gd name="connsiteX31" fmla="*/ 225230 w 830972"/>
                  <a:gd name="connsiteY31" fmla="*/ 179220 h 796660"/>
                  <a:gd name="connsiteX32" fmla="*/ 198238 w 830972"/>
                  <a:gd name="connsiteY32" fmla="*/ 152122 h 796660"/>
                  <a:gd name="connsiteX33" fmla="*/ 166796 w 830972"/>
                  <a:gd name="connsiteY33" fmla="*/ 166325 h 796660"/>
                  <a:gd name="connsiteX34" fmla="*/ 95572 w 830972"/>
                  <a:gd name="connsiteY34" fmla="*/ 273867 h 796660"/>
                  <a:gd name="connsiteX35" fmla="*/ 84372 w 830972"/>
                  <a:gd name="connsiteY35" fmla="*/ 297255 h 796660"/>
                  <a:gd name="connsiteX36" fmla="*/ 52823 w 830972"/>
                  <a:gd name="connsiteY36" fmla="*/ 337919 h 796660"/>
                  <a:gd name="connsiteX37" fmla="*/ 56427 w 830972"/>
                  <a:gd name="connsiteY37" fmla="*/ 350390 h 796660"/>
                  <a:gd name="connsiteX38" fmla="*/ 68509 w 830972"/>
                  <a:gd name="connsiteY38" fmla="*/ 365865 h 796660"/>
                  <a:gd name="connsiteX39" fmla="*/ 119737 w 830972"/>
                  <a:gd name="connsiteY39" fmla="*/ 395859 h 796660"/>
                  <a:gd name="connsiteX40" fmla="*/ 162132 w 830972"/>
                  <a:gd name="connsiteY40" fmla="*/ 382717 h 796660"/>
                  <a:gd name="connsiteX41" fmla="*/ 192303 w 830972"/>
                  <a:gd name="connsiteY41" fmla="*/ 366642 h 796660"/>
                  <a:gd name="connsiteX42" fmla="*/ 246534 w 830972"/>
                  <a:gd name="connsiteY42" fmla="*/ 324635 h 796660"/>
                  <a:gd name="connsiteX43" fmla="*/ 284230 w 830972"/>
                  <a:gd name="connsiteY43" fmla="*/ 230059 h 796660"/>
                  <a:gd name="connsiteX44" fmla="*/ 349908 w 830972"/>
                  <a:gd name="connsiteY44" fmla="*/ 84113 h 796660"/>
                  <a:gd name="connsiteX45" fmla="*/ 353370 w 830972"/>
                  <a:gd name="connsiteY45" fmla="*/ 74468 h 796660"/>
                  <a:gd name="connsiteX46" fmla="*/ 359906 w 830972"/>
                  <a:gd name="connsiteY46" fmla="*/ 62845 h 796660"/>
                  <a:gd name="connsiteX47" fmla="*/ 388805 w 830972"/>
                  <a:gd name="connsiteY47" fmla="*/ 31013 h 796660"/>
                  <a:gd name="connsiteX48" fmla="*/ 341111 w 830972"/>
                  <a:gd name="connsiteY48" fmla="*/ 24866 h 796660"/>
                  <a:gd name="connsiteX49" fmla="*/ 230176 w 830972"/>
                  <a:gd name="connsiteY49" fmla="*/ 74150 h 796660"/>
                  <a:gd name="connsiteX50" fmla="*/ 209261 w 830972"/>
                  <a:gd name="connsiteY50" fmla="*/ 92451 h 796660"/>
                  <a:gd name="connsiteX51" fmla="*/ 212052 w 830972"/>
                  <a:gd name="connsiteY51" fmla="*/ 110857 h 796660"/>
                  <a:gd name="connsiteX52" fmla="*/ 226078 w 830972"/>
                  <a:gd name="connsiteY52" fmla="*/ 114108 h 796660"/>
                  <a:gd name="connsiteX53" fmla="*/ 272678 w 830972"/>
                  <a:gd name="connsiteY53" fmla="*/ 102520 h 796660"/>
                  <a:gd name="connsiteX54" fmla="*/ 267484 w 830972"/>
                  <a:gd name="connsiteY54" fmla="*/ 112129 h 796660"/>
                  <a:gd name="connsiteX55" fmla="*/ 242754 w 830972"/>
                  <a:gd name="connsiteY55" fmla="*/ 161096 h 796660"/>
                  <a:gd name="connsiteX56" fmla="*/ 221415 w 830972"/>
                  <a:gd name="connsiteY56" fmla="*/ 191656 h 796660"/>
                  <a:gd name="connsiteX57" fmla="*/ 221450 w 830972"/>
                  <a:gd name="connsiteY57" fmla="*/ 191585 h 796660"/>
                  <a:gd name="connsiteX58" fmla="*/ 105358 w 830972"/>
                  <a:gd name="connsiteY58" fmla="*/ 191726 h 796660"/>
                  <a:gd name="connsiteX59" fmla="*/ 59041 w 830972"/>
                  <a:gd name="connsiteY59" fmla="*/ 237513 h 796660"/>
                  <a:gd name="connsiteX60" fmla="*/ 23888 w 830972"/>
                  <a:gd name="connsiteY60" fmla="*/ 356008 h 796660"/>
                  <a:gd name="connsiteX61" fmla="*/ 28834 w 830972"/>
                  <a:gd name="connsiteY61" fmla="*/ 363816 h 796660"/>
                  <a:gd name="connsiteX62" fmla="*/ 36466 w 830972"/>
                  <a:gd name="connsiteY62" fmla="*/ 358092 h 796660"/>
                  <a:gd name="connsiteX63" fmla="*/ 62892 w 830972"/>
                  <a:gd name="connsiteY63" fmla="*/ 292097 h 796660"/>
                  <a:gd name="connsiteX64" fmla="*/ 99988 w 830972"/>
                  <a:gd name="connsiteY64" fmla="*/ 216068 h 796660"/>
                  <a:gd name="connsiteX65" fmla="*/ 105358 w 830972"/>
                  <a:gd name="connsiteY65" fmla="*/ 191691 h 796660"/>
                  <a:gd name="connsiteX66" fmla="*/ 105358 w 830972"/>
                  <a:gd name="connsiteY66" fmla="*/ 191726 h 796660"/>
                  <a:gd name="connsiteX67" fmla="*/ 295182 w 830972"/>
                  <a:gd name="connsiteY67" fmla="*/ 327038 h 796660"/>
                  <a:gd name="connsiteX68" fmla="*/ 354394 w 830972"/>
                  <a:gd name="connsiteY68" fmla="*/ 281922 h 796660"/>
                  <a:gd name="connsiteX69" fmla="*/ 351956 w 830972"/>
                  <a:gd name="connsiteY69" fmla="*/ 253765 h 796660"/>
                  <a:gd name="connsiteX70" fmla="*/ 322492 w 830972"/>
                  <a:gd name="connsiteY70" fmla="*/ 247617 h 796660"/>
                  <a:gd name="connsiteX71" fmla="*/ 309137 w 830972"/>
                  <a:gd name="connsiteY71" fmla="*/ 271535 h 796660"/>
                  <a:gd name="connsiteX72" fmla="*/ 288187 w 830972"/>
                  <a:gd name="connsiteY72" fmla="*/ 297290 h 796660"/>
                  <a:gd name="connsiteX73" fmla="*/ 277165 w 830972"/>
                  <a:gd name="connsiteY73" fmla="*/ 315980 h 796660"/>
                  <a:gd name="connsiteX74" fmla="*/ 295147 w 830972"/>
                  <a:gd name="connsiteY74" fmla="*/ 327038 h 796660"/>
                  <a:gd name="connsiteX75" fmla="*/ 295182 w 830972"/>
                  <a:gd name="connsiteY75" fmla="*/ 327038 h 796660"/>
                  <a:gd name="connsiteX76" fmla="*/ 431624 w 830972"/>
                  <a:gd name="connsiteY76" fmla="*/ 76694 h 796660"/>
                  <a:gd name="connsiteX77" fmla="*/ 425760 w 830972"/>
                  <a:gd name="connsiteY77" fmla="*/ 78602 h 796660"/>
                  <a:gd name="connsiteX78" fmla="*/ 374073 w 830972"/>
                  <a:gd name="connsiteY78" fmla="*/ 101389 h 796660"/>
                  <a:gd name="connsiteX79" fmla="*/ 358174 w 830972"/>
                  <a:gd name="connsiteY79" fmla="*/ 110610 h 796660"/>
                  <a:gd name="connsiteX80" fmla="*/ 355596 w 830972"/>
                  <a:gd name="connsiteY80" fmla="*/ 140287 h 796660"/>
                  <a:gd name="connsiteX81" fmla="*/ 382729 w 830972"/>
                  <a:gd name="connsiteY81" fmla="*/ 137143 h 796660"/>
                  <a:gd name="connsiteX82" fmla="*/ 408448 w 830972"/>
                  <a:gd name="connsiteY82" fmla="*/ 123753 h 796660"/>
                  <a:gd name="connsiteX83" fmla="*/ 446462 w 830972"/>
                  <a:gd name="connsiteY83" fmla="*/ 93405 h 796660"/>
                  <a:gd name="connsiteX84" fmla="*/ 431624 w 830972"/>
                  <a:gd name="connsiteY84"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21450 w 830972"/>
                  <a:gd name="connsiteY30" fmla="*/ 191585 h 796660"/>
                  <a:gd name="connsiteX31" fmla="*/ 225230 w 830972"/>
                  <a:gd name="connsiteY31" fmla="*/ 179220 h 796660"/>
                  <a:gd name="connsiteX32" fmla="*/ 198238 w 830972"/>
                  <a:gd name="connsiteY32" fmla="*/ 152122 h 796660"/>
                  <a:gd name="connsiteX33" fmla="*/ 166796 w 830972"/>
                  <a:gd name="connsiteY33" fmla="*/ 166325 h 796660"/>
                  <a:gd name="connsiteX34" fmla="*/ 95572 w 830972"/>
                  <a:gd name="connsiteY34" fmla="*/ 273867 h 796660"/>
                  <a:gd name="connsiteX35" fmla="*/ 84372 w 830972"/>
                  <a:gd name="connsiteY35" fmla="*/ 297255 h 796660"/>
                  <a:gd name="connsiteX36" fmla="*/ 52823 w 830972"/>
                  <a:gd name="connsiteY36" fmla="*/ 337919 h 796660"/>
                  <a:gd name="connsiteX37" fmla="*/ 56427 w 830972"/>
                  <a:gd name="connsiteY37" fmla="*/ 350390 h 796660"/>
                  <a:gd name="connsiteX38" fmla="*/ 68509 w 830972"/>
                  <a:gd name="connsiteY38" fmla="*/ 365865 h 796660"/>
                  <a:gd name="connsiteX39" fmla="*/ 119737 w 830972"/>
                  <a:gd name="connsiteY39" fmla="*/ 395859 h 796660"/>
                  <a:gd name="connsiteX40" fmla="*/ 162132 w 830972"/>
                  <a:gd name="connsiteY40" fmla="*/ 382717 h 796660"/>
                  <a:gd name="connsiteX41" fmla="*/ 192303 w 830972"/>
                  <a:gd name="connsiteY41" fmla="*/ 366642 h 796660"/>
                  <a:gd name="connsiteX42" fmla="*/ 246534 w 830972"/>
                  <a:gd name="connsiteY42" fmla="*/ 324635 h 796660"/>
                  <a:gd name="connsiteX43" fmla="*/ 284230 w 830972"/>
                  <a:gd name="connsiteY43" fmla="*/ 230059 h 796660"/>
                  <a:gd name="connsiteX44" fmla="*/ 349908 w 830972"/>
                  <a:gd name="connsiteY44" fmla="*/ 84113 h 796660"/>
                  <a:gd name="connsiteX45" fmla="*/ 353370 w 830972"/>
                  <a:gd name="connsiteY45" fmla="*/ 74468 h 796660"/>
                  <a:gd name="connsiteX46" fmla="*/ 359906 w 830972"/>
                  <a:gd name="connsiteY46" fmla="*/ 62845 h 796660"/>
                  <a:gd name="connsiteX47" fmla="*/ 388805 w 830972"/>
                  <a:gd name="connsiteY47" fmla="*/ 31013 h 796660"/>
                  <a:gd name="connsiteX48" fmla="*/ 341111 w 830972"/>
                  <a:gd name="connsiteY48" fmla="*/ 24866 h 796660"/>
                  <a:gd name="connsiteX49" fmla="*/ 230176 w 830972"/>
                  <a:gd name="connsiteY49" fmla="*/ 74150 h 796660"/>
                  <a:gd name="connsiteX50" fmla="*/ 212052 w 830972"/>
                  <a:gd name="connsiteY50" fmla="*/ 110857 h 796660"/>
                  <a:gd name="connsiteX51" fmla="*/ 226078 w 830972"/>
                  <a:gd name="connsiteY51" fmla="*/ 114108 h 796660"/>
                  <a:gd name="connsiteX52" fmla="*/ 272678 w 830972"/>
                  <a:gd name="connsiteY52" fmla="*/ 102520 h 796660"/>
                  <a:gd name="connsiteX53" fmla="*/ 267484 w 830972"/>
                  <a:gd name="connsiteY53" fmla="*/ 112129 h 796660"/>
                  <a:gd name="connsiteX54" fmla="*/ 242754 w 830972"/>
                  <a:gd name="connsiteY54" fmla="*/ 161096 h 796660"/>
                  <a:gd name="connsiteX55" fmla="*/ 221415 w 830972"/>
                  <a:gd name="connsiteY55" fmla="*/ 191656 h 796660"/>
                  <a:gd name="connsiteX56" fmla="*/ 221450 w 830972"/>
                  <a:gd name="connsiteY56" fmla="*/ 191585 h 796660"/>
                  <a:gd name="connsiteX57" fmla="*/ 105358 w 830972"/>
                  <a:gd name="connsiteY57" fmla="*/ 191726 h 796660"/>
                  <a:gd name="connsiteX58" fmla="*/ 59041 w 830972"/>
                  <a:gd name="connsiteY58" fmla="*/ 237513 h 796660"/>
                  <a:gd name="connsiteX59" fmla="*/ 23888 w 830972"/>
                  <a:gd name="connsiteY59" fmla="*/ 356008 h 796660"/>
                  <a:gd name="connsiteX60" fmla="*/ 28834 w 830972"/>
                  <a:gd name="connsiteY60" fmla="*/ 363816 h 796660"/>
                  <a:gd name="connsiteX61" fmla="*/ 36466 w 830972"/>
                  <a:gd name="connsiteY61" fmla="*/ 358092 h 796660"/>
                  <a:gd name="connsiteX62" fmla="*/ 62892 w 830972"/>
                  <a:gd name="connsiteY62" fmla="*/ 292097 h 796660"/>
                  <a:gd name="connsiteX63" fmla="*/ 99988 w 830972"/>
                  <a:gd name="connsiteY63" fmla="*/ 216068 h 796660"/>
                  <a:gd name="connsiteX64" fmla="*/ 105358 w 830972"/>
                  <a:gd name="connsiteY64" fmla="*/ 191691 h 796660"/>
                  <a:gd name="connsiteX65" fmla="*/ 105358 w 830972"/>
                  <a:gd name="connsiteY65" fmla="*/ 191726 h 796660"/>
                  <a:gd name="connsiteX66" fmla="*/ 295182 w 830972"/>
                  <a:gd name="connsiteY66" fmla="*/ 327038 h 796660"/>
                  <a:gd name="connsiteX67" fmla="*/ 354394 w 830972"/>
                  <a:gd name="connsiteY67" fmla="*/ 281922 h 796660"/>
                  <a:gd name="connsiteX68" fmla="*/ 351956 w 830972"/>
                  <a:gd name="connsiteY68" fmla="*/ 253765 h 796660"/>
                  <a:gd name="connsiteX69" fmla="*/ 322492 w 830972"/>
                  <a:gd name="connsiteY69" fmla="*/ 247617 h 796660"/>
                  <a:gd name="connsiteX70" fmla="*/ 309137 w 830972"/>
                  <a:gd name="connsiteY70" fmla="*/ 271535 h 796660"/>
                  <a:gd name="connsiteX71" fmla="*/ 288187 w 830972"/>
                  <a:gd name="connsiteY71" fmla="*/ 297290 h 796660"/>
                  <a:gd name="connsiteX72" fmla="*/ 277165 w 830972"/>
                  <a:gd name="connsiteY72" fmla="*/ 315980 h 796660"/>
                  <a:gd name="connsiteX73" fmla="*/ 295147 w 830972"/>
                  <a:gd name="connsiteY73" fmla="*/ 327038 h 796660"/>
                  <a:gd name="connsiteX74" fmla="*/ 295182 w 830972"/>
                  <a:gd name="connsiteY74" fmla="*/ 327038 h 796660"/>
                  <a:gd name="connsiteX75" fmla="*/ 431624 w 830972"/>
                  <a:gd name="connsiteY75" fmla="*/ 76694 h 796660"/>
                  <a:gd name="connsiteX76" fmla="*/ 425760 w 830972"/>
                  <a:gd name="connsiteY76" fmla="*/ 78602 h 796660"/>
                  <a:gd name="connsiteX77" fmla="*/ 374073 w 830972"/>
                  <a:gd name="connsiteY77" fmla="*/ 101389 h 796660"/>
                  <a:gd name="connsiteX78" fmla="*/ 358174 w 830972"/>
                  <a:gd name="connsiteY78" fmla="*/ 110610 h 796660"/>
                  <a:gd name="connsiteX79" fmla="*/ 355596 w 830972"/>
                  <a:gd name="connsiteY79" fmla="*/ 140287 h 796660"/>
                  <a:gd name="connsiteX80" fmla="*/ 382729 w 830972"/>
                  <a:gd name="connsiteY80" fmla="*/ 137143 h 796660"/>
                  <a:gd name="connsiteX81" fmla="*/ 408448 w 830972"/>
                  <a:gd name="connsiteY81" fmla="*/ 123753 h 796660"/>
                  <a:gd name="connsiteX82" fmla="*/ 446462 w 830972"/>
                  <a:gd name="connsiteY82" fmla="*/ 93405 h 796660"/>
                  <a:gd name="connsiteX83" fmla="*/ 431624 w 830972"/>
                  <a:gd name="connsiteY83"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21450 w 830972"/>
                  <a:gd name="connsiteY30" fmla="*/ 191585 h 796660"/>
                  <a:gd name="connsiteX31" fmla="*/ 225230 w 830972"/>
                  <a:gd name="connsiteY31" fmla="*/ 179220 h 796660"/>
                  <a:gd name="connsiteX32" fmla="*/ 198238 w 830972"/>
                  <a:gd name="connsiteY32" fmla="*/ 152122 h 796660"/>
                  <a:gd name="connsiteX33" fmla="*/ 166796 w 830972"/>
                  <a:gd name="connsiteY33" fmla="*/ 166325 h 796660"/>
                  <a:gd name="connsiteX34" fmla="*/ 95572 w 830972"/>
                  <a:gd name="connsiteY34" fmla="*/ 273867 h 796660"/>
                  <a:gd name="connsiteX35" fmla="*/ 84372 w 830972"/>
                  <a:gd name="connsiteY35" fmla="*/ 297255 h 796660"/>
                  <a:gd name="connsiteX36" fmla="*/ 52823 w 830972"/>
                  <a:gd name="connsiteY36" fmla="*/ 337919 h 796660"/>
                  <a:gd name="connsiteX37" fmla="*/ 56427 w 830972"/>
                  <a:gd name="connsiteY37" fmla="*/ 350390 h 796660"/>
                  <a:gd name="connsiteX38" fmla="*/ 68509 w 830972"/>
                  <a:gd name="connsiteY38" fmla="*/ 365865 h 796660"/>
                  <a:gd name="connsiteX39" fmla="*/ 119737 w 830972"/>
                  <a:gd name="connsiteY39" fmla="*/ 395859 h 796660"/>
                  <a:gd name="connsiteX40" fmla="*/ 162132 w 830972"/>
                  <a:gd name="connsiteY40" fmla="*/ 382717 h 796660"/>
                  <a:gd name="connsiteX41" fmla="*/ 192303 w 830972"/>
                  <a:gd name="connsiteY41" fmla="*/ 366642 h 796660"/>
                  <a:gd name="connsiteX42" fmla="*/ 246534 w 830972"/>
                  <a:gd name="connsiteY42" fmla="*/ 324635 h 796660"/>
                  <a:gd name="connsiteX43" fmla="*/ 284230 w 830972"/>
                  <a:gd name="connsiteY43" fmla="*/ 230059 h 796660"/>
                  <a:gd name="connsiteX44" fmla="*/ 349908 w 830972"/>
                  <a:gd name="connsiteY44" fmla="*/ 84113 h 796660"/>
                  <a:gd name="connsiteX45" fmla="*/ 353370 w 830972"/>
                  <a:gd name="connsiteY45" fmla="*/ 74468 h 796660"/>
                  <a:gd name="connsiteX46" fmla="*/ 359906 w 830972"/>
                  <a:gd name="connsiteY46" fmla="*/ 62845 h 796660"/>
                  <a:gd name="connsiteX47" fmla="*/ 388805 w 830972"/>
                  <a:gd name="connsiteY47" fmla="*/ 31013 h 796660"/>
                  <a:gd name="connsiteX48" fmla="*/ 341111 w 830972"/>
                  <a:gd name="connsiteY48" fmla="*/ 24866 h 796660"/>
                  <a:gd name="connsiteX49" fmla="*/ 230176 w 830972"/>
                  <a:gd name="connsiteY49" fmla="*/ 74150 h 796660"/>
                  <a:gd name="connsiteX50" fmla="*/ 226078 w 830972"/>
                  <a:gd name="connsiteY50" fmla="*/ 114108 h 796660"/>
                  <a:gd name="connsiteX51" fmla="*/ 272678 w 830972"/>
                  <a:gd name="connsiteY51" fmla="*/ 102520 h 796660"/>
                  <a:gd name="connsiteX52" fmla="*/ 267484 w 830972"/>
                  <a:gd name="connsiteY52" fmla="*/ 112129 h 796660"/>
                  <a:gd name="connsiteX53" fmla="*/ 242754 w 830972"/>
                  <a:gd name="connsiteY53" fmla="*/ 161096 h 796660"/>
                  <a:gd name="connsiteX54" fmla="*/ 221415 w 830972"/>
                  <a:gd name="connsiteY54" fmla="*/ 191656 h 796660"/>
                  <a:gd name="connsiteX55" fmla="*/ 221450 w 830972"/>
                  <a:gd name="connsiteY55" fmla="*/ 191585 h 796660"/>
                  <a:gd name="connsiteX56" fmla="*/ 105358 w 830972"/>
                  <a:gd name="connsiteY56" fmla="*/ 191726 h 796660"/>
                  <a:gd name="connsiteX57" fmla="*/ 59041 w 830972"/>
                  <a:gd name="connsiteY57" fmla="*/ 237513 h 796660"/>
                  <a:gd name="connsiteX58" fmla="*/ 23888 w 830972"/>
                  <a:gd name="connsiteY58" fmla="*/ 356008 h 796660"/>
                  <a:gd name="connsiteX59" fmla="*/ 28834 w 830972"/>
                  <a:gd name="connsiteY59" fmla="*/ 363816 h 796660"/>
                  <a:gd name="connsiteX60" fmla="*/ 36466 w 830972"/>
                  <a:gd name="connsiteY60" fmla="*/ 358092 h 796660"/>
                  <a:gd name="connsiteX61" fmla="*/ 62892 w 830972"/>
                  <a:gd name="connsiteY61" fmla="*/ 292097 h 796660"/>
                  <a:gd name="connsiteX62" fmla="*/ 99988 w 830972"/>
                  <a:gd name="connsiteY62" fmla="*/ 216068 h 796660"/>
                  <a:gd name="connsiteX63" fmla="*/ 105358 w 830972"/>
                  <a:gd name="connsiteY63" fmla="*/ 191691 h 796660"/>
                  <a:gd name="connsiteX64" fmla="*/ 105358 w 830972"/>
                  <a:gd name="connsiteY64" fmla="*/ 191726 h 796660"/>
                  <a:gd name="connsiteX65" fmla="*/ 295182 w 830972"/>
                  <a:gd name="connsiteY65" fmla="*/ 327038 h 796660"/>
                  <a:gd name="connsiteX66" fmla="*/ 354394 w 830972"/>
                  <a:gd name="connsiteY66" fmla="*/ 281922 h 796660"/>
                  <a:gd name="connsiteX67" fmla="*/ 351956 w 830972"/>
                  <a:gd name="connsiteY67" fmla="*/ 253765 h 796660"/>
                  <a:gd name="connsiteX68" fmla="*/ 322492 w 830972"/>
                  <a:gd name="connsiteY68" fmla="*/ 247617 h 796660"/>
                  <a:gd name="connsiteX69" fmla="*/ 309137 w 830972"/>
                  <a:gd name="connsiteY69" fmla="*/ 271535 h 796660"/>
                  <a:gd name="connsiteX70" fmla="*/ 288187 w 830972"/>
                  <a:gd name="connsiteY70" fmla="*/ 297290 h 796660"/>
                  <a:gd name="connsiteX71" fmla="*/ 277165 w 830972"/>
                  <a:gd name="connsiteY71" fmla="*/ 315980 h 796660"/>
                  <a:gd name="connsiteX72" fmla="*/ 295147 w 830972"/>
                  <a:gd name="connsiteY72" fmla="*/ 327038 h 796660"/>
                  <a:gd name="connsiteX73" fmla="*/ 295182 w 830972"/>
                  <a:gd name="connsiteY73" fmla="*/ 327038 h 796660"/>
                  <a:gd name="connsiteX74" fmla="*/ 431624 w 830972"/>
                  <a:gd name="connsiteY74" fmla="*/ 76694 h 796660"/>
                  <a:gd name="connsiteX75" fmla="*/ 425760 w 830972"/>
                  <a:gd name="connsiteY75" fmla="*/ 78602 h 796660"/>
                  <a:gd name="connsiteX76" fmla="*/ 374073 w 830972"/>
                  <a:gd name="connsiteY76" fmla="*/ 101389 h 796660"/>
                  <a:gd name="connsiteX77" fmla="*/ 358174 w 830972"/>
                  <a:gd name="connsiteY77" fmla="*/ 110610 h 796660"/>
                  <a:gd name="connsiteX78" fmla="*/ 355596 w 830972"/>
                  <a:gd name="connsiteY78" fmla="*/ 140287 h 796660"/>
                  <a:gd name="connsiteX79" fmla="*/ 382729 w 830972"/>
                  <a:gd name="connsiteY79" fmla="*/ 137143 h 796660"/>
                  <a:gd name="connsiteX80" fmla="*/ 408448 w 830972"/>
                  <a:gd name="connsiteY80" fmla="*/ 123753 h 796660"/>
                  <a:gd name="connsiteX81" fmla="*/ 446462 w 830972"/>
                  <a:gd name="connsiteY81" fmla="*/ 93405 h 796660"/>
                  <a:gd name="connsiteX82" fmla="*/ 431624 w 830972"/>
                  <a:gd name="connsiteY82"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21450 w 830972"/>
                  <a:gd name="connsiteY30" fmla="*/ 191585 h 796660"/>
                  <a:gd name="connsiteX31" fmla="*/ 225230 w 830972"/>
                  <a:gd name="connsiteY31" fmla="*/ 179220 h 796660"/>
                  <a:gd name="connsiteX32" fmla="*/ 198238 w 830972"/>
                  <a:gd name="connsiteY32" fmla="*/ 152122 h 796660"/>
                  <a:gd name="connsiteX33" fmla="*/ 166796 w 830972"/>
                  <a:gd name="connsiteY33" fmla="*/ 166325 h 796660"/>
                  <a:gd name="connsiteX34" fmla="*/ 95572 w 830972"/>
                  <a:gd name="connsiteY34" fmla="*/ 273867 h 796660"/>
                  <a:gd name="connsiteX35" fmla="*/ 84372 w 830972"/>
                  <a:gd name="connsiteY35" fmla="*/ 297255 h 796660"/>
                  <a:gd name="connsiteX36" fmla="*/ 52823 w 830972"/>
                  <a:gd name="connsiteY36" fmla="*/ 337919 h 796660"/>
                  <a:gd name="connsiteX37" fmla="*/ 56427 w 830972"/>
                  <a:gd name="connsiteY37" fmla="*/ 350390 h 796660"/>
                  <a:gd name="connsiteX38" fmla="*/ 68509 w 830972"/>
                  <a:gd name="connsiteY38" fmla="*/ 365865 h 796660"/>
                  <a:gd name="connsiteX39" fmla="*/ 119737 w 830972"/>
                  <a:gd name="connsiteY39" fmla="*/ 395859 h 796660"/>
                  <a:gd name="connsiteX40" fmla="*/ 162132 w 830972"/>
                  <a:gd name="connsiteY40" fmla="*/ 382717 h 796660"/>
                  <a:gd name="connsiteX41" fmla="*/ 192303 w 830972"/>
                  <a:gd name="connsiteY41" fmla="*/ 366642 h 796660"/>
                  <a:gd name="connsiteX42" fmla="*/ 246534 w 830972"/>
                  <a:gd name="connsiteY42" fmla="*/ 324635 h 796660"/>
                  <a:gd name="connsiteX43" fmla="*/ 284230 w 830972"/>
                  <a:gd name="connsiteY43" fmla="*/ 230059 h 796660"/>
                  <a:gd name="connsiteX44" fmla="*/ 349908 w 830972"/>
                  <a:gd name="connsiteY44" fmla="*/ 84113 h 796660"/>
                  <a:gd name="connsiteX45" fmla="*/ 353370 w 830972"/>
                  <a:gd name="connsiteY45" fmla="*/ 74468 h 796660"/>
                  <a:gd name="connsiteX46" fmla="*/ 359906 w 830972"/>
                  <a:gd name="connsiteY46" fmla="*/ 62845 h 796660"/>
                  <a:gd name="connsiteX47" fmla="*/ 388805 w 830972"/>
                  <a:gd name="connsiteY47" fmla="*/ 31013 h 796660"/>
                  <a:gd name="connsiteX48" fmla="*/ 341111 w 830972"/>
                  <a:gd name="connsiteY48" fmla="*/ 24866 h 796660"/>
                  <a:gd name="connsiteX49" fmla="*/ 230176 w 830972"/>
                  <a:gd name="connsiteY49" fmla="*/ 74150 h 796660"/>
                  <a:gd name="connsiteX50" fmla="*/ 226078 w 830972"/>
                  <a:gd name="connsiteY50" fmla="*/ 114108 h 796660"/>
                  <a:gd name="connsiteX51" fmla="*/ 272678 w 830972"/>
                  <a:gd name="connsiteY51" fmla="*/ 102520 h 796660"/>
                  <a:gd name="connsiteX52" fmla="*/ 267484 w 830972"/>
                  <a:gd name="connsiteY52" fmla="*/ 112129 h 796660"/>
                  <a:gd name="connsiteX53" fmla="*/ 242754 w 830972"/>
                  <a:gd name="connsiteY53" fmla="*/ 161096 h 796660"/>
                  <a:gd name="connsiteX54" fmla="*/ 221415 w 830972"/>
                  <a:gd name="connsiteY54" fmla="*/ 191656 h 796660"/>
                  <a:gd name="connsiteX55" fmla="*/ 221450 w 830972"/>
                  <a:gd name="connsiteY55" fmla="*/ 191585 h 796660"/>
                  <a:gd name="connsiteX56" fmla="*/ 105358 w 830972"/>
                  <a:gd name="connsiteY56" fmla="*/ 191691 h 796660"/>
                  <a:gd name="connsiteX57" fmla="*/ 59041 w 830972"/>
                  <a:gd name="connsiteY57" fmla="*/ 237513 h 796660"/>
                  <a:gd name="connsiteX58" fmla="*/ 23888 w 830972"/>
                  <a:gd name="connsiteY58" fmla="*/ 356008 h 796660"/>
                  <a:gd name="connsiteX59" fmla="*/ 28834 w 830972"/>
                  <a:gd name="connsiteY59" fmla="*/ 363816 h 796660"/>
                  <a:gd name="connsiteX60" fmla="*/ 36466 w 830972"/>
                  <a:gd name="connsiteY60" fmla="*/ 358092 h 796660"/>
                  <a:gd name="connsiteX61" fmla="*/ 62892 w 830972"/>
                  <a:gd name="connsiteY61" fmla="*/ 292097 h 796660"/>
                  <a:gd name="connsiteX62" fmla="*/ 99988 w 830972"/>
                  <a:gd name="connsiteY62" fmla="*/ 216068 h 796660"/>
                  <a:gd name="connsiteX63" fmla="*/ 105358 w 830972"/>
                  <a:gd name="connsiteY63" fmla="*/ 191691 h 796660"/>
                  <a:gd name="connsiteX64" fmla="*/ 295182 w 830972"/>
                  <a:gd name="connsiteY64" fmla="*/ 327038 h 796660"/>
                  <a:gd name="connsiteX65" fmla="*/ 354394 w 830972"/>
                  <a:gd name="connsiteY65" fmla="*/ 281922 h 796660"/>
                  <a:gd name="connsiteX66" fmla="*/ 351956 w 830972"/>
                  <a:gd name="connsiteY66" fmla="*/ 253765 h 796660"/>
                  <a:gd name="connsiteX67" fmla="*/ 322492 w 830972"/>
                  <a:gd name="connsiteY67" fmla="*/ 247617 h 796660"/>
                  <a:gd name="connsiteX68" fmla="*/ 309137 w 830972"/>
                  <a:gd name="connsiteY68" fmla="*/ 271535 h 796660"/>
                  <a:gd name="connsiteX69" fmla="*/ 288187 w 830972"/>
                  <a:gd name="connsiteY69" fmla="*/ 297290 h 796660"/>
                  <a:gd name="connsiteX70" fmla="*/ 277165 w 830972"/>
                  <a:gd name="connsiteY70" fmla="*/ 315980 h 796660"/>
                  <a:gd name="connsiteX71" fmla="*/ 295147 w 830972"/>
                  <a:gd name="connsiteY71" fmla="*/ 327038 h 796660"/>
                  <a:gd name="connsiteX72" fmla="*/ 295182 w 830972"/>
                  <a:gd name="connsiteY72" fmla="*/ 327038 h 796660"/>
                  <a:gd name="connsiteX73" fmla="*/ 431624 w 830972"/>
                  <a:gd name="connsiteY73" fmla="*/ 76694 h 796660"/>
                  <a:gd name="connsiteX74" fmla="*/ 425760 w 830972"/>
                  <a:gd name="connsiteY74" fmla="*/ 78602 h 796660"/>
                  <a:gd name="connsiteX75" fmla="*/ 374073 w 830972"/>
                  <a:gd name="connsiteY75" fmla="*/ 101389 h 796660"/>
                  <a:gd name="connsiteX76" fmla="*/ 358174 w 830972"/>
                  <a:gd name="connsiteY76" fmla="*/ 110610 h 796660"/>
                  <a:gd name="connsiteX77" fmla="*/ 355596 w 830972"/>
                  <a:gd name="connsiteY77" fmla="*/ 140287 h 796660"/>
                  <a:gd name="connsiteX78" fmla="*/ 382729 w 830972"/>
                  <a:gd name="connsiteY78" fmla="*/ 137143 h 796660"/>
                  <a:gd name="connsiteX79" fmla="*/ 408448 w 830972"/>
                  <a:gd name="connsiteY79" fmla="*/ 123753 h 796660"/>
                  <a:gd name="connsiteX80" fmla="*/ 446462 w 830972"/>
                  <a:gd name="connsiteY80" fmla="*/ 93405 h 796660"/>
                  <a:gd name="connsiteX81" fmla="*/ 431624 w 830972"/>
                  <a:gd name="connsiteY81"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21415 w 830972"/>
                  <a:gd name="connsiteY30" fmla="*/ 191656 h 796660"/>
                  <a:gd name="connsiteX31" fmla="*/ 225230 w 830972"/>
                  <a:gd name="connsiteY31" fmla="*/ 179220 h 796660"/>
                  <a:gd name="connsiteX32" fmla="*/ 198238 w 830972"/>
                  <a:gd name="connsiteY32" fmla="*/ 152122 h 796660"/>
                  <a:gd name="connsiteX33" fmla="*/ 166796 w 830972"/>
                  <a:gd name="connsiteY33" fmla="*/ 166325 h 796660"/>
                  <a:gd name="connsiteX34" fmla="*/ 95572 w 830972"/>
                  <a:gd name="connsiteY34" fmla="*/ 273867 h 796660"/>
                  <a:gd name="connsiteX35" fmla="*/ 84372 w 830972"/>
                  <a:gd name="connsiteY35" fmla="*/ 297255 h 796660"/>
                  <a:gd name="connsiteX36" fmla="*/ 52823 w 830972"/>
                  <a:gd name="connsiteY36" fmla="*/ 337919 h 796660"/>
                  <a:gd name="connsiteX37" fmla="*/ 56427 w 830972"/>
                  <a:gd name="connsiteY37" fmla="*/ 350390 h 796660"/>
                  <a:gd name="connsiteX38" fmla="*/ 68509 w 830972"/>
                  <a:gd name="connsiteY38" fmla="*/ 365865 h 796660"/>
                  <a:gd name="connsiteX39" fmla="*/ 119737 w 830972"/>
                  <a:gd name="connsiteY39" fmla="*/ 395859 h 796660"/>
                  <a:gd name="connsiteX40" fmla="*/ 162132 w 830972"/>
                  <a:gd name="connsiteY40" fmla="*/ 382717 h 796660"/>
                  <a:gd name="connsiteX41" fmla="*/ 192303 w 830972"/>
                  <a:gd name="connsiteY41" fmla="*/ 366642 h 796660"/>
                  <a:gd name="connsiteX42" fmla="*/ 246534 w 830972"/>
                  <a:gd name="connsiteY42" fmla="*/ 324635 h 796660"/>
                  <a:gd name="connsiteX43" fmla="*/ 284230 w 830972"/>
                  <a:gd name="connsiteY43" fmla="*/ 230059 h 796660"/>
                  <a:gd name="connsiteX44" fmla="*/ 349908 w 830972"/>
                  <a:gd name="connsiteY44" fmla="*/ 84113 h 796660"/>
                  <a:gd name="connsiteX45" fmla="*/ 353370 w 830972"/>
                  <a:gd name="connsiteY45" fmla="*/ 74468 h 796660"/>
                  <a:gd name="connsiteX46" fmla="*/ 359906 w 830972"/>
                  <a:gd name="connsiteY46" fmla="*/ 62845 h 796660"/>
                  <a:gd name="connsiteX47" fmla="*/ 388805 w 830972"/>
                  <a:gd name="connsiteY47" fmla="*/ 31013 h 796660"/>
                  <a:gd name="connsiteX48" fmla="*/ 341111 w 830972"/>
                  <a:gd name="connsiteY48" fmla="*/ 24866 h 796660"/>
                  <a:gd name="connsiteX49" fmla="*/ 230176 w 830972"/>
                  <a:gd name="connsiteY49" fmla="*/ 74150 h 796660"/>
                  <a:gd name="connsiteX50" fmla="*/ 226078 w 830972"/>
                  <a:gd name="connsiteY50" fmla="*/ 114108 h 796660"/>
                  <a:gd name="connsiteX51" fmla="*/ 272678 w 830972"/>
                  <a:gd name="connsiteY51" fmla="*/ 102520 h 796660"/>
                  <a:gd name="connsiteX52" fmla="*/ 267484 w 830972"/>
                  <a:gd name="connsiteY52" fmla="*/ 112129 h 796660"/>
                  <a:gd name="connsiteX53" fmla="*/ 242754 w 830972"/>
                  <a:gd name="connsiteY53" fmla="*/ 161096 h 796660"/>
                  <a:gd name="connsiteX54" fmla="*/ 221415 w 830972"/>
                  <a:gd name="connsiteY54" fmla="*/ 191656 h 796660"/>
                  <a:gd name="connsiteX55" fmla="*/ 105358 w 830972"/>
                  <a:gd name="connsiteY55" fmla="*/ 191691 h 796660"/>
                  <a:gd name="connsiteX56" fmla="*/ 59041 w 830972"/>
                  <a:gd name="connsiteY56" fmla="*/ 237513 h 796660"/>
                  <a:gd name="connsiteX57" fmla="*/ 23888 w 830972"/>
                  <a:gd name="connsiteY57" fmla="*/ 356008 h 796660"/>
                  <a:gd name="connsiteX58" fmla="*/ 28834 w 830972"/>
                  <a:gd name="connsiteY58" fmla="*/ 363816 h 796660"/>
                  <a:gd name="connsiteX59" fmla="*/ 36466 w 830972"/>
                  <a:gd name="connsiteY59" fmla="*/ 358092 h 796660"/>
                  <a:gd name="connsiteX60" fmla="*/ 62892 w 830972"/>
                  <a:gd name="connsiteY60" fmla="*/ 292097 h 796660"/>
                  <a:gd name="connsiteX61" fmla="*/ 99988 w 830972"/>
                  <a:gd name="connsiteY61" fmla="*/ 216068 h 796660"/>
                  <a:gd name="connsiteX62" fmla="*/ 105358 w 830972"/>
                  <a:gd name="connsiteY62" fmla="*/ 191691 h 796660"/>
                  <a:gd name="connsiteX63" fmla="*/ 295182 w 830972"/>
                  <a:gd name="connsiteY63" fmla="*/ 327038 h 796660"/>
                  <a:gd name="connsiteX64" fmla="*/ 354394 w 830972"/>
                  <a:gd name="connsiteY64" fmla="*/ 281922 h 796660"/>
                  <a:gd name="connsiteX65" fmla="*/ 351956 w 830972"/>
                  <a:gd name="connsiteY65" fmla="*/ 253765 h 796660"/>
                  <a:gd name="connsiteX66" fmla="*/ 322492 w 830972"/>
                  <a:gd name="connsiteY66" fmla="*/ 247617 h 796660"/>
                  <a:gd name="connsiteX67" fmla="*/ 309137 w 830972"/>
                  <a:gd name="connsiteY67" fmla="*/ 271535 h 796660"/>
                  <a:gd name="connsiteX68" fmla="*/ 288187 w 830972"/>
                  <a:gd name="connsiteY68" fmla="*/ 297290 h 796660"/>
                  <a:gd name="connsiteX69" fmla="*/ 277165 w 830972"/>
                  <a:gd name="connsiteY69" fmla="*/ 315980 h 796660"/>
                  <a:gd name="connsiteX70" fmla="*/ 295147 w 830972"/>
                  <a:gd name="connsiteY70" fmla="*/ 327038 h 796660"/>
                  <a:gd name="connsiteX71" fmla="*/ 295182 w 830972"/>
                  <a:gd name="connsiteY71" fmla="*/ 327038 h 796660"/>
                  <a:gd name="connsiteX72" fmla="*/ 431624 w 830972"/>
                  <a:gd name="connsiteY72" fmla="*/ 76694 h 796660"/>
                  <a:gd name="connsiteX73" fmla="*/ 425760 w 830972"/>
                  <a:gd name="connsiteY73" fmla="*/ 78602 h 796660"/>
                  <a:gd name="connsiteX74" fmla="*/ 374073 w 830972"/>
                  <a:gd name="connsiteY74" fmla="*/ 101389 h 796660"/>
                  <a:gd name="connsiteX75" fmla="*/ 358174 w 830972"/>
                  <a:gd name="connsiteY75" fmla="*/ 110610 h 796660"/>
                  <a:gd name="connsiteX76" fmla="*/ 355596 w 830972"/>
                  <a:gd name="connsiteY76" fmla="*/ 140287 h 796660"/>
                  <a:gd name="connsiteX77" fmla="*/ 382729 w 830972"/>
                  <a:gd name="connsiteY77" fmla="*/ 137143 h 796660"/>
                  <a:gd name="connsiteX78" fmla="*/ 408448 w 830972"/>
                  <a:gd name="connsiteY78" fmla="*/ 123753 h 796660"/>
                  <a:gd name="connsiteX79" fmla="*/ 446462 w 830972"/>
                  <a:gd name="connsiteY79" fmla="*/ 93405 h 796660"/>
                  <a:gd name="connsiteX80" fmla="*/ 431624 w 830972"/>
                  <a:gd name="connsiteY80"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21415 w 830972"/>
                  <a:gd name="connsiteY30" fmla="*/ 191656 h 796660"/>
                  <a:gd name="connsiteX31" fmla="*/ 225230 w 830972"/>
                  <a:gd name="connsiteY31" fmla="*/ 179220 h 796660"/>
                  <a:gd name="connsiteX32" fmla="*/ 198238 w 830972"/>
                  <a:gd name="connsiteY32" fmla="*/ 152122 h 796660"/>
                  <a:gd name="connsiteX33" fmla="*/ 166796 w 830972"/>
                  <a:gd name="connsiteY33" fmla="*/ 166325 h 796660"/>
                  <a:gd name="connsiteX34" fmla="*/ 95572 w 830972"/>
                  <a:gd name="connsiteY34" fmla="*/ 273867 h 796660"/>
                  <a:gd name="connsiteX35" fmla="*/ 84372 w 830972"/>
                  <a:gd name="connsiteY35" fmla="*/ 297255 h 796660"/>
                  <a:gd name="connsiteX36" fmla="*/ 52823 w 830972"/>
                  <a:gd name="connsiteY36" fmla="*/ 337919 h 796660"/>
                  <a:gd name="connsiteX37" fmla="*/ 56427 w 830972"/>
                  <a:gd name="connsiteY37" fmla="*/ 350390 h 796660"/>
                  <a:gd name="connsiteX38" fmla="*/ 68509 w 830972"/>
                  <a:gd name="connsiteY38" fmla="*/ 365865 h 796660"/>
                  <a:gd name="connsiteX39" fmla="*/ 119737 w 830972"/>
                  <a:gd name="connsiteY39" fmla="*/ 395859 h 796660"/>
                  <a:gd name="connsiteX40" fmla="*/ 162132 w 830972"/>
                  <a:gd name="connsiteY40" fmla="*/ 382717 h 796660"/>
                  <a:gd name="connsiteX41" fmla="*/ 192303 w 830972"/>
                  <a:gd name="connsiteY41" fmla="*/ 366642 h 796660"/>
                  <a:gd name="connsiteX42" fmla="*/ 246534 w 830972"/>
                  <a:gd name="connsiteY42" fmla="*/ 324635 h 796660"/>
                  <a:gd name="connsiteX43" fmla="*/ 284230 w 830972"/>
                  <a:gd name="connsiteY43" fmla="*/ 230059 h 796660"/>
                  <a:gd name="connsiteX44" fmla="*/ 349908 w 830972"/>
                  <a:gd name="connsiteY44" fmla="*/ 84113 h 796660"/>
                  <a:gd name="connsiteX45" fmla="*/ 353370 w 830972"/>
                  <a:gd name="connsiteY45" fmla="*/ 74468 h 796660"/>
                  <a:gd name="connsiteX46" fmla="*/ 359906 w 830972"/>
                  <a:gd name="connsiteY46" fmla="*/ 62845 h 796660"/>
                  <a:gd name="connsiteX47" fmla="*/ 388805 w 830972"/>
                  <a:gd name="connsiteY47" fmla="*/ 31013 h 796660"/>
                  <a:gd name="connsiteX48" fmla="*/ 341111 w 830972"/>
                  <a:gd name="connsiteY48" fmla="*/ 24866 h 796660"/>
                  <a:gd name="connsiteX49" fmla="*/ 230176 w 830972"/>
                  <a:gd name="connsiteY49" fmla="*/ 74150 h 796660"/>
                  <a:gd name="connsiteX50" fmla="*/ 226078 w 830972"/>
                  <a:gd name="connsiteY50" fmla="*/ 114108 h 796660"/>
                  <a:gd name="connsiteX51" fmla="*/ 272678 w 830972"/>
                  <a:gd name="connsiteY51" fmla="*/ 102520 h 796660"/>
                  <a:gd name="connsiteX52" fmla="*/ 267484 w 830972"/>
                  <a:gd name="connsiteY52" fmla="*/ 112129 h 796660"/>
                  <a:gd name="connsiteX53" fmla="*/ 242754 w 830972"/>
                  <a:gd name="connsiteY53" fmla="*/ 161096 h 796660"/>
                  <a:gd name="connsiteX54" fmla="*/ 221415 w 830972"/>
                  <a:gd name="connsiteY54" fmla="*/ 191656 h 796660"/>
                  <a:gd name="connsiteX55" fmla="*/ 99988 w 830972"/>
                  <a:gd name="connsiteY55" fmla="*/ 216068 h 796660"/>
                  <a:gd name="connsiteX56" fmla="*/ 59041 w 830972"/>
                  <a:gd name="connsiteY56" fmla="*/ 237513 h 796660"/>
                  <a:gd name="connsiteX57" fmla="*/ 23888 w 830972"/>
                  <a:gd name="connsiteY57" fmla="*/ 356008 h 796660"/>
                  <a:gd name="connsiteX58" fmla="*/ 28834 w 830972"/>
                  <a:gd name="connsiteY58" fmla="*/ 363816 h 796660"/>
                  <a:gd name="connsiteX59" fmla="*/ 36466 w 830972"/>
                  <a:gd name="connsiteY59" fmla="*/ 358092 h 796660"/>
                  <a:gd name="connsiteX60" fmla="*/ 62892 w 830972"/>
                  <a:gd name="connsiteY60" fmla="*/ 292097 h 796660"/>
                  <a:gd name="connsiteX61" fmla="*/ 99988 w 830972"/>
                  <a:gd name="connsiteY61" fmla="*/ 216068 h 796660"/>
                  <a:gd name="connsiteX62" fmla="*/ 295182 w 830972"/>
                  <a:gd name="connsiteY62" fmla="*/ 327038 h 796660"/>
                  <a:gd name="connsiteX63" fmla="*/ 354394 w 830972"/>
                  <a:gd name="connsiteY63" fmla="*/ 281922 h 796660"/>
                  <a:gd name="connsiteX64" fmla="*/ 351956 w 830972"/>
                  <a:gd name="connsiteY64" fmla="*/ 253765 h 796660"/>
                  <a:gd name="connsiteX65" fmla="*/ 322492 w 830972"/>
                  <a:gd name="connsiteY65" fmla="*/ 247617 h 796660"/>
                  <a:gd name="connsiteX66" fmla="*/ 309137 w 830972"/>
                  <a:gd name="connsiteY66" fmla="*/ 271535 h 796660"/>
                  <a:gd name="connsiteX67" fmla="*/ 288187 w 830972"/>
                  <a:gd name="connsiteY67" fmla="*/ 297290 h 796660"/>
                  <a:gd name="connsiteX68" fmla="*/ 277165 w 830972"/>
                  <a:gd name="connsiteY68" fmla="*/ 315980 h 796660"/>
                  <a:gd name="connsiteX69" fmla="*/ 295147 w 830972"/>
                  <a:gd name="connsiteY69" fmla="*/ 327038 h 796660"/>
                  <a:gd name="connsiteX70" fmla="*/ 295182 w 830972"/>
                  <a:gd name="connsiteY70" fmla="*/ 327038 h 796660"/>
                  <a:gd name="connsiteX71" fmla="*/ 431624 w 830972"/>
                  <a:gd name="connsiteY71" fmla="*/ 76694 h 796660"/>
                  <a:gd name="connsiteX72" fmla="*/ 425760 w 830972"/>
                  <a:gd name="connsiteY72" fmla="*/ 78602 h 796660"/>
                  <a:gd name="connsiteX73" fmla="*/ 374073 w 830972"/>
                  <a:gd name="connsiteY73" fmla="*/ 101389 h 796660"/>
                  <a:gd name="connsiteX74" fmla="*/ 358174 w 830972"/>
                  <a:gd name="connsiteY74" fmla="*/ 110610 h 796660"/>
                  <a:gd name="connsiteX75" fmla="*/ 355596 w 830972"/>
                  <a:gd name="connsiteY75" fmla="*/ 140287 h 796660"/>
                  <a:gd name="connsiteX76" fmla="*/ 382729 w 830972"/>
                  <a:gd name="connsiteY76" fmla="*/ 137143 h 796660"/>
                  <a:gd name="connsiteX77" fmla="*/ 408448 w 830972"/>
                  <a:gd name="connsiteY77" fmla="*/ 123753 h 796660"/>
                  <a:gd name="connsiteX78" fmla="*/ 446462 w 830972"/>
                  <a:gd name="connsiteY78" fmla="*/ 93405 h 796660"/>
                  <a:gd name="connsiteX79" fmla="*/ 431624 w 830972"/>
                  <a:gd name="connsiteY79"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21415 w 830972"/>
                  <a:gd name="connsiteY30" fmla="*/ 191656 h 796660"/>
                  <a:gd name="connsiteX31" fmla="*/ 225230 w 830972"/>
                  <a:gd name="connsiteY31" fmla="*/ 179220 h 796660"/>
                  <a:gd name="connsiteX32" fmla="*/ 198238 w 830972"/>
                  <a:gd name="connsiteY32" fmla="*/ 152122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41111 w 830972"/>
                  <a:gd name="connsiteY47" fmla="*/ 24866 h 796660"/>
                  <a:gd name="connsiteX48" fmla="*/ 230176 w 830972"/>
                  <a:gd name="connsiteY48" fmla="*/ 74150 h 796660"/>
                  <a:gd name="connsiteX49" fmla="*/ 226078 w 830972"/>
                  <a:gd name="connsiteY49" fmla="*/ 114108 h 796660"/>
                  <a:gd name="connsiteX50" fmla="*/ 272678 w 830972"/>
                  <a:gd name="connsiteY50" fmla="*/ 102520 h 796660"/>
                  <a:gd name="connsiteX51" fmla="*/ 267484 w 830972"/>
                  <a:gd name="connsiteY51" fmla="*/ 112129 h 796660"/>
                  <a:gd name="connsiteX52" fmla="*/ 242754 w 830972"/>
                  <a:gd name="connsiteY52" fmla="*/ 161096 h 796660"/>
                  <a:gd name="connsiteX53" fmla="*/ 221415 w 830972"/>
                  <a:gd name="connsiteY53" fmla="*/ 191656 h 796660"/>
                  <a:gd name="connsiteX54" fmla="*/ 99988 w 830972"/>
                  <a:gd name="connsiteY54" fmla="*/ 216068 h 796660"/>
                  <a:gd name="connsiteX55" fmla="*/ 59041 w 830972"/>
                  <a:gd name="connsiteY55" fmla="*/ 237513 h 796660"/>
                  <a:gd name="connsiteX56" fmla="*/ 23888 w 830972"/>
                  <a:gd name="connsiteY56" fmla="*/ 356008 h 796660"/>
                  <a:gd name="connsiteX57" fmla="*/ 28834 w 830972"/>
                  <a:gd name="connsiteY57" fmla="*/ 363816 h 796660"/>
                  <a:gd name="connsiteX58" fmla="*/ 36466 w 830972"/>
                  <a:gd name="connsiteY58" fmla="*/ 358092 h 796660"/>
                  <a:gd name="connsiteX59" fmla="*/ 62892 w 830972"/>
                  <a:gd name="connsiteY59" fmla="*/ 292097 h 796660"/>
                  <a:gd name="connsiteX60" fmla="*/ 99988 w 830972"/>
                  <a:gd name="connsiteY60" fmla="*/ 216068 h 796660"/>
                  <a:gd name="connsiteX61" fmla="*/ 295182 w 830972"/>
                  <a:gd name="connsiteY61" fmla="*/ 327038 h 796660"/>
                  <a:gd name="connsiteX62" fmla="*/ 354394 w 830972"/>
                  <a:gd name="connsiteY62" fmla="*/ 281922 h 796660"/>
                  <a:gd name="connsiteX63" fmla="*/ 351956 w 830972"/>
                  <a:gd name="connsiteY63" fmla="*/ 253765 h 796660"/>
                  <a:gd name="connsiteX64" fmla="*/ 322492 w 830972"/>
                  <a:gd name="connsiteY64" fmla="*/ 247617 h 796660"/>
                  <a:gd name="connsiteX65" fmla="*/ 309137 w 830972"/>
                  <a:gd name="connsiteY65" fmla="*/ 271535 h 796660"/>
                  <a:gd name="connsiteX66" fmla="*/ 288187 w 830972"/>
                  <a:gd name="connsiteY66" fmla="*/ 297290 h 796660"/>
                  <a:gd name="connsiteX67" fmla="*/ 277165 w 830972"/>
                  <a:gd name="connsiteY67" fmla="*/ 315980 h 796660"/>
                  <a:gd name="connsiteX68" fmla="*/ 295147 w 830972"/>
                  <a:gd name="connsiteY68" fmla="*/ 327038 h 796660"/>
                  <a:gd name="connsiteX69" fmla="*/ 295182 w 830972"/>
                  <a:gd name="connsiteY69" fmla="*/ 327038 h 796660"/>
                  <a:gd name="connsiteX70" fmla="*/ 431624 w 830972"/>
                  <a:gd name="connsiteY70" fmla="*/ 76694 h 796660"/>
                  <a:gd name="connsiteX71" fmla="*/ 425760 w 830972"/>
                  <a:gd name="connsiteY71" fmla="*/ 78602 h 796660"/>
                  <a:gd name="connsiteX72" fmla="*/ 374073 w 830972"/>
                  <a:gd name="connsiteY72" fmla="*/ 101389 h 796660"/>
                  <a:gd name="connsiteX73" fmla="*/ 358174 w 830972"/>
                  <a:gd name="connsiteY73" fmla="*/ 110610 h 796660"/>
                  <a:gd name="connsiteX74" fmla="*/ 355596 w 830972"/>
                  <a:gd name="connsiteY74" fmla="*/ 140287 h 796660"/>
                  <a:gd name="connsiteX75" fmla="*/ 382729 w 830972"/>
                  <a:gd name="connsiteY75" fmla="*/ 137143 h 796660"/>
                  <a:gd name="connsiteX76" fmla="*/ 408448 w 830972"/>
                  <a:gd name="connsiteY76" fmla="*/ 123753 h 796660"/>
                  <a:gd name="connsiteX77" fmla="*/ 446462 w 830972"/>
                  <a:gd name="connsiteY77" fmla="*/ 93405 h 796660"/>
                  <a:gd name="connsiteX78" fmla="*/ 431624 w 830972"/>
                  <a:gd name="connsiteY78"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42754 w 830972"/>
                  <a:gd name="connsiteY30" fmla="*/ 161096 h 796660"/>
                  <a:gd name="connsiteX31" fmla="*/ 225230 w 830972"/>
                  <a:gd name="connsiteY31" fmla="*/ 179220 h 796660"/>
                  <a:gd name="connsiteX32" fmla="*/ 198238 w 830972"/>
                  <a:gd name="connsiteY32" fmla="*/ 152122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41111 w 830972"/>
                  <a:gd name="connsiteY47" fmla="*/ 24866 h 796660"/>
                  <a:gd name="connsiteX48" fmla="*/ 230176 w 830972"/>
                  <a:gd name="connsiteY48" fmla="*/ 74150 h 796660"/>
                  <a:gd name="connsiteX49" fmla="*/ 226078 w 830972"/>
                  <a:gd name="connsiteY49" fmla="*/ 114108 h 796660"/>
                  <a:gd name="connsiteX50" fmla="*/ 272678 w 830972"/>
                  <a:gd name="connsiteY50" fmla="*/ 102520 h 796660"/>
                  <a:gd name="connsiteX51" fmla="*/ 267484 w 830972"/>
                  <a:gd name="connsiteY51" fmla="*/ 112129 h 796660"/>
                  <a:gd name="connsiteX52" fmla="*/ 242754 w 830972"/>
                  <a:gd name="connsiteY52" fmla="*/ 161096 h 796660"/>
                  <a:gd name="connsiteX53" fmla="*/ 99988 w 830972"/>
                  <a:gd name="connsiteY53" fmla="*/ 216068 h 796660"/>
                  <a:gd name="connsiteX54" fmla="*/ 59041 w 830972"/>
                  <a:gd name="connsiteY54" fmla="*/ 237513 h 796660"/>
                  <a:gd name="connsiteX55" fmla="*/ 23888 w 830972"/>
                  <a:gd name="connsiteY55" fmla="*/ 356008 h 796660"/>
                  <a:gd name="connsiteX56" fmla="*/ 28834 w 830972"/>
                  <a:gd name="connsiteY56" fmla="*/ 363816 h 796660"/>
                  <a:gd name="connsiteX57" fmla="*/ 36466 w 830972"/>
                  <a:gd name="connsiteY57" fmla="*/ 358092 h 796660"/>
                  <a:gd name="connsiteX58" fmla="*/ 62892 w 830972"/>
                  <a:gd name="connsiteY58" fmla="*/ 292097 h 796660"/>
                  <a:gd name="connsiteX59" fmla="*/ 99988 w 830972"/>
                  <a:gd name="connsiteY59" fmla="*/ 216068 h 796660"/>
                  <a:gd name="connsiteX60" fmla="*/ 295182 w 830972"/>
                  <a:gd name="connsiteY60" fmla="*/ 327038 h 796660"/>
                  <a:gd name="connsiteX61" fmla="*/ 354394 w 830972"/>
                  <a:gd name="connsiteY61" fmla="*/ 281922 h 796660"/>
                  <a:gd name="connsiteX62" fmla="*/ 351956 w 830972"/>
                  <a:gd name="connsiteY62" fmla="*/ 253765 h 796660"/>
                  <a:gd name="connsiteX63" fmla="*/ 322492 w 830972"/>
                  <a:gd name="connsiteY63" fmla="*/ 247617 h 796660"/>
                  <a:gd name="connsiteX64" fmla="*/ 309137 w 830972"/>
                  <a:gd name="connsiteY64" fmla="*/ 271535 h 796660"/>
                  <a:gd name="connsiteX65" fmla="*/ 288187 w 830972"/>
                  <a:gd name="connsiteY65" fmla="*/ 297290 h 796660"/>
                  <a:gd name="connsiteX66" fmla="*/ 277165 w 830972"/>
                  <a:gd name="connsiteY66" fmla="*/ 315980 h 796660"/>
                  <a:gd name="connsiteX67" fmla="*/ 295147 w 830972"/>
                  <a:gd name="connsiteY67" fmla="*/ 327038 h 796660"/>
                  <a:gd name="connsiteX68" fmla="*/ 295182 w 830972"/>
                  <a:gd name="connsiteY68" fmla="*/ 327038 h 796660"/>
                  <a:gd name="connsiteX69" fmla="*/ 431624 w 830972"/>
                  <a:gd name="connsiteY69" fmla="*/ 76694 h 796660"/>
                  <a:gd name="connsiteX70" fmla="*/ 425760 w 830972"/>
                  <a:gd name="connsiteY70" fmla="*/ 78602 h 796660"/>
                  <a:gd name="connsiteX71" fmla="*/ 374073 w 830972"/>
                  <a:gd name="connsiteY71" fmla="*/ 101389 h 796660"/>
                  <a:gd name="connsiteX72" fmla="*/ 358174 w 830972"/>
                  <a:gd name="connsiteY72" fmla="*/ 110610 h 796660"/>
                  <a:gd name="connsiteX73" fmla="*/ 355596 w 830972"/>
                  <a:gd name="connsiteY73" fmla="*/ 140287 h 796660"/>
                  <a:gd name="connsiteX74" fmla="*/ 382729 w 830972"/>
                  <a:gd name="connsiteY74" fmla="*/ 137143 h 796660"/>
                  <a:gd name="connsiteX75" fmla="*/ 408448 w 830972"/>
                  <a:gd name="connsiteY75" fmla="*/ 123753 h 796660"/>
                  <a:gd name="connsiteX76" fmla="*/ 446462 w 830972"/>
                  <a:gd name="connsiteY76" fmla="*/ 93405 h 796660"/>
                  <a:gd name="connsiteX77" fmla="*/ 431624 w 830972"/>
                  <a:gd name="connsiteY77"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67484 w 830972"/>
                  <a:gd name="connsiteY30" fmla="*/ 112129 h 796660"/>
                  <a:gd name="connsiteX31" fmla="*/ 225230 w 830972"/>
                  <a:gd name="connsiteY31" fmla="*/ 179220 h 796660"/>
                  <a:gd name="connsiteX32" fmla="*/ 198238 w 830972"/>
                  <a:gd name="connsiteY32" fmla="*/ 152122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41111 w 830972"/>
                  <a:gd name="connsiteY47" fmla="*/ 24866 h 796660"/>
                  <a:gd name="connsiteX48" fmla="*/ 230176 w 830972"/>
                  <a:gd name="connsiteY48" fmla="*/ 74150 h 796660"/>
                  <a:gd name="connsiteX49" fmla="*/ 226078 w 830972"/>
                  <a:gd name="connsiteY49" fmla="*/ 114108 h 796660"/>
                  <a:gd name="connsiteX50" fmla="*/ 272678 w 830972"/>
                  <a:gd name="connsiteY50" fmla="*/ 102520 h 796660"/>
                  <a:gd name="connsiteX51" fmla="*/ 267484 w 830972"/>
                  <a:gd name="connsiteY51" fmla="*/ 112129 h 796660"/>
                  <a:gd name="connsiteX52" fmla="*/ 99988 w 830972"/>
                  <a:gd name="connsiteY52" fmla="*/ 216068 h 796660"/>
                  <a:gd name="connsiteX53" fmla="*/ 59041 w 830972"/>
                  <a:gd name="connsiteY53" fmla="*/ 237513 h 796660"/>
                  <a:gd name="connsiteX54" fmla="*/ 23888 w 830972"/>
                  <a:gd name="connsiteY54" fmla="*/ 356008 h 796660"/>
                  <a:gd name="connsiteX55" fmla="*/ 28834 w 830972"/>
                  <a:gd name="connsiteY55" fmla="*/ 363816 h 796660"/>
                  <a:gd name="connsiteX56" fmla="*/ 36466 w 830972"/>
                  <a:gd name="connsiteY56" fmla="*/ 358092 h 796660"/>
                  <a:gd name="connsiteX57" fmla="*/ 62892 w 830972"/>
                  <a:gd name="connsiteY57" fmla="*/ 292097 h 796660"/>
                  <a:gd name="connsiteX58" fmla="*/ 99988 w 830972"/>
                  <a:gd name="connsiteY58" fmla="*/ 216068 h 796660"/>
                  <a:gd name="connsiteX59" fmla="*/ 295182 w 830972"/>
                  <a:gd name="connsiteY59" fmla="*/ 327038 h 796660"/>
                  <a:gd name="connsiteX60" fmla="*/ 354394 w 830972"/>
                  <a:gd name="connsiteY60" fmla="*/ 281922 h 796660"/>
                  <a:gd name="connsiteX61" fmla="*/ 351956 w 830972"/>
                  <a:gd name="connsiteY61" fmla="*/ 253765 h 796660"/>
                  <a:gd name="connsiteX62" fmla="*/ 322492 w 830972"/>
                  <a:gd name="connsiteY62" fmla="*/ 247617 h 796660"/>
                  <a:gd name="connsiteX63" fmla="*/ 309137 w 830972"/>
                  <a:gd name="connsiteY63" fmla="*/ 271535 h 796660"/>
                  <a:gd name="connsiteX64" fmla="*/ 288187 w 830972"/>
                  <a:gd name="connsiteY64" fmla="*/ 297290 h 796660"/>
                  <a:gd name="connsiteX65" fmla="*/ 277165 w 830972"/>
                  <a:gd name="connsiteY65" fmla="*/ 315980 h 796660"/>
                  <a:gd name="connsiteX66" fmla="*/ 295147 w 830972"/>
                  <a:gd name="connsiteY66" fmla="*/ 327038 h 796660"/>
                  <a:gd name="connsiteX67" fmla="*/ 295182 w 830972"/>
                  <a:gd name="connsiteY67" fmla="*/ 327038 h 796660"/>
                  <a:gd name="connsiteX68" fmla="*/ 431624 w 830972"/>
                  <a:gd name="connsiteY68" fmla="*/ 76694 h 796660"/>
                  <a:gd name="connsiteX69" fmla="*/ 425760 w 830972"/>
                  <a:gd name="connsiteY69" fmla="*/ 78602 h 796660"/>
                  <a:gd name="connsiteX70" fmla="*/ 374073 w 830972"/>
                  <a:gd name="connsiteY70" fmla="*/ 101389 h 796660"/>
                  <a:gd name="connsiteX71" fmla="*/ 358174 w 830972"/>
                  <a:gd name="connsiteY71" fmla="*/ 110610 h 796660"/>
                  <a:gd name="connsiteX72" fmla="*/ 355596 w 830972"/>
                  <a:gd name="connsiteY72" fmla="*/ 140287 h 796660"/>
                  <a:gd name="connsiteX73" fmla="*/ 382729 w 830972"/>
                  <a:gd name="connsiteY73" fmla="*/ 137143 h 796660"/>
                  <a:gd name="connsiteX74" fmla="*/ 408448 w 830972"/>
                  <a:gd name="connsiteY74" fmla="*/ 123753 h 796660"/>
                  <a:gd name="connsiteX75" fmla="*/ 446462 w 830972"/>
                  <a:gd name="connsiteY75" fmla="*/ 93405 h 796660"/>
                  <a:gd name="connsiteX76" fmla="*/ 431624 w 830972"/>
                  <a:gd name="connsiteY76"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72678 w 830972"/>
                  <a:gd name="connsiteY30" fmla="*/ 102520 h 796660"/>
                  <a:gd name="connsiteX31" fmla="*/ 225230 w 830972"/>
                  <a:gd name="connsiteY31" fmla="*/ 179220 h 796660"/>
                  <a:gd name="connsiteX32" fmla="*/ 198238 w 830972"/>
                  <a:gd name="connsiteY32" fmla="*/ 152122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41111 w 830972"/>
                  <a:gd name="connsiteY47" fmla="*/ 24866 h 796660"/>
                  <a:gd name="connsiteX48" fmla="*/ 230176 w 830972"/>
                  <a:gd name="connsiteY48" fmla="*/ 74150 h 796660"/>
                  <a:gd name="connsiteX49" fmla="*/ 226078 w 830972"/>
                  <a:gd name="connsiteY49" fmla="*/ 114108 h 796660"/>
                  <a:gd name="connsiteX50" fmla="*/ 272678 w 830972"/>
                  <a:gd name="connsiteY50" fmla="*/ 102520 h 796660"/>
                  <a:gd name="connsiteX51" fmla="*/ 99988 w 830972"/>
                  <a:gd name="connsiteY51" fmla="*/ 216068 h 796660"/>
                  <a:gd name="connsiteX52" fmla="*/ 59041 w 830972"/>
                  <a:gd name="connsiteY52" fmla="*/ 237513 h 796660"/>
                  <a:gd name="connsiteX53" fmla="*/ 23888 w 830972"/>
                  <a:gd name="connsiteY53" fmla="*/ 356008 h 796660"/>
                  <a:gd name="connsiteX54" fmla="*/ 28834 w 830972"/>
                  <a:gd name="connsiteY54" fmla="*/ 363816 h 796660"/>
                  <a:gd name="connsiteX55" fmla="*/ 36466 w 830972"/>
                  <a:gd name="connsiteY55" fmla="*/ 358092 h 796660"/>
                  <a:gd name="connsiteX56" fmla="*/ 62892 w 830972"/>
                  <a:gd name="connsiteY56" fmla="*/ 292097 h 796660"/>
                  <a:gd name="connsiteX57" fmla="*/ 99988 w 830972"/>
                  <a:gd name="connsiteY57" fmla="*/ 216068 h 796660"/>
                  <a:gd name="connsiteX58" fmla="*/ 295182 w 830972"/>
                  <a:gd name="connsiteY58" fmla="*/ 327038 h 796660"/>
                  <a:gd name="connsiteX59" fmla="*/ 354394 w 830972"/>
                  <a:gd name="connsiteY59" fmla="*/ 281922 h 796660"/>
                  <a:gd name="connsiteX60" fmla="*/ 351956 w 830972"/>
                  <a:gd name="connsiteY60" fmla="*/ 253765 h 796660"/>
                  <a:gd name="connsiteX61" fmla="*/ 322492 w 830972"/>
                  <a:gd name="connsiteY61" fmla="*/ 247617 h 796660"/>
                  <a:gd name="connsiteX62" fmla="*/ 309137 w 830972"/>
                  <a:gd name="connsiteY62" fmla="*/ 271535 h 796660"/>
                  <a:gd name="connsiteX63" fmla="*/ 288187 w 830972"/>
                  <a:gd name="connsiteY63" fmla="*/ 297290 h 796660"/>
                  <a:gd name="connsiteX64" fmla="*/ 277165 w 830972"/>
                  <a:gd name="connsiteY64" fmla="*/ 315980 h 796660"/>
                  <a:gd name="connsiteX65" fmla="*/ 295147 w 830972"/>
                  <a:gd name="connsiteY65" fmla="*/ 327038 h 796660"/>
                  <a:gd name="connsiteX66" fmla="*/ 295182 w 830972"/>
                  <a:gd name="connsiteY66" fmla="*/ 327038 h 796660"/>
                  <a:gd name="connsiteX67" fmla="*/ 431624 w 830972"/>
                  <a:gd name="connsiteY67" fmla="*/ 76694 h 796660"/>
                  <a:gd name="connsiteX68" fmla="*/ 425760 w 830972"/>
                  <a:gd name="connsiteY68" fmla="*/ 78602 h 796660"/>
                  <a:gd name="connsiteX69" fmla="*/ 374073 w 830972"/>
                  <a:gd name="connsiteY69" fmla="*/ 101389 h 796660"/>
                  <a:gd name="connsiteX70" fmla="*/ 358174 w 830972"/>
                  <a:gd name="connsiteY70" fmla="*/ 110610 h 796660"/>
                  <a:gd name="connsiteX71" fmla="*/ 355596 w 830972"/>
                  <a:gd name="connsiteY71" fmla="*/ 140287 h 796660"/>
                  <a:gd name="connsiteX72" fmla="*/ 382729 w 830972"/>
                  <a:gd name="connsiteY72" fmla="*/ 137143 h 796660"/>
                  <a:gd name="connsiteX73" fmla="*/ 408448 w 830972"/>
                  <a:gd name="connsiteY73" fmla="*/ 123753 h 796660"/>
                  <a:gd name="connsiteX74" fmla="*/ 446462 w 830972"/>
                  <a:gd name="connsiteY74" fmla="*/ 93405 h 796660"/>
                  <a:gd name="connsiteX75" fmla="*/ 431624 w 830972"/>
                  <a:gd name="connsiteY75"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26078 w 830972"/>
                  <a:gd name="connsiteY30" fmla="*/ 114108 h 796660"/>
                  <a:gd name="connsiteX31" fmla="*/ 225230 w 830972"/>
                  <a:gd name="connsiteY31" fmla="*/ 179220 h 796660"/>
                  <a:gd name="connsiteX32" fmla="*/ 198238 w 830972"/>
                  <a:gd name="connsiteY32" fmla="*/ 152122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41111 w 830972"/>
                  <a:gd name="connsiteY47" fmla="*/ 24866 h 796660"/>
                  <a:gd name="connsiteX48" fmla="*/ 230176 w 830972"/>
                  <a:gd name="connsiteY48" fmla="*/ 74150 h 796660"/>
                  <a:gd name="connsiteX49" fmla="*/ 226078 w 830972"/>
                  <a:gd name="connsiteY49" fmla="*/ 114108 h 796660"/>
                  <a:gd name="connsiteX50" fmla="*/ 99988 w 830972"/>
                  <a:gd name="connsiteY50" fmla="*/ 216068 h 796660"/>
                  <a:gd name="connsiteX51" fmla="*/ 59041 w 830972"/>
                  <a:gd name="connsiteY51" fmla="*/ 237513 h 796660"/>
                  <a:gd name="connsiteX52" fmla="*/ 23888 w 830972"/>
                  <a:gd name="connsiteY52" fmla="*/ 356008 h 796660"/>
                  <a:gd name="connsiteX53" fmla="*/ 28834 w 830972"/>
                  <a:gd name="connsiteY53" fmla="*/ 363816 h 796660"/>
                  <a:gd name="connsiteX54" fmla="*/ 36466 w 830972"/>
                  <a:gd name="connsiteY54" fmla="*/ 358092 h 796660"/>
                  <a:gd name="connsiteX55" fmla="*/ 62892 w 830972"/>
                  <a:gd name="connsiteY55" fmla="*/ 292097 h 796660"/>
                  <a:gd name="connsiteX56" fmla="*/ 99988 w 830972"/>
                  <a:gd name="connsiteY56" fmla="*/ 216068 h 796660"/>
                  <a:gd name="connsiteX57" fmla="*/ 295182 w 830972"/>
                  <a:gd name="connsiteY57" fmla="*/ 327038 h 796660"/>
                  <a:gd name="connsiteX58" fmla="*/ 354394 w 830972"/>
                  <a:gd name="connsiteY58" fmla="*/ 281922 h 796660"/>
                  <a:gd name="connsiteX59" fmla="*/ 351956 w 830972"/>
                  <a:gd name="connsiteY59" fmla="*/ 253765 h 796660"/>
                  <a:gd name="connsiteX60" fmla="*/ 322492 w 830972"/>
                  <a:gd name="connsiteY60" fmla="*/ 247617 h 796660"/>
                  <a:gd name="connsiteX61" fmla="*/ 309137 w 830972"/>
                  <a:gd name="connsiteY61" fmla="*/ 271535 h 796660"/>
                  <a:gd name="connsiteX62" fmla="*/ 288187 w 830972"/>
                  <a:gd name="connsiteY62" fmla="*/ 297290 h 796660"/>
                  <a:gd name="connsiteX63" fmla="*/ 277165 w 830972"/>
                  <a:gd name="connsiteY63" fmla="*/ 315980 h 796660"/>
                  <a:gd name="connsiteX64" fmla="*/ 295147 w 830972"/>
                  <a:gd name="connsiteY64" fmla="*/ 327038 h 796660"/>
                  <a:gd name="connsiteX65" fmla="*/ 295182 w 830972"/>
                  <a:gd name="connsiteY65" fmla="*/ 327038 h 796660"/>
                  <a:gd name="connsiteX66" fmla="*/ 431624 w 830972"/>
                  <a:gd name="connsiteY66" fmla="*/ 76694 h 796660"/>
                  <a:gd name="connsiteX67" fmla="*/ 425760 w 830972"/>
                  <a:gd name="connsiteY67" fmla="*/ 78602 h 796660"/>
                  <a:gd name="connsiteX68" fmla="*/ 374073 w 830972"/>
                  <a:gd name="connsiteY68" fmla="*/ 101389 h 796660"/>
                  <a:gd name="connsiteX69" fmla="*/ 358174 w 830972"/>
                  <a:gd name="connsiteY69" fmla="*/ 110610 h 796660"/>
                  <a:gd name="connsiteX70" fmla="*/ 355596 w 830972"/>
                  <a:gd name="connsiteY70" fmla="*/ 140287 h 796660"/>
                  <a:gd name="connsiteX71" fmla="*/ 382729 w 830972"/>
                  <a:gd name="connsiteY71" fmla="*/ 137143 h 796660"/>
                  <a:gd name="connsiteX72" fmla="*/ 408448 w 830972"/>
                  <a:gd name="connsiteY72" fmla="*/ 123753 h 796660"/>
                  <a:gd name="connsiteX73" fmla="*/ 446462 w 830972"/>
                  <a:gd name="connsiteY73" fmla="*/ 93405 h 796660"/>
                  <a:gd name="connsiteX74" fmla="*/ 431624 w 830972"/>
                  <a:gd name="connsiteY74" fmla="*/ 76694 h 796660"/>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157469 w 830972"/>
                  <a:gd name="connsiteY29" fmla="*/ 124883 h 796660"/>
                  <a:gd name="connsiteX30" fmla="*/ 226078 w 830972"/>
                  <a:gd name="connsiteY30" fmla="*/ 114108 h 796660"/>
                  <a:gd name="connsiteX31" fmla="*/ 225230 w 830972"/>
                  <a:gd name="connsiteY31" fmla="*/ 179220 h 796660"/>
                  <a:gd name="connsiteX32" fmla="*/ 198238 w 830972"/>
                  <a:gd name="connsiteY32" fmla="*/ 152122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230176 w 830972"/>
                  <a:gd name="connsiteY47" fmla="*/ 74150 h 796660"/>
                  <a:gd name="connsiteX48" fmla="*/ 226078 w 830972"/>
                  <a:gd name="connsiteY48" fmla="*/ 114108 h 796660"/>
                  <a:gd name="connsiteX49" fmla="*/ 99988 w 830972"/>
                  <a:gd name="connsiteY49" fmla="*/ 216068 h 796660"/>
                  <a:gd name="connsiteX50" fmla="*/ 59041 w 830972"/>
                  <a:gd name="connsiteY50" fmla="*/ 237513 h 796660"/>
                  <a:gd name="connsiteX51" fmla="*/ 23888 w 830972"/>
                  <a:gd name="connsiteY51" fmla="*/ 356008 h 796660"/>
                  <a:gd name="connsiteX52" fmla="*/ 28834 w 830972"/>
                  <a:gd name="connsiteY52" fmla="*/ 363816 h 796660"/>
                  <a:gd name="connsiteX53" fmla="*/ 36466 w 830972"/>
                  <a:gd name="connsiteY53" fmla="*/ 358092 h 796660"/>
                  <a:gd name="connsiteX54" fmla="*/ 62892 w 830972"/>
                  <a:gd name="connsiteY54" fmla="*/ 292097 h 796660"/>
                  <a:gd name="connsiteX55" fmla="*/ 99988 w 830972"/>
                  <a:gd name="connsiteY55" fmla="*/ 216068 h 796660"/>
                  <a:gd name="connsiteX56" fmla="*/ 295182 w 830972"/>
                  <a:gd name="connsiteY56" fmla="*/ 327038 h 796660"/>
                  <a:gd name="connsiteX57" fmla="*/ 354394 w 830972"/>
                  <a:gd name="connsiteY57" fmla="*/ 281922 h 796660"/>
                  <a:gd name="connsiteX58" fmla="*/ 351956 w 830972"/>
                  <a:gd name="connsiteY58" fmla="*/ 253765 h 796660"/>
                  <a:gd name="connsiteX59" fmla="*/ 322492 w 830972"/>
                  <a:gd name="connsiteY59" fmla="*/ 247617 h 796660"/>
                  <a:gd name="connsiteX60" fmla="*/ 309137 w 830972"/>
                  <a:gd name="connsiteY60" fmla="*/ 271535 h 796660"/>
                  <a:gd name="connsiteX61" fmla="*/ 288187 w 830972"/>
                  <a:gd name="connsiteY61" fmla="*/ 297290 h 796660"/>
                  <a:gd name="connsiteX62" fmla="*/ 277165 w 830972"/>
                  <a:gd name="connsiteY62" fmla="*/ 315980 h 796660"/>
                  <a:gd name="connsiteX63" fmla="*/ 295147 w 830972"/>
                  <a:gd name="connsiteY63" fmla="*/ 327038 h 796660"/>
                  <a:gd name="connsiteX64" fmla="*/ 295182 w 830972"/>
                  <a:gd name="connsiteY64" fmla="*/ 327038 h 796660"/>
                  <a:gd name="connsiteX65" fmla="*/ 431624 w 830972"/>
                  <a:gd name="connsiteY65" fmla="*/ 76694 h 796660"/>
                  <a:gd name="connsiteX66" fmla="*/ 425760 w 830972"/>
                  <a:gd name="connsiteY66" fmla="*/ 78602 h 796660"/>
                  <a:gd name="connsiteX67" fmla="*/ 374073 w 830972"/>
                  <a:gd name="connsiteY67" fmla="*/ 101389 h 796660"/>
                  <a:gd name="connsiteX68" fmla="*/ 358174 w 830972"/>
                  <a:gd name="connsiteY68" fmla="*/ 110610 h 796660"/>
                  <a:gd name="connsiteX69" fmla="*/ 355596 w 830972"/>
                  <a:gd name="connsiteY69" fmla="*/ 140287 h 796660"/>
                  <a:gd name="connsiteX70" fmla="*/ 382729 w 830972"/>
                  <a:gd name="connsiteY70" fmla="*/ 137143 h 796660"/>
                  <a:gd name="connsiteX71" fmla="*/ 408448 w 830972"/>
                  <a:gd name="connsiteY71" fmla="*/ 123753 h 796660"/>
                  <a:gd name="connsiteX72" fmla="*/ 446462 w 830972"/>
                  <a:gd name="connsiteY72" fmla="*/ 93405 h 796660"/>
                  <a:gd name="connsiteX73" fmla="*/ 431624 w 830972"/>
                  <a:gd name="connsiteY73" fmla="*/ 76694 h 796660"/>
                  <a:gd name="connsiteX0" fmla="*/ 157469 w 830972"/>
                  <a:gd name="connsiteY0" fmla="*/ 116289 h 788066"/>
                  <a:gd name="connsiteX1" fmla="*/ 176476 w 830972"/>
                  <a:gd name="connsiteY1" fmla="*/ 94385 h 788066"/>
                  <a:gd name="connsiteX2" fmla="*/ 245015 w 830972"/>
                  <a:gd name="connsiteY2" fmla="*/ 33583 h 788066"/>
                  <a:gd name="connsiteX3" fmla="*/ 433638 w 830972"/>
                  <a:gd name="connsiteY3" fmla="*/ 268 h 788066"/>
                  <a:gd name="connsiteX4" fmla="*/ 529734 w 830972"/>
                  <a:gd name="connsiteY4" fmla="*/ 17049 h 788066"/>
                  <a:gd name="connsiteX5" fmla="*/ 595870 w 830972"/>
                  <a:gd name="connsiteY5" fmla="*/ 21571 h 788066"/>
                  <a:gd name="connsiteX6" fmla="*/ 662890 w 830972"/>
                  <a:gd name="connsiteY6" fmla="*/ 61776 h 788066"/>
                  <a:gd name="connsiteX7" fmla="*/ 730864 w 830972"/>
                  <a:gd name="connsiteY7" fmla="*/ 122861 h 788066"/>
                  <a:gd name="connsiteX8" fmla="*/ 827914 w 830972"/>
                  <a:gd name="connsiteY8" fmla="*/ 262765 h 788066"/>
                  <a:gd name="connsiteX9" fmla="*/ 815372 w 830972"/>
                  <a:gd name="connsiteY9" fmla="*/ 346531 h 788066"/>
                  <a:gd name="connsiteX10" fmla="*/ 802052 w 830972"/>
                  <a:gd name="connsiteY10" fmla="*/ 378398 h 788066"/>
                  <a:gd name="connsiteX11" fmla="*/ 797142 w 830972"/>
                  <a:gd name="connsiteY11" fmla="*/ 441814 h 788066"/>
                  <a:gd name="connsiteX12" fmla="*/ 756584 w 830972"/>
                  <a:gd name="connsiteY12" fmla="*/ 598288 h 788066"/>
                  <a:gd name="connsiteX13" fmla="*/ 720972 w 830972"/>
                  <a:gd name="connsiteY13" fmla="*/ 625880 h 788066"/>
                  <a:gd name="connsiteX14" fmla="*/ 682392 w 830972"/>
                  <a:gd name="connsiteY14" fmla="*/ 675836 h 788066"/>
                  <a:gd name="connsiteX15" fmla="*/ 568526 w 830972"/>
                  <a:gd name="connsiteY15" fmla="*/ 778149 h 788066"/>
                  <a:gd name="connsiteX16" fmla="*/ 485431 w 830972"/>
                  <a:gd name="connsiteY16" fmla="*/ 773274 h 788066"/>
                  <a:gd name="connsiteX17" fmla="*/ 390536 w 830972"/>
                  <a:gd name="connsiteY17" fmla="*/ 777902 h 788066"/>
                  <a:gd name="connsiteX18" fmla="*/ 226714 w 830972"/>
                  <a:gd name="connsiteY18" fmla="*/ 753136 h 788066"/>
                  <a:gd name="connsiteX19" fmla="*/ 126273 w 830972"/>
                  <a:gd name="connsiteY19" fmla="*/ 708056 h 788066"/>
                  <a:gd name="connsiteX20" fmla="*/ 71265 w 830972"/>
                  <a:gd name="connsiteY20" fmla="*/ 677496 h 788066"/>
                  <a:gd name="connsiteX21" fmla="*/ 6082 w 830972"/>
                  <a:gd name="connsiteY21" fmla="*/ 591964 h 788066"/>
                  <a:gd name="connsiteX22" fmla="*/ 960 w 830972"/>
                  <a:gd name="connsiteY22" fmla="*/ 524979 h 788066"/>
                  <a:gd name="connsiteX23" fmla="*/ 3362 w 830972"/>
                  <a:gd name="connsiteY23" fmla="*/ 416377 h 788066"/>
                  <a:gd name="connsiteX24" fmla="*/ 7036 w 830972"/>
                  <a:gd name="connsiteY24" fmla="*/ 291911 h 788066"/>
                  <a:gd name="connsiteX25" fmla="*/ 97091 w 830972"/>
                  <a:gd name="connsiteY25" fmla="*/ 163171 h 788066"/>
                  <a:gd name="connsiteX26" fmla="*/ 127933 w 830972"/>
                  <a:gd name="connsiteY26" fmla="*/ 140384 h 788066"/>
                  <a:gd name="connsiteX27" fmla="*/ 157469 w 830972"/>
                  <a:gd name="connsiteY27" fmla="*/ 116254 h 788066"/>
                  <a:gd name="connsiteX28" fmla="*/ 157469 w 830972"/>
                  <a:gd name="connsiteY28" fmla="*/ 116289 h 788066"/>
                  <a:gd name="connsiteX29" fmla="*/ 226078 w 830972"/>
                  <a:gd name="connsiteY29" fmla="*/ 105514 h 788066"/>
                  <a:gd name="connsiteX30" fmla="*/ 225230 w 830972"/>
                  <a:gd name="connsiteY30" fmla="*/ 170626 h 788066"/>
                  <a:gd name="connsiteX31" fmla="*/ 198238 w 830972"/>
                  <a:gd name="connsiteY31" fmla="*/ 143528 h 788066"/>
                  <a:gd name="connsiteX32" fmla="*/ 95572 w 830972"/>
                  <a:gd name="connsiteY32" fmla="*/ 265273 h 788066"/>
                  <a:gd name="connsiteX33" fmla="*/ 84372 w 830972"/>
                  <a:gd name="connsiteY33" fmla="*/ 288661 h 788066"/>
                  <a:gd name="connsiteX34" fmla="*/ 52823 w 830972"/>
                  <a:gd name="connsiteY34" fmla="*/ 329325 h 788066"/>
                  <a:gd name="connsiteX35" fmla="*/ 56427 w 830972"/>
                  <a:gd name="connsiteY35" fmla="*/ 341796 h 788066"/>
                  <a:gd name="connsiteX36" fmla="*/ 68509 w 830972"/>
                  <a:gd name="connsiteY36" fmla="*/ 357271 h 788066"/>
                  <a:gd name="connsiteX37" fmla="*/ 119737 w 830972"/>
                  <a:gd name="connsiteY37" fmla="*/ 387265 h 788066"/>
                  <a:gd name="connsiteX38" fmla="*/ 162132 w 830972"/>
                  <a:gd name="connsiteY38" fmla="*/ 374123 h 788066"/>
                  <a:gd name="connsiteX39" fmla="*/ 192303 w 830972"/>
                  <a:gd name="connsiteY39" fmla="*/ 358048 h 788066"/>
                  <a:gd name="connsiteX40" fmla="*/ 246534 w 830972"/>
                  <a:gd name="connsiteY40" fmla="*/ 316041 h 788066"/>
                  <a:gd name="connsiteX41" fmla="*/ 284230 w 830972"/>
                  <a:gd name="connsiteY41" fmla="*/ 221465 h 788066"/>
                  <a:gd name="connsiteX42" fmla="*/ 349908 w 830972"/>
                  <a:gd name="connsiteY42" fmla="*/ 75519 h 788066"/>
                  <a:gd name="connsiteX43" fmla="*/ 353370 w 830972"/>
                  <a:gd name="connsiteY43" fmla="*/ 65874 h 788066"/>
                  <a:gd name="connsiteX44" fmla="*/ 359906 w 830972"/>
                  <a:gd name="connsiteY44" fmla="*/ 54251 h 788066"/>
                  <a:gd name="connsiteX45" fmla="*/ 388805 w 830972"/>
                  <a:gd name="connsiteY45" fmla="*/ 22419 h 788066"/>
                  <a:gd name="connsiteX46" fmla="*/ 230176 w 830972"/>
                  <a:gd name="connsiteY46" fmla="*/ 65556 h 788066"/>
                  <a:gd name="connsiteX47" fmla="*/ 226078 w 830972"/>
                  <a:gd name="connsiteY47" fmla="*/ 105514 h 788066"/>
                  <a:gd name="connsiteX48" fmla="*/ 99988 w 830972"/>
                  <a:gd name="connsiteY48" fmla="*/ 207474 h 788066"/>
                  <a:gd name="connsiteX49" fmla="*/ 59041 w 830972"/>
                  <a:gd name="connsiteY49" fmla="*/ 228919 h 788066"/>
                  <a:gd name="connsiteX50" fmla="*/ 23888 w 830972"/>
                  <a:gd name="connsiteY50" fmla="*/ 347414 h 788066"/>
                  <a:gd name="connsiteX51" fmla="*/ 28834 w 830972"/>
                  <a:gd name="connsiteY51" fmla="*/ 355222 h 788066"/>
                  <a:gd name="connsiteX52" fmla="*/ 36466 w 830972"/>
                  <a:gd name="connsiteY52" fmla="*/ 349498 h 788066"/>
                  <a:gd name="connsiteX53" fmla="*/ 62892 w 830972"/>
                  <a:gd name="connsiteY53" fmla="*/ 283503 h 788066"/>
                  <a:gd name="connsiteX54" fmla="*/ 99988 w 830972"/>
                  <a:gd name="connsiteY54" fmla="*/ 207474 h 788066"/>
                  <a:gd name="connsiteX55" fmla="*/ 295182 w 830972"/>
                  <a:gd name="connsiteY55" fmla="*/ 318444 h 788066"/>
                  <a:gd name="connsiteX56" fmla="*/ 354394 w 830972"/>
                  <a:gd name="connsiteY56" fmla="*/ 273328 h 788066"/>
                  <a:gd name="connsiteX57" fmla="*/ 351956 w 830972"/>
                  <a:gd name="connsiteY57" fmla="*/ 245171 h 788066"/>
                  <a:gd name="connsiteX58" fmla="*/ 322492 w 830972"/>
                  <a:gd name="connsiteY58" fmla="*/ 239023 h 788066"/>
                  <a:gd name="connsiteX59" fmla="*/ 309137 w 830972"/>
                  <a:gd name="connsiteY59" fmla="*/ 262941 h 788066"/>
                  <a:gd name="connsiteX60" fmla="*/ 288187 w 830972"/>
                  <a:gd name="connsiteY60" fmla="*/ 288696 h 788066"/>
                  <a:gd name="connsiteX61" fmla="*/ 277165 w 830972"/>
                  <a:gd name="connsiteY61" fmla="*/ 307386 h 788066"/>
                  <a:gd name="connsiteX62" fmla="*/ 295147 w 830972"/>
                  <a:gd name="connsiteY62" fmla="*/ 318444 h 788066"/>
                  <a:gd name="connsiteX63" fmla="*/ 295182 w 830972"/>
                  <a:gd name="connsiteY63" fmla="*/ 318444 h 788066"/>
                  <a:gd name="connsiteX64" fmla="*/ 431624 w 830972"/>
                  <a:gd name="connsiteY64" fmla="*/ 68100 h 788066"/>
                  <a:gd name="connsiteX65" fmla="*/ 425760 w 830972"/>
                  <a:gd name="connsiteY65" fmla="*/ 70008 h 788066"/>
                  <a:gd name="connsiteX66" fmla="*/ 374073 w 830972"/>
                  <a:gd name="connsiteY66" fmla="*/ 92795 h 788066"/>
                  <a:gd name="connsiteX67" fmla="*/ 358174 w 830972"/>
                  <a:gd name="connsiteY67" fmla="*/ 102016 h 788066"/>
                  <a:gd name="connsiteX68" fmla="*/ 355596 w 830972"/>
                  <a:gd name="connsiteY68" fmla="*/ 131693 h 788066"/>
                  <a:gd name="connsiteX69" fmla="*/ 382729 w 830972"/>
                  <a:gd name="connsiteY69" fmla="*/ 128549 h 788066"/>
                  <a:gd name="connsiteX70" fmla="*/ 408448 w 830972"/>
                  <a:gd name="connsiteY70" fmla="*/ 115159 h 788066"/>
                  <a:gd name="connsiteX71" fmla="*/ 446462 w 830972"/>
                  <a:gd name="connsiteY71" fmla="*/ 84811 h 788066"/>
                  <a:gd name="connsiteX72" fmla="*/ 431624 w 830972"/>
                  <a:gd name="connsiteY72" fmla="*/ 68100 h 788066"/>
                  <a:gd name="connsiteX0" fmla="*/ 157469 w 830972"/>
                  <a:gd name="connsiteY0" fmla="*/ 116289 h 788066"/>
                  <a:gd name="connsiteX1" fmla="*/ 176476 w 830972"/>
                  <a:gd name="connsiteY1" fmla="*/ 94385 h 788066"/>
                  <a:gd name="connsiteX2" fmla="*/ 245015 w 830972"/>
                  <a:gd name="connsiteY2" fmla="*/ 33583 h 788066"/>
                  <a:gd name="connsiteX3" fmla="*/ 433638 w 830972"/>
                  <a:gd name="connsiteY3" fmla="*/ 268 h 788066"/>
                  <a:gd name="connsiteX4" fmla="*/ 529734 w 830972"/>
                  <a:gd name="connsiteY4" fmla="*/ 17049 h 788066"/>
                  <a:gd name="connsiteX5" fmla="*/ 595870 w 830972"/>
                  <a:gd name="connsiteY5" fmla="*/ 21571 h 788066"/>
                  <a:gd name="connsiteX6" fmla="*/ 662890 w 830972"/>
                  <a:gd name="connsiteY6" fmla="*/ 61776 h 788066"/>
                  <a:gd name="connsiteX7" fmla="*/ 730864 w 830972"/>
                  <a:gd name="connsiteY7" fmla="*/ 122861 h 788066"/>
                  <a:gd name="connsiteX8" fmla="*/ 827914 w 830972"/>
                  <a:gd name="connsiteY8" fmla="*/ 262765 h 788066"/>
                  <a:gd name="connsiteX9" fmla="*/ 815372 w 830972"/>
                  <a:gd name="connsiteY9" fmla="*/ 346531 h 788066"/>
                  <a:gd name="connsiteX10" fmla="*/ 802052 w 830972"/>
                  <a:gd name="connsiteY10" fmla="*/ 378398 h 788066"/>
                  <a:gd name="connsiteX11" fmla="*/ 797142 w 830972"/>
                  <a:gd name="connsiteY11" fmla="*/ 441814 h 788066"/>
                  <a:gd name="connsiteX12" fmla="*/ 756584 w 830972"/>
                  <a:gd name="connsiteY12" fmla="*/ 598288 h 788066"/>
                  <a:gd name="connsiteX13" fmla="*/ 720972 w 830972"/>
                  <a:gd name="connsiteY13" fmla="*/ 625880 h 788066"/>
                  <a:gd name="connsiteX14" fmla="*/ 682392 w 830972"/>
                  <a:gd name="connsiteY14" fmla="*/ 675836 h 788066"/>
                  <a:gd name="connsiteX15" fmla="*/ 568526 w 830972"/>
                  <a:gd name="connsiteY15" fmla="*/ 778149 h 788066"/>
                  <a:gd name="connsiteX16" fmla="*/ 485431 w 830972"/>
                  <a:gd name="connsiteY16" fmla="*/ 773274 h 788066"/>
                  <a:gd name="connsiteX17" fmla="*/ 390536 w 830972"/>
                  <a:gd name="connsiteY17" fmla="*/ 777902 h 788066"/>
                  <a:gd name="connsiteX18" fmla="*/ 226714 w 830972"/>
                  <a:gd name="connsiteY18" fmla="*/ 753136 h 788066"/>
                  <a:gd name="connsiteX19" fmla="*/ 126273 w 830972"/>
                  <a:gd name="connsiteY19" fmla="*/ 708056 h 788066"/>
                  <a:gd name="connsiteX20" fmla="*/ 71265 w 830972"/>
                  <a:gd name="connsiteY20" fmla="*/ 677496 h 788066"/>
                  <a:gd name="connsiteX21" fmla="*/ 6082 w 830972"/>
                  <a:gd name="connsiteY21" fmla="*/ 591964 h 788066"/>
                  <a:gd name="connsiteX22" fmla="*/ 960 w 830972"/>
                  <a:gd name="connsiteY22" fmla="*/ 524979 h 788066"/>
                  <a:gd name="connsiteX23" fmla="*/ 3362 w 830972"/>
                  <a:gd name="connsiteY23" fmla="*/ 416377 h 788066"/>
                  <a:gd name="connsiteX24" fmla="*/ 7036 w 830972"/>
                  <a:gd name="connsiteY24" fmla="*/ 291911 h 788066"/>
                  <a:gd name="connsiteX25" fmla="*/ 97091 w 830972"/>
                  <a:gd name="connsiteY25" fmla="*/ 163171 h 788066"/>
                  <a:gd name="connsiteX26" fmla="*/ 127933 w 830972"/>
                  <a:gd name="connsiteY26" fmla="*/ 140384 h 788066"/>
                  <a:gd name="connsiteX27" fmla="*/ 157469 w 830972"/>
                  <a:gd name="connsiteY27" fmla="*/ 116254 h 788066"/>
                  <a:gd name="connsiteX28" fmla="*/ 157469 w 830972"/>
                  <a:gd name="connsiteY28" fmla="*/ 116289 h 788066"/>
                  <a:gd name="connsiteX29" fmla="*/ 230176 w 830972"/>
                  <a:gd name="connsiteY29" fmla="*/ 65556 h 788066"/>
                  <a:gd name="connsiteX30" fmla="*/ 225230 w 830972"/>
                  <a:gd name="connsiteY30" fmla="*/ 170626 h 788066"/>
                  <a:gd name="connsiteX31" fmla="*/ 198238 w 830972"/>
                  <a:gd name="connsiteY31" fmla="*/ 143528 h 788066"/>
                  <a:gd name="connsiteX32" fmla="*/ 95572 w 830972"/>
                  <a:gd name="connsiteY32" fmla="*/ 265273 h 788066"/>
                  <a:gd name="connsiteX33" fmla="*/ 84372 w 830972"/>
                  <a:gd name="connsiteY33" fmla="*/ 288661 h 788066"/>
                  <a:gd name="connsiteX34" fmla="*/ 52823 w 830972"/>
                  <a:gd name="connsiteY34" fmla="*/ 329325 h 788066"/>
                  <a:gd name="connsiteX35" fmla="*/ 56427 w 830972"/>
                  <a:gd name="connsiteY35" fmla="*/ 341796 h 788066"/>
                  <a:gd name="connsiteX36" fmla="*/ 68509 w 830972"/>
                  <a:gd name="connsiteY36" fmla="*/ 357271 h 788066"/>
                  <a:gd name="connsiteX37" fmla="*/ 119737 w 830972"/>
                  <a:gd name="connsiteY37" fmla="*/ 387265 h 788066"/>
                  <a:gd name="connsiteX38" fmla="*/ 162132 w 830972"/>
                  <a:gd name="connsiteY38" fmla="*/ 374123 h 788066"/>
                  <a:gd name="connsiteX39" fmla="*/ 192303 w 830972"/>
                  <a:gd name="connsiteY39" fmla="*/ 358048 h 788066"/>
                  <a:gd name="connsiteX40" fmla="*/ 246534 w 830972"/>
                  <a:gd name="connsiteY40" fmla="*/ 316041 h 788066"/>
                  <a:gd name="connsiteX41" fmla="*/ 284230 w 830972"/>
                  <a:gd name="connsiteY41" fmla="*/ 221465 h 788066"/>
                  <a:gd name="connsiteX42" fmla="*/ 349908 w 830972"/>
                  <a:gd name="connsiteY42" fmla="*/ 75519 h 788066"/>
                  <a:gd name="connsiteX43" fmla="*/ 353370 w 830972"/>
                  <a:gd name="connsiteY43" fmla="*/ 65874 h 788066"/>
                  <a:gd name="connsiteX44" fmla="*/ 359906 w 830972"/>
                  <a:gd name="connsiteY44" fmla="*/ 54251 h 788066"/>
                  <a:gd name="connsiteX45" fmla="*/ 388805 w 830972"/>
                  <a:gd name="connsiteY45" fmla="*/ 22419 h 788066"/>
                  <a:gd name="connsiteX46" fmla="*/ 230176 w 830972"/>
                  <a:gd name="connsiteY46" fmla="*/ 65556 h 788066"/>
                  <a:gd name="connsiteX47" fmla="*/ 99988 w 830972"/>
                  <a:gd name="connsiteY47" fmla="*/ 207474 h 788066"/>
                  <a:gd name="connsiteX48" fmla="*/ 59041 w 830972"/>
                  <a:gd name="connsiteY48" fmla="*/ 228919 h 788066"/>
                  <a:gd name="connsiteX49" fmla="*/ 23888 w 830972"/>
                  <a:gd name="connsiteY49" fmla="*/ 347414 h 788066"/>
                  <a:gd name="connsiteX50" fmla="*/ 28834 w 830972"/>
                  <a:gd name="connsiteY50" fmla="*/ 355222 h 788066"/>
                  <a:gd name="connsiteX51" fmla="*/ 36466 w 830972"/>
                  <a:gd name="connsiteY51" fmla="*/ 349498 h 788066"/>
                  <a:gd name="connsiteX52" fmla="*/ 62892 w 830972"/>
                  <a:gd name="connsiteY52" fmla="*/ 283503 h 788066"/>
                  <a:gd name="connsiteX53" fmla="*/ 99988 w 830972"/>
                  <a:gd name="connsiteY53" fmla="*/ 207474 h 788066"/>
                  <a:gd name="connsiteX54" fmla="*/ 295182 w 830972"/>
                  <a:gd name="connsiteY54" fmla="*/ 318444 h 788066"/>
                  <a:gd name="connsiteX55" fmla="*/ 354394 w 830972"/>
                  <a:gd name="connsiteY55" fmla="*/ 273328 h 788066"/>
                  <a:gd name="connsiteX56" fmla="*/ 351956 w 830972"/>
                  <a:gd name="connsiteY56" fmla="*/ 245171 h 788066"/>
                  <a:gd name="connsiteX57" fmla="*/ 322492 w 830972"/>
                  <a:gd name="connsiteY57" fmla="*/ 239023 h 788066"/>
                  <a:gd name="connsiteX58" fmla="*/ 309137 w 830972"/>
                  <a:gd name="connsiteY58" fmla="*/ 262941 h 788066"/>
                  <a:gd name="connsiteX59" fmla="*/ 288187 w 830972"/>
                  <a:gd name="connsiteY59" fmla="*/ 288696 h 788066"/>
                  <a:gd name="connsiteX60" fmla="*/ 277165 w 830972"/>
                  <a:gd name="connsiteY60" fmla="*/ 307386 h 788066"/>
                  <a:gd name="connsiteX61" fmla="*/ 295147 w 830972"/>
                  <a:gd name="connsiteY61" fmla="*/ 318444 h 788066"/>
                  <a:gd name="connsiteX62" fmla="*/ 295182 w 830972"/>
                  <a:gd name="connsiteY62" fmla="*/ 318444 h 788066"/>
                  <a:gd name="connsiteX63" fmla="*/ 431624 w 830972"/>
                  <a:gd name="connsiteY63" fmla="*/ 68100 h 788066"/>
                  <a:gd name="connsiteX64" fmla="*/ 425760 w 830972"/>
                  <a:gd name="connsiteY64" fmla="*/ 70008 h 788066"/>
                  <a:gd name="connsiteX65" fmla="*/ 374073 w 830972"/>
                  <a:gd name="connsiteY65" fmla="*/ 92795 h 788066"/>
                  <a:gd name="connsiteX66" fmla="*/ 358174 w 830972"/>
                  <a:gd name="connsiteY66" fmla="*/ 102016 h 788066"/>
                  <a:gd name="connsiteX67" fmla="*/ 355596 w 830972"/>
                  <a:gd name="connsiteY67" fmla="*/ 131693 h 788066"/>
                  <a:gd name="connsiteX68" fmla="*/ 382729 w 830972"/>
                  <a:gd name="connsiteY68" fmla="*/ 128549 h 788066"/>
                  <a:gd name="connsiteX69" fmla="*/ 408448 w 830972"/>
                  <a:gd name="connsiteY69" fmla="*/ 115159 h 788066"/>
                  <a:gd name="connsiteX70" fmla="*/ 446462 w 830972"/>
                  <a:gd name="connsiteY70" fmla="*/ 84811 h 788066"/>
                  <a:gd name="connsiteX71" fmla="*/ 431624 w 830972"/>
                  <a:gd name="connsiteY71" fmla="*/ 68100 h 788066"/>
                  <a:gd name="connsiteX0" fmla="*/ 157469 w 830972"/>
                  <a:gd name="connsiteY0" fmla="*/ 116289 h 788066"/>
                  <a:gd name="connsiteX1" fmla="*/ 176476 w 830972"/>
                  <a:gd name="connsiteY1" fmla="*/ 94385 h 788066"/>
                  <a:gd name="connsiteX2" fmla="*/ 245015 w 830972"/>
                  <a:gd name="connsiteY2" fmla="*/ 33583 h 788066"/>
                  <a:gd name="connsiteX3" fmla="*/ 433638 w 830972"/>
                  <a:gd name="connsiteY3" fmla="*/ 268 h 788066"/>
                  <a:gd name="connsiteX4" fmla="*/ 529734 w 830972"/>
                  <a:gd name="connsiteY4" fmla="*/ 17049 h 788066"/>
                  <a:gd name="connsiteX5" fmla="*/ 595870 w 830972"/>
                  <a:gd name="connsiteY5" fmla="*/ 21571 h 788066"/>
                  <a:gd name="connsiteX6" fmla="*/ 662890 w 830972"/>
                  <a:gd name="connsiteY6" fmla="*/ 61776 h 788066"/>
                  <a:gd name="connsiteX7" fmla="*/ 730864 w 830972"/>
                  <a:gd name="connsiteY7" fmla="*/ 122861 h 788066"/>
                  <a:gd name="connsiteX8" fmla="*/ 827914 w 830972"/>
                  <a:gd name="connsiteY8" fmla="*/ 262765 h 788066"/>
                  <a:gd name="connsiteX9" fmla="*/ 815372 w 830972"/>
                  <a:gd name="connsiteY9" fmla="*/ 346531 h 788066"/>
                  <a:gd name="connsiteX10" fmla="*/ 802052 w 830972"/>
                  <a:gd name="connsiteY10" fmla="*/ 378398 h 788066"/>
                  <a:gd name="connsiteX11" fmla="*/ 797142 w 830972"/>
                  <a:gd name="connsiteY11" fmla="*/ 441814 h 788066"/>
                  <a:gd name="connsiteX12" fmla="*/ 756584 w 830972"/>
                  <a:gd name="connsiteY12" fmla="*/ 598288 h 788066"/>
                  <a:gd name="connsiteX13" fmla="*/ 720972 w 830972"/>
                  <a:gd name="connsiteY13" fmla="*/ 625880 h 788066"/>
                  <a:gd name="connsiteX14" fmla="*/ 682392 w 830972"/>
                  <a:gd name="connsiteY14" fmla="*/ 675836 h 788066"/>
                  <a:gd name="connsiteX15" fmla="*/ 568526 w 830972"/>
                  <a:gd name="connsiteY15" fmla="*/ 778149 h 788066"/>
                  <a:gd name="connsiteX16" fmla="*/ 485431 w 830972"/>
                  <a:gd name="connsiteY16" fmla="*/ 773274 h 788066"/>
                  <a:gd name="connsiteX17" fmla="*/ 390536 w 830972"/>
                  <a:gd name="connsiteY17" fmla="*/ 777902 h 788066"/>
                  <a:gd name="connsiteX18" fmla="*/ 226714 w 830972"/>
                  <a:gd name="connsiteY18" fmla="*/ 753136 h 788066"/>
                  <a:gd name="connsiteX19" fmla="*/ 126273 w 830972"/>
                  <a:gd name="connsiteY19" fmla="*/ 708056 h 788066"/>
                  <a:gd name="connsiteX20" fmla="*/ 71265 w 830972"/>
                  <a:gd name="connsiteY20" fmla="*/ 677496 h 788066"/>
                  <a:gd name="connsiteX21" fmla="*/ 6082 w 830972"/>
                  <a:gd name="connsiteY21" fmla="*/ 591964 h 788066"/>
                  <a:gd name="connsiteX22" fmla="*/ 960 w 830972"/>
                  <a:gd name="connsiteY22" fmla="*/ 524979 h 788066"/>
                  <a:gd name="connsiteX23" fmla="*/ 3362 w 830972"/>
                  <a:gd name="connsiteY23" fmla="*/ 416377 h 788066"/>
                  <a:gd name="connsiteX24" fmla="*/ 7036 w 830972"/>
                  <a:gd name="connsiteY24" fmla="*/ 291911 h 788066"/>
                  <a:gd name="connsiteX25" fmla="*/ 97091 w 830972"/>
                  <a:gd name="connsiteY25" fmla="*/ 163171 h 788066"/>
                  <a:gd name="connsiteX26" fmla="*/ 127933 w 830972"/>
                  <a:gd name="connsiteY26" fmla="*/ 140384 h 788066"/>
                  <a:gd name="connsiteX27" fmla="*/ 157469 w 830972"/>
                  <a:gd name="connsiteY27" fmla="*/ 116254 h 788066"/>
                  <a:gd name="connsiteX28" fmla="*/ 157469 w 830972"/>
                  <a:gd name="connsiteY28" fmla="*/ 116289 h 788066"/>
                  <a:gd name="connsiteX29" fmla="*/ 388805 w 830972"/>
                  <a:gd name="connsiteY29" fmla="*/ 22419 h 788066"/>
                  <a:gd name="connsiteX30" fmla="*/ 225230 w 830972"/>
                  <a:gd name="connsiteY30" fmla="*/ 170626 h 788066"/>
                  <a:gd name="connsiteX31" fmla="*/ 198238 w 830972"/>
                  <a:gd name="connsiteY31" fmla="*/ 143528 h 788066"/>
                  <a:gd name="connsiteX32" fmla="*/ 95572 w 830972"/>
                  <a:gd name="connsiteY32" fmla="*/ 265273 h 788066"/>
                  <a:gd name="connsiteX33" fmla="*/ 84372 w 830972"/>
                  <a:gd name="connsiteY33" fmla="*/ 288661 h 788066"/>
                  <a:gd name="connsiteX34" fmla="*/ 52823 w 830972"/>
                  <a:gd name="connsiteY34" fmla="*/ 329325 h 788066"/>
                  <a:gd name="connsiteX35" fmla="*/ 56427 w 830972"/>
                  <a:gd name="connsiteY35" fmla="*/ 341796 h 788066"/>
                  <a:gd name="connsiteX36" fmla="*/ 68509 w 830972"/>
                  <a:gd name="connsiteY36" fmla="*/ 357271 h 788066"/>
                  <a:gd name="connsiteX37" fmla="*/ 119737 w 830972"/>
                  <a:gd name="connsiteY37" fmla="*/ 387265 h 788066"/>
                  <a:gd name="connsiteX38" fmla="*/ 162132 w 830972"/>
                  <a:gd name="connsiteY38" fmla="*/ 374123 h 788066"/>
                  <a:gd name="connsiteX39" fmla="*/ 192303 w 830972"/>
                  <a:gd name="connsiteY39" fmla="*/ 358048 h 788066"/>
                  <a:gd name="connsiteX40" fmla="*/ 246534 w 830972"/>
                  <a:gd name="connsiteY40" fmla="*/ 316041 h 788066"/>
                  <a:gd name="connsiteX41" fmla="*/ 284230 w 830972"/>
                  <a:gd name="connsiteY41" fmla="*/ 221465 h 788066"/>
                  <a:gd name="connsiteX42" fmla="*/ 349908 w 830972"/>
                  <a:gd name="connsiteY42" fmla="*/ 75519 h 788066"/>
                  <a:gd name="connsiteX43" fmla="*/ 353370 w 830972"/>
                  <a:gd name="connsiteY43" fmla="*/ 65874 h 788066"/>
                  <a:gd name="connsiteX44" fmla="*/ 359906 w 830972"/>
                  <a:gd name="connsiteY44" fmla="*/ 54251 h 788066"/>
                  <a:gd name="connsiteX45" fmla="*/ 388805 w 830972"/>
                  <a:gd name="connsiteY45" fmla="*/ 22419 h 788066"/>
                  <a:gd name="connsiteX46" fmla="*/ 99988 w 830972"/>
                  <a:gd name="connsiteY46" fmla="*/ 207474 h 788066"/>
                  <a:gd name="connsiteX47" fmla="*/ 59041 w 830972"/>
                  <a:gd name="connsiteY47" fmla="*/ 228919 h 788066"/>
                  <a:gd name="connsiteX48" fmla="*/ 23888 w 830972"/>
                  <a:gd name="connsiteY48" fmla="*/ 347414 h 788066"/>
                  <a:gd name="connsiteX49" fmla="*/ 28834 w 830972"/>
                  <a:gd name="connsiteY49" fmla="*/ 355222 h 788066"/>
                  <a:gd name="connsiteX50" fmla="*/ 36466 w 830972"/>
                  <a:gd name="connsiteY50" fmla="*/ 349498 h 788066"/>
                  <a:gd name="connsiteX51" fmla="*/ 62892 w 830972"/>
                  <a:gd name="connsiteY51" fmla="*/ 283503 h 788066"/>
                  <a:gd name="connsiteX52" fmla="*/ 99988 w 830972"/>
                  <a:gd name="connsiteY52" fmla="*/ 207474 h 788066"/>
                  <a:gd name="connsiteX53" fmla="*/ 295182 w 830972"/>
                  <a:gd name="connsiteY53" fmla="*/ 318444 h 788066"/>
                  <a:gd name="connsiteX54" fmla="*/ 354394 w 830972"/>
                  <a:gd name="connsiteY54" fmla="*/ 273328 h 788066"/>
                  <a:gd name="connsiteX55" fmla="*/ 351956 w 830972"/>
                  <a:gd name="connsiteY55" fmla="*/ 245171 h 788066"/>
                  <a:gd name="connsiteX56" fmla="*/ 322492 w 830972"/>
                  <a:gd name="connsiteY56" fmla="*/ 239023 h 788066"/>
                  <a:gd name="connsiteX57" fmla="*/ 309137 w 830972"/>
                  <a:gd name="connsiteY57" fmla="*/ 262941 h 788066"/>
                  <a:gd name="connsiteX58" fmla="*/ 288187 w 830972"/>
                  <a:gd name="connsiteY58" fmla="*/ 288696 h 788066"/>
                  <a:gd name="connsiteX59" fmla="*/ 277165 w 830972"/>
                  <a:gd name="connsiteY59" fmla="*/ 307386 h 788066"/>
                  <a:gd name="connsiteX60" fmla="*/ 295147 w 830972"/>
                  <a:gd name="connsiteY60" fmla="*/ 318444 h 788066"/>
                  <a:gd name="connsiteX61" fmla="*/ 295182 w 830972"/>
                  <a:gd name="connsiteY61" fmla="*/ 318444 h 788066"/>
                  <a:gd name="connsiteX62" fmla="*/ 431624 w 830972"/>
                  <a:gd name="connsiteY62" fmla="*/ 68100 h 788066"/>
                  <a:gd name="connsiteX63" fmla="*/ 425760 w 830972"/>
                  <a:gd name="connsiteY63" fmla="*/ 70008 h 788066"/>
                  <a:gd name="connsiteX64" fmla="*/ 374073 w 830972"/>
                  <a:gd name="connsiteY64" fmla="*/ 92795 h 788066"/>
                  <a:gd name="connsiteX65" fmla="*/ 358174 w 830972"/>
                  <a:gd name="connsiteY65" fmla="*/ 102016 h 788066"/>
                  <a:gd name="connsiteX66" fmla="*/ 355596 w 830972"/>
                  <a:gd name="connsiteY66" fmla="*/ 131693 h 788066"/>
                  <a:gd name="connsiteX67" fmla="*/ 382729 w 830972"/>
                  <a:gd name="connsiteY67" fmla="*/ 128549 h 788066"/>
                  <a:gd name="connsiteX68" fmla="*/ 408448 w 830972"/>
                  <a:gd name="connsiteY68" fmla="*/ 115159 h 788066"/>
                  <a:gd name="connsiteX69" fmla="*/ 446462 w 830972"/>
                  <a:gd name="connsiteY69" fmla="*/ 84811 h 788066"/>
                  <a:gd name="connsiteX70" fmla="*/ 431624 w 830972"/>
                  <a:gd name="connsiteY70" fmla="*/ 68100 h 788066"/>
                  <a:gd name="connsiteX0" fmla="*/ 157469 w 830972"/>
                  <a:gd name="connsiteY0" fmla="*/ 116289 h 788066"/>
                  <a:gd name="connsiteX1" fmla="*/ 176476 w 830972"/>
                  <a:gd name="connsiteY1" fmla="*/ 94385 h 788066"/>
                  <a:gd name="connsiteX2" fmla="*/ 245015 w 830972"/>
                  <a:gd name="connsiteY2" fmla="*/ 33583 h 788066"/>
                  <a:gd name="connsiteX3" fmla="*/ 433638 w 830972"/>
                  <a:gd name="connsiteY3" fmla="*/ 268 h 788066"/>
                  <a:gd name="connsiteX4" fmla="*/ 529734 w 830972"/>
                  <a:gd name="connsiteY4" fmla="*/ 17049 h 788066"/>
                  <a:gd name="connsiteX5" fmla="*/ 595870 w 830972"/>
                  <a:gd name="connsiteY5" fmla="*/ 21571 h 788066"/>
                  <a:gd name="connsiteX6" fmla="*/ 662890 w 830972"/>
                  <a:gd name="connsiteY6" fmla="*/ 61776 h 788066"/>
                  <a:gd name="connsiteX7" fmla="*/ 730864 w 830972"/>
                  <a:gd name="connsiteY7" fmla="*/ 122861 h 788066"/>
                  <a:gd name="connsiteX8" fmla="*/ 827914 w 830972"/>
                  <a:gd name="connsiteY8" fmla="*/ 262765 h 788066"/>
                  <a:gd name="connsiteX9" fmla="*/ 815372 w 830972"/>
                  <a:gd name="connsiteY9" fmla="*/ 346531 h 788066"/>
                  <a:gd name="connsiteX10" fmla="*/ 802052 w 830972"/>
                  <a:gd name="connsiteY10" fmla="*/ 378398 h 788066"/>
                  <a:gd name="connsiteX11" fmla="*/ 797142 w 830972"/>
                  <a:gd name="connsiteY11" fmla="*/ 441814 h 788066"/>
                  <a:gd name="connsiteX12" fmla="*/ 756584 w 830972"/>
                  <a:gd name="connsiteY12" fmla="*/ 598288 h 788066"/>
                  <a:gd name="connsiteX13" fmla="*/ 720972 w 830972"/>
                  <a:gd name="connsiteY13" fmla="*/ 625880 h 788066"/>
                  <a:gd name="connsiteX14" fmla="*/ 682392 w 830972"/>
                  <a:gd name="connsiteY14" fmla="*/ 675836 h 788066"/>
                  <a:gd name="connsiteX15" fmla="*/ 568526 w 830972"/>
                  <a:gd name="connsiteY15" fmla="*/ 778149 h 788066"/>
                  <a:gd name="connsiteX16" fmla="*/ 485431 w 830972"/>
                  <a:gd name="connsiteY16" fmla="*/ 773274 h 788066"/>
                  <a:gd name="connsiteX17" fmla="*/ 390536 w 830972"/>
                  <a:gd name="connsiteY17" fmla="*/ 777902 h 788066"/>
                  <a:gd name="connsiteX18" fmla="*/ 226714 w 830972"/>
                  <a:gd name="connsiteY18" fmla="*/ 753136 h 788066"/>
                  <a:gd name="connsiteX19" fmla="*/ 126273 w 830972"/>
                  <a:gd name="connsiteY19" fmla="*/ 708056 h 788066"/>
                  <a:gd name="connsiteX20" fmla="*/ 71265 w 830972"/>
                  <a:gd name="connsiteY20" fmla="*/ 677496 h 788066"/>
                  <a:gd name="connsiteX21" fmla="*/ 6082 w 830972"/>
                  <a:gd name="connsiteY21" fmla="*/ 591964 h 788066"/>
                  <a:gd name="connsiteX22" fmla="*/ 960 w 830972"/>
                  <a:gd name="connsiteY22" fmla="*/ 524979 h 788066"/>
                  <a:gd name="connsiteX23" fmla="*/ 3362 w 830972"/>
                  <a:gd name="connsiteY23" fmla="*/ 416377 h 788066"/>
                  <a:gd name="connsiteX24" fmla="*/ 7036 w 830972"/>
                  <a:gd name="connsiteY24" fmla="*/ 291911 h 788066"/>
                  <a:gd name="connsiteX25" fmla="*/ 97091 w 830972"/>
                  <a:gd name="connsiteY25" fmla="*/ 163171 h 788066"/>
                  <a:gd name="connsiteX26" fmla="*/ 127933 w 830972"/>
                  <a:gd name="connsiteY26" fmla="*/ 140384 h 788066"/>
                  <a:gd name="connsiteX27" fmla="*/ 157469 w 830972"/>
                  <a:gd name="connsiteY27" fmla="*/ 116254 h 788066"/>
                  <a:gd name="connsiteX28" fmla="*/ 157469 w 830972"/>
                  <a:gd name="connsiteY28" fmla="*/ 116289 h 788066"/>
                  <a:gd name="connsiteX29" fmla="*/ 388805 w 830972"/>
                  <a:gd name="connsiteY29" fmla="*/ 22419 h 788066"/>
                  <a:gd name="connsiteX30" fmla="*/ 225230 w 830972"/>
                  <a:gd name="connsiteY30" fmla="*/ 170626 h 788066"/>
                  <a:gd name="connsiteX31" fmla="*/ 95572 w 830972"/>
                  <a:gd name="connsiteY31" fmla="*/ 265273 h 788066"/>
                  <a:gd name="connsiteX32" fmla="*/ 84372 w 830972"/>
                  <a:gd name="connsiteY32" fmla="*/ 288661 h 788066"/>
                  <a:gd name="connsiteX33" fmla="*/ 52823 w 830972"/>
                  <a:gd name="connsiteY33" fmla="*/ 329325 h 788066"/>
                  <a:gd name="connsiteX34" fmla="*/ 56427 w 830972"/>
                  <a:gd name="connsiteY34" fmla="*/ 341796 h 788066"/>
                  <a:gd name="connsiteX35" fmla="*/ 68509 w 830972"/>
                  <a:gd name="connsiteY35" fmla="*/ 357271 h 788066"/>
                  <a:gd name="connsiteX36" fmla="*/ 119737 w 830972"/>
                  <a:gd name="connsiteY36" fmla="*/ 387265 h 788066"/>
                  <a:gd name="connsiteX37" fmla="*/ 162132 w 830972"/>
                  <a:gd name="connsiteY37" fmla="*/ 374123 h 788066"/>
                  <a:gd name="connsiteX38" fmla="*/ 192303 w 830972"/>
                  <a:gd name="connsiteY38" fmla="*/ 358048 h 788066"/>
                  <a:gd name="connsiteX39" fmla="*/ 246534 w 830972"/>
                  <a:gd name="connsiteY39" fmla="*/ 316041 h 788066"/>
                  <a:gd name="connsiteX40" fmla="*/ 284230 w 830972"/>
                  <a:gd name="connsiteY40" fmla="*/ 221465 h 788066"/>
                  <a:gd name="connsiteX41" fmla="*/ 349908 w 830972"/>
                  <a:gd name="connsiteY41" fmla="*/ 75519 h 788066"/>
                  <a:gd name="connsiteX42" fmla="*/ 353370 w 830972"/>
                  <a:gd name="connsiteY42" fmla="*/ 65874 h 788066"/>
                  <a:gd name="connsiteX43" fmla="*/ 359906 w 830972"/>
                  <a:gd name="connsiteY43" fmla="*/ 54251 h 788066"/>
                  <a:gd name="connsiteX44" fmla="*/ 388805 w 830972"/>
                  <a:gd name="connsiteY44" fmla="*/ 22419 h 788066"/>
                  <a:gd name="connsiteX45" fmla="*/ 99988 w 830972"/>
                  <a:gd name="connsiteY45" fmla="*/ 207474 h 788066"/>
                  <a:gd name="connsiteX46" fmla="*/ 59041 w 830972"/>
                  <a:gd name="connsiteY46" fmla="*/ 228919 h 788066"/>
                  <a:gd name="connsiteX47" fmla="*/ 23888 w 830972"/>
                  <a:gd name="connsiteY47" fmla="*/ 347414 h 788066"/>
                  <a:gd name="connsiteX48" fmla="*/ 28834 w 830972"/>
                  <a:gd name="connsiteY48" fmla="*/ 355222 h 788066"/>
                  <a:gd name="connsiteX49" fmla="*/ 36466 w 830972"/>
                  <a:gd name="connsiteY49" fmla="*/ 349498 h 788066"/>
                  <a:gd name="connsiteX50" fmla="*/ 62892 w 830972"/>
                  <a:gd name="connsiteY50" fmla="*/ 283503 h 788066"/>
                  <a:gd name="connsiteX51" fmla="*/ 99988 w 830972"/>
                  <a:gd name="connsiteY51" fmla="*/ 207474 h 788066"/>
                  <a:gd name="connsiteX52" fmla="*/ 295182 w 830972"/>
                  <a:gd name="connsiteY52" fmla="*/ 318444 h 788066"/>
                  <a:gd name="connsiteX53" fmla="*/ 354394 w 830972"/>
                  <a:gd name="connsiteY53" fmla="*/ 273328 h 788066"/>
                  <a:gd name="connsiteX54" fmla="*/ 351956 w 830972"/>
                  <a:gd name="connsiteY54" fmla="*/ 245171 h 788066"/>
                  <a:gd name="connsiteX55" fmla="*/ 322492 w 830972"/>
                  <a:gd name="connsiteY55" fmla="*/ 239023 h 788066"/>
                  <a:gd name="connsiteX56" fmla="*/ 309137 w 830972"/>
                  <a:gd name="connsiteY56" fmla="*/ 262941 h 788066"/>
                  <a:gd name="connsiteX57" fmla="*/ 288187 w 830972"/>
                  <a:gd name="connsiteY57" fmla="*/ 288696 h 788066"/>
                  <a:gd name="connsiteX58" fmla="*/ 277165 w 830972"/>
                  <a:gd name="connsiteY58" fmla="*/ 307386 h 788066"/>
                  <a:gd name="connsiteX59" fmla="*/ 295147 w 830972"/>
                  <a:gd name="connsiteY59" fmla="*/ 318444 h 788066"/>
                  <a:gd name="connsiteX60" fmla="*/ 295182 w 830972"/>
                  <a:gd name="connsiteY60" fmla="*/ 318444 h 788066"/>
                  <a:gd name="connsiteX61" fmla="*/ 431624 w 830972"/>
                  <a:gd name="connsiteY61" fmla="*/ 68100 h 788066"/>
                  <a:gd name="connsiteX62" fmla="*/ 425760 w 830972"/>
                  <a:gd name="connsiteY62" fmla="*/ 70008 h 788066"/>
                  <a:gd name="connsiteX63" fmla="*/ 374073 w 830972"/>
                  <a:gd name="connsiteY63" fmla="*/ 92795 h 788066"/>
                  <a:gd name="connsiteX64" fmla="*/ 358174 w 830972"/>
                  <a:gd name="connsiteY64" fmla="*/ 102016 h 788066"/>
                  <a:gd name="connsiteX65" fmla="*/ 355596 w 830972"/>
                  <a:gd name="connsiteY65" fmla="*/ 131693 h 788066"/>
                  <a:gd name="connsiteX66" fmla="*/ 382729 w 830972"/>
                  <a:gd name="connsiteY66" fmla="*/ 128549 h 788066"/>
                  <a:gd name="connsiteX67" fmla="*/ 408448 w 830972"/>
                  <a:gd name="connsiteY67" fmla="*/ 115159 h 788066"/>
                  <a:gd name="connsiteX68" fmla="*/ 446462 w 830972"/>
                  <a:gd name="connsiteY68" fmla="*/ 84811 h 788066"/>
                  <a:gd name="connsiteX69" fmla="*/ 431624 w 830972"/>
                  <a:gd name="connsiteY69" fmla="*/ 68100 h 788066"/>
                  <a:gd name="connsiteX0" fmla="*/ 157469 w 830972"/>
                  <a:gd name="connsiteY0" fmla="*/ 119275 h 791052"/>
                  <a:gd name="connsiteX1" fmla="*/ 176476 w 830972"/>
                  <a:gd name="connsiteY1" fmla="*/ 97371 h 791052"/>
                  <a:gd name="connsiteX2" fmla="*/ 433638 w 830972"/>
                  <a:gd name="connsiteY2" fmla="*/ 3254 h 791052"/>
                  <a:gd name="connsiteX3" fmla="*/ 529734 w 830972"/>
                  <a:gd name="connsiteY3" fmla="*/ 20035 h 791052"/>
                  <a:gd name="connsiteX4" fmla="*/ 595870 w 830972"/>
                  <a:gd name="connsiteY4" fmla="*/ 24557 h 791052"/>
                  <a:gd name="connsiteX5" fmla="*/ 662890 w 830972"/>
                  <a:gd name="connsiteY5" fmla="*/ 64762 h 791052"/>
                  <a:gd name="connsiteX6" fmla="*/ 730864 w 830972"/>
                  <a:gd name="connsiteY6" fmla="*/ 125847 h 791052"/>
                  <a:gd name="connsiteX7" fmla="*/ 827914 w 830972"/>
                  <a:gd name="connsiteY7" fmla="*/ 265751 h 791052"/>
                  <a:gd name="connsiteX8" fmla="*/ 815372 w 830972"/>
                  <a:gd name="connsiteY8" fmla="*/ 349517 h 791052"/>
                  <a:gd name="connsiteX9" fmla="*/ 802052 w 830972"/>
                  <a:gd name="connsiteY9" fmla="*/ 381384 h 791052"/>
                  <a:gd name="connsiteX10" fmla="*/ 797142 w 830972"/>
                  <a:gd name="connsiteY10" fmla="*/ 444800 h 791052"/>
                  <a:gd name="connsiteX11" fmla="*/ 756584 w 830972"/>
                  <a:gd name="connsiteY11" fmla="*/ 601274 h 791052"/>
                  <a:gd name="connsiteX12" fmla="*/ 720972 w 830972"/>
                  <a:gd name="connsiteY12" fmla="*/ 628866 h 791052"/>
                  <a:gd name="connsiteX13" fmla="*/ 682392 w 830972"/>
                  <a:gd name="connsiteY13" fmla="*/ 678822 h 791052"/>
                  <a:gd name="connsiteX14" fmla="*/ 568526 w 830972"/>
                  <a:gd name="connsiteY14" fmla="*/ 781135 h 791052"/>
                  <a:gd name="connsiteX15" fmla="*/ 485431 w 830972"/>
                  <a:gd name="connsiteY15" fmla="*/ 776260 h 791052"/>
                  <a:gd name="connsiteX16" fmla="*/ 390536 w 830972"/>
                  <a:gd name="connsiteY16" fmla="*/ 780888 h 791052"/>
                  <a:gd name="connsiteX17" fmla="*/ 226714 w 830972"/>
                  <a:gd name="connsiteY17" fmla="*/ 756122 h 791052"/>
                  <a:gd name="connsiteX18" fmla="*/ 126273 w 830972"/>
                  <a:gd name="connsiteY18" fmla="*/ 711042 h 791052"/>
                  <a:gd name="connsiteX19" fmla="*/ 71265 w 830972"/>
                  <a:gd name="connsiteY19" fmla="*/ 680482 h 791052"/>
                  <a:gd name="connsiteX20" fmla="*/ 6082 w 830972"/>
                  <a:gd name="connsiteY20" fmla="*/ 594950 h 791052"/>
                  <a:gd name="connsiteX21" fmla="*/ 960 w 830972"/>
                  <a:gd name="connsiteY21" fmla="*/ 527965 h 791052"/>
                  <a:gd name="connsiteX22" fmla="*/ 3362 w 830972"/>
                  <a:gd name="connsiteY22" fmla="*/ 419363 h 791052"/>
                  <a:gd name="connsiteX23" fmla="*/ 7036 w 830972"/>
                  <a:gd name="connsiteY23" fmla="*/ 294897 h 791052"/>
                  <a:gd name="connsiteX24" fmla="*/ 97091 w 830972"/>
                  <a:gd name="connsiteY24" fmla="*/ 166157 h 791052"/>
                  <a:gd name="connsiteX25" fmla="*/ 127933 w 830972"/>
                  <a:gd name="connsiteY25" fmla="*/ 143370 h 791052"/>
                  <a:gd name="connsiteX26" fmla="*/ 157469 w 830972"/>
                  <a:gd name="connsiteY26" fmla="*/ 119240 h 791052"/>
                  <a:gd name="connsiteX27" fmla="*/ 157469 w 830972"/>
                  <a:gd name="connsiteY27" fmla="*/ 119275 h 791052"/>
                  <a:gd name="connsiteX28" fmla="*/ 388805 w 830972"/>
                  <a:gd name="connsiteY28" fmla="*/ 25405 h 791052"/>
                  <a:gd name="connsiteX29" fmla="*/ 225230 w 830972"/>
                  <a:gd name="connsiteY29" fmla="*/ 173612 h 791052"/>
                  <a:gd name="connsiteX30" fmla="*/ 95572 w 830972"/>
                  <a:gd name="connsiteY30" fmla="*/ 268259 h 791052"/>
                  <a:gd name="connsiteX31" fmla="*/ 84372 w 830972"/>
                  <a:gd name="connsiteY31" fmla="*/ 291647 h 791052"/>
                  <a:gd name="connsiteX32" fmla="*/ 52823 w 830972"/>
                  <a:gd name="connsiteY32" fmla="*/ 332311 h 791052"/>
                  <a:gd name="connsiteX33" fmla="*/ 56427 w 830972"/>
                  <a:gd name="connsiteY33" fmla="*/ 344782 h 791052"/>
                  <a:gd name="connsiteX34" fmla="*/ 68509 w 830972"/>
                  <a:gd name="connsiteY34" fmla="*/ 360257 h 791052"/>
                  <a:gd name="connsiteX35" fmla="*/ 119737 w 830972"/>
                  <a:gd name="connsiteY35" fmla="*/ 390251 h 791052"/>
                  <a:gd name="connsiteX36" fmla="*/ 162132 w 830972"/>
                  <a:gd name="connsiteY36" fmla="*/ 377109 h 791052"/>
                  <a:gd name="connsiteX37" fmla="*/ 192303 w 830972"/>
                  <a:gd name="connsiteY37" fmla="*/ 361034 h 791052"/>
                  <a:gd name="connsiteX38" fmla="*/ 246534 w 830972"/>
                  <a:gd name="connsiteY38" fmla="*/ 319027 h 791052"/>
                  <a:gd name="connsiteX39" fmla="*/ 284230 w 830972"/>
                  <a:gd name="connsiteY39" fmla="*/ 224451 h 791052"/>
                  <a:gd name="connsiteX40" fmla="*/ 349908 w 830972"/>
                  <a:gd name="connsiteY40" fmla="*/ 78505 h 791052"/>
                  <a:gd name="connsiteX41" fmla="*/ 353370 w 830972"/>
                  <a:gd name="connsiteY41" fmla="*/ 68860 h 791052"/>
                  <a:gd name="connsiteX42" fmla="*/ 359906 w 830972"/>
                  <a:gd name="connsiteY42" fmla="*/ 57237 h 791052"/>
                  <a:gd name="connsiteX43" fmla="*/ 388805 w 830972"/>
                  <a:gd name="connsiteY43" fmla="*/ 25405 h 791052"/>
                  <a:gd name="connsiteX44" fmla="*/ 99988 w 830972"/>
                  <a:gd name="connsiteY44" fmla="*/ 210460 h 791052"/>
                  <a:gd name="connsiteX45" fmla="*/ 59041 w 830972"/>
                  <a:gd name="connsiteY45" fmla="*/ 231905 h 791052"/>
                  <a:gd name="connsiteX46" fmla="*/ 23888 w 830972"/>
                  <a:gd name="connsiteY46" fmla="*/ 350400 h 791052"/>
                  <a:gd name="connsiteX47" fmla="*/ 28834 w 830972"/>
                  <a:gd name="connsiteY47" fmla="*/ 358208 h 791052"/>
                  <a:gd name="connsiteX48" fmla="*/ 36466 w 830972"/>
                  <a:gd name="connsiteY48" fmla="*/ 352484 h 791052"/>
                  <a:gd name="connsiteX49" fmla="*/ 62892 w 830972"/>
                  <a:gd name="connsiteY49" fmla="*/ 286489 h 791052"/>
                  <a:gd name="connsiteX50" fmla="*/ 99988 w 830972"/>
                  <a:gd name="connsiteY50" fmla="*/ 210460 h 791052"/>
                  <a:gd name="connsiteX51" fmla="*/ 295182 w 830972"/>
                  <a:gd name="connsiteY51" fmla="*/ 321430 h 791052"/>
                  <a:gd name="connsiteX52" fmla="*/ 354394 w 830972"/>
                  <a:gd name="connsiteY52" fmla="*/ 276314 h 791052"/>
                  <a:gd name="connsiteX53" fmla="*/ 351956 w 830972"/>
                  <a:gd name="connsiteY53" fmla="*/ 248157 h 791052"/>
                  <a:gd name="connsiteX54" fmla="*/ 322492 w 830972"/>
                  <a:gd name="connsiteY54" fmla="*/ 242009 h 791052"/>
                  <a:gd name="connsiteX55" fmla="*/ 309137 w 830972"/>
                  <a:gd name="connsiteY55" fmla="*/ 265927 h 791052"/>
                  <a:gd name="connsiteX56" fmla="*/ 288187 w 830972"/>
                  <a:gd name="connsiteY56" fmla="*/ 291682 h 791052"/>
                  <a:gd name="connsiteX57" fmla="*/ 277165 w 830972"/>
                  <a:gd name="connsiteY57" fmla="*/ 310372 h 791052"/>
                  <a:gd name="connsiteX58" fmla="*/ 295147 w 830972"/>
                  <a:gd name="connsiteY58" fmla="*/ 321430 h 791052"/>
                  <a:gd name="connsiteX59" fmla="*/ 295182 w 830972"/>
                  <a:gd name="connsiteY59" fmla="*/ 321430 h 791052"/>
                  <a:gd name="connsiteX60" fmla="*/ 431624 w 830972"/>
                  <a:gd name="connsiteY60" fmla="*/ 71086 h 791052"/>
                  <a:gd name="connsiteX61" fmla="*/ 425760 w 830972"/>
                  <a:gd name="connsiteY61" fmla="*/ 72994 h 791052"/>
                  <a:gd name="connsiteX62" fmla="*/ 374073 w 830972"/>
                  <a:gd name="connsiteY62" fmla="*/ 95781 h 791052"/>
                  <a:gd name="connsiteX63" fmla="*/ 358174 w 830972"/>
                  <a:gd name="connsiteY63" fmla="*/ 105002 h 791052"/>
                  <a:gd name="connsiteX64" fmla="*/ 355596 w 830972"/>
                  <a:gd name="connsiteY64" fmla="*/ 134679 h 791052"/>
                  <a:gd name="connsiteX65" fmla="*/ 382729 w 830972"/>
                  <a:gd name="connsiteY65" fmla="*/ 131535 h 791052"/>
                  <a:gd name="connsiteX66" fmla="*/ 408448 w 830972"/>
                  <a:gd name="connsiteY66" fmla="*/ 118145 h 791052"/>
                  <a:gd name="connsiteX67" fmla="*/ 446462 w 830972"/>
                  <a:gd name="connsiteY67" fmla="*/ 87797 h 791052"/>
                  <a:gd name="connsiteX68" fmla="*/ 431624 w 830972"/>
                  <a:gd name="connsiteY68" fmla="*/ 71086 h 791052"/>
                  <a:gd name="connsiteX0" fmla="*/ 157469 w 830972"/>
                  <a:gd name="connsiteY0" fmla="*/ 119275 h 791052"/>
                  <a:gd name="connsiteX1" fmla="*/ 176476 w 830972"/>
                  <a:gd name="connsiteY1" fmla="*/ 97371 h 791052"/>
                  <a:gd name="connsiteX2" fmla="*/ 433638 w 830972"/>
                  <a:gd name="connsiteY2" fmla="*/ 3254 h 791052"/>
                  <a:gd name="connsiteX3" fmla="*/ 529734 w 830972"/>
                  <a:gd name="connsiteY3" fmla="*/ 20035 h 791052"/>
                  <a:gd name="connsiteX4" fmla="*/ 595870 w 830972"/>
                  <a:gd name="connsiteY4" fmla="*/ 24557 h 791052"/>
                  <a:gd name="connsiteX5" fmla="*/ 662890 w 830972"/>
                  <a:gd name="connsiteY5" fmla="*/ 64762 h 791052"/>
                  <a:gd name="connsiteX6" fmla="*/ 730864 w 830972"/>
                  <a:gd name="connsiteY6" fmla="*/ 125847 h 791052"/>
                  <a:gd name="connsiteX7" fmla="*/ 827914 w 830972"/>
                  <a:gd name="connsiteY7" fmla="*/ 265751 h 791052"/>
                  <a:gd name="connsiteX8" fmla="*/ 815372 w 830972"/>
                  <a:gd name="connsiteY8" fmla="*/ 349517 h 791052"/>
                  <a:gd name="connsiteX9" fmla="*/ 802052 w 830972"/>
                  <a:gd name="connsiteY9" fmla="*/ 381384 h 791052"/>
                  <a:gd name="connsiteX10" fmla="*/ 797142 w 830972"/>
                  <a:gd name="connsiteY10" fmla="*/ 444800 h 791052"/>
                  <a:gd name="connsiteX11" fmla="*/ 756584 w 830972"/>
                  <a:gd name="connsiteY11" fmla="*/ 601274 h 791052"/>
                  <a:gd name="connsiteX12" fmla="*/ 720972 w 830972"/>
                  <a:gd name="connsiteY12" fmla="*/ 628866 h 791052"/>
                  <a:gd name="connsiteX13" fmla="*/ 682392 w 830972"/>
                  <a:gd name="connsiteY13" fmla="*/ 678822 h 791052"/>
                  <a:gd name="connsiteX14" fmla="*/ 568526 w 830972"/>
                  <a:gd name="connsiteY14" fmla="*/ 781135 h 791052"/>
                  <a:gd name="connsiteX15" fmla="*/ 485431 w 830972"/>
                  <a:gd name="connsiteY15" fmla="*/ 776260 h 791052"/>
                  <a:gd name="connsiteX16" fmla="*/ 390536 w 830972"/>
                  <a:gd name="connsiteY16" fmla="*/ 780888 h 791052"/>
                  <a:gd name="connsiteX17" fmla="*/ 226714 w 830972"/>
                  <a:gd name="connsiteY17" fmla="*/ 756122 h 791052"/>
                  <a:gd name="connsiteX18" fmla="*/ 126273 w 830972"/>
                  <a:gd name="connsiteY18" fmla="*/ 711042 h 791052"/>
                  <a:gd name="connsiteX19" fmla="*/ 71265 w 830972"/>
                  <a:gd name="connsiteY19" fmla="*/ 680482 h 791052"/>
                  <a:gd name="connsiteX20" fmla="*/ 6082 w 830972"/>
                  <a:gd name="connsiteY20" fmla="*/ 594950 h 791052"/>
                  <a:gd name="connsiteX21" fmla="*/ 960 w 830972"/>
                  <a:gd name="connsiteY21" fmla="*/ 527965 h 791052"/>
                  <a:gd name="connsiteX22" fmla="*/ 3362 w 830972"/>
                  <a:gd name="connsiteY22" fmla="*/ 419363 h 791052"/>
                  <a:gd name="connsiteX23" fmla="*/ 7036 w 830972"/>
                  <a:gd name="connsiteY23" fmla="*/ 294897 h 791052"/>
                  <a:gd name="connsiteX24" fmla="*/ 97091 w 830972"/>
                  <a:gd name="connsiteY24" fmla="*/ 166157 h 791052"/>
                  <a:gd name="connsiteX25" fmla="*/ 127933 w 830972"/>
                  <a:gd name="connsiteY25" fmla="*/ 143370 h 791052"/>
                  <a:gd name="connsiteX26" fmla="*/ 157469 w 830972"/>
                  <a:gd name="connsiteY26" fmla="*/ 119240 h 791052"/>
                  <a:gd name="connsiteX27" fmla="*/ 157469 w 830972"/>
                  <a:gd name="connsiteY27" fmla="*/ 119275 h 791052"/>
                  <a:gd name="connsiteX28" fmla="*/ 388805 w 830972"/>
                  <a:gd name="connsiteY28" fmla="*/ 25405 h 791052"/>
                  <a:gd name="connsiteX29" fmla="*/ 225230 w 830972"/>
                  <a:gd name="connsiteY29" fmla="*/ 173612 h 791052"/>
                  <a:gd name="connsiteX30" fmla="*/ 95572 w 830972"/>
                  <a:gd name="connsiteY30" fmla="*/ 268259 h 791052"/>
                  <a:gd name="connsiteX31" fmla="*/ 84372 w 830972"/>
                  <a:gd name="connsiteY31" fmla="*/ 291647 h 791052"/>
                  <a:gd name="connsiteX32" fmla="*/ 52823 w 830972"/>
                  <a:gd name="connsiteY32" fmla="*/ 332311 h 791052"/>
                  <a:gd name="connsiteX33" fmla="*/ 56427 w 830972"/>
                  <a:gd name="connsiteY33" fmla="*/ 344782 h 791052"/>
                  <a:gd name="connsiteX34" fmla="*/ 68509 w 830972"/>
                  <a:gd name="connsiteY34" fmla="*/ 360257 h 791052"/>
                  <a:gd name="connsiteX35" fmla="*/ 119737 w 830972"/>
                  <a:gd name="connsiteY35" fmla="*/ 390251 h 791052"/>
                  <a:gd name="connsiteX36" fmla="*/ 162132 w 830972"/>
                  <a:gd name="connsiteY36" fmla="*/ 377109 h 791052"/>
                  <a:gd name="connsiteX37" fmla="*/ 192303 w 830972"/>
                  <a:gd name="connsiteY37" fmla="*/ 361034 h 791052"/>
                  <a:gd name="connsiteX38" fmla="*/ 246534 w 830972"/>
                  <a:gd name="connsiteY38" fmla="*/ 319027 h 791052"/>
                  <a:gd name="connsiteX39" fmla="*/ 349908 w 830972"/>
                  <a:gd name="connsiteY39" fmla="*/ 78505 h 791052"/>
                  <a:gd name="connsiteX40" fmla="*/ 353370 w 830972"/>
                  <a:gd name="connsiteY40" fmla="*/ 68860 h 791052"/>
                  <a:gd name="connsiteX41" fmla="*/ 359906 w 830972"/>
                  <a:gd name="connsiteY41" fmla="*/ 57237 h 791052"/>
                  <a:gd name="connsiteX42" fmla="*/ 388805 w 830972"/>
                  <a:gd name="connsiteY42" fmla="*/ 25405 h 791052"/>
                  <a:gd name="connsiteX43" fmla="*/ 99988 w 830972"/>
                  <a:gd name="connsiteY43" fmla="*/ 210460 h 791052"/>
                  <a:gd name="connsiteX44" fmla="*/ 59041 w 830972"/>
                  <a:gd name="connsiteY44" fmla="*/ 231905 h 791052"/>
                  <a:gd name="connsiteX45" fmla="*/ 23888 w 830972"/>
                  <a:gd name="connsiteY45" fmla="*/ 350400 h 791052"/>
                  <a:gd name="connsiteX46" fmla="*/ 28834 w 830972"/>
                  <a:gd name="connsiteY46" fmla="*/ 358208 h 791052"/>
                  <a:gd name="connsiteX47" fmla="*/ 36466 w 830972"/>
                  <a:gd name="connsiteY47" fmla="*/ 352484 h 791052"/>
                  <a:gd name="connsiteX48" fmla="*/ 62892 w 830972"/>
                  <a:gd name="connsiteY48" fmla="*/ 286489 h 791052"/>
                  <a:gd name="connsiteX49" fmla="*/ 99988 w 830972"/>
                  <a:gd name="connsiteY49" fmla="*/ 210460 h 791052"/>
                  <a:gd name="connsiteX50" fmla="*/ 295182 w 830972"/>
                  <a:gd name="connsiteY50" fmla="*/ 321430 h 791052"/>
                  <a:gd name="connsiteX51" fmla="*/ 354394 w 830972"/>
                  <a:gd name="connsiteY51" fmla="*/ 276314 h 791052"/>
                  <a:gd name="connsiteX52" fmla="*/ 351956 w 830972"/>
                  <a:gd name="connsiteY52" fmla="*/ 248157 h 791052"/>
                  <a:gd name="connsiteX53" fmla="*/ 322492 w 830972"/>
                  <a:gd name="connsiteY53" fmla="*/ 242009 h 791052"/>
                  <a:gd name="connsiteX54" fmla="*/ 309137 w 830972"/>
                  <a:gd name="connsiteY54" fmla="*/ 265927 h 791052"/>
                  <a:gd name="connsiteX55" fmla="*/ 288187 w 830972"/>
                  <a:gd name="connsiteY55" fmla="*/ 291682 h 791052"/>
                  <a:gd name="connsiteX56" fmla="*/ 277165 w 830972"/>
                  <a:gd name="connsiteY56" fmla="*/ 310372 h 791052"/>
                  <a:gd name="connsiteX57" fmla="*/ 295147 w 830972"/>
                  <a:gd name="connsiteY57" fmla="*/ 321430 h 791052"/>
                  <a:gd name="connsiteX58" fmla="*/ 295182 w 830972"/>
                  <a:gd name="connsiteY58" fmla="*/ 321430 h 791052"/>
                  <a:gd name="connsiteX59" fmla="*/ 431624 w 830972"/>
                  <a:gd name="connsiteY59" fmla="*/ 71086 h 791052"/>
                  <a:gd name="connsiteX60" fmla="*/ 425760 w 830972"/>
                  <a:gd name="connsiteY60" fmla="*/ 72994 h 791052"/>
                  <a:gd name="connsiteX61" fmla="*/ 374073 w 830972"/>
                  <a:gd name="connsiteY61" fmla="*/ 95781 h 791052"/>
                  <a:gd name="connsiteX62" fmla="*/ 358174 w 830972"/>
                  <a:gd name="connsiteY62" fmla="*/ 105002 h 791052"/>
                  <a:gd name="connsiteX63" fmla="*/ 355596 w 830972"/>
                  <a:gd name="connsiteY63" fmla="*/ 134679 h 791052"/>
                  <a:gd name="connsiteX64" fmla="*/ 382729 w 830972"/>
                  <a:gd name="connsiteY64" fmla="*/ 131535 h 791052"/>
                  <a:gd name="connsiteX65" fmla="*/ 408448 w 830972"/>
                  <a:gd name="connsiteY65" fmla="*/ 118145 h 791052"/>
                  <a:gd name="connsiteX66" fmla="*/ 446462 w 830972"/>
                  <a:gd name="connsiteY66" fmla="*/ 87797 h 791052"/>
                  <a:gd name="connsiteX67" fmla="*/ 431624 w 830972"/>
                  <a:gd name="connsiteY67" fmla="*/ 71086 h 791052"/>
                  <a:gd name="connsiteX0" fmla="*/ 157469 w 830972"/>
                  <a:gd name="connsiteY0" fmla="*/ 119240 h 791052"/>
                  <a:gd name="connsiteX1" fmla="*/ 176476 w 830972"/>
                  <a:gd name="connsiteY1" fmla="*/ 97371 h 791052"/>
                  <a:gd name="connsiteX2" fmla="*/ 433638 w 830972"/>
                  <a:gd name="connsiteY2" fmla="*/ 3254 h 791052"/>
                  <a:gd name="connsiteX3" fmla="*/ 529734 w 830972"/>
                  <a:gd name="connsiteY3" fmla="*/ 20035 h 791052"/>
                  <a:gd name="connsiteX4" fmla="*/ 595870 w 830972"/>
                  <a:gd name="connsiteY4" fmla="*/ 24557 h 791052"/>
                  <a:gd name="connsiteX5" fmla="*/ 662890 w 830972"/>
                  <a:gd name="connsiteY5" fmla="*/ 64762 h 791052"/>
                  <a:gd name="connsiteX6" fmla="*/ 730864 w 830972"/>
                  <a:gd name="connsiteY6" fmla="*/ 125847 h 791052"/>
                  <a:gd name="connsiteX7" fmla="*/ 827914 w 830972"/>
                  <a:gd name="connsiteY7" fmla="*/ 265751 h 791052"/>
                  <a:gd name="connsiteX8" fmla="*/ 815372 w 830972"/>
                  <a:gd name="connsiteY8" fmla="*/ 349517 h 791052"/>
                  <a:gd name="connsiteX9" fmla="*/ 802052 w 830972"/>
                  <a:gd name="connsiteY9" fmla="*/ 381384 h 791052"/>
                  <a:gd name="connsiteX10" fmla="*/ 797142 w 830972"/>
                  <a:gd name="connsiteY10" fmla="*/ 444800 h 791052"/>
                  <a:gd name="connsiteX11" fmla="*/ 756584 w 830972"/>
                  <a:gd name="connsiteY11" fmla="*/ 601274 h 791052"/>
                  <a:gd name="connsiteX12" fmla="*/ 720972 w 830972"/>
                  <a:gd name="connsiteY12" fmla="*/ 628866 h 791052"/>
                  <a:gd name="connsiteX13" fmla="*/ 682392 w 830972"/>
                  <a:gd name="connsiteY13" fmla="*/ 678822 h 791052"/>
                  <a:gd name="connsiteX14" fmla="*/ 568526 w 830972"/>
                  <a:gd name="connsiteY14" fmla="*/ 781135 h 791052"/>
                  <a:gd name="connsiteX15" fmla="*/ 485431 w 830972"/>
                  <a:gd name="connsiteY15" fmla="*/ 776260 h 791052"/>
                  <a:gd name="connsiteX16" fmla="*/ 390536 w 830972"/>
                  <a:gd name="connsiteY16" fmla="*/ 780888 h 791052"/>
                  <a:gd name="connsiteX17" fmla="*/ 226714 w 830972"/>
                  <a:gd name="connsiteY17" fmla="*/ 756122 h 791052"/>
                  <a:gd name="connsiteX18" fmla="*/ 126273 w 830972"/>
                  <a:gd name="connsiteY18" fmla="*/ 711042 h 791052"/>
                  <a:gd name="connsiteX19" fmla="*/ 71265 w 830972"/>
                  <a:gd name="connsiteY19" fmla="*/ 680482 h 791052"/>
                  <a:gd name="connsiteX20" fmla="*/ 6082 w 830972"/>
                  <a:gd name="connsiteY20" fmla="*/ 594950 h 791052"/>
                  <a:gd name="connsiteX21" fmla="*/ 960 w 830972"/>
                  <a:gd name="connsiteY21" fmla="*/ 527965 h 791052"/>
                  <a:gd name="connsiteX22" fmla="*/ 3362 w 830972"/>
                  <a:gd name="connsiteY22" fmla="*/ 419363 h 791052"/>
                  <a:gd name="connsiteX23" fmla="*/ 7036 w 830972"/>
                  <a:gd name="connsiteY23" fmla="*/ 294897 h 791052"/>
                  <a:gd name="connsiteX24" fmla="*/ 97091 w 830972"/>
                  <a:gd name="connsiteY24" fmla="*/ 166157 h 791052"/>
                  <a:gd name="connsiteX25" fmla="*/ 127933 w 830972"/>
                  <a:gd name="connsiteY25" fmla="*/ 143370 h 791052"/>
                  <a:gd name="connsiteX26" fmla="*/ 157469 w 830972"/>
                  <a:gd name="connsiteY26" fmla="*/ 119240 h 791052"/>
                  <a:gd name="connsiteX27" fmla="*/ 388805 w 830972"/>
                  <a:gd name="connsiteY27" fmla="*/ 25405 h 791052"/>
                  <a:gd name="connsiteX28" fmla="*/ 225230 w 830972"/>
                  <a:gd name="connsiteY28" fmla="*/ 173612 h 791052"/>
                  <a:gd name="connsiteX29" fmla="*/ 95572 w 830972"/>
                  <a:gd name="connsiteY29" fmla="*/ 268259 h 791052"/>
                  <a:gd name="connsiteX30" fmla="*/ 84372 w 830972"/>
                  <a:gd name="connsiteY30" fmla="*/ 291647 h 791052"/>
                  <a:gd name="connsiteX31" fmla="*/ 52823 w 830972"/>
                  <a:gd name="connsiteY31" fmla="*/ 332311 h 791052"/>
                  <a:gd name="connsiteX32" fmla="*/ 56427 w 830972"/>
                  <a:gd name="connsiteY32" fmla="*/ 344782 h 791052"/>
                  <a:gd name="connsiteX33" fmla="*/ 68509 w 830972"/>
                  <a:gd name="connsiteY33" fmla="*/ 360257 h 791052"/>
                  <a:gd name="connsiteX34" fmla="*/ 119737 w 830972"/>
                  <a:gd name="connsiteY34" fmla="*/ 390251 h 791052"/>
                  <a:gd name="connsiteX35" fmla="*/ 162132 w 830972"/>
                  <a:gd name="connsiteY35" fmla="*/ 377109 h 791052"/>
                  <a:gd name="connsiteX36" fmla="*/ 192303 w 830972"/>
                  <a:gd name="connsiteY36" fmla="*/ 361034 h 791052"/>
                  <a:gd name="connsiteX37" fmla="*/ 246534 w 830972"/>
                  <a:gd name="connsiteY37" fmla="*/ 319027 h 791052"/>
                  <a:gd name="connsiteX38" fmla="*/ 349908 w 830972"/>
                  <a:gd name="connsiteY38" fmla="*/ 78505 h 791052"/>
                  <a:gd name="connsiteX39" fmla="*/ 353370 w 830972"/>
                  <a:gd name="connsiteY39" fmla="*/ 68860 h 791052"/>
                  <a:gd name="connsiteX40" fmla="*/ 359906 w 830972"/>
                  <a:gd name="connsiteY40" fmla="*/ 57237 h 791052"/>
                  <a:gd name="connsiteX41" fmla="*/ 388805 w 830972"/>
                  <a:gd name="connsiteY41" fmla="*/ 25405 h 791052"/>
                  <a:gd name="connsiteX42" fmla="*/ 99988 w 830972"/>
                  <a:gd name="connsiteY42" fmla="*/ 210460 h 791052"/>
                  <a:gd name="connsiteX43" fmla="*/ 59041 w 830972"/>
                  <a:gd name="connsiteY43" fmla="*/ 231905 h 791052"/>
                  <a:gd name="connsiteX44" fmla="*/ 23888 w 830972"/>
                  <a:gd name="connsiteY44" fmla="*/ 350400 h 791052"/>
                  <a:gd name="connsiteX45" fmla="*/ 28834 w 830972"/>
                  <a:gd name="connsiteY45" fmla="*/ 358208 h 791052"/>
                  <a:gd name="connsiteX46" fmla="*/ 36466 w 830972"/>
                  <a:gd name="connsiteY46" fmla="*/ 352484 h 791052"/>
                  <a:gd name="connsiteX47" fmla="*/ 62892 w 830972"/>
                  <a:gd name="connsiteY47" fmla="*/ 286489 h 791052"/>
                  <a:gd name="connsiteX48" fmla="*/ 99988 w 830972"/>
                  <a:gd name="connsiteY48" fmla="*/ 210460 h 791052"/>
                  <a:gd name="connsiteX49" fmla="*/ 295182 w 830972"/>
                  <a:gd name="connsiteY49" fmla="*/ 321430 h 791052"/>
                  <a:gd name="connsiteX50" fmla="*/ 354394 w 830972"/>
                  <a:gd name="connsiteY50" fmla="*/ 276314 h 791052"/>
                  <a:gd name="connsiteX51" fmla="*/ 351956 w 830972"/>
                  <a:gd name="connsiteY51" fmla="*/ 248157 h 791052"/>
                  <a:gd name="connsiteX52" fmla="*/ 322492 w 830972"/>
                  <a:gd name="connsiteY52" fmla="*/ 242009 h 791052"/>
                  <a:gd name="connsiteX53" fmla="*/ 309137 w 830972"/>
                  <a:gd name="connsiteY53" fmla="*/ 265927 h 791052"/>
                  <a:gd name="connsiteX54" fmla="*/ 288187 w 830972"/>
                  <a:gd name="connsiteY54" fmla="*/ 291682 h 791052"/>
                  <a:gd name="connsiteX55" fmla="*/ 277165 w 830972"/>
                  <a:gd name="connsiteY55" fmla="*/ 310372 h 791052"/>
                  <a:gd name="connsiteX56" fmla="*/ 295147 w 830972"/>
                  <a:gd name="connsiteY56" fmla="*/ 321430 h 791052"/>
                  <a:gd name="connsiteX57" fmla="*/ 295182 w 830972"/>
                  <a:gd name="connsiteY57" fmla="*/ 321430 h 791052"/>
                  <a:gd name="connsiteX58" fmla="*/ 431624 w 830972"/>
                  <a:gd name="connsiteY58" fmla="*/ 71086 h 791052"/>
                  <a:gd name="connsiteX59" fmla="*/ 425760 w 830972"/>
                  <a:gd name="connsiteY59" fmla="*/ 72994 h 791052"/>
                  <a:gd name="connsiteX60" fmla="*/ 374073 w 830972"/>
                  <a:gd name="connsiteY60" fmla="*/ 95781 h 791052"/>
                  <a:gd name="connsiteX61" fmla="*/ 358174 w 830972"/>
                  <a:gd name="connsiteY61" fmla="*/ 105002 h 791052"/>
                  <a:gd name="connsiteX62" fmla="*/ 355596 w 830972"/>
                  <a:gd name="connsiteY62" fmla="*/ 134679 h 791052"/>
                  <a:gd name="connsiteX63" fmla="*/ 382729 w 830972"/>
                  <a:gd name="connsiteY63" fmla="*/ 131535 h 791052"/>
                  <a:gd name="connsiteX64" fmla="*/ 408448 w 830972"/>
                  <a:gd name="connsiteY64" fmla="*/ 118145 h 791052"/>
                  <a:gd name="connsiteX65" fmla="*/ 446462 w 830972"/>
                  <a:gd name="connsiteY65" fmla="*/ 87797 h 791052"/>
                  <a:gd name="connsiteX66" fmla="*/ 431624 w 830972"/>
                  <a:gd name="connsiteY66" fmla="*/ 71086 h 791052"/>
                  <a:gd name="connsiteX0" fmla="*/ 157469 w 830972"/>
                  <a:gd name="connsiteY0" fmla="*/ 119240 h 791052"/>
                  <a:gd name="connsiteX1" fmla="*/ 176476 w 830972"/>
                  <a:gd name="connsiteY1" fmla="*/ 97371 h 791052"/>
                  <a:gd name="connsiteX2" fmla="*/ 433638 w 830972"/>
                  <a:gd name="connsiteY2" fmla="*/ 3254 h 791052"/>
                  <a:gd name="connsiteX3" fmla="*/ 529734 w 830972"/>
                  <a:gd name="connsiteY3" fmla="*/ 20035 h 791052"/>
                  <a:gd name="connsiteX4" fmla="*/ 595870 w 830972"/>
                  <a:gd name="connsiteY4" fmla="*/ 24557 h 791052"/>
                  <a:gd name="connsiteX5" fmla="*/ 662890 w 830972"/>
                  <a:gd name="connsiteY5" fmla="*/ 64762 h 791052"/>
                  <a:gd name="connsiteX6" fmla="*/ 730864 w 830972"/>
                  <a:gd name="connsiteY6" fmla="*/ 125847 h 791052"/>
                  <a:gd name="connsiteX7" fmla="*/ 827914 w 830972"/>
                  <a:gd name="connsiteY7" fmla="*/ 265751 h 791052"/>
                  <a:gd name="connsiteX8" fmla="*/ 815372 w 830972"/>
                  <a:gd name="connsiteY8" fmla="*/ 349517 h 791052"/>
                  <a:gd name="connsiteX9" fmla="*/ 802052 w 830972"/>
                  <a:gd name="connsiteY9" fmla="*/ 381384 h 791052"/>
                  <a:gd name="connsiteX10" fmla="*/ 797142 w 830972"/>
                  <a:gd name="connsiteY10" fmla="*/ 444800 h 791052"/>
                  <a:gd name="connsiteX11" fmla="*/ 756584 w 830972"/>
                  <a:gd name="connsiteY11" fmla="*/ 601274 h 791052"/>
                  <a:gd name="connsiteX12" fmla="*/ 720972 w 830972"/>
                  <a:gd name="connsiteY12" fmla="*/ 628866 h 791052"/>
                  <a:gd name="connsiteX13" fmla="*/ 682392 w 830972"/>
                  <a:gd name="connsiteY13" fmla="*/ 678822 h 791052"/>
                  <a:gd name="connsiteX14" fmla="*/ 568526 w 830972"/>
                  <a:gd name="connsiteY14" fmla="*/ 781135 h 791052"/>
                  <a:gd name="connsiteX15" fmla="*/ 485431 w 830972"/>
                  <a:gd name="connsiteY15" fmla="*/ 776260 h 791052"/>
                  <a:gd name="connsiteX16" fmla="*/ 390536 w 830972"/>
                  <a:gd name="connsiteY16" fmla="*/ 780888 h 791052"/>
                  <a:gd name="connsiteX17" fmla="*/ 226714 w 830972"/>
                  <a:gd name="connsiteY17" fmla="*/ 756122 h 791052"/>
                  <a:gd name="connsiteX18" fmla="*/ 126273 w 830972"/>
                  <a:gd name="connsiteY18" fmla="*/ 711042 h 791052"/>
                  <a:gd name="connsiteX19" fmla="*/ 71265 w 830972"/>
                  <a:gd name="connsiteY19" fmla="*/ 680482 h 791052"/>
                  <a:gd name="connsiteX20" fmla="*/ 6082 w 830972"/>
                  <a:gd name="connsiteY20" fmla="*/ 594950 h 791052"/>
                  <a:gd name="connsiteX21" fmla="*/ 960 w 830972"/>
                  <a:gd name="connsiteY21" fmla="*/ 527965 h 791052"/>
                  <a:gd name="connsiteX22" fmla="*/ 3362 w 830972"/>
                  <a:gd name="connsiteY22" fmla="*/ 419363 h 791052"/>
                  <a:gd name="connsiteX23" fmla="*/ 7036 w 830972"/>
                  <a:gd name="connsiteY23" fmla="*/ 294897 h 791052"/>
                  <a:gd name="connsiteX24" fmla="*/ 97091 w 830972"/>
                  <a:gd name="connsiteY24" fmla="*/ 166157 h 791052"/>
                  <a:gd name="connsiteX25" fmla="*/ 127933 w 830972"/>
                  <a:gd name="connsiteY25" fmla="*/ 143370 h 791052"/>
                  <a:gd name="connsiteX26" fmla="*/ 157469 w 830972"/>
                  <a:gd name="connsiteY26" fmla="*/ 119240 h 791052"/>
                  <a:gd name="connsiteX27" fmla="*/ 388805 w 830972"/>
                  <a:gd name="connsiteY27" fmla="*/ 25405 h 791052"/>
                  <a:gd name="connsiteX28" fmla="*/ 95572 w 830972"/>
                  <a:gd name="connsiteY28" fmla="*/ 268259 h 791052"/>
                  <a:gd name="connsiteX29" fmla="*/ 84372 w 830972"/>
                  <a:gd name="connsiteY29" fmla="*/ 291647 h 791052"/>
                  <a:gd name="connsiteX30" fmla="*/ 52823 w 830972"/>
                  <a:gd name="connsiteY30" fmla="*/ 332311 h 791052"/>
                  <a:gd name="connsiteX31" fmla="*/ 56427 w 830972"/>
                  <a:gd name="connsiteY31" fmla="*/ 344782 h 791052"/>
                  <a:gd name="connsiteX32" fmla="*/ 68509 w 830972"/>
                  <a:gd name="connsiteY32" fmla="*/ 360257 h 791052"/>
                  <a:gd name="connsiteX33" fmla="*/ 119737 w 830972"/>
                  <a:gd name="connsiteY33" fmla="*/ 390251 h 791052"/>
                  <a:gd name="connsiteX34" fmla="*/ 162132 w 830972"/>
                  <a:gd name="connsiteY34" fmla="*/ 377109 h 791052"/>
                  <a:gd name="connsiteX35" fmla="*/ 192303 w 830972"/>
                  <a:gd name="connsiteY35" fmla="*/ 361034 h 791052"/>
                  <a:gd name="connsiteX36" fmla="*/ 246534 w 830972"/>
                  <a:gd name="connsiteY36" fmla="*/ 319027 h 791052"/>
                  <a:gd name="connsiteX37" fmla="*/ 349908 w 830972"/>
                  <a:gd name="connsiteY37" fmla="*/ 78505 h 791052"/>
                  <a:gd name="connsiteX38" fmla="*/ 353370 w 830972"/>
                  <a:gd name="connsiteY38" fmla="*/ 68860 h 791052"/>
                  <a:gd name="connsiteX39" fmla="*/ 359906 w 830972"/>
                  <a:gd name="connsiteY39" fmla="*/ 57237 h 791052"/>
                  <a:gd name="connsiteX40" fmla="*/ 388805 w 830972"/>
                  <a:gd name="connsiteY40" fmla="*/ 25405 h 791052"/>
                  <a:gd name="connsiteX41" fmla="*/ 99988 w 830972"/>
                  <a:gd name="connsiteY41" fmla="*/ 210460 h 791052"/>
                  <a:gd name="connsiteX42" fmla="*/ 59041 w 830972"/>
                  <a:gd name="connsiteY42" fmla="*/ 231905 h 791052"/>
                  <a:gd name="connsiteX43" fmla="*/ 23888 w 830972"/>
                  <a:gd name="connsiteY43" fmla="*/ 350400 h 791052"/>
                  <a:gd name="connsiteX44" fmla="*/ 28834 w 830972"/>
                  <a:gd name="connsiteY44" fmla="*/ 358208 h 791052"/>
                  <a:gd name="connsiteX45" fmla="*/ 36466 w 830972"/>
                  <a:gd name="connsiteY45" fmla="*/ 352484 h 791052"/>
                  <a:gd name="connsiteX46" fmla="*/ 62892 w 830972"/>
                  <a:gd name="connsiteY46" fmla="*/ 286489 h 791052"/>
                  <a:gd name="connsiteX47" fmla="*/ 99988 w 830972"/>
                  <a:gd name="connsiteY47" fmla="*/ 210460 h 791052"/>
                  <a:gd name="connsiteX48" fmla="*/ 295182 w 830972"/>
                  <a:gd name="connsiteY48" fmla="*/ 321430 h 791052"/>
                  <a:gd name="connsiteX49" fmla="*/ 354394 w 830972"/>
                  <a:gd name="connsiteY49" fmla="*/ 276314 h 791052"/>
                  <a:gd name="connsiteX50" fmla="*/ 351956 w 830972"/>
                  <a:gd name="connsiteY50" fmla="*/ 248157 h 791052"/>
                  <a:gd name="connsiteX51" fmla="*/ 322492 w 830972"/>
                  <a:gd name="connsiteY51" fmla="*/ 242009 h 791052"/>
                  <a:gd name="connsiteX52" fmla="*/ 309137 w 830972"/>
                  <a:gd name="connsiteY52" fmla="*/ 265927 h 791052"/>
                  <a:gd name="connsiteX53" fmla="*/ 288187 w 830972"/>
                  <a:gd name="connsiteY53" fmla="*/ 291682 h 791052"/>
                  <a:gd name="connsiteX54" fmla="*/ 277165 w 830972"/>
                  <a:gd name="connsiteY54" fmla="*/ 310372 h 791052"/>
                  <a:gd name="connsiteX55" fmla="*/ 295147 w 830972"/>
                  <a:gd name="connsiteY55" fmla="*/ 321430 h 791052"/>
                  <a:gd name="connsiteX56" fmla="*/ 295182 w 830972"/>
                  <a:gd name="connsiteY56" fmla="*/ 321430 h 791052"/>
                  <a:gd name="connsiteX57" fmla="*/ 431624 w 830972"/>
                  <a:gd name="connsiteY57" fmla="*/ 71086 h 791052"/>
                  <a:gd name="connsiteX58" fmla="*/ 425760 w 830972"/>
                  <a:gd name="connsiteY58" fmla="*/ 72994 h 791052"/>
                  <a:gd name="connsiteX59" fmla="*/ 374073 w 830972"/>
                  <a:gd name="connsiteY59" fmla="*/ 95781 h 791052"/>
                  <a:gd name="connsiteX60" fmla="*/ 358174 w 830972"/>
                  <a:gd name="connsiteY60" fmla="*/ 105002 h 791052"/>
                  <a:gd name="connsiteX61" fmla="*/ 355596 w 830972"/>
                  <a:gd name="connsiteY61" fmla="*/ 134679 h 791052"/>
                  <a:gd name="connsiteX62" fmla="*/ 382729 w 830972"/>
                  <a:gd name="connsiteY62" fmla="*/ 131535 h 791052"/>
                  <a:gd name="connsiteX63" fmla="*/ 408448 w 830972"/>
                  <a:gd name="connsiteY63" fmla="*/ 118145 h 791052"/>
                  <a:gd name="connsiteX64" fmla="*/ 446462 w 830972"/>
                  <a:gd name="connsiteY64" fmla="*/ 87797 h 791052"/>
                  <a:gd name="connsiteX65" fmla="*/ 431624 w 830972"/>
                  <a:gd name="connsiteY65" fmla="*/ 71086 h 791052"/>
                  <a:gd name="connsiteX0" fmla="*/ 127933 w 830972"/>
                  <a:gd name="connsiteY0" fmla="*/ 143370 h 791052"/>
                  <a:gd name="connsiteX1" fmla="*/ 176476 w 830972"/>
                  <a:gd name="connsiteY1" fmla="*/ 97371 h 791052"/>
                  <a:gd name="connsiteX2" fmla="*/ 433638 w 830972"/>
                  <a:gd name="connsiteY2" fmla="*/ 3254 h 791052"/>
                  <a:gd name="connsiteX3" fmla="*/ 529734 w 830972"/>
                  <a:gd name="connsiteY3" fmla="*/ 20035 h 791052"/>
                  <a:gd name="connsiteX4" fmla="*/ 595870 w 830972"/>
                  <a:gd name="connsiteY4" fmla="*/ 24557 h 791052"/>
                  <a:gd name="connsiteX5" fmla="*/ 662890 w 830972"/>
                  <a:gd name="connsiteY5" fmla="*/ 64762 h 791052"/>
                  <a:gd name="connsiteX6" fmla="*/ 730864 w 830972"/>
                  <a:gd name="connsiteY6" fmla="*/ 125847 h 791052"/>
                  <a:gd name="connsiteX7" fmla="*/ 827914 w 830972"/>
                  <a:gd name="connsiteY7" fmla="*/ 265751 h 791052"/>
                  <a:gd name="connsiteX8" fmla="*/ 815372 w 830972"/>
                  <a:gd name="connsiteY8" fmla="*/ 349517 h 791052"/>
                  <a:gd name="connsiteX9" fmla="*/ 802052 w 830972"/>
                  <a:gd name="connsiteY9" fmla="*/ 381384 h 791052"/>
                  <a:gd name="connsiteX10" fmla="*/ 797142 w 830972"/>
                  <a:gd name="connsiteY10" fmla="*/ 444800 h 791052"/>
                  <a:gd name="connsiteX11" fmla="*/ 756584 w 830972"/>
                  <a:gd name="connsiteY11" fmla="*/ 601274 h 791052"/>
                  <a:gd name="connsiteX12" fmla="*/ 720972 w 830972"/>
                  <a:gd name="connsiteY12" fmla="*/ 628866 h 791052"/>
                  <a:gd name="connsiteX13" fmla="*/ 682392 w 830972"/>
                  <a:gd name="connsiteY13" fmla="*/ 678822 h 791052"/>
                  <a:gd name="connsiteX14" fmla="*/ 568526 w 830972"/>
                  <a:gd name="connsiteY14" fmla="*/ 781135 h 791052"/>
                  <a:gd name="connsiteX15" fmla="*/ 485431 w 830972"/>
                  <a:gd name="connsiteY15" fmla="*/ 776260 h 791052"/>
                  <a:gd name="connsiteX16" fmla="*/ 390536 w 830972"/>
                  <a:gd name="connsiteY16" fmla="*/ 780888 h 791052"/>
                  <a:gd name="connsiteX17" fmla="*/ 226714 w 830972"/>
                  <a:gd name="connsiteY17" fmla="*/ 756122 h 791052"/>
                  <a:gd name="connsiteX18" fmla="*/ 126273 w 830972"/>
                  <a:gd name="connsiteY18" fmla="*/ 711042 h 791052"/>
                  <a:gd name="connsiteX19" fmla="*/ 71265 w 830972"/>
                  <a:gd name="connsiteY19" fmla="*/ 680482 h 791052"/>
                  <a:gd name="connsiteX20" fmla="*/ 6082 w 830972"/>
                  <a:gd name="connsiteY20" fmla="*/ 594950 h 791052"/>
                  <a:gd name="connsiteX21" fmla="*/ 960 w 830972"/>
                  <a:gd name="connsiteY21" fmla="*/ 527965 h 791052"/>
                  <a:gd name="connsiteX22" fmla="*/ 3362 w 830972"/>
                  <a:gd name="connsiteY22" fmla="*/ 419363 h 791052"/>
                  <a:gd name="connsiteX23" fmla="*/ 7036 w 830972"/>
                  <a:gd name="connsiteY23" fmla="*/ 294897 h 791052"/>
                  <a:gd name="connsiteX24" fmla="*/ 97091 w 830972"/>
                  <a:gd name="connsiteY24" fmla="*/ 166157 h 791052"/>
                  <a:gd name="connsiteX25" fmla="*/ 127933 w 830972"/>
                  <a:gd name="connsiteY25" fmla="*/ 143370 h 791052"/>
                  <a:gd name="connsiteX26" fmla="*/ 388805 w 830972"/>
                  <a:gd name="connsiteY26" fmla="*/ 25405 h 791052"/>
                  <a:gd name="connsiteX27" fmla="*/ 95572 w 830972"/>
                  <a:gd name="connsiteY27" fmla="*/ 268259 h 791052"/>
                  <a:gd name="connsiteX28" fmla="*/ 84372 w 830972"/>
                  <a:gd name="connsiteY28" fmla="*/ 291647 h 791052"/>
                  <a:gd name="connsiteX29" fmla="*/ 52823 w 830972"/>
                  <a:gd name="connsiteY29" fmla="*/ 332311 h 791052"/>
                  <a:gd name="connsiteX30" fmla="*/ 56427 w 830972"/>
                  <a:gd name="connsiteY30" fmla="*/ 344782 h 791052"/>
                  <a:gd name="connsiteX31" fmla="*/ 68509 w 830972"/>
                  <a:gd name="connsiteY31" fmla="*/ 360257 h 791052"/>
                  <a:gd name="connsiteX32" fmla="*/ 119737 w 830972"/>
                  <a:gd name="connsiteY32" fmla="*/ 390251 h 791052"/>
                  <a:gd name="connsiteX33" fmla="*/ 162132 w 830972"/>
                  <a:gd name="connsiteY33" fmla="*/ 377109 h 791052"/>
                  <a:gd name="connsiteX34" fmla="*/ 192303 w 830972"/>
                  <a:gd name="connsiteY34" fmla="*/ 361034 h 791052"/>
                  <a:gd name="connsiteX35" fmla="*/ 246534 w 830972"/>
                  <a:gd name="connsiteY35" fmla="*/ 319027 h 791052"/>
                  <a:gd name="connsiteX36" fmla="*/ 349908 w 830972"/>
                  <a:gd name="connsiteY36" fmla="*/ 78505 h 791052"/>
                  <a:gd name="connsiteX37" fmla="*/ 353370 w 830972"/>
                  <a:gd name="connsiteY37" fmla="*/ 68860 h 791052"/>
                  <a:gd name="connsiteX38" fmla="*/ 359906 w 830972"/>
                  <a:gd name="connsiteY38" fmla="*/ 57237 h 791052"/>
                  <a:gd name="connsiteX39" fmla="*/ 388805 w 830972"/>
                  <a:gd name="connsiteY39" fmla="*/ 25405 h 791052"/>
                  <a:gd name="connsiteX40" fmla="*/ 99988 w 830972"/>
                  <a:gd name="connsiteY40" fmla="*/ 210460 h 791052"/>
                  <a:gd name="connsiteX41" fmla="*/ 59041 w 830972"/>
                  <a:gd name="connsiteY41" fmla="*/ 231905 h 791052"/>
                  <a:gd name="connsiteX42" fmla="*/ 23888 w 830972"/>
                  <a:gd name="connsiteY42" fmla="*/ 350400 h 791052"/>
                  <a:gd name="connsiteX43" fmla="*/ 28834 w 830972"/>
                  <a:gd name="connsiteY43" fmla="*/ 358208 h 791052"/>
                  <a:gd name="connsiteX44" fmla="*/ 36466 w 830972"/>
                  <a:gd name="connsiteY44" fmla="*/ 352484 h 791052"/>
                  <a:gd name="connsiteX45" fmla="*/ 62892 w 830972"/>
                  <a:gd name="connsiteY45" fmla="*/ 286489 h 791052"/>
                  <a:gd name="connsiteX46" fmla="*/ 99988 w 830972"/>
                  <a:gd name="connsiteY46" fmla="*/ 210460 h 791052"/>
                  <a:gd name="connsiteX47" fmla="*/ 295182 w 830972"/>
                  <a:gd name="connsiteY47" fmla="*/ 321430 h 791052"/>
                  <a:gd name="connsiteX48" fmla="*/ 354394 w 830972"/>
                  <a:gd name="connsiteY48" fmla="*/ 276314 h 791052"/>
                  <a:gd name="connsiteX49" fmla="*/ 351956 w 830972"/>
                  <a:gd name="connsiteY49" fmla="*/ 248157 h 791052"/>
                  <a:gd name="connsiteX50" fmla="*/ 322492 w 830972"/>
                  <a:gd name="connsiteY50" fmla="*/ 242009 h 791052"/>
                  <a:gd name="connsiteX51" fmla="*/ 309137 w 830972"/>
                  <a:gd name="connsiteY51" fmla="*/ 265927 h 791052"/>
                  <a:gd name="connsiteX52" fmla="*/ 288187 w 830972"/>
                  <a:gd name="connsiteY52" fmla="*/ 291682 h 791052"/>
                  <a:gd name="connsiteX53" fmla="*/ 277165 w 830972"/>
                  <a:gd name="connsiteY53" fmla="*/ 310372 h 791052"/>
                  <a:gd name="connsiteX54" fmla="*/ 295147 w 830972"/>
                  <a:gd name="connsiteY54" fmla="*/ 321430 h 791052"/>
                  <a:gd name="connsiteX55" fmla="*/ 295182 w 830972"/>
                  <a:gd name="connsiteY55" fmla="*/ 321430 h 791052"/>
                  <a:gd name="connsiteX56" fmla="*/ 431624 w 830972"/>
                  <a:gd name="connsiteY56" fmla="*/ 71086 h 791052"/>
                  <a:gd name="connsiteX57" fmla="*/ 425760 w 830972"/>
                  <a:gd name="connsiteY57" fmla="*/ 72994 h 791052"/>
                  <a:gd name="connsiteX58" fmla="*/ 374073 w 830972"/>
                  <a:gd name="connsiteY58" fmla="*/ 95781 h 791052"/>
                  <a:gd name="connsiteX59" fmla="*/ 358174 w 830972"/>
                  <a:gd name="connsiteY59" fmla="*/ 105002 h 791052"/>
                  <a:gd name="connsiteX60" fmla="*/ 355596 w 830972"/>
                  <a:gd name="connsiteY60" fmla="*/ 134679 h 791052"/>
                  <a:gd name="connsiteX61" fmla="*/ 382729 w 830972"/>
                  <a:gd name="connsiteY61" fmla="*/ 131535 h 791052"/>
                  <a:gd name="connsiteX62" fmla="*/ 408448 w 830972"/>
                  <a:gd name="connsiteY62" fmla="*/ 118145 h 791052"/>
                  <a:gd name="connsiteX63" fmla="*/ 446462 w 830972"/>
                  <a:gd name="connsiteY63" fmla="*/ 87797 h 791052"/>
                  <a:gd name="connsiteX64" fmla="*/ 431624 w 830972"/>
                  <a:gd name="connsiteY64" fmla="*/ 71086 h 791052"/>
                  <a:gd name="connsiteX0" fmla="*/ 97091 w 830972"/>
                  <a:gd name="connsiteY0" fmla="*/ 166157 h 791052"/>
                  <a:gd name="connsiteX1" fmla="*/ 176476 w 830972"/>
                  <a:gd name="connsiteY1" fmla="*/ 97371 h 791052"/>
                  <a:gd name="connsiteX2" fmla="*/ 433638 w 830972"/>
                  <a:gd name="connsiteY2" fmla="*/ 3254 h 791052"/>
                  <a:gd name="connsiteX3" fmla="*/ 529734 w 830972"/>
                  <a:gd name="connsiteY3" fmla="*/ 20035 h 791052"/>
                  <a:gd name="connsiteX4" fmla="*/ 595870 w 830972"/>
                  <a:gd name="connsiteY4" fmla="*/ 24557 h 791052"/>
                  <a:gd name="connsiteX5" fmla="*/ 662890 w 830972"/>
                  <a:gd name="connsiteY5" fmla="*/ 64762 h 791052"/>
                  <a:gd name="connsiteX6" fmla="*/ 730864 w 830972"/>
                  <a:gd name="connsiteY6" fmla="*/ 125847 h 791052"/>
                  <a:gd name="connsiteX7" fmla="*/ 827914 w 830972"/>
                  <a:gd name="connsiteY7" fmla="*/ 265751 h 791052"/>
                  <a:gd name="connsiteX8" fmla="*/ 815372 w 830972"/>
                  <a:gd name="connsiteY8" fmla="*/ 349517 h 791052"/>
                  <a:gd name="connsiteX9" fmla="*/ 802052 w 830972"/>
                  <a:gd name="connsiteY9" fmla="*/ 381384 h 791052"/>
                  <a:gd name="connsiteX10" fmla="*/ 797142 w 830972"/>
                  <a:gd name="connsiteY10" fmla="*/ 444800 h 791052"/>
                  <a:gd name="connsiteX11" fmla="*/ 756584 w 830972"/>
                  <a:gd name="connsiteY11" fmla="*/ 601274 h 791052"/>
                  <a:gd name="connsiteX12" fmla="*/ 720972 w 830972"/>
                  <a:gd name="connsiteY12" fmla="*/ 628866 h 791052"/>
                  <a:gd name="connsiteX13" fmla="*/ 682392 w 830972"/>
                  <a:gd name="connsiteY13" fmla="*/ 678822 h 791052"/>
                  <a:gd name="connsiteX14" fmla="*/ 568526 w 830972"/>
                  <a:gd name="connsiteY14" fmla="*/ 781135 h 791052"/>
                  <a:gd name="connsiteX15" fmla="*/ 485431 w 830972"/>
                  <a:gd name="connsiteY15" fmla="*/ 776260 h 791052"/>
                  <a:gd name="connsiteX16" fmla="*/ 390536 w 830972"/>
                  <a:gd name="connsiteY16" fmla="*/ 780888 h 791052"/>
                  <a:gd name="connsiteX17" fmla="*/ 226714 w 830972"/>
                  <a:gd name="connsiteY17" fmla="*/ 756122 h 791052"/>
                  <a:gd name="connsiteX18" fmla="*/ 126273 w 830972"/>
                  <a:gd name="connsiteY18" fmla="*/ 711042 h 791052"/>
                  <a:gd name="connsiteX19" fmla="*/ 71265 w 830972"/>
                  <a:gd name="connsiteY19" fmla="*/ 680482 h 791052"/>
                  <a:gd name="connsiteX20" fmla="*/ 6082 w 830972"/>
                  <a:gd name="connsiteY20" fmla="*/ 594950 h 791052"/>
                  <a:gd name="connsiteX21" fmla="*/ 960 w 830972"/>
                  <a:gd name="connsiteY21" fmla="*/ 527965 h 791052"/>
                  <a:gd name="connsiteX22" fmla="*/ 3362 w 830972"/>
                  <a:gd name="connsiteY22" fmla="*/ 419363 h 791052"/>
                  <a:gd name="connsiteX23" fmla="*/ 7036 w 830972"/>
                  <a:gd name="connsiteY23" fmla="*/ 294897 h 791052"/>
                  <a:gd name="connsiteX24" fmla="*/ 97091 w 830972"/>
                  <a:gd name="connsiteY24" fmla="*/ 166157 h 791052"/>
                  <a:gd name="connsiteX25" fmla="*/ 388805 w 830972"/>
                  <a:gd name="connsiteY25" fmla="*/ 25405 h 791052"/>
                  <a:gd name="connsiteX26" fmla="*/ 95572 w 830972"/>
                  <a:gd name="connsiteY26" fmla="*/ 268259 h 791052"/>
                  <a:gd name="connsiteX27" fmla="*/ 84372 w 830972"/>
                  <a:gd name="connsiteY27" fmla="*/ 291647 h 791052"/>
                  <a:gd name="connsiteX28" fmla="*/ 52823 w 830972"/>
                  <a:gd name="connsiteY28" fmla="*/ 332311 h 791052"/>
                  <a:gd name="connsiteX29" fmla="*/ 56427 w 830972"/>
                  <a:gd name="connsiteY29" fmla="*/ 344782 h 791052"/>
                  <a:gd name="connsiteX30" fmla="*/ 68509 w 830972"/>
                  <a:gd name="connsiteY30" fmla="*/ 360257 h 791052"/>
                  <a:gd name="connsiteX31" fmla="*/ 119737 w 830972"/>
                  <a:gd name="connsiteY31" fmla="*/ 390251 h 791052"/>
                  <a:gd name="connsiteX32" fmla="*/ 162132 w 830972"/>
                  <a:gd name="connsiteY32" fmla="*/ 377109 h 791052"/>
                  <a:gd name="connsiteX33" fmla="*/ 192303 w 830972"/>
                  <a:gd name="connsiteY33" fmla="*/ 361034 h 791052"/>
                  <a:gd name="connsiteX34" fmla="*/ 246534 w 830972"/>
                  <a:gd name="connsiteY34" fmla="*/ 319027 h 791052"/>
                  <a:gd name="connsiteX35" fmla="*/ 349908 w 830972"/>
                  <a:gd name="connsiteY35" fmla="*/ 78505 h 791052"/>
                  <a:gd name="connsiteX36" fmla="*/ 353370 w 830972"/>
                  <a:gd name="connsiteY36" fmla="*/ 68860 h 791052"/>
                  <a:gd name="connsiteX37" fmla="*/ 359906 w 830972"/>
                  <a:gd name="connsiteY37" fmla="*/ 57237 h 791052"/>
                  <a:gd name="connsiteX38" fmla="*/ 388805 w 830972"/>
                  <a:gd name="connsiteY38" fmla="*/ 25405 h 791052"/>
                  <a:gd name="connsiteX39" fmla="*/ 99988 w 830972"/>
                  <a:gd name="connsiteY39" fmla="*/ 210460 h 791052"/>
                  <a:gd name="connsiteX40" fmla="*/ 59041 w 830972"/>
                  <a:gd name="connsiteY40" fmla="*/ 231905 h 791052"/>
                  <a:gd name="connsiteX41" fmla="*/ 23888 w 830972"/>
                  <a:gd name="connsiteY41" fmla="*/ 350400 h 791052"/>
                  <a:gd name="connsiteX42" fmla="*/ 28834 w 830972"/>
                  <a:gd name="connsiteY42" fmla="*/ 358208 h 791052"/>
                  <a:gd name="connsiteX43" fmla="*/ 36466 w 830972"/>
                  <a:gd name="connsiteY43" fmla="*/ 352484 h 791052"/>
                  <a:gd name="connsiteX44" fmla="*/ 62892 w 830972"/>
                  <a:gd name="connsiteY44" fmla="*/ 286489 h 791052"/>
                  <a:gd name="connsiteX45" fmla="*/ 99988 w 830972"/>
                  <a:gd name="connsiteY45" fmla="*/ 210460 h 791052"/>
                  <a:gd name="connsiteX46" fmla="*/ 295182 w 830972"/>
                  <a:gd name="connsiteY46" fmla="*/ 321430 h 791052"/>
                  <a:gd name="connsiteX47" fmla="*/ 354394 w 830972"/>
                  <a:gd name="connsiteY47" fmla="*/ 276314 h 791052"/>
                  <a:gd name="connsiteX48" fmla="*/ 351956 w 830972"/>
                  <a:gd name="connsiteY48" fmla="*/ 248157 h 791052"/>
                  <a:gd name="connsiteX49" fmla="*/ 322492 w 830972"/>
                  <a:gd name="connsiteY49" fmla="*/ 242009 h 791052"/>
                  <a:gd name="connsiteX50" fmla="*/ 309137 w 830972"/>
                  <a:gd name="connsiteY50" fmla="*/ 265927 h 791052"/>
                  <a:gd name="connsiteX51" fmla="*/ 288187 w 830972"/>
                  <a:gd name="connsiteY51" fmla="*/ 291682 h 791052"/>
                  <a:gd name="connsiteX52" fmla="*/ 277165 w 830972"/>
                  <a:gd name="connsiteY52" fmla="*/ 310372 h 791052"/>
                  <a:gd name="connsiteX53" fmla="*/ 295147 w 830972"/>
                  <a:gd name="connsiteY53" fmla="*/ 321430 h 791052"/>
                  <a:gd name="connsiteX54" fmla="*/ 295182 w 830972"/>
                  <a:gd name="connsiteY54" fmla="*/ 321430 h 791052"/>
                  <a:gd name="connsiteX55" fmla="*/ 431624 w 830972"/>
                  <a:gd name="connsiteY55" fmla="*/ 71086 h 791052"/>
                  <a:gd name="connsiteX56" fmla="*/ 425760 w 830972"/>
                  <a:gd name="connsiteY56" fmla="*/ 72994 h 791052"/>
                  <a:gd name="connsiteX57" fmla="*/ 374073 w 830972"/>
                  <a:gd name="connsiteY57" fmla="*/ 95781 h 791052"/>
                  <a:gd name="connsiteX58" fmla="*/ 358174 w 830972"/>
                  <a:gd name="connsiteY58" fmla="*/ 105002 h 791052"/>
                  <a:gd name="connsiteX59" fmla="*/ 355596 w 830972"/>
                  <a:gd name="connsiteY59" fmla="*/ 134679 h 791052"/>
                  <a:gd name="connsiteX60" fmla="*/ 382729 w 830972"/>
                  <a:gd name="connsiteY60" fmla="*/ 131535 h 791052"/>
                  <a:gd name="connsiteX61" fmla="*/ 408448 w 830972"/>
                  <a:gd name="connsiteY61" fmla="*/ 118145 h 791052"/>
                  <a:gd name="connsiteX62" fmla="*/ 446462 w 830972"/>
                  <a:gd name="connsiteY62" fmla="*/ 87797 h 791052"/>
                  <a:gd name="connsiteX63" fmla="*/ 431624 w 830972"/>
                  <a:gd name="connsiteY63" fmla="*/ 71086 h 791052"/>
                  <a:gd name="connsiteX0" fmla="*/ 97091 w 830972"/>
                  <a:gd name="connsiteY0" fmla="*/ 170628 h 795523"/>
                  <a:gd name="connsiteX1" fmla="*/ 433638 w 830972"/>
                  <a:gd name="connsiteY1" fmla="*/ 7725 h 795523"/>
                  <a:gd name="connsiteX2" fmla="*/ 529734 w 830972"/>
                  <a:gd name="connsiteY2" fmla="*/ 24506 h 795523"/>
                  <a:gd name="connsiteX3" fmla="*/ 595870 w 830972"/>
                  <a:gd name="connsiteY3" fmla="*/ 29028 h 795523"/>
                  <a:gd name="connsiteX4" fmla="*/ 662890 w 830972"/>
                  <a:gd name="connsiteY4" fmla="*/ 69233 h 795523"/>
                  <a:gd name="connsiteX5" fmla="*/ 730864 w 830972"/>
                  <a:gd name="connsiteY5" fmla="*/ 130318 h 795523"/>
                  <a:gd name="connsiteX6" fmla="*/ 827914 w 830972"/>
                  <a:gd name="connsiteY6" fmla="*/ 270222 h 795523"/>
                  <a:gd name="connsiteX7" fmla="*/ 815372 w 830972"/>
                  <a:gd name="connsiteY7" fmla="*/ 353988 h 795523"/>
                  <a:gd name="connsiteX8" fmla="*/ 802052 w 830972"/>
                  <a:gd name="connsiteY8" fmla="*/ 385855 h 795523"/>
                  <a:gd name="connsiteX9" fmla="*/ 797142 w 830972"/>
                  <a:gd name="connsiteY9" fmla="*/ 449271 h 795523"/>
                  <a:gd name="connsiteX10" fmla="*/ 756584 w 830972"/>
                  <a:gd name="connsiteY10" fmla="*/ 605745 h 795523"/>
                  <a:gd name="connsiteX11" fmla="*/ 720972 w 830972"/>
                  <a:gd name="connsiteY11" fmla="*/ 633337 h 795523"/>
                  <a:gd name="connsiteX12" fmla="*/ 682392 w 830972"/>
                  <a:gd name="connsiteY12" fmla="*/ 683293 h 795523"/>
                  <a:gd name="connsiteX13" fmla="*/ 568526 w 830972"/>
                  <a:gd name="connsiteY13" fmla="*/ 785606 h 795523"/>
                  <a:gd name="connsiteX14" fmla="*/ 485431 w 830972"/>
                  <a:gd name="connsiteY14" fmla="*/ 780731 h 795523"/>
                  <a:gd name="connsiteX15" fmla="*/ 390536 w 830972"/>
                  <a:gd name="connsiteY15" fmla="*/ 785359 h 795523"/>
                  <a:gd name="connsiteX16" fmla="*/ 226714 w 830972"/>
                  <a:gd name="connsiteY16" fmla="*/ 760593 h 795523"/>
                  <a:gd name="connsiteX17" fmla="*/ 126273 w 830972"/>
                  <a:gd name="connsiteY17" fmla="*/ 715513 h 795523"/>
                  <a:gd name="connsiteX18" fmla="*/ 71265 w 830972"/>
                  <a:gd name="connsiteY18" fmla="*/ 684953 h 795523"/>
                  <a:gd name="connsiteX19" fmla="*/ 6082 w 830972"/>
                  <a:gd name="connsiteY19" fmla="*/ 599421 h 795523"/>
                  <a:gd name="connsiteX20" fmla="*/ 960 w 830972"/>
                  <a:gd name="connsiteY20" fmla="*/ 532436 h 795523"/>
                  <a:gd name="connsiteX21" fmla="*/ 3362 w 830972"/>
                  <a:gd name="connsiteY21" fmla="*/ 423834 h 795523"/>
                  <a:gd name="connsiteX22" fmla="*/ 7036 w 830972"/>
                  <a:gd name="connsiteY22" fmla="*/ 299368 h 795523"/>
                  <a:gd name="connsiteX23" fmla="*/ 97091 w 830972"/>
                  <a:gd name="connsiteY23" fmla="*/ 170628 h 795523"/>
                  <a:gd name="connsiteX24" fmla="*/ 388805 w 830972"/>
                  <a:gd name="connsiteY24" fmla="*/ 29876 h 795523"/>
                  <a:gd name="connsiteX25" fmla="*/ 95572 w 830972"/>
                  <a:gd name="connsiteY25" fmla="*/ 272730 h 795523"/>
                  <a:gd name="connsiteX26" fmla="*/ 84372 w 830972"/>
                  <a:gd name="connsiteY26" fmla="*/ 296118 h 795523"/>
                  <a:gd name="connsiteX27" fmla="*/ 52823 w 830972"/>
                  <a:gd name="connsiteY27" fmla="*/ 336782 h 795523"/>
                  <a:gd name="connsiteX28" fmla="*/ 56427 w 830972"/>
                  <a:gd name="connsiteY28" fmla="*/ 349253 h 795523"/>
                  <a:gd name="connsiteX29" fmla="*/ 68509 w 830972"/>
                  <a:gd name="connsiteY29" fmla="*/ 364728 h 795523"/>
                  <a:gd name="connsiteX30" fmla="*/ 119737 w 830972"/>
                  <a:gd name="connsiteY30" fmla="*/ 394722 h 795523"/>
                  <a:gd name="connsiteX31" fmla="*/ 162132 w 830972"/>
                  <a:gd name="connsiteY31" fmla="*/ 381580 h 795523"/>
                  <a:gd name="connsiteX32" fmla="*/ 192303 w 830972"/>
                  <a:gd name="connsiteY32" fmla="*/ 365505 h 795523"/>
                  <a:gd name="connsiteX33" fmla="*/ 246534 w 830972"/>
                  <a:gd name="connsiteY33" fmla="*/ 323498 h 795523"/>
                  <a:gd name="connsiteX34" fmla="*/ 349908 w 830972"/>
                  <a:gd name="connsiteY34" fmla="*/ 82976 h 795523"/>
                  <a:gd name="connsiteX35" fmla="*/ 353370 w 830972"/>
                  <a:gd name="connsiteY35" fmla="*/ 73331 h 795523"/>
                  <a:gd name="connsiteX36" fmla="*/ 359906 w 830972"/>
                  <a:gd name="connsiteY36" fmla="*/ 61708 h 795523"/>
                  <a:gd name="connsiteX37" fmla="*/ 388805 w 830972"/>
                  <a:gd name="connsiteY37" fmla="*/ 29876 h 795523"/>
                  <a:gd name="connsiteX38" fmla="*/ 99988 w 830972"/>
                  <a:gd name="connsiteY38" fmla="*/ 214931 h 795523"/>
                  <a:gd name="connsiteX39" fmla="*/ 59041 w 830972"/>
                  <a:gd name="connsiteY39" fmla="*/ 236376 h 795523"/>
                  <a:gd name="connsiteX40" fmla="*/ 23888 w 830972"/>
                  <a:gd name="connsiteY40" fmla="*/ 354871 h 795523"/>
                  <a:gd name="connsiteX41" fmla="*/ 28834 w 830972"/>
                  <a:gd name="connsiteY41" fmla="*/ 362679 h 795523"/>
                  <a:gd name="connsiteX42" fmla="*/ 36466 w 830972"/>
                  <a:gd name="connsiteY42" fmla="*/ 356955 h 795523"/>
                  <a:gd name="connsiteX43" fmla="*/ 62892 w 830972"/>
                  <a:gd name="connsiteY43" fmla="*/ 290960 h 795523"/>
                  <a:gd name="connsiteX44" fmla="*/ 99988 w 830972"/>
                  <a:gd name="connsiteY44" fmla="*/ 214931 h 795523"/>
                  <a:gd name="connsiteX45" fmla="*/ 295182 w 830972"/>
                  <a:gd name="connsiteY45" fmla="*/ 325901 h 795523"/>
                  <a:gd name="connsiteX46" fmla="*/ 354394 w 830972"/>
                  <a:gd name="connsiteY46" fmla="*/ 280785 h 795523"/>
                  <a:gd name="connsiteX47" fmla="*/ 351956 w 830972"/>
                  <a:gd name="connsiteY47" fmla="*/ 252628 h 795523"/>
                  <a:gd name="connsiteX48" fmla="*/ 322492 w 830972"/>
                  <a:gd name="connsiteY48" fmla="*/ 246480 h 795523"/>
                  <a:gd name="connsiteX49" fmla="*/ 309137 w 830972"/>
                  <a:gd name="connsiteY49" fmla="*/ 270398 h 795523"/>
                  <a:gd name="connsiteX50" fmla="*/ 288187 w 830972"/>
                  <a:gd name="connsiteY50" fmla="*/ 296153 h 795523"/>
                  <a:gd name="connsiteX51" fmla="*/ 277165 w 830972"/>
                  <a:gd name="connsiteY51" fmla="*/ 314843 h 795523"/>
                  <a:gd name="connsiteX52" fmla="*/ 295147 w 830972"/>
                  <a:gd name="connsiteY52" fmla="*/ 325901 h 795523"/>
                  <a:gd name="connsiteX53" fmla="*/ 295182 w 830972"/>
                  <a:gd name="connsiteY53" fmla="*/ 325901 h 795523"/>
                  <a:gd name="connsiteX54" fmla="*/ 431624 w 830972"/>
                  <a:gd name="connsiteY54" fmla="*/ 75557 h 795523"/>
                  <a:gd name="connsiteX55" fmla="*/ 425760 w 830972"/>
                  <a:gd name="connsiteY55" fmla="*/ 77465 h 795523"/>
                  <a:gd name="connsiteX56" fmla="*/ 374073 w 830972"/>
                  <a:gd name="connsiteY56" fmla="*/ 100252 h 795523"/>
                  <a:gd name="connsiteX57" fmla="*/ 358174 w 830972"/>
                  <a:gd name="connsiteY57" fmla="*/ 109473 h 795523"/>
                  <a:gd name="connsiteX58" fmla="*/ 355596 w 830972"/>
                  <a:gd name="connsiteY58" fmla="*/ 139150 h 795523"/>
                  <a:gd name="connsiteX59" fmla="*/ 382729 w 830972"/>
                  <a:gd name="connsiteY59" fmla="*/ 136006 h 795523"/>
                  <a:gd name="connsiteX60" fmla="*/ 408448 w 830972"/>
                  <a:gd name="connsiteY60" fmla="*/ 122616 h 795523"/>
                  <a:gd name="connsiteX61" fmla="*/ 446462 w 830972"/>
                  <a:gd name="connsiteY61" fmla="*/ 92268 h 795523"/>
                  <a:gd name="connsiteX62" fmla="*/ 431624 w 830972"/>
                  <a:gd name="connsiteY62" fmla="*/ 75557 h 795523"/>
                  <a:gd name="connsiteX0" fmla="*/ 97091 w 830972"/>
                  <a:gd name="connsiteY0" fmla="*/ 170628 h 795523"/>
                  <a:gd name="connsiteX1" fmla="*/ 433638 w 830972"/>
                  <a:gd name="connsiteY1" fmla="*/ 7725 h 795523"/>
                  <a:gd name="connsiteX2" fmla="*/ 529734 w 830972"/>
                  <a:gd name="connsiteY2" fmla="*/ 24506 h 795523"/>
                  <a:gd name="connsiteX3" fmla="*/ 595870 w 830972"/>
                  <a:gd name="connsiteY3" fmla="*/ 29028 h 795523"/>
                  <a:gd name="connsiteX4" fmla="*/ 662890 w 830972"/>
                  <a:gd name="connsiteY4" fmla="*/ 69233 h 795523"/>
                  <a:gd name="connsiteX5" fmla="*/ 730864 w 830972"/>
                  <a:gd name="connsiteY5" fmla="*/ 130318 h 795523"/>
                  <a:gd name="connsiteX6" fmla="*/ 827914 w 830972"/>
                  <a:gd name="connsiteY6" fmla="*/ 270222 h 795523"/>
                  <a:gd name="connsiteX7" fmla="*/ 815372 w 830972"/>
                  <a:gd name="connsiteY7" fmla="*/ 353988 h 795523"/>
                  <a:gd name="connsiteX8" fmla="*/ 802052 w 830972"/>
                  <a:gd name="connsiteY8" fmla="*/ 385855 h 795523"/>
                  <a:gd name="connsiteX9" fmla="*/ 797142 w 830972"/>
                  <a:gd name="connsiteY9" fmla="*/ 449271 h 795523"/>
                  <a:gd name="connsiteX10" fmla="*/ 756584 w 830972"/>
                  <a:gd name="connsiteY10" fmla="*/ 605745 h 795523"/>
                  <a:gd name="connsiteX11" fmla="*/ 720972 w 830972"/>
                  <a:gd name="connsiteY11" fmla="*/ 633337 h 795523"/>
                  <a:gd name="connsiteX12" fmla="*/ 682392 w 830972"/>
                  <a:gd name="connsiteY12" fmla="*/ 683293 h 795523"/>
                  <a:gd name="connsiteX13" fmla="*/ 568526 w 830972"/>
                  <a:gd name="connsiteY13" fmla="*/ 785606 h 795523"/>
                  <a:gd name="connsiteX14" fmla="*/ 485431 w 830972"/>
                  <a:gd name="connsiteY14" fmla="*/ 780731 h 795523"/>
                  <a:gd name="connsiteX15" fmla="*/ 390536 w 830972"/>
                  <a:gd name="connsiteY15" fmla="*/ 785359 h 795523"/>
                  <a:gd name="connsiteX16" fmla="*/ 226714 w 830972"/>
                  <a:gd name="connsiteY16" fmla="*/ 760593 h 795523"/>
                  <a:gd name="connsiteX17" fmla="*/ 126273 w 830972"/>
                  <a:gd name="connsiteY17" fmla="*/ 715513 h 795523"/>
                  <a:gd name="connsiteX18" fmla="*/ 71265 w 830972"/>
                  <a:gd name="connsiteY18" fmla="*/ 684953 h 795523"/>
                  <a:gd name="connsiteX19" fmla="*/ 6082 w 830972"/>
                  <a:gd name="connsiteY19" fmla="*/ 599421 h 795523"/>
                  <a:gd name="connsiteX20" fmla="*/ 960 w 830972"/>
                  <a:gd name="connsiteY20" fmla="*/ 532436 h 795523"/>
                  <a:gd name="connsiteX21" fmla="*/ 3362 w 830972"/>
                  <a:gd name="connsiteY21" fmla="*/ 423834 h 795523"/>
                  <a:gd name="connsiteX22" fmla="*/ 7036 w 830972"/>
                  <a:gd name="connsiteY22" fmla="*/ 299368 h 795523"/>
                  <a:gd name="connsiteX23" fmla="*/ 97091 w 830972"/>
                  <a:gd name="connsiteY23" fmla="*/ 170628 h 795523"/>
                  <a:gd name="connsiteX24" fmla="*/ 388805 w 830972"/>
                  <a:gd name="connsiteY24" fmla="*/ 29876 h 795523"/>
                  <a:gd name="connsiteX25" fmla="*/ 95572 w 830972"/>
                  <a:gd name="connsiteY25" fmla="*/ 272730 h 795523"/>
                  <a:gd name="connsiteX26" fmla="*/ 84372 w 830972"/>
                  <a:gd name="connsiteY26" fmla="*/ 296118 h 795523"/>
                  <a:gd name="connsiteX27" fmla="*/ 52823 w 830972"/>
                  <a:gd name="connsiteY27" fmla="*/ 336782 h 795523"/>
                  <a:gd name="connsiteX28" fmla="*/ 56427 w 830972"/>
                  <a:gd name="connsiteY28" fmla="*/ 349253 h 795523"/>
                  <a:gd name="connsiteX29" fmla="*/ 68509 w 830972"/>
                  <a:gd name="connsiteY29" fmla="*/ 364728 h 795523"/>
                  <a:gd name="connsiteX30" fmla="*/ 119737 w 830972"/>
                  <a:gd name="connsiteY30" fmla="*/ 394722 h 795523"/>
                  <a:gd name="connsiteX31" fmla="*/ 162132 w 830972"/>
                  <a:gd name="connsiteY31" fmla="*/ 381580 h 795523"/>
                  <a:gd name="connsiteX32" fmla="*/ 192303 w 830972"/>
                  <a:gd name="connsiteY32" fmla="*/ 365505 h 795523"/>
                  <a:gd name="connsiteX33" fmla="*/ 246534 w 830972"/>
                  <a:gd name="connsiteY33" fmla="*/ 323498 h 795523"/>
                  <a:gd name="connsiteX34" fmla="*/ 349908 w 830972"/>
                  <a:gd name="connsiteY34" fmla="*/ 82976 h 795523"/>
                  <a:gd name="connsiteX35" fmla="*/ 353370 w 830972"/>
                  <a:gd name="connsiteY35" fmla="*/ 73331 h 795523"/>
                  <a:gd name="connsiteX36" fmla="*/ 359906 w 830972"/>
                  <a:gd name="connsiteY36" fmla="*/ 61708 h 795523"/>
                  <a:gd name="connsiteX37" fmla="*/ 388805 w 830972"/>
                  <a:gd name="connsiteY37" fmla="*/ 29876 h 795523"/>
                  <a:gd name="connsiteX38" fmla="*/ 62892 w 830972"/>
                  <a:gd name="connsiteY38" fmla="*/ 290960 h 795523"/>
                  <a:gd name="connsiteX39" fmla="*/ 59041 w 830972"/>
                  <a:gd name="connsiteY39" fmla="*/ 236376 h 795523"/>
                  <a:gd name="connsiteX40" fmla="*/ 23888 w 830972"/>
                  <a:gd name="connsiteY40" fmla="*/ 354871 h 795523"/>
                  <a:gd name="connsiteX41" fmla="*/ 28834 w 830972"/>
                  <a:gd name="connsiteY41" fmla="*/ 362679 h 795523"/>
                  <a:gd name="connsiteX42" fmla="*/ 36466 w 830972"/>
                  <a:gd name="connsiteY42" fmla="*/ 356955 h 795523"/>
                  <a:gd name="connsiteX43" fmla="*/ 62892 w 830972"/>
                  <a:gd name="connsiteY43" fmla="*/ 290960 h 795523"/>
                  <a:gd name="connsiteX44" fmla="*/ 295182 w 830972"/>
                  <a:gd name="connsiteY44" fmla="*/ 325901 h 795523"/>
                  <a:gd name="connsiteX45" fmla="*/ 354394 w 830972"/>
                  <a:gd name="connsiteY45" fmla="*/ 280785 h 795523"/>
                  <a:gd name="connsiteX46" fmla="*/ 351956 w 830972"/>
                  <a:gd name="connsiteY46" fmla="*/ 252628 h 795523"/>
                  <a:gd name="connsiteX47" fmla="*/ 322492 w 830972"/>
                  <a:gd name="connsiteY47" fmla="*/ 246480 h 795523"/>
                  <a:gd name="connsiteX48" fmla="*/ 309137 w 830972"/>
                  <a:gd name="connsiteY48" fmla="*/ 270398 h 795523"/>
                  <a:gd name="connsiteX49" fmla="*/ 288187 w 830972"/>
                  <a:gd name="connsiteY49" fmla="*/ 296153 h 795523"/>
                  <a:gd name="connsiteX50" fmla="*/ 277165 w 830972"/>
                  <a:gd name="connsiteY50" fmla="*/ 314843 h 795523"/>
                  <a:gd name="connsiteX51" fmla="*/ 295147 w 830972"/>
                  <a:gd name="connsiteY51" fmla="*/ 325901 h 795523"/>
                  <a:gd name="connsiteX52" fmla="*/ 295182 w 830972"/>
                  <a:gd name="connsiteY52" fmla="*/ 325901 h 795523"/>
                  <a:gd name="connsiteX53" fmla="*/ 431624 w 830972"/>
                  <a:gd name="connsiteY53" fmla="*/ 75557 h 795523"/>
                  <a:gd name="connsiteX54" fmla="*/ 425760 w 830972"/>
                  <a:gd name="connsiteY54" fmla="*/ 77465 h 795523"/>
                  <a:gd name="connsiteX55" fmla="*/ 374073 w 830972"/>
                  <a:gd name="connsiteY55" fmla="*/ 100252 h 795523"/>
                  <a:gd name="connsiteX56" fmla="*/ 358174 w 830972"/>
                  <a:gd name="connsiteY56" fmla="*/ 109473 h 795523"/>
                  <a:gd name="connsiteX57" fmla="*/ 355596 w 830972"/>
                  <a:gd name="connsiteY57" fmla="*/ 139150 h 795523"/>
                  <a:gd name="connsiteX58" fmla="*/ 382729 w 830972"/>
                  <a:gd name="connsiteY58" fmla="*/ 136006 h 795523"/>
                  <a:gd name="connsiteX59" fmla="*/ 408448 w 830972"/>
                  <a:gd name="connsiteY59" fmla="*/ 122616 h 795523"/>
                  <a:gd name="connsiteX60" fmla="*/ 446462 w 830972"/>
                  <a:gd name="connsiteY60" fmla="*/ 92268 h 795523"/>
                  <a:gd name="connsiteX61" fmla="*/ 431624 w 830972"/>
                  <a:gd name="connsiteY61" fmla="*/ 75557 h 795523"/>
                  <a:gd name="connsiteX0" fmla="*/ 33473 w 857409"/>
                  <a:gd name="connsiteY0" fmla="*/ 308431 h 804586"/>
                  <a:gd name="connsiteX1" fmla="*/ 460075 w 857409"/>
                  <a:gd name="connsiteY1" fmla="*/ 16788 h 804586"/>
                  <a:gd name="connsiteX2" fmla="*/ 556171 w 857409"/>
                  <a:gd name="connsiteY2" fmla="*/ 33569 h 804586"/>
                  <a:gd name="connsiteX3" fmla="*/ 622307 w 857409"/>
                  <a:gd name="connsiteY3" fmla="*/ 38091 h 804586"/>
                  <a:gd name="connsiteX4" fmla="*/ 689327 w 857409"/>
                  <a:gd name="connsiteY4" fmla="*/ 78296 h 804586"/>
                  <a:gd name="connsiteX5" fmla="*/ 757301 w 857409"/>
                  <a:gd name="connsiteY5" fmla="*/ 139381 h 804586"/>
                  <a:gd name="connsiteX6" fmla="*/ 854351 w 857409"/>
                  <a:gd name="connsiteY6" fmla="*/ 279285 h 804586"/>
                  <a:gd name="connsiteX7" fmla="*/ 841809 w 857409"/>
                  <a:gd name="connsiteY7" fmla="*/ 363051 h 804586"/>
                  <a:gd name="connsiteX8" fmla="*/ 828489 w 857409"/>
                  <a:gd name="connsiteY8" fmla="*/ 394918 h 804586"/>
                  <a:gd name="connsiteX9" fmla="*/ 823579 w 857409"/>
                  <a:gd name="connsiteY9" fmla="*/ 458334 h 804586"/>
                  <a:gd name="connsiteX10" fmla="*/ 783021 w 857409"/>
                  <a:gd name="connsiteY10" fmla="*/ 614808 h 804586"/>
                  <a:gd name="connsiteX11" fmla="*/ 747409 w 857409"/>
                  <a:gd name="connsiteY11" fmla="*/ 642400 h 804586"/>
                  <a:gd name="connsiteX12" fmla="*/ 708829 w 857409"/>
                  <a:gd name="connsiteY12" fmla="*/ 692356 h 804586"/>
                  <a:gd name="connsiteX13" fmla="*/ 594963 w 857409"/>
                  <a:gd name="connsiteY13" fmla="*/ 794669 h 804586"/>
                  <a:gd name="connsiteX14" fmla="*/ 511868 w 857409"/>
                  <a:gd name="connsiteY14" fmla="*/ 789794 h 804586"/>
                  <a:gd name="connsiteX15" fmla="*/ 416973 w 857409"/>
                  <a:gd name="connsiteY15" fmla="*/ 794422 h 804586"/>
                  <a:gd name="connsiteX16" fmla="*/ 253151 w 857409"/>
                  <a:gd name="connsiteY16" fmla="*/ 769656 h 804586"/>
                  <a:gd name="connsiteX17" fmla="*/ 152710 w 857409"/>
                  <a:gd name="connsiteY17" fmla="*/ 724576 h 804586"/>
                  <a:gd name="connsiteX18" fmla="*/ 97702 w 857409"/>
                  <a:gd name="connsiteY18" fmla="*/ 694016 h 804586"/>
                  <a:gd name="connsiteX19" fmla="*/ 32519 w 857409"/>
                  <a:gd name="connsiteY19" fmla="*/ 608484 h 804586"/>
                  <a:gd name="connsiteX20" fmla="*/ 27397 w 857409"/>
                  <a:gd name="connsiteY20" fmla="*/ 541499 h 804586"/>
                  <a:gd name="connsiteX21" fmla="*/ 29799 w 857409"/>
                  <a:gd name="connsiteY21" fmla="*/ 432897 h 804586"/>
                  <a:gd name="connsiteX22" fmla="*/ 33473 w 857409"/>
                  <a:gd name="connsiteY22" fmla="*/ 308431 h 804586"/>
                  <a:gd name="connsiteX23" fmla="*/ 415242 w 857409"/>
                  <a:gd name="connsiteY23" fmla="*/ 38939 h 804586"/>
                  <a:gd name="connsiteX24" fmla="*/ 122009 w 857409"/>
                  <a:gd name="connsiteY24" fmla="*/ 281793 h 804586"/>
                  <a:gd name="connsiteX25" fmla="*/ 110809 w 857409"/>
                  <a:gd name="connsiteY25" fmla="*/ 305181 h 804586"/>
                  <a:gd name="connsiteX26" fmla="*/ 79260 w 857409"/>
                  <a:gd name="connsiteY26" fmla="*/ 345845 h 804586"/>
                  <a:gd name="connsiteX27" fmla="*/ 82864 w 857409"/>
                  <a:gd name="connsiteY27" fmla="*/ 358316 h 804586"/>
                  <a:gd name="connsiteX28" fmla="*/ 94946 w 857409"/>
                  <a:gd name="connsiteY28" fmla="*/ 373791 h 804586"/>
                  <a:gd name="connsiteX29" fmla="*/ 146174 w 857409"/>
                  <a:gd name="connsiteY29" fmla="*/ 403785 h 804586"/>
                  <a:gd name="connsiteX30" fmla="*/ 188569 w 857409"/>
                  <a:gd name="connsiteY30" fmla="*/ 390643 h 804586"/>
                  <a:gd name="connsiteX31" fmla="*/ 218740 w 857409"/>
                  <a:gd name="connsiteY31" fmla="*/ 374568 h 804586"/>
                  <a:gd name="connsiteX32" fmla="*/ 272971 w 857409"/>
                  <a:gd name="connsiteY32" fmla="*/ 332561 h 804586"/>
                  <a:gd name="connsiteX33" fmla="*/ 376345 w 857409"/>
                  <a:gd name="connsiteY33" fmla="*/ 92039 h 804586"/>
                  <a:gd name="connsiteX34" fmla="*/ 379807 w 857409"/>
                  <a:gd name="connsiteY34" fmla="*/ 82394 h 804586"/>
                  <a:gd name="connsiteX35" fmla="*/ 386343 w 857409"/>
                  <a:gd name="connsiteY35" fmla="*/ 70771 h 804586"/>
                  <a:gd name="connsiteX36" fmla="*/ 415242 w 857409"/>
                  <a:gd name="connsiteY36" fmla="*/ 38939 h 804586"/>
                  <a:gd name="connsiteX37" fmla="*/ 89329 w 857409"/>
                  <a:gd name="connsiteY37" fmla="*/ 300023 h 804586"/>
                  <a:gd name="connsiteX38" fmla="*/ 85478 w 857409"/>
                  <a:gd name="connsiteY38" fmla="*/ 245439 h 804586"/>
                  <a:gd name="connsiteX39" fmla="*/ 50325 w 857409"/>
                  <a:gd name="connsiteY39" fmla="*/ 363934 h 804586"/>
                  <a:gd name="connsiteX40" fmla="*/ 55271 w 857409"/>
                  <a:gd name="connsiteY40" fmla="*/ 371742 h 804586"/>
                  <a:gd name="connsiteX41" fmla="*/ 62903 w 857409"/>
                  <a:gd name="connsiteY41" fmla="*/ 366018 h 804586"/>
                  <a:gd name="connsiteX42" fmla="*/ 89329 w 857409"/>
                  <a:gd name="connsiteY42" fmla="*/ 300023 h 804586"/>
                  <a:gd name="connsiteX43" fmla="*/ 321619 w 857409"/>
                  <a:gd name="connsiteY43" fmla="*/ 334964 h 804586"/>
                  <a:gd name="connsiteX44" fmla="*/ 380831 w 857409"/>
                  <a:gd name="connsiteY44" fmla="*/ 289848 h 804586"/>
                  <a:gd name="connsiteX45" fmla="*/ 378393 w 857409"/>
                  <a:gd name="connsiteY45" fmla="*/ 261691 h 804586"/>
                  <a:gd name="connsiteX46" fmla="*/ 348929 w 857409"/>
                  <a:gd name="connsiteY46" fmla="*/ 255543 h 804586"/>
                  <a:gd name="connsiteX47" fmla="*/ 335574 w 857409"/>
                  <a:gd name="connsiteY47" fmla="*/ 279461 h 804586"/>
                  <a:gd name="connsiteX48" fmla="*/ 314624 w 857409"/>
                  <a:gd name="connsiteY48" fmla="*/ 305216 h 804586"/>
                  <a:gd name="connsiteX49" fmla="*/ 303602 w 857409"/>
                  <a:gd name="connsiteY49" fmla="*/ 323906 h 804586"/>
                  <a:gd name="connsiteX50" fmla="*/ 321584 w 857409"/>
                  <a:gd name="connsiteY50" fmla="*/ 334964 h 804586"/>
                  <a:gd name="connsiteX51" fmla="*/ 321619 w 857409"/>
                  <a:gd name="connsiteY51" fmla="*/ 334964 h 804586"/>
                  <a:gd name="connsiteX52" fmla="*/ 458061 w 857409"/>
                  <a:gd name="connsiteY52" fmla="*/ 84620 h 804586"/>
                  <a:gd name="connsiteX53" fmla="*/ 452197 w 857409"/>
                  <a:gd name="connsiteY53" fmla="*/ 86528 h 804586"/>
                  <a:gd name="connsiteX54" fmla="*/ 400510 w 857409"/>
                  <a:gd name="connsiteY54" fmla="*/ 109315 h 804586"/>
                  <a:gd name="connsiteX55" fmla="*/ 384611 w 857409"/>
                  <a:gd name="connsiteY55" fmla="*/ 118536 h 804586"/>
                  <a:gd name="connsiteX56" fmla="*/ 382033 w 857409"/>
                  <a:gd name="connsiteY56" fmla="*/ 148213 h 804586"/>
                  <a:gd name="connsiteX57" fmla="*/ 409166 w 857409"/>
                  <a:gd name="connsiteY57" fmla="*/ 145069 h 804586"/>
                  <a:gd name="connsiteX58" fmla="*/ 434885 w 857409"/>
                  <a:gd name="connsiteY58" fmla="*/ 131679 h 804586"/>
                  <a:gd name="connsiteX59" fmla="*/ 472899 w 857409"/>
                  <a:gd name="connsiteY59" fmla="*/ 101331 h 804586"/>
                  <a:gd name="connsiteX60" fmla="*/ 458061 w 857409"/>
                  <a:gd name="connsiteY60" fmla="*/ 84620 h 804586"/>
                  <a:gd name="connsiteX0" fmla="*/ 33473 w 857409"/>
                  <a:gd name="connsiteY0" fmla="*/ 308431 h 804586"/>
                  <a:gd name="connsiteX1" fmla="*/ 460075 w 857409"/>
                  <a:gd name="connsiteY1" fmla="*/ 16788 h 804586"/>
                  <a:gd name="connsiteX2" fmla="*/ 556171 w 857409"/>
                  <a:gd name="connsiteY2" fmla="*/ 33569 h 804586"/>
                  <a:gd name="connsiteX3" fmla="*/ 622307 w 857409"/>
                  <a:gd name="connsiteY3" fmla="*/ 38091 h 804586"/>
                  <a:gd name="connsiteX4" fmla="*/ 689327 w 857409"/>
                  <a:gd name="connsiteY4" fmla="*/ 78296 h 804586"/>
                  <a:gd name="connsiteX5" fmla="*/ 757301 w 857409"/>
                  <a:gd name="connsiteY5" fmla="*/ 139381 h 804586"/>
                  <a:gd name="connsiteX6" fmla="*/ 854351 w 857409"/>
                  <a:gd name="connsiteY6" fmla="*/ 279285 h 804586"/>
                  <a:gd name="connsiteX7" fmla="*/ 841809 w 857409"/>
                  <a:gd name="connsiteY7" fmla="*/ 363051 h 804586"/>
                  <a:gd name="connsiteX8" fmla="*/ 828489 w 857409"/>
                  <a:gd name="connsiteY8" fmla="*/ 394918 h 804586"/>
                  <a:gd name="connsiteX9" fmla="*/ 823579 w 857409"/>
                  <a:gd name="connsiteY9" fmla="*/ 458334 h 804586"/>
                  <a:gd name="connsiteX10" fmla="*/ 783021 w 857409"/>
                  <a:gd name="connsiteY10" fmla="*/ 614808 h 804586"/>
                  <a:gd name="connsiteX11" fmla="*/ 747409 w 857409"/>
                  <a:gd name="connsiteY11" fmla="*/ 642400 h 804586"/>
                  <a:gd name="connsiteX12" fmla="*/ 708829 w 857409"/>
                  <a:gd name="connsiteY12" fmla="*/ 692356 h 804586"/>
                  <a:gd name="connsiteX13" fmla="*/ 594963 w 857409"/>
                  <a:gd name="connsiteY13" fmla="*/ 794669 h 804586"/>
                  <a:gd name="connsiteX14" fmla="*/ 511868 w 857409"/>
                  <a:gd name="connsiteY14" fmla="*/ 789794 h 804586"/>
                  <a:gd name="connsiteX15" fmla="*/ 416973 w 857409"/>
                  <a:gd name="connsiteY15" fmla="*/ 794422 h 804586"/>
                  <a:gd name="connsiteX16" fmla="*/ 253151 w 857409"/>
                  <a:gd name="connsiteY16" fmla="*/ 769656 h 804586"/>
                  <a:gd name="connsiteX17" fmla="*/ 152710 w 857409"/>
                  <a:gd name="connsiteY17" fmla="*/ 724576 h 804586"/>
                  <a:gd name="connsiteX18" fmla="*/ 97702 w 857409"/>
                  <a:gd name="connsiteY18" fmla="*/ 694016 h 804586"/>
                  <a:gd name="connsiteX19" fmla="*/ 32519 w 857409"/>
                  <a:gd name="connsiteY19" fmla="*/ 608484 h 804586"/>
                  <a:gd name="connsiteX20" fmla="*/ 27397 w 857409"/>
                  <a:gd name="connsiteY20" fmla="*/ 541499 h 804586"/>
                  <a:gd name="connsiteX21" fmla="*/ 29799 w 857409"/>
                  <a:gd name="connsiteY21" fmla="*/ 432897 h 804586"/>
                  <a:gd name="connsiteX22" fmla="*/ 33473 w 857409"/>
                  <a:gd name="connsiteY22" fmla="*/ 308431 h 804586"/>
                  <a:gd name="connsiteX23" fmla="*/ 415242 w 857409"/>
                  <a:gd name="connsiteY23" fmla="*/ 38939 h 804586"/>
                  <a:gd name="connsiteX24" fmla="*/ 122009 w 857409"/>
                  <a:gd name="connsiteY24" fmla="*/ 281793 h 804586"/>
                  <a:gd name="connsiteX25" fmla="*/ 110809 w 857409"/>
                  <a:gd name="connsiteY25" fmla="*/ 305181 h 804586"/>
                  <a:gd name="connsiteX26" fmla="*/ 79260 w 857409"/>
                  <a:gd name="connsiteY26" fmla="*/ 345845 h 804586"/>
                  <a:gd name="connsiteX27" fmla="*/ 82864 w 857409"/>
                  <a:gd name="connsiteY27" fmla="*/ 358316 h 804586"/>
                  <a:gd name="connsiteX28" fmla="*/ 94946 w 857409"/>
                  <a:gd name="connsiteY28" fmla="*/ 373791 h 804586"/>
                  <a:gd name="connsiteX29" fmla="*/ 146174 w 857409"/>
                  <a:gd name="connsiteY29" fmla="*/ 403785 h 804586"/>
                  <a:gd name="connsiteX30" fmla="*/ 188569 w 857409"/>
                  <a:gd name="connsiteY30" fmla="*/ 390643 h 804586"/>
                  <a:gd name="connsiteX31" fmla="*/ 218740 w 857409"/>
                  <a:gd name="connsiteY31" fmla="*/ 374568 h 804586"/>
                  <a:gd name="connsiteX32" fmla="*/ 272971 w 857409"/>
                  <a:gd name="connsiteY32" fmla="*/ 332561 h 804586"/>
                  <a:gd name="connsiteX33" fmla="*/ 376345 w 857409"/>
                  <a:gd name="connsiteY33" fmla="*/ 92039 h 804586"/>
                  <a:gd name="connsiteX34" fmla="*/ 379807 w 857409"/>
                  <a:gd name="connsiteY34" fmla="*/ 82394 h 804586"/>
                  <a:gd name="connsiteX35" fmla="*/ 386343 w 857409"/>
                  <a:gd name="connsiteY35" fmla="*/ 70771 h 804586"/>
                  <a:gd name="connsiteX36" fmla="*/ 415242 w 857409"/>
                  <a:gd name="connsiteY36" fmla="*/ 38939 h 804586"/>
                  <a:gd name="connsiteX37" fmla="*/ 62903 w 857409"/>
                  <a:gd name="connsiteY37" fmla="*/ 366018 h 804586"/>
                  <a:gd name="connsiteX38" fmla="*/ 85478 w 857409"/>
                  <a:gd name="connsiteY38" fmla="*/ 245439 h 804586"/>
                  <a:gd name="connsiteX39" fmla="*/ 50325 w 857409"/>
                  <a:gd name="connsiteY39" fmla="*/ 363934 h 804586"/>
                  <a:gd name="connsiteX40" fmla="*/ 55271 w 857409"/>
                  <a:gd name="connsiteY40" fmla="*/ 371742 h 804586"/>
                  <a:gd name="connsiteX41" fmla="*/ 62903 w 857409"/>
                  <a:gd name="connsiteY41" fmla="*/ 366018 h 804586"/>
                  <a:gd name="connsiteX42" fmla="*/ 321619 w 857409"/>
                  <a:gd name="connsiteY42" fmla="*/ 334964 h 804586"/>
                  <a:gd name="connsiteX43" fmla="*/ 380831 w 857409"/>
                  <a:gd name="connsiteY43" fmla="*/ 289848 h 804586"/>
                  <a:gd name="connsiteX44" fmla="*/ 378393 w 857409"/>
                  <a:gd name="connsiteY44" fmla="*/ 261691 h 804586"/>
                  <a:gd name="connsiteX45" fmla="*/ 348929 w 857409"/>
                  <a:gd name="connsiteY45" fmla="*/ 255543 h 804586"/>
                  <a:gd name="connsiteX46" fmla="*/ 335574 w 857409"/>
                  <a:gd name="connsiteY46" fmla="*/ 279461 h 804586"/>
                  <a:gd name="connsiteX47" fmla="*/ 314624 w 857409"/>
                  <a:gd name="connsiteY47" fmla="*/ 305216 h 804586"/>
                  <a:gd name="connsiteX48" fmla="*/ 303602 w 857409"/>
                  <a:gd name="connsiteY48" fmla="*/ 323906 h 804586"/>
                  <a:gd name="connsiteX49" fmla="*/ 321584 w 857409"/>
                  <a:gd name="connsiteY49" fmla="*/ 334964 h 804586"/>
                  <a:gd name="connsiteX50" fmla="*/ 321619 w 857409"/>
                  <a:gd name="connsiteY50" fmla="*/ 334964 h 804586"/>
                  <a:gd name="connsiteX51" fmla="*/ 458061 w 857409"/>
                  <a:gd name="connsiteY51" fmla="*/ 84620 h 804586"/>
                  <a:gd name="connsiteX52" fmla="*/ 452197 w 857409"/>
                  <a:gd name="connsiteY52" fmla="*/ 86528 h 804586"/>
                  <a:gd name="connsiteX53" fmla="*/ 400510 w 857409"/>
                  <a:gd name="connsiteY53" fmla="*/ 109315 h 804586"/>
                  <a:gd name="connsiteX54" fmla="*/ 384611 w 857409"/>
                  <a:gd name="connsiteY54" fmla="*/ 118536 h 804586"/>
                  <a:gd name="connsiteX55" fmla="*/ 382033 w 857409"/>
                  <a:gd name="connsiteY55" fmla="*/ 148213 h 804586"/>
                  <a:gd name="connsiteX56" fmla="*/ 409166 w 857409"/>
                  <a:gd name="connsiteY56" fmla="*/ 145069 h 804586"/>
                  <a:gd name="connsiteX57" fmla="*/ 434885 w 857409"/>
                  <a:gd name="connsiteY57" fmla="*/ 131679 h 804586"/>
                  <a:gd name="connsiteX58" fmla="*/ 472899 w 857409"/>
                  <a:gd name="connsiteY58" fmla="*/ 101331 h 804586"/>
                  <a:gd name="connsiteX59" fmla="*/ 458061 w 857409"/>
                  <a:gd name="connsiteY59" fmla="*/ 84620 h 804586"/>
                  <a:gd name="connsiteX0" fmla="*/ 33473 w 857409"/>
                  <a:gd name="connsiteY0" fmla="*/ 308431 h 804586"/>
                  <a:gd name="connsiteX1" fmla="*/ 460075 w 857409"/>
                  <a:gd name="connsiteY1" fmla="*/ 16788 h 804586"/>
                  <a:gd name="connsiteX2" fmla="*/ 556171 w 857409"/>
                  <a:gd name="connsiteY2" fmla="*/ 33569 h 804586"/>
                  <a:gd name="connsiteX3" fmla="*/ 622307 w 857409"/>
                  <a:gd name="connsiteY3" fmla="*/ 38091 h 804586"/>
                  <a:gd name="connsiteX4" fmla="*/ 689327 w 857409"/>
                  <a:gd name="connsiteY4" fmla="*/ 78296 h 804586"/>
                  <a:gd name="connsiteX5" fmla="*/ 757301 w 857409"/>
                  <a:gd name="connsiteY5" fmla="*/ 139381 h 804586"/>
                  <a:gd name="connsiteX6" fmla="*/ 854351 w 857409"/>
                  <a:gd name="connsiteY6" fmla="*/ 279285 h 804586"/>
                  <a:gd name="connsiteX7" fmla="*/ 841809 w 857409"/>
                  <a:gd name="connsiteY7" fmla="*/ 363051 h 804586"/>
                  <a:gd name="connsiteX8" fmla="*/ 828489 w 857409"/>
                  <a:gd name="connsiteY8" fmla="*/ 394918 h 804586"/>
                  <a:gd name="connsiteX9" fmla="*/ 823579 w 857409"/>
                  <a:gd name="connsiteY9" fmla="*/ 458334 h 804586"/>
                  <a:gd name="connsiteX10" fmla="*/ 783021 w 857409"/>
                  <a:gd name="connsiteY10" fmla="*/ 614808 h 804586"/>
                  <a:gd name="connsiteX11" fmla="*/ 747409 w 857409"/>
                  <a:gd name="connsiteY11" fmla="*/ 642400 h 804586"/>
                  <a:gd name="connsiteX12" fmla="*/ 708829 w 857409"/>
                  <a:gd name="connsiteY12" fmla="*/ 692356 h 804586"/>
                  <a:gd name="connsiteX13" fmla="*/ 594963 w 857409"/>
                  <a:gd name="connsiteY13" fmla="*/ 794669 h 804586"/>
                  <a:gd name="connsiteX14" fmla="*/ 511868 w 857409"/>
                  <a:gd name="connsiteY14" fmla="*/ 789794 h 804586"/>
                  <a:gd name="connsiteX15" fmla="*/ 416973 w 857409"/>
                  <a:gd name="connsiteY15" fmla="*/ 794422 h 804586"/>
                  <a:gd name="connsiteX16" fmla="*/ 253151 w 857409"/>
                  <a:gd name="connsiteY16" fmla="*/ 769656 h 804586"/>
                  <a:gd name="connsiteX17" fmla="*/ 152710 w 857409"/>
                  <a:gd name="connsiteY17" fmla="*/ 724576 h 804586"/>
                  <a:gd name="connsiteX18" fmla="*/ 97702 w 857409"/>
                  <a:gd name="connsiteY18" fmla="*/ 694016 h 804586"/>
                  <a:gd name="connsiteX19" fmla="*/ 32519 w 857409"/>
                  <a:gd name="connsiteY19" fmla="*/ 608484 h 804586"/>
                  <a:gd name="connsiteX20" fmla="*/ 27397 w 857409"/>
                  <a:gd name="connsiteY20" fmla="*/ 541499 h 804586"/>
                  <a:gd name="connsiteX21" fmla="*/ 29799 w 857409"/>
                  <a:gd name="connsiteY21" fmla="*/ 432897 h 804586"/>
                  <a:gd name="connsiteX22" fmla="*/ 33473 w 857409"/>
                  <a:gd name="connsiteY22" fmla="*/ 308431 h 804586"/>
                  <a:gd name="connsiteX23" fmla="*/ 415242 w 857409"/>
                  <a:gd name="connsiteY23" fmla="*/ 38939 h 804586"/>
                  <a:gd name="connsiteX24" fmla="*/ 122009 w 857409"/>
                  <a:gd name="connsiteY24" fmla="*/ 281793 h 804586"/>
                  <a:gd name="connsiteX25" fmla="*/ 110809 w 857409"/>
                  <a:gd name="connsiteY25" fmla="*/ 305181 h 804586"/>
                  <a:gd name="connsiteX26" fmla="*/ 79260 w 857409"/>
                  <a:gd name="connsiteY26" fmla="*/ 345845 h 804586"/>
                  <a:gd name="connsiteX27" fmla="*/ 82864 w 857409"/>
                  <a:gd name="connsiteY27" fmla="*/ 358316 h 804586"/>
                  <a:gd name="connsiteX28" fmla="*/ 94946 w 857409"/>
                  <a:gd name="connsiteY28" fmla="*/ 373791 h 804586"/>
                  <a:gd name="connsiteX29" fmla="*/ 146174 w 857409"/>
                  <a:gd name="connsiteY29" fmla="*/ 403785 h 804586"/>
                  <a:gd name="connsiteX30" fmla="*/ 188569 w 857409"/>
                  <a:gd name="connsiteY30" fmla="*/ 390643 h 804586"/>
                  <a:gd name="connsiteX31" fmla="*/ 218740 w 857409"/>
                  <a:gd name="connsiteY31" fmla="*/ 374568 h 804586"/>
                  <a:gd name="connsiteX32" fmla="*/ 272971 w 857409"/>
                  <a:gd name="connsiteY32" fmla="*/ 332561 h 804586"/>
                  <a:gd name="connsiteX33" fmla="*/ 376345 w 857409"/>
                  <a:gd name="connsiteY33" fmla="*/ 92039 h 804586"/>
                  <a:gd name="connsiteX34" fmla="*/ 379807 w 857409"/>
                  <a:gd name="connsiteY34" fmla="*/ 82394 h 804586"/>
                  <a:gd name="connsiteX35" fmla="*/ 386343 w 857409"/>
                  <a:gd name="connsiteY35" fmla="*/ 70771 h 804586"/>
                  <a:gd name="connsiteX36" fmla="*/ 415242 w 857409"/>
                  <a:gd name="connsiteY36" fmla="*/ 38939 h 804586"/>
                  <a:gd name="connsiteX37" fmla="*/ 62903 w 857409"/>
                  <a:gd name="connsiteY37" fmla="*/ 366018 h 804586"/>
                  <a:gd name="connsiteX38" fmla="*/ 50325 w 857409"/>
                  <a:gd name="connsiteY38" fmla="*/ 363934 h 804586"/>
                  <a:gd name="connsiteX39" fmla="*/ 55271 w 857409"/>
                  <a:gd name="connsiteY39" fmla="*/ 371742 h 804586"/>
                  <a:gd name="connsiteX40" fmla="*/ 62903 w 857409"/>
                  <a:gd name="connsiteY40" fmla="*/ 366018 h 804586"/>
                  <a:gd name="connsiteX41" fmla="*/ 321619 w 857409"/>
                  <a:gd name="connsiteY41" fmla="*/ 334964 h 804586"/>
                  <a:gd name="connsiteX42" fmla="*/ 380831 w 857409"/>
                  <a:gd name="connsiteY42" fmla="*/ 289848 h 804586"/>
                  <a:gd name="connsiteX43" fmla="*/ 378393 w 857409"/>
                  <a:gd name="connsiteY43" fmla="*/ 261691 h 804586"/>
                  <a:gd name="connsiteX44" fmla="*/ 348929 w 857409"/>
                  <a:gd name="connsiteY44" fmla="*/ 255543 h 804586"/>
                  <a:gd name="connsiteX45" fmla="*/ 335574 w 857409"/>
                  <a:gd name="connsiteY45" fmla="*/ 279461 h 804586"/>
                  <a:gd name="connsiteX46" fmla="*/ 314624 w 857409"/>
                  <a:gd name="connsiteY46" fmla="*/ 305216 h 804586"/>
                  <a:gd name="connsiteX47" fmla="*/ 303602 w 857409"/>
                  <a:gd name="connsiteY47" fmla="*/ 323906 h 804586"/>
                  <a:gd name="connsiteX48" fmla="*/ 321584 w 857409"/>
                  <a:gd name="connsiteY48" fmla="*/ 334964 h 804586"/>
                  <a:gd name="connsiteX49" fmla="*/ 321619 w 857409"/>
                  <a:gd name="connsiteY49" fmla="*/ 334964 h 804586"/>
                  <a:gd name="connsiteX50" fmla="*/ 458061 w 857409"/>
                  <a:gd name="connsiteY50" fmla="*/ 84620 h 804586"/>
                  <a:gd name="connsiteX51" fmla="*/ 452197 w 857409"/>
                  <a:gd name="connsiteY51" fmla="*/ 86528 h 804586"/>
                  <a:gd name="connsiteX52" fmla="*/ 400510 w 857409"/>
                  <a:gd name="connsiteY52" fmla="*/ 109315 h 804586"/>
                  <a:gd name="connsiteX53" fmla="*/ 384611 w 857409"/>
                  <a:gd name="connsiteY53" fmla="*/ 118536 h 804586"/>
                  <a:gd name="connsiteX54" fmla="*/ 382033 w 857409"/>
                  <a:gd name="connsiteY54" fmla="*/ 148213 h 804586"/>
                  <a:gd name="connsiteX55" fmla="*/ 409166 w 857409"/>
                  <a:gd name="connsiteY55" fmla="*/ 145069 h 804586"/>
                  <a:gd name="connsiteX56" fmla="*/ 434885 w 857409"/>
                  <a:gd name="connsiteY56" fmla="*/ 131679 h 804586"/>
                  <a:gd name="connsiteX57" fmla="*/ 472899 w 857409"/>
                  <a:gd name="connsiteY57" fmla="*/ 101331 h 804586"/>
                  <a:gd name="connsiteX58" fmla="*/ 458061 w 857409"/>
                  <a:gd name="connsiteY58" fmla="*/ 84620 h 804586"/>
                  <a:gd name="connsiteX0" fmla="*/ 33473 w 857409"/>
                  <a:gd name="connsiteY0" fmla="*/ 308431 h 804586"/>
                  <a:gd name="connsiteX1" fmla="*/ 460075 w 857409"/>
                  <a:gd name="connsiteY1" fmla="*/ 16788 h 804586"/>
                  <a:gd name="connsiteX2" fmla="*/ 556171 w 857409"/>
                  <a:gd name="connsiteY2" fmla="*/ 33569 h 804586"/>
                  <a:gd name="connsiteX3" fmla="*/ 622307 w 857409"/>
                  <a:gd name="connsiteY3" fmla="*/ 38091 h 804586"/>
                  <a:gd name="connsiteX4" fmla="*/ 689327 w 857409"/>
                  <a:gd name="connsiteY4" fmla="*/ 78296 h 804586"/>
                  <a:gd name="connsiteX5" fmla="*/ 757301 w 857409"/>
                  <a:gd name="connsiteY5" fmla="*/ 139381 h 804586"/>
                  <a:gd name="connsiteX6" fmla="*/ 854351 w 857409"/>
                  <a:gd name="connsiteY6" fmla="*/ 279285 h 804586"/>
                  <a:gd name="connsiteX7" fmla="*/ 841809 w 857409"/>
                  <a:gd name="connsiteY7" fmla="*/ 363051 h 804586"/>
                  <a:gd name="connsiteX8" fmla="*/ 828489 w 857409"/>
                  <a:gd name="connsiteY8" fmla="*/ 394918 h 804586"/>
                  <a:gd name="connsiteX9" fmla="*/ 823579 w 857409"/>
                  <a:gd name="connsiteY9" fmla="*/ 458334 h 804586"/>
                  <a:gd name="connsiteX10" fmla="*/ 783021 w 857409"/>
                  <a:gd name="connsiteY10" fmla="*/ 614808 h 804586"/>
                  <a:gd name="connsiteX11" fmla="*/ 747409 w 857409"/>
                  <a:gd name="connsiteY11" fmla="*/ 642400 h 804586"/>
                  <a:gd name="connsiteX12" fmla="*/ 708829 w 857409"/>
                  <a:gd name="connsiteY12" fmla="*/ 692356 h 804586"/>
                  <a:gd name="connsiteX13" fmla="*/ 594963 w 857409"/>
                  <a:gd name="connsiteY13" fmla="*/ 794669 h 804586"/>
                  <a:gd name="connsiteX14" fmla="*/ 511868 w 857409"/>
                  <a:gd name="connsiteY14" fmla="*/ 789794 h 804586"/>
                  <a:gd name="connsiteX15" fmla="*/ 416973 w 857409"/>
                  <a:gd name="connsiteY15" fmla="*/ 794422 h 804586"/>
                  <a:gd name="connsiteX16" fmla="*/ 253151 w 857409"/>
                  <a:gd name="connsiteY16" fmla="*/ 769656 h 804586"/>
                  <a:gd name="connsiteX17" fmla="*/ 152710 w 857409"/>
                  <a:gd name="connsiteY17" fmla="*/ 724576 h 804586"/>
                  <a:gd name="connsiteX18" fmla="*/ 97702 w 857409"/>
                  <a:gd name="connsiteY18" fmla="*/ 694016 h 804586"/>
                  <a:gd name="connsiteX19" fmla="*/ 32519 w 857409"/>
                  <a:gd name="connsiteY19" fmla="*/ 608484 h 804586"/>
                  <a:gd name="connsiteX20" fmla="*/ 27397 w 857409"/>
                  <a:gd name="connsiteY20" fmla="*/ 541499 h 804586"/>
                  <a:gd name="connsiteX21" fmla="*/ 29799 w 857409"/>
                  <a:gd name="connsiteY21" fmla="*/ 432897 h 804586"/>
                  <a:gd name="connsiteX22" fmla="*/ 33473 w 857409"/>
                  <a:gd name="connsiteY22" fmla="*/ 308431 h 804586"/>
                  <a:gd name="connsiteX23" fmla="*/ 415242 w 857409"/>
                  <a:gd name="connsiteY23" fmla="*/ 38939 h 804586"/>
                  <a:gd name="connsiteX24" fmla="*/ 122009 w 857409"/>
                  <a:gd name="connsiteY24" fmla="*/ 281793 h 804586"/>
                  <a:gd name="connsiteX25" fmla="*/ 79260 w 857409"/>
                  <a:gd name="connsiteY25" fmla="*/ 345845 h 804586"/>
                  <a:gd name="connsiteX26" fmla="*/ 82864 w 857409"/>
                  <a:gd name="connsiteY26" fmla="*/ 358316 h 804586"/>
                  <a:gd name="connsiteX27" fmla="*/ 94946 w 857409"/>
                  <a:gd name="connsiteY27" fmla="*/ 373791 h 804586"/>
                  <a:gd name="connsiteX28" fmla="*/ 146174 w 857409"/>
                  <a:gd name="connsiteY28" fmla="*/ 403785 h 804586"/>
                  <a:gd name="connsiteX29" fmla="*/ 188569 w 857409"/>
                  <a:gd name="connsiteY29" fmla="*/ 390643 h 804586"/>
                  <a:gd name="connsiteX30" fmla="*/ 218740 w 857409"/>
                  <a:gd name="connsiteY30" fmla="*/ 374568 h 804586"/>
                  <a:gd name="connsiteX31" fmla="*/ 272971 w 857409"/>
                  <a:gd name="connsiteY31" fmla="*/ 332561 h 804586"/>
                  <a:gd name="connsiteX32" fmla="*/ 376345 w 857409"/>
                  <a:gd name="connsiteY32" fmla="*/ 92039 h 804586"/>
                  <a:gd name="connsiteX33" fmla="*/ 379807 w 857409"/>
                  <a:gd name="connsiteY33" fmla="*/ 82394 h 804586"/>
                  <a:gd name="connsiteX34" fmla="*/ 386343 w 857409"/>
                  <a:gd name="connsiteY34" fmla="*/ 70771 h 804586"/>
                  <a:gd name="connsiteX35" fmla="*/ 415242 w 857409"/>
                  <a:gd name="connsiteY35" fmla="*/ 38939 h 804586"/>
                  <a:gd name="connsiteX36" fmla="*/ 62903 w 857409"/>
                  <a:gd name="connsiteY36" fmla="*/ 366018 h 804586"/>
                  <a:gd name="connsiteX37" fmla="*/ 50325 w 857409"/>
                  <a:gd name="connsiteY37" fmla="*/ 363934 h 804586"/>
                  <a:gd name="connsiteX38" fmla="*/ 55271 w 857409"/>
                  <a:gd name="connsiteY38" fmla="*/ 371742 h 804586"/>
                  <a:gd name="connsiteX39" fmla="*/ 62903 w 857409"/>
                  <a:gd name="connsiteY39" fmla="*/ 366018 h 804586"/>
                  <a:gd name="connsiteX40" fmla="*/ 321619 w 857409"/>
                  <a:gd name="connsiteY40" fmla="*/ 334964 h 804586"/>
                  <a:gd name="connsiteX41" fmla="*/ 380831 w 857409"/>
                  <a:gd name="connsiteY41" fmla="*/ 289848 h 804586"/>
                  <a:gd name="connsiteX42" fmla="*/ 378393 w 857409"/>
                  <a:gd name="connsiteY42" fmla="*/ 261691 h 804586"/>
                  <a:gd name="connsiteX43" fmla="*/ 348929 w 857409"/>
                  <a:gd name="connsiteY43" fmla="*/ 255543 h 804586"/>
                  <a:gd name="connsiteX44" fmla="*/ 335574 w 857409"/>
                  <a:gd name="connsiteY44" fmla="*/ 279461 h 804586"/>
                  <a:gd name="connsiteX45" fmla="*/ 314624 w 857409"/>
                  <a:gd name="connsiteY45" fmla="*/ 305216 h 804586"/>
                  <a:gd name="connsiteX46" fmla="*/ 303602 w 857409"/>
                  <a:gd name="connsiteY46" fmla="*/ 323906 h 804586"/>
                  <a:gd name="connsiteX47" fmla="*/ 321584 w 857409"/>
                  <a:gd name="connsiteY47" fmla="*/ 334964 h 804586"/>
                  <a:gd name="connsiteX48" fmla="*/ 321619 w 857409"/>
                  <a:gd name="connsiteY48" fmla="*/ 334964 h 804586"/>
                  <a:gd name="connsiteX49" fmla="*/ 458061 w 857409"/>
                  <a:gd name="connsiteY49" fmla="*/ 84620 h 804586"/>
                  <a:gd name="connsiteX50" fmla="*/ 452197 w 857409"/>
                  <a:gd name="connsiteY50" fmla="*/ 86528 h 804586"/>
                  <a:gd name="connsiteX51" fmla="*/ 400510 w 857409"/>
                  <a:gd name="connsiteY51" fmla="*/ 109315 h 804586"/>
                  <a:gd name="connsiteX52" fmla="*/ 384611 w 857409"/>
                  <a:gd name="connsiteY52" fmla="*/ 118536 h 804586"/>
                  <a:gd name="connsiteX53" fmla="*/ 382033 w 857409"/>
                  <a:gd name="connsiteY53" fmla="*/ 148213 h 804586"/>
                  <a:gd name="connsiteX54" fmla="*/ 409166 w 857409"/>
                  <a:gd name="connsiteY54" fmla="*/ 145069 h 804586"/>
                  <a:gd name="connsiteX55" fmla="*/ 434885 w 857409"/>
                  <a:gd name="connsiteY55" fmla="*/ 131679 h 804586"/>
                  <a:gd name="connsiteX56" fmla="*/ 472899 w 857409"/>
                  <a:gd name="connsiteY56" fmla="*/ 101331 h 804586"/>
                  <a:gd name="connsiteX57" fmla="*/ 458061 w 857409"/>
                  <a:gd name="connsiteY57" fmla="*/ 84620 h 804586"/>
                  <a:gd name="connsiteX0" fmla="*/ 33473 w 857409"/>
                  <a:gd name="connsiteY0" fmla="*/ 308431 h 804586"/>
                  <a:gd name="connsiteX1" fmla="*/ 460075 w 857409"/>
                  <a:gd name="connsiteY1" fmla="*/ 16788 h 804586"/>
                  <a:gd name="connsiteX2" fmla="*/ 556171 w 857409"/>
                  <a:gd name="connsiteY2" fmla="*/ 33569 h 804586"/>
                  <a:gd name="connsiteX3" fmla="*/ 622307 w 857409"/>
                  <a:gd name="connsiteY3" fmla="*/ 38091 h 804586"/>
                  <a:gd name="connsiteX4" fmla="*/ 689327 w 857409"/>
                  <a:gd name="connsiteY4" fmla="*/ 78296 h 804586"/>
                  <a:gd name="connsiteX5" fmla="*/ 757301 w 857409"/>
                  <a:gd name="connsiteY5" fmla="*/ 139381 h 804586"/>
                  <a:gd name="connsiteX6" fmla="*/ 854351 w 857409"/>
                  <a:gd name="connsiteY6" fmla="*/ 279285 h 804586"/>
                  <a:gd name="connsiteX7" fmla="*/ 841809 w 857409"/>
                  <a:gd name="connsiteY7" fmla="*/ 363051 h 804586"/>
                  <a:gd name="connsiteX8" fmla="*/ 828489 w 857409"/>
                  <a:gd name="connsiteY8" fmla="*/ 394918 h 804586"/>
                  <a:gd name="connsiteX9" fmla="*/ 823579 w 857409"/>
                  <a:gd name="connsiteY9" fmla="*/ 458334 h 804586"/>
                  <a:gd name="connsiteX10" fmla="*/ 783021 w 857409"/>
                  <a:gd name="connsiteY10" fmla="*/ 614808 h 804586"/>
                  <a:gd name="connsiteX11" fmla="*/ 747409 w 857409"/>
                  <a:gd name="connsiteY11" fmla="*/ 642400 h 804586"/>
                  <a:gd name="connsiteX12" fmla="*/ 708829 w 857409"/>
                  <a:gd name="connsiteY12" fmla="*/ 692356 h 804586"/>
                  <a:gd name="connsiteX13" fmla="*/ 594963 w 857409"/>
                  <a:gd name="connsiteY13" fmla="*/ 794669 h 804586"/>
                  <a:gd name="connsiteX14" fmla="*/ 511868 w 857409"/>
                  <a:gd name="connsiteY14" fmla="*/ 789794 h 804586"/>
                  <a:gd name="connsiteX15" fmla="*/ 416973 w 857409"/>
                  <a:gd name="connsiteY15" fmla="*/ 794422 h 804586"/>
                  <a:gd name="connsiteX16" fmla="*/ 253151 w 857409"/>
                  <a:gd name="connsiteY16" fmla="*/ 769656 h 804586"/>
                  <a:gd name="connsiteX17" fmla="*/ 152710 w 857409"/>
                  <a:gd name="connsiteY17" fmla="*/ 724576 h 804586"/>
                  <a:gd name="connsiteX18" fmla="*/ 97702 w 857409"/>
                  <a:gd name="connsiteY18" fmla="*/ 694016 h 804586"/>
                  <a:gd name="connsiteX19" fmla="*/ 32519 w 857409"/>
                  <a:gd name="connsiteY19" fmla="*/ 608484 h 804586"/>
                  <a:gd name="connsiteX20" fmla="*/ 27397 w 857409"/>
                  <a:gd name="connsiteY20" fmla="*/ 541499 h 804586"/>
                  <a:gd name="connsiteX21" fmla="*/ 29799 w 857409"/>
                  <a:gd name="connsiteY21" fmla="*/ 432897 h 804586"/>
                  <a:gd name="connsiteX22" fmla="*/ 33473 w 857409"/>
                  <a:gd name="connsiteY22" fmla="*/ 308431 h 804586"/>
                  <a:gd name="connsiteX23" fmla="*/ 415242 w 857409"/>
                  <a:gd name="connsiteY23" fmla="*/ 38939 h 804586"/>
                  <a:gd name="connsiteX24" fmla="*/ 79260 w 857409"/>
                  <a:gd name="connsiteY24" fmla="*/ 345845 h 804586"/>
                  <a:gd name="connsiteX25" fmla="*/ 82864 w 857409"/>
                  <a:gd name="connsiteY25" fmla="*/ 358316 h 804586"/>
                  <a:gd name="connsiteX26" fmla="*/ 94946 w 857409"/>
                  <a:gd name="connsiteY26" fmla="*/ 373791 h 804586"/>
                  <a:gd name="connsiteX27" fmla="*/ 146174 w 857409"/>
                  <a:gd name="connsiteY27" fmla="*/ 403785 h 804586"/>
                  <a:gd name="connsiteX28" fmla="*/ 188569 w 857409"/>
                  <a:gd name="connsiteY28" fmla="*/ 390643 h 804586"/>
                  <a:gd name="connsiteX29" fmla="*/ 218740 w 857409"/>
                  <a:gd name="connsiteY29" fmla="*/ 374568 h 804586"/>
                  <a:gd name="connsiteX30" fmla="*/ 272971 w 857409"/>
                  <a:gd name="connsiteY30" fmla="*/ 332561 h 804586"/>
                  <a:gd name="connsiteX31" fmla="*/ 376345 w 857409"/>
                  <a:gd name="connsiteY31" fmla="*/ 92039 h 804586"/>
                  <a:gd name="connsiteX32" fmla="*/ 379807 w 857409"/>
                  <a:gd name="connsiteY32" fmla="*/ 82394 h 804586"/>
                  <a:gd name="connsiteX33" fmla="*/ 386343 w 857409"/>
                  <a:gd name="connsiteY33" fmla="*/ 70771 h 804586"/>
                  <a:gd name="connsiteX34" fmla="*/ 415242 w 857409"/>
                  <a:gd name="connsiteY34" fmla="*/ 38939 h 804586"/>
                  <a:gd name="connsiteX35" fmla="*/ 62903 w 857409"/>
                  <a:gd name="connsiteY35" fmla="*/ 366018 h 804586"/>
                  <a:gd name="connsiteX36" fmla="*/ 50325 w 857409"/>
                  <a:gd name="connsiteY36" fmla="*/ 363934 h 804586"/>
                  <a:gd name="connsiteX37" fmla="*/ 55271 w 857409"/>
                  <a:gd name="connsiteY37" fmla="*/ 371742 h 804586"/>
                  <a:gd name="connsiteX38" fmla="*/ 62903 w 857409"/>
                  <a:gd name="connsiteY38" fmla="*/ 366018 h 804586"/>
                  <a:gd name="connsiteX39" fmla="*/ 321619 w 857409"/>
                  <a:gd name="connsiteY39" fmla="*/ 334964 h 804586"/>
                  <a:gd name="connsiteX40" fmla="*/ 380831 w 857409"/>
                  <a:gd name="connsiteY40" fmla="*/ 289848 h 804586"/>
                  <a:gd name="connsiteX41" fmla="*/ 378393 w 857409"/>
                  <a:gd name="connsiteY41" fmla="*/ 261691 h 804586"/>
                  <a:gd name="connsiteX42" fmla="*/ 348929 w 857409"/>
                  <a:gd name="connsiteY42" fmla="*/ 255543 h 804586"/>
                  <a:gd name="connsiteX43" fmla="*/ 335574 w 857409"/>
                  <a:gd name="connsiteY43" fmla="*/ 279461 h 804586"/>
                  <a:gd name="connsiteX44" fmla="*/ 314624 w 857409"/>
                  <a:gd name="connsiteY44" fmla="*/ 305216 h 804586"/>
                  <a:gd name="connsiteX45" fmla="*/ 303602 w 857409"/>
                  <a:gd name="connsiteY45" fmla="*/ 323906 h 804586"/>
                  <a:gd name="connsiteX46" fmla="*/ 321584 w 857409"/>
                  <a:gd name="connsiteY46" fmla="*/ 334964 h 804586"/>
                  <a:gd name="connsiteX47" fmla="*/ 321619 w 857409"/>
                  <a:gd name="connsiteY47" fmla="*/ 334964 h 804586"/>
                  <a:gd name="connsiteX48" fmla="*/ 458061 w 857409"/>
                  <a:gd name="connsiteY48" fmla="*/ 84620 h 804586"/>
                  <a:gd name="connsiteX49" fmla="*/ 452197 w 857409"/>
                  <a:gd name="connsiteY49" fmla="*/ 86528 h 804586"/>
                  <a:gd name="connsiteX50" fmla="*/ 400510 w 857409"/>
                  <a:gd name="connsiteY50" fmla="*/ 109315 h 804586"/>
                  <a:gd name="connsiteX51" fmla="*/ 384611 w 857409"/>
                  <a:gd name="connsiteY51" fmla="*/ 118536 h 804586"/>
                  <a:gd name="connsiteX52" fmla="*/ 382033 w 857409"/>
                  <a:gd name="connsiteY52" fmla="*/ 148213 h 804586"/>
                  <a:gd name="connsiteX53" fmla="*/ 409166 w 857409"/>
                  <a:gd name="connsiteY53" fmla="*/ 145069 h 804586"/>
                  <a:gd name="connsiteX54" fmla="*/ 434885 w 857409"/>
                  <a:gd name="connsiteY54" fmla="*/ 131679 h 804586"/>
                  <a:gd name="connsiteX55" fmla="*/ 472899 w 857409"/>
                  <a:gd name="connsiteY55" fmla="*/ 101331 h 804586"/>
                  <a:gd name="connsiteX56" fmla="*/ 458061 w 857409"/>
                  <a:gd name="connsiteY56" fmla="*/ 84620 h 804586"/>
                  <a:gd name="connsiteX0" fmla="*/ 11684 w 835620"/>
                  <a:gd name="connsiteY0" fmla="*/ 308431 h 804586"/>
                  <a:gd name="connsiteX1" fmla="*/ 393453 w 835620"/>
                  <a:gd name="connsiteY1" fmla="*/ 38939 h 804586"/>
                  <a:gd name="connsiteX2" fmla="*/ 57471 w 835620"/>
                  <a:gd name="connsiteY2" fmla="*/ 345845 h 804586"/>
                  <a:gd name="connsiteX3" fmla="*/ 61075 w 835620"/>
                  <a:gd name="connsiteY3" fmla="*/ 358316 h 804586"/>
                  <a:gd name="connsiteX4" fmla="*/ 73157 w 835620"/>
                  <a:gd name="connsiteY4" fmla="*/ 373791 h 804586"/>
                  <a:gd name="connsiteX5" fmla="*/ 124385 w 835620"/>
                  <a:gd name="connsiteY5" fmla="*/ 403785 h 804586"/>
                  <a:gd name="connsiteX6" fmla="*/ 166780 w 835620"/>
                  <a:gd name="connsiteY6" fmla="*/ 390643 h 804586"/>
                  <a:gd name="connsiteX7" fmla="*/ 196951 w 835620"/>
                  <a:gd name="connsiteY7" fmla="*/ 374568 h 804586"/>
                  <a:gd name="connsiteX8" fmla="*/ 251182 w 835620"/>
                  <a:gd name="connsiteY8" fmla="*/ 332561 h 804586"/>
                  <a:gd name="connsiteX9" fmla="*/ 354556 w 835620"/>
                  <a:gd name="connsiteY9" fmla="*/ 92039 h 804586"/>
                  <a:gd name="connsiteX10" fmla="*/ 358018 w 835620"/>
                  <a:gd name="connsiteY10" fmla="*/ 82394 h 804586"/>
                  <a:gd name="connsiteX11" fmla="*/ 364554 w 835620"/>
                  <a:gd name="connsiteY11" fmla="*/ 70771 h 804586"/>
                  <a:gd name="connsiteX12" fmla="*/ 393453 w 835620"/>
                  <a:gd name="connsiteY12" fmla="*/ 38939 h 804586"/>
                  <a:gd name="connsiteX13" fmla="*/ 41114 w 835620"/>
                  <a:gd name="connsiteY13" fmla="*/ 366018 h 804586"/>
                  <a:gd name="connsiteX14" fmla="*/ 28536 w 835620"/>
                  <a:gd name="connsiteY14" fmla="*/ 363934 h 804586"/>
                  <a:gd name="connsiteX15" fmla="*/ 33482 w 835620"/>
                  <a:gd name="connsiteY15" fmla="*/ 371742 h 804586"/>
                  <a:gd name="connsiteX16" fmla="*/ 41114 w 835620"/>
                  <a:gd name="connsiteY16" fmla="*/ 366018 h 804586"/>
                  <a:gd name="connsiteX17" fmla="*/ 299830 w 835620"/>
                  <a:gd name="connsiteY17" fmla="*/ 334964 h 804586"/>
                  <a:gd name="connsiteX18" fmla="*/ 359042 w 835620"/>
                  <a:gd name="connsiteY18" fmla="*/ 289848 h 804586"/>
                  <a:gd name="connsiteX19" fmla="*/ 356604 w 835620"/>
                  <a:gd name="connsiteY19" fmla="*/ 261691 h 804586"/>
                  <a:gd name="connsiteX20" fmla="*/ 327140 w 835620"/>
                  <a:gd name="connsiteY20" fmla="*/ 255543 h 804586"/>
                  <a:gd name="connsiteX21" fmla="*/ 313785 w 835620"/>
                  <a:gd name="connsiteY21" fmla="*/ 279461 h 804586"/>
                  <a:gd name="connsiteX22" fmla="*/ 292835 w 835620"/>
                  <a:gd name="connsiteY22" fmla="*/ 305216 h 804586"/>
                  <a:gd name="connsiteX23" fmla="*/ 281813 w 835620"/>
                  <a:gd name="connsiteY23" fmla="*/ 323906 h 804586"/>
                  <a:gd name="connsiteX24" fmla="*/ 299795 w 835620"/>
                  <a:gd name="connsiteY24" fmla="*/ 334964 h 804586"/>
                  <a:gd name="connsiteX25" fmla="*/ 299830 w 835620"/>
                  <a:gd name="connsiteY25" fmla="*/ 334964 h 804586"/>
                  <a:gd name="connsiteX26" fmla="*/ 436272 w 835620"/>
                  <a:gd name="connsiteY26" fmla="*/ 84620 h 804586"/>
                  <a:gd name="connsiteX27" fmla="*/ 430408 w 835620"/>
                  <a:gd name="connsiteY27" fmla="*/ 86528 h 804586"/>
                  <a:gd name="connsiteX28" fmla="*/ 378721 w 835620"/>
                  <a:gd name="connsiteY28" fmla="*/ 109315 h 804586"/>
                  <a:gd name="connsiteX29" fmla="*/ 362822 w 835620"/>
                  <a:gd name="connsiteY29" fmla="*/ 118536 h 804586"/>
                  <a:gd name="connsiteX30" fmla="*/ 360244 w 835620"/>
                  <a:gd name="connsiteY30" fmla="*/ 148213 h 804586"/>
                  <a:gd name="connsiteX31" fmla="*/ 387377 w 835620"/>
                  <a:gd name="connsiteY31" fmla="*/ 145069 h 804586"/>
                  <a:gd name="connsiteX32" fmla="*/ 413096 w 835620"/>
                  <a:gd name="connsiteY32" fmla="*/ 131679 h 804586"/>
                  <a:gd name="connsiteX33" fmla="*/ 451110 w 835620"/>
                  <a:gd name="connsiteY33" fmla="*/ 101331 h 804586"/>
                  <a:gd name="connsiteX34" fmla="*/ 436272 w 835620"/>
                  <a:gd name="connsiteY34" fmla="*/ 84620 h 804586"/>
                  <a:gd name="connsiteX35" fmla="*/ 438286 w 835620"/>
                  <a:gd name="connsiteY35" fmla="*/ 16788 h 804586"/>
                  <a:gd name="connsiteX36" fmla="*/ 534382 w 835620"/>
                  <a:gd name="connsiteY36" fmla="*/ 33569 h 804586"/>
                  <a:gd name="connsiteX37" fmla="*/ 600518 w 835620"/>
                  <a:gd name="connsiteY37" fmla="*/ 38091 h 804586"/>
                  <a:gd name="connsiteX38" fmla="*/ 667538 w 835620"/>
                  <a:gd name="connsiteY38" fmla="*/ 78296 h 804586"/>
                  <a:gd name="connsiteX39" fmla="*/ 735512 w 835620"/>
                  <a:gd name="connsiteY39" fmla="*/ 139381 h 804586"/>
                  <a:gd name="connsiteX40" fmla="*/ 832562 w 835620"/>
                  <a:gd name="connsiteY40" fmla="*/ 279285 h 804586"/>
                  <a:gd name="connsiteX41" fmla="*/ 820020 w 835620"/>
                  <a:gd name="connsiteY41" fmla="*/ 363051 h 804586"/>
                  <a:gd name="connsiteX42" fmla="*/ 806700 w 835620"/>
                  <a:gd name="connsiteY42" fmla="*/ 394918 h 804586"/>
                  <a:gd name="connsiteX43" fmla="*/ 801790 w 835620"/>
                  <a:gd name="connsiteY43" fmla="*/ 458334 h 804586"/>
                  <a:gd name="connsiteX44" fmla="*/ 761232 w 835620"/>
                  <a:gd name="connsiteY44" fmla="*/ 614808 h 804586"/>
                  <a:gd name="connsiteX45" fmla="*/ 725620 w 835620"/>
                  <a:gd name="connsiteY45" fmla="*/ 642400 h 804586"/>
                  <a:gd name="connsiteX46" fmla="*/ 687040 w 835620"/>
                  <a:gd name="connsiteY46" fmla="*/ 692356 h 804586"/>
                  <a:gd name="connsiteX47" fmla="*/ 573174 w 835620"/>
                  <a:gd name="connsiteY47" fmla="*/ 794669 h 804586"/>
                  <a:gd name="connsiteX48" fmla="*/ 490079 w 835620"/>
                  <a:gd name="connsiteY48" fmla="*/ 789794 h 804586"/>
                  <a:gd name="connsiteX49" fmla="*/ 395184 w 835620"/>
                  <a:gd name="connsiteY49" fmla="*/ 794422 h 804586"/>
                  <a:gd name="connsiteX50" fmla="*/ 231362 w 835620"/>
                  <a:gd name="connsiteY50" fmla="*/ 769656 h 804586"/>
                  <a:gd name="connsiteX51" fmla="*/ 130921 w 835620"/>
                  <a:gd name="connsiteY51" fmla="*/ 724576 h 804586"/>
                  <a:gd name="connsiteX52" fmla="*/ 75913 w 835620"/>
                  <a:gd name="connsiteY52" fmla="*/ 694016 h 804586"/>
                  <a:gd name="connsiteX53" fmla="*/ 10730 w 835620"/>
                  <a:gd name="connsiteY53" fmla="*/ 608484 h 804586"/>
                  <a:gd name="connsiteX54" fmla="*/ 5608 w 835620"/>
                  <a:gd name="connsiteY54" fmla="*/ 541499 h 804586"/>
                  <a:gd name="connsiteX55" fmla="*/ 8010 w 835620"/>
                  <a:gd name="connsiteY55" fmla="*/ 432897 h 804586"/>
                  <a:gd name="connsiteX56" fmla="*/ 232794 w 835620"/>
                  <a:gd name="connsiteY56" fmla="*/ 529541 h 804586"/>
                  <a:gd name="connsiteX0" fmla="*/ 7036 w 830972"/>
                  <a:gd name="connsiteY0" fmla="*/ 308431 h 804586"/>
                  <a:gd name="connsiteX1" fmla="*/ 388805 w 830972"/>
                  <a:gd name="connsiteY1" fmla="*/ 38939 h 804586"/>
                  <a:gd name="connsiteX2" fmla="*/ 52823 w 830972"/>
                  <a:gd name="connsiteY2" fmla="*/ 345845 h 804586"/>
                  <a:gd name="connsiteX3" fmla="*/ 56427 w 830972"/>
                  <a:gd name="connsiteY3" fmla="*/ 358316 h 804586"/>
                  <a:gd name="connsiteX4" fmla="*/ 68509 w 830972"/>
                  <a:gd name="connsiteY4" fmla="*/ 373791 h 804586"/>
                  <a:gd name="connsiteX5" fmla="*/ 119737 w 830972"/>
                  <a:gd name="connsiteY5" fmla="*/ 403785 h 804586"/>
                  <a:gd name="connsiteX6" fmla="*/ 162132 w 830972"/>
                  <a:gd name="connsiteY6" fmla="*/ 390643 h 804586"/>
                  <a:gd name="connsiteX7" fmla="*/ 192303 w 830972"/>
                  <a:gd name="connsiteY7" fmla="*/ 374568 h 804586"/>
                  <a:gd name="connsiteX8" fmla="*/ 246534 w 830972"/>
                  <a:gd name="connsiteY8" fmla="*/ 332561 h 804586"/>
                  <a:gd name="connsiteX9" fmla="*/ 349908 w 830972"/>
                  <a:gd name="connsiteY9" fmla="*/ 92039 h 804586"/>
                  <a:gd name="connsiteX10" fmla="*/ 353370 w 830972"/>
                  <a:gd name="connsiteY10" fmla="*/ 82394 h 804586"/>
                  <a:gd name="connsiteX11" fmla="*/ 359906 w 830972"/>
                  <a:gd name="connsiteY11" fmla="*/ 70771 h 804586"/>
                  <a:gd name="connsiteX12" fmla="*/ 388805 w 830972"/>
                  <a:gd name="connsiteY12" fmla="*/ 38939 h 804586"/>
                  <a:gd name="connsiteX13" fmla="*/ 36466 w 830972"/>
                  <a:gd name="connsiteY13" fmla="*/ 366018 h 804586"/>
                  <a:gd name="connsiteX14" fmla="*/ 23888 w 830972"/>
                  <a:gd name="connsiteY14" fmla="*/ 363934 h 804586"/>
                  <a:gd name="connsiteX15" fmla="*/ 28834 w 830972"/>
                  <a:gd name="connsiteY15" fmla="*/ 371742 h 804586"/>
                  <a:gd name="connsiteX16" fmla="*/ 36466 w 830972"/>
                  <a:gd name="connsiteY16" fmla="*/ 366018 h 804586"/>
                  <a:gd name="connsiteX17" fmla="*/ 295182 w 830972"/>
                  <a:gd name="connsiteY17" fmla="*/ 334964 h 804586"/>
                  <a:gd name="connsiteX18" fmla="*/ 354394 w 830972"/>
                  <a:gd name="connsiteY18" fmla="*/ 289848 h 804586"/>
                  <a:gd name="connsiteX19" fmla="*/ 351956 w 830972"/>
                  <a:gd name="connsiteY19" fmla="*/ 261691 h 804586"/>
                  <a:gd name="connsiteX20" fmla="*/ 322492 w 830972"/>
                  <a:gd name="connsiteY20" fmla="*/ 255543 h 804586"/>
                  <a:gd name="connsiteX21" fmla="*/ 309137 w 830972"/>
                  <a:gd name="connsiteY21" fmla="*/ 279461 h 804586"/>
                  <a:gd name="connsiteX22" fmla="*/ 288187 w 830972"/>
                  <a:gd name="connsiteY22" fmla="*/ 305216 h 804586"/>
                  <a:gd name="connsiteX23" fmla="*/ 277165 w 830972"/>
                  <a:gd name="connsiteY23" fmla="*/ 323906 h 804586"/>
                  <a:gd name="connsiteX24" fmla="*/ 295147 w 830972"/>
                  <a:gd name="connsiteY24" fmla="*/ 334964 h 804586"/>
                  <a:gd name="connsiteX25" fmla="*/ 295182 w 830972"/>
                  <a:gd name="connsiteY25" fmla="*/ 334964 h 804586"/>
                  <a:gd name="connsiteX26" fmla="*/ 431624 w 830972"/>
                  <a:gd name="connsiteY26" fmla="*/ 84620 h 804586"/>
                  <a:gd name="connsiteX27" fmla="*/ 425760 w 830972"/>
                  <a:gd name="connsiteY27" fmla="*/ 86528 h 804586"/>
                  <a:gd name="connsiteX28" fmla="*/ 374073 w 830972"/>
                  <a:gd name="connsiteY28" fmla="*/ 109315 h 804586"/>
                  <a:gd name="connsiteX29" fmla="*/ 358174 w 830972"/>
                  <a:gd name="connsiteY29" fmla="*/ 118536 h 804586"/>
                  <a:gd name="connsiteX30" fmla="*/ 355596 w 830972"/>
                  <a:gd name="connsiteY30" fmla="*/ 148213 h 804586"/>
                  <a:gd name="connsiteX31" fmla="*/ 382729 w 830972"/>
                  <a:gd name="connsiteY31" fmla="*/ 145069 h 804586"/>
                  <a:gd name="connsiteX32" fmla="*/ 408448 w 830972"/>
                  <a:gd name="connsiteY32" fmla="*/ 131679 h 804586"/>
                  <a:gd name="connsiteX33" fmla="*/ 446462 w 830972"/>
                  <a:gd name="connsiteY33" fmla="*/ 101331 h 804586"/>
                  <a:gd name="connsiteX34" fmla="*/ 431624 w 830972"/>
                  <a:gd name="connsiteY34" fmla="*/ 84620 h 804586"/>
                  <a:gd name="connsiteX35" fmla="*/ 433638 w 830972"/>
                  <a:gd name="connsiteY35" fmla="*/ 16788 h 804586"/>
                  <a:gd name="connsiteX36" fmla="*/ 529734 w 830972"/>
                  <a:gd name="connsiteY36" fmla="*/ 33569 h 804586"/>
                  <a:gd name="connsiteX37" fmla="*/ 595870 w 830972"/>
                  <a:gd name="connsiteY37" fmla="*/ 38091 h 804586"/>
                  <a:gd name="connsiteX38" fmla="*/ 662890 w 830972"/>
                  <a:gd name="connsiteY38" fmla="*/ 78296 h 804586"/>
                  <a:gd name="connsiteX39" fmla="*/ 730864 w 830972"/>
                  <a:gd name="connsiteY39" fmla="*/ 139381 h 804586"/>
                  <a:gd name="connsiteX40" fmla="*/ 827914 w 830972"/>
                  <a:gd name="connsiteY40" fmla="*/ 279285 h 804586"/>
                  <a:gd name="connsiteX41" fmla="*/ 815372 w 830972"/>
                  <a:gd name="connsiteY41" fmla="*/ 363051 h 804586"/>
                  <a:gd name="connsiteX42" fmla="*/ 802052 w 830972"/>
                  <a:gd name="connsiteY42" fmla="*/ 394918 h 804586"/>
                  <a:gd name="connsiteX43" fmla="*/ 797142 w 830972"/>
                  <a:gd name="connsiteY43" fmla="*/ 458334 h 804586"/>
                  <a:gd name="connsiteX44" fmla="*/ 756584 w 830972"/>
                  <a:gd name="connsiteY44" fmla="*/ 614808 h 804586"/>
                  <a:gd name="connsiteX45" fmla="*/ 720972 w 830972"/>
                  <a:gd name="connsiteY45" fmla="*/ 642400 h 804586"/>
                  <a:gd name="connsiteX46" fmla="*/ 682392 w 830972"/>
                  <a:gd name="connsiteY46" fmla="*/ 692356 h 804586"/>
                  <a:gd name="connsiteX47" fmla="*/ 568526 w 830972"/>
                  <a:gd name="connsiteY47" fmla="*/ 794669 h 804586"/>
                  <a:gd name="connsiteX48" fmla="*/ 485431 w 830972"/>
                  <a:gd name="connsiteY48" fmla="*/ 789794 h 804586"/>
                  <a:gd name="connsiteX49" fmla="*/ 390536 w 830972"/>
                  <a:gd name="connsiteY49" fmla="*/ 794422 h 804586"/>
                  <a:gd name="connsiteX50" fmla="*/ 226714 w 830972"/>
                  <a:gd name="connsiteY50" fmla="*/ 769656 h 804586"/>
                  <a:gd name="connsiteX51" fmla="*/ 126273 w 830972"/>
                  <a:gd name="connsiteY51" fmla="*/ 724576 h 804586"/>
                  <a:gd name="connsiteX52" fmla="*/ 71265 w 830972"/>
                  <a:gd name="connsiteY52" fmla="*/ 694016 h 804586"/>
                  <a:gd name="connsiteX53" fmla="*/ 6082 w 830972"/>
                  <a:gd name="connsiteY53" fmla="*/ 608484 h 804586"/>
                  <a:gd name="connsiteX54" fmla="*/ 960 w 830972"/>
                  <a:gd name="connsiteY54" fmla="*/ 541499 h 804586"/>
                  <a:gd name="connsiteX55" fmla="*/ 3362 w 830972"/>
                  <a:gd name="connsiteY55" fmla="*/ 432897 h 80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30972" h="804586">
                    <a:moveTo>
                      <a:pt x="7036" y="308431"/>
                    </a:moveTo>
                    <a:close/>
                    <a:moveTo>
                      <a:pt x="388805" y="38939"/>
                    </a:moveTo>
                    <a:cubicBezTo>
                      <a:pt x="337625" y="84785"/>
                      <a:pt x="108219" y="292616"/>
                      <a:pt x="52823" y="345845"/>
                    </a:cubicBezTo>
                    <a:cubicBezTo>
                      <a:pt x="50668" y="351357"/>
                      <a:pt x="48725" y="356903"/>
                      <a:pt x="56427" y="358316"/>
                    </a:cubicBezTo>
                    <a:cubicBezTo>
                      <a:pt x="65648" y="360012"/>
                      <a:pt x="66990" y="367219"/>
                      <a:pt x="68509" y="373791"/>
                    </a:cubicBezTo>
                    <a:cubicBezTo>
                      <a:pt x="74515" y="399475"/>
                      <a:pt x="94971" y="412724"/>
                      <a:pt x="119737" y="403785"/>
                    </a:cubicBezTo>
                    <a:cubicBezTo>
                      <a:pt x="133763" y="398733"/>
                      <a:pt x="147576" y="393752"/>
                      <a:pt x="162132" y="390643"/>
                    </a:cubicBezTo>
                    <a:cubicBezTo>
                      <a:pt x="173508" y="388205"/>
                      <a:pt x="181387" y="378843"/>
                      <a:pt x="192303" y="374568"/>
                    </a:cubicBezTo>
                    <a:cubicBezTo>
                      <a:pt x="214137" y="366018"/>
                      <a:pt x="220267" y="379649"/>
                      <a:pt x="246534" y="332561"/>
                    </a:cubicBezTo>
                    <a:cubicBezTo>
                      <a:pt x="272801" y="285473"/>
                      <a:pt x="332102" y="133734"/>
                      <a:pt x="349908" y="92039"/>
                    </a:cubicBezTo>
                    <a:cubicBezTo>
                      <a:pt x="352169" y="89531"/>
                      <a:pt x="354854" y="85751"/>
                      <a:pt x="353370" y="82394"/>
                    </a:cubicBezTo>
                    <a:cubicBezTo>
                      <a:pt x="350084" y="74940"/>
                      <a:pt x="355242" y="73456"/>
                      <a:pt x="359906" y="70771"/>
                    </a:cubicBezTo>
                    <a:cubicBezTo>
                      <a:pt x="372872" y="63246"/>
                      <a:pt x="439985" y="-6907"/>
                      <a:pt x="388805" y="38939"/>
                    </a:cubicBezTo>
                    <a:close/>
                    <a:moveTo>
                      <a:pt x="36466" y="366018"/>
                    </a:moveTo>
                    <a:cubicBezTo>
                      <a:pt x="35642" y="364717"/>
                      <a:pt x="25160" y="362980"/>
                      <a:pt x="23888" y="363934"/>
                    </a:cubicBezTo>
                    <a:cubicBezTo>
                      <a:pt x="24100" y="367502"/>
                      <a:pt x="23747" y="371424"/>
                      <a:pt x="28834" y="371742"/>
                    </a:cubicBezTo>
                    <a:cubicBezTo>
                      <a:pt x="32933" y="372024"/>
                      <a:pt x="36183" y="370081"/>
                      <a:pt x="36466" y="366018"/>
                    </a:cubicBezTo>
                    <a:close/>
                    <a:moveTo>
                      <a:pt x="295182" y="334964"/>
                    </a:moveTo>
                    <a:cubicBezTo>
                      <a:pt x="319241" y="335070"/>
                      <a:pt x="346233" y="313766"/>
                      <a:pt x="354394" y="289848"/>
                    </a:cubicBezTo>
                    <a:cubicBezTo>
                      <a:pt x="357857" y="279744"/>
                      <a:pt x="356337" y="270629"/>
                      <a:pt x="351956" y="261691"/>
                    </a:cubicBezTo>
                    <a:cubicBezTo>
                      <a:pt x="345491" y="248513"/>
                      <a:pt x="333833" y="246428"/>
                      <a:pt x="322492" y="255543"/>
                    </a:cubicBezTo>
                    <a:cubicBezTo>
                      <a:pt x="314684" y="261832"/>
                      <a:pt x="311716" y="270770"/>
                      <a:pt x="309137" y="279461"/>
                    </a:cubicBezTo>
                    <a:cubicBezTo>
                      <a:pt x="305604" y="291332"/>
                      <a:pt x="299245" y="299776"/>
                      <a:pt x="288187" y="305216"/>
                    </a:cubicBezTo>
                    <a:cubicBezTo>
                      <a:pt x="280697" y="308891"/>
                      <a:pt x="274126" y="314437"/>
                      <a:pt x="277165" y="323906"/>
                    </a:cubicBezTo>
                    <a:cubicBezTo>
                      <a:pt x="279885" y="332455"/>
                      <a:pt x="286774" y="336271"/>
                      <a:pt x="295147" y="334964"/>
                    </a:cubicBezTo>
                    <a:lnTo>
                      <a:pt x="295182" y="334964"/>
                    </a:lnTo>
                    <a:close/>
                    <a:moveTo>
                      <a:pt x="431624" y="84620"/>
                    </a:moveTo>
                    <a:lnTo>
                      <a:pt x="425760" y="86528"/>
                    </a:lnTo>
                    <a:cubicBezTo>
                      <a:pt x="410144" y="97833"/>
                      <a:pt x="392126" y="103521"/>
                      <a:pt x="374073" y="109315"/>
                    </a:cubicBezTo>
                    <a:cubicBezTo>
                      <a:pt x="368243" y="111188"/>
                      <a:pt x="362732" y="114049"/>
                      <a:pt x="358174" y="118536"/>
                    </a:cubicBezTo>
                    <a:cubicBezTo>
                      <a:pt x="349943" y="126662"/>
                      <a:pt x="348565" y="140370"/>
                      <a:pt x="355596" y="148213"/>
                    </a:cubicBezTo>
                    <a:cubicBezTo>
                      <a:pt x="363015" y="156480"/>
                      <a:pt x="372872" y="155597"/>
                      <a:pt x="382729" y="145069"/>
                    </a:cubicBezTo>
                    <a:cubicBezTo>
                      <a:pt x="389830" y="137437"/>
                      <a:pt x="396860" y="132491"/>
                      <a:pt x="408448" y="131679"/>
                    </a:cubicBezTo>
                    <a:cubicBezTo>
                      <a:pt x="430812" y="130160"/>
                      <a:pt x="443283" y="118748"/>
                      <a:pt x="446462" y="101331"/>
                    </a:cubicBezTo>
                    <a:cubicBezTo>
                      <a:pt x="448300" y="91262"/>
                      <a:pt x="442894" y="84443"/>
                      <a:pt x="431624" y="84620"/>
                    </a:cubicBezTo>
                    <a:cubicBezTo>
                      <a:pt x="78749" y="239080"/>
                      <a:pt x="346522" y="62598"/>
                      <a:pt x="433638" y="16788"/>
                    </a:cubicBezTo>
                    <a:cubicBezTo>
                      <a:pt x="520754" y="-29022"/>
                      <a:pt x="496737" y="33428"/>
                      <a:pt x="529734" y="33569"/>
                    </a:cubicBezTo>
                    <a:cubicBezTo>
                      <a:pt x="551850" y="33675"/>
                      <a:pt x="573825" y="33781"/>
                      <a:pt x="595870" y="38091"/>
                    </a:cubicBezTo>
                    <a:cubicBezTo>
                      <a:pt x="623498" y="43461"/>
                      <a:pt x="645438" y="57628"/>
                      <a:pt x="662890" y="78296"/>
                    </a:cubicBezTo>
                    <a:cubicBezTo>
                      <a:pt x="682816" y="101896"/>
                      <a:pt x="705180" y="122458"/>
                      <a:pt x="730864" y="139381"/>
                    </a:cubicBezTo>
                    <a:cubicBezTo>
                      <a:pt x="781950" y="173085"/>
                      <a:pt x="811097" y="221910"/>
                      <a:pt x="827914" y="279285"/>
                    </a:cubicBezTo>
                    <a:cubicBezTo>
                      <a:pt x="836640" y="309032"/>
                      <a:pt x="824875" y="335953"/>
                      <a:pt x="815372" y="363051"/>
                    </a:cubicBezTo>
                    <a:cubicBezTo>
                      <a:pt x="811556" y="373897"/>
                      <a:pt x="806928" y="384496"/>
                      <a:pt x="802052" y="394918"/>
                    </a:cubicBezTo>
                    <a:cubicBezTo>
                      <a:pt x="792408" y="415515"/>
                      <a:pt x="790641" y="436748"/>
                      <a:pt x="797142" y="458334"/>
                    </a:cubicBezTo>
                    <a:cubicBezTo>
                      <a:pt x="815266" y="518782"/>
                      <a:pt x="797566" y="570081"/>
                      <a:pt x="756584" y="614808"/>
                    </a:cubicBezTo>
                    <a:cubicBezTo>
                      <a:pt x="746586" y="625724"/>
                      <a:pt x="733655" y="634380"/>
                      <a:pt x="720972" y="642400"/>
                    </a:cubicBezTo>
                    <a:cubicBezTo>
                      <a:pt x="701788" y="654518"/>
                      <a:pt x="689564" y="670133"/>
                      <a:pt x="682392" y="692356"/>
                    </a:cubicBezTo>
                    <a:cubicBezTo>
                      <a:pt x="664480" y="747858"/>
                      <a:pt x="628338" y="785342"/>
                      <a:pt x="568526" y="794669"/>
                    </a:cubicBezTo>
                    <a:cubicBezTo>
                      <a:pt x="540686" y="799015"/>
                      <a:pt x="512564" y="796612"/>
                      <a:pt x="485431" y="789794"/>
                    </a:cubicBezTo>
                    <a:cubicBezTo>
                      <a:pt x="452963" y="781633"/>
                      <a:pt x="422262" y="784459"/>
                      <a:pt x="390536" y="794422"/>
                    </a:cubicBezTo>
                    <a:cubicBezTo>
                      <a:pt x="332455" y="812617"/>
                      <a:pt x="276952" y="807564"/>
                      <a:pt x="226714" y="769656"/>
                    </a:cubicBezTo>
                    <a:cubicBezTo>
                      <a:pt x="196755" y="747045"/>
                      <a:pt x="164923" y="728674"/>
                      <a:pt x="126273" y="724576"/>
                    </a:cubicBezTo>
                    <a:cubicBezTo>
                      <a:pt x="104157" y="722244"/>
                      <a:pt x="87375" y="707759"/>
                      <a:pt x="71265" y="694016"/>
                    </a:cubicBezTo>
                    <a:cubicBezTo>
                      <a:pt x="43461" y="670310"/>
                      <a:pt x="16928" y="644979"/>
                      <a:pt x="6082" y="608484"/>
                    </a:cubicBezTo>
                    <a:cubicBezTo>
                      <a:pt x="-383" y="586756"/>
                      <a:pt x="-948" y="564287"/>
                      <a:pt x="960" y="541499"/>
                    </a:cubicBezTo>
                    <a:cubicBezTo>
                      <a:pt x="3963" y="505428"/>
                      <a:pt x="5658" y="469427"/>
                      <a:pt x="3362" y="432897"/>
                    </a:cubicBezTo>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4256" name="Group 4255">
                <a:extLst>
                  <a:ext uri="{FF2B5EF4-FFF2-40B4-BE49-F238E27FC236}">
                    <a16:creationId xmlns:a16="http://schemas.microsoft.com/office/drawing/2014/main" id="{C6C3B347-6D32-E698-B431-B36BC5E6D64D}"/>
                  </a:ext>
                </a:extLst>
              </p:cNvPr>
              <p:cNvGrpSpPr/>
              <p:nvPr/>
            </p:nvGrpSpPr>
            <p:grpSpPr>
              <a:xfrm>
                <a:off x="6102331" y="2554099"/>
                <a:ext cx="365963" cy="329459"/>
                <a:chOff x="6102100" y="2418131"/>
                <a:chExt cx="365963" cy="329459"/>
              </a:xfrm>
            </p:grpSpPr>
            <p:sp>
              <p:nvSpPr>
                <p:cNvPr id="4331" name="Freeform: Shape 4330">
                  <a:extLst>
                    <a:ext uri="{FF2B5EF4-FFF2-40B4-BE49-F238E27FC236}">
                      <a16:creationId xmlns:a16="http://schemas.microsoft.com/office/drawing/2014/main" id="{FCDD9782-3E70-4A3E-9752-8419D0F16A9E}"/>
                    </a:ext>
                  </a:extLst>
                </p:cNvPr>
                <p:cNvSpPr/>
                <p:nvPr/>
              </p:nvSpPr>
              <p:spPr>
                <a:xfrm>
                  <a:off x="6124414" y="2418131"/>
                  <a:ext cx="343649" cy="329459"/>
                </a:xfrm>
                <a:custGeom>
                  <a:avLst/>
                  <a:gdLst>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221450 w 830972"/>
                    <a:gd name="connsiteY29" fmla="*/ 191585 h 796660"/>
                    <a:gd name="connsiteX30" fmla="*/ 225230 w 830972"/>
                    <a:gd name="connsiteY30" fmla="*/ 179220 h 796660"/>
                    <a:gd name="connsiteX31" fmla="*/ 198238 w 830972"/>
                    <a:gd name="connsiteY31" fmla="*/ 152122 h 796660"/>
                    <a:gd name="connsiteX32" fmla="*/ 166796 w 830972"/>
                    <a:gd name="connsiteY32" fmla="*/ 166325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81881 w 830972"/>
                    <a:gd name="connsiteY47" fmla="*/ 20732 h 796660"/>
                    <a:gd name="connsiteX48" fmla="*/ 341111 w 830972"/>
                    <a:gd name="connsiteY48" fmla="*/ 24866 h 796660"/>
                    <a:gd name="connsiteX49" fmla="*/ 230176 w 830972"/>
                    <a:gd name="connsiteY49" fmla="*/ 74150 h 796660"/>
                    <a:gd name="connsiteX50" fmla="*/ 209261 w 830972"/>
                    <a:gd name="connsiteY50" fmla="*/ 92451 h 796660"/>
                    <a:gd name="connsiteX51" fmla="*/ 212052 w 830972"/>
                    <a:gd name="connsiteY51" fmla="*/ 110857 h 796660"/>
                    <a:gd name="connsiteX52" fmla="*/ 226078 w 830972"/>
                    <a:gd name="connsiteY52" fmla="*/ 114108 h 796660"/>
                    <a:gd name="connsiteX53" fmla="*/ 272678 w 830972"/>
                    <a:gd name="connsiteY53" fmla="*/ 102520 h 796660"/>
                    <a:gd name="connsiteX54" fmla="*/ 267484 w 830972"/>
                    <a:gd name="connsiteY54" fmla="*/ 112129 h 796660"/>
                    <a:gd name="connsiteX55" fmla="*/ 242754 w 830972"/>
                    <a:gd name="connsiteY55" fmla="*/ 161096 h 796660"/>
                    <a:gd name="connsiteX56" fmla="*/ 221415 w 830972"/>
                    <a:gd name="connsiteY56" fmla="*/ 191656 h 796660"/>
                    <a:gd name="connsiteX57" fmla="*/ 105358 w 830972"/>
                    <a:gd name="connsiteY57" fmla="*/ 191726 h 796660"/>
                    <a:gd name="connsiteX58" fmla="*/ 59041 w 830972"/>
                    <a:gd name="connsiteY58" fmla="*/ 237513 h 796660"/>
                    <a:gd name="connsiteX59" fmla="*/ 23888 w 830972"/>
                    <a:gd name="connsiteY59" fmla="*/ 356008 h 796660"/>
                    <a:gd name="connsiteX60" fmla="*/ 28834 w 830972"/>
                    <a:gd name="connsiteY60" fmla="*/ 363816 h 796660"/>
                    <a:gd name="connsiteX61" fmla="*/ 36466 w 830972"/>
                    <a:gd name="connsiteY61" fmla="*/ 358092 h 796660"/>
                    <a:gd name="connsiteX62" fmla="*/ 62892 w 830972"/>
                    <a:gd name="connsiteY62" fmla="*/ 292097 h 796660"/>
                    <a:gd name="connsiteX63" fmla="*/ 99988 w 830972"/>
                    <a:gd name="connsiteY63" fmla="*/ 216068 h 796660"/>
                    <a:gd name="connsiteX64" fmla="*/ 105358 w 830972"/>
                    <a:gd name="connsiteY64" fmla="*/ 191691 h 796660"/>
                    <a:gd name="connsiteX65" fmla="*/ 295182 w 830972"/>
                    <a:gd name="connsiteY65" fmla="*/ 327038 h 796660"/>
                    <a:gd name="connsiteX66" fmla="*/ 354394 w 830972"/>
                    <a:gd name="connsiteY66" fmla="*/ 281922 h 796660"/>
                    <a:gd name="connsiteX67" fmla="*/ 351956 w 830972"/>
                    <a:gd name="connsiteY67" fmla="*/ 253765 h 796660"/>
                    <a:gd name="connsiteX68" fmla="*/ 322492 w 830972"/>
                    <a:gd name="connsiteY68" fmla="*/ 247617 h 796660"/>
                    <a:gd name="connsiteX69" fmla="*/ 309137 w 830972"/>
                    <a:gd name="connsiteY69" fmla="*/ 271535 h 796660"/>
                    <a:gd name="connsiteX70" fmla="*/ 288187 w 830972"/>
                    <a:gd name="connsiteY70" fmla="*/ 297290 h 796660"/>
                    <a:gd name="connsiteX71" fmla="*/ 277165 w 830972"/>
                    <a:gd name="connsiteY71" fmla="*/ 315980 h 796660"/>
                    <a:gd name="connsiteX72" fmla="*/ 295147 w 830972"/>
                    <a:gd name="connsiteY72" fmla="*/ 327038 h 796660"/>
                    <a:gd name="connsiteX73" fmla="*/ 431624 w 830972"/>
                    <a:gd name="connsiteY73" fmla="*/ 76729 h 796660"/>
                    <a:gd name="connsiteX74" fmla="*/ 425760 w 830972"/>
                    <a:gd name="connsiteY74" fmla="*/ 78602 h 796660"/>
                    <a:gd name="connsiteX75" fmla="*/ 374073 w 830972"/>
                    <a:gd name="connsiteY75" fmla="*/ 101389 h 796660"/>
                    <a:gd name="connsiteX76" fmla="*/ 358174 w 830972"/>
                    <a:gd name="connsiteY76" fmla="*/ 110610 h 796660"/>
                    <a:gd name="connsiteX77" fmla="*/ 355596 w 830972"/>
                    <a:gd name="connsiteY77" fmla="*/ 140287 h 796660"/>
                    <a:gd name="connsiteX78" fmla="*/ 382729 w 830972"/>
                    <a:gd name="connsiteY78" fmla="*/ 137143 h 796660"/>
                    <a:gd name="connsiteX79" fmla="*/ 408448 w 830972"/>
                    <a:gd name="connsiteY79" fmla="*/ 123753 h 796660"/>
                    <a:gd name="connsiteX80" fmla="*/ 446462 w 830972"/>
                    <a:gd name="connsiteY80" fmla="*/ 93405 h 796660"/>
                    <a:gd name="connsiteX81" fmla="*/ 431624 w 830972"/>
                    <a:gd name="connsiteY81" fmla="*/ 76694 h 79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30972" h="796660">
                      <a:moveTo>
                        <a:pt x="157469" y="124883"/>
                      </a:moveTo>
                      <a:cubicBezTo>
                        <a:pt x="165983" y="119478"/>
                        <a:pt x="171954" y="111246"/>
                        <a:pt x="176476" y="102979"/>
                      </a:cubicBezTo>
                      <a:cubicBezTo>
                        <a:pt x="192162" y="74292"/>
                        <a:pt x="217316" y="57051"/>
                        <a:pt x="245015" y="42177"/>
                      </a:cubicBezTo>
                      <a:cubicBezTo>
                        <a:pt x="275928" y="25572"/>
                        <a:pt x="307230" y="10593"/>
                        <a:pt x="342171" y="3845"/>
                      </a:cubicBezTo>
                      <a:cubicBezTo>
                        <a:pt x="373331" y="-2161"/>
                        <a:pt x="403714" y="-1596"/>
                        <a:pt x="433638" y="8862"/>
                      </a:cubicBezTo>
                      <a:cubicBezTo>
                        <a:pt x="464799" y="19743"/>
                        <a:pt x="496737" y="25502"/>
                        <a:pt x="529734" y="25643"/>
                      </a:cubicBezTo>
                      <a:cubicBezTo>
                        <a:pt x="551850" y="25749"/>
                        <a:pt x="573825" y="25855"/>
                        <a:pt x="595870" y="30165"/>
                      </a:cubicBezTo>
                      <a:cubicBezTo>
                        <a:pt x="623498" y="35535"/>
                        <a:pt x="645438" y="49702"/>
                        <a:pt x="662890" y="70370"/>
                      </a:cubicBezTo>
                      <a:cubicBezTo>
                        <a:pt x="682816" y="93970"/>
                        <a:pt x="705180" y="114532"/>
                        <a:pt x="730864" y="131455"/>
                      </a:cubicBezTo>
                      <a:cubicBezTo>
                        <a:pt x="781950" y="165159"/>
                        <a:pt x="811097" y="213984"/>
                        <a:pt x="827914" y="271359"/>
                      </a:cubicBezTo>
                      <a:cubicBezTo>
                        <a:pt x="836640" y="301106"/>
                        <a:pt x="824875" y="328027"/>
                        <a:pt x="815372" y="355125"/>
                      </a:cubicBezTo>
                      <a:cubicBezTo>
                        <a:pt x="811556" y="365971"/>
                        <a:pt x="806928" y="376570"/>
                        <a:pt x="802052" y="386992"/>
                      </a:cubicBezTo>
                      <a:cubicBezTo>
                        <a:pt x="792408" y="407589"/>
                        <a:pt x="790641" y="428822"/>
                        <a:pt x="797142" y="450408"/>
                      </a:cubicBezTo>
                      <a:cubicBezTo>
                        <a:pt x="815266" y="510856"/>
                        <a:pt x="797566" y="562155"/>
                        <a:pt x="756584" y="606882"/>
                      </a:cubicBezTo>
                      <a:cubicBezTo>
                        <a:pt x="746586" y="617798"/>
                        <a:pt x="733655" y="626454"/>
                        <a:pt x="720972" y="634474"/>
                      </a:cubicBezTo>
                      <a:cubicBezTo>
                        <a:pt x="701788" y="646592"/>
                        <a:pt x="689564" y="662207"/>
                        <a:pt x="682392" y="684430"/>
                      </a:cubicBezTo>
                      <a:cubicBezTo>
                        <a:pt x="664480" y="739932"/>
                        <a:pt x="628338" y="777416"/>
                        <a:pt x="568526" y="786743"/>
                      </a:cubicBezTo>
                      <a:cubicBezTo>
                        <a:pt x="540686" y="791089"/>
                        <a:pt x="512564" y="788686"/>
                        <a:pt x="485431" y="781868"/>
                      </a:cubicBezTo>
                      <a:cubicBezTo>
                        <a:pt x="452963" y="773707"/>
                        <a:pt x="422262" y="776533"/>
                        <a:pt x="390536" y="786496"/>
                      </a:cubicBezTo>
                      <a:cubicBezTo>
                        <a:pt x="332455" y="804691"/>
                        <a:pt x="276952" y="799638"/>
                        <a:pt x="226714" y="761730"/>
                      </a:cubicBezTo>
                      <a:cubicBezTo>
                        <a:pt x="196755" y="739119"/>
                        <a:pt x="164923" y="720748"/>
                        <a:pt x="126273" y="716650"/>
                      </a:cubicBezTo>
                      <a:cubicBezTo>
                        <a:pt x="104157" y="714318"/>
                        <a:pt x="87375" y="699833"/>
                        <a:pt x="71265" y="686090"/>
                      </a:cubicBezTo>
                      <a:cubicBezTo>
                        <a:pt x="43461" y="662384"/>
                        <a:pt x="16928" y="637053"/>
                        <a:pt x="6082" y="600558"/>
                      </a:cubicBezTo>
                      <a:cubicBezTo>
                        <a:pt x="-383" y="578830"/>
                        <a:pt x="-948" y="556361"/>
                        <a:pt x="960" y="533573"/>
                      </a:cubicBezTo>
                      <a:cubicBezTo>
                        <a:pt x="3963" y="497502"/>
                        <a:pt x="5658" y="461501"/>
                        <a:pt x="3362" y="424971"/>
                      </a:cubicBezTo>
                      <a:cubicBezTo>
                        <a:pt x="748" y="383635"/>
                        <a:pt x="-2715" y="341311"/>
                        <a:pt x="7036" y="300505"/>
                      </a:cubicBezTo>
                      <a:cubicBezTo>
                        <a:pt x="20002" y="246346"/>
                        <a:pt x="51304" y="203703"/>
                        <a:pt x="97091" y="171765"/>
                      </a:cubicBezTo>
                      <a:cubicBezTo>
                        <a:pt x="107583" y="164452"/>
                        <a:pt x="117688" y="156574"/>
                        <a:pt x="127933" y="148978"/>
                      </a:cubicBezTo>
                      <a:cubicBezTo>
                        <a:pt x="143902" y="148413"/>
                        <a:pt x="154748" y="141594"/>
                        <a:pt x="157469" y="124848"/>
                      </a:cubicBezTo>
                      <a:close/>
                      <a:moveTo>
                        <a:pt x="221450" y="191585"/>
                      </a:moveTo>
                      <a:cubicBezTo>
                        <a:pt x="222722" y="187452"/>
                        <a:pt x="224206" y="183389"/>
                        <a:pt x="225230" y="179220"/>
                      </a:cubicBezTo>
                      <a:cubicBezTo>
                        <a:pt x="230282" y="158941"/>
                        <a:pt x="218412" y="146964"/>
                        <a:pt x="198238" y="152122"/>
                      </a:cubicBezTo>
                      <a:cubicBezTo>
                        <a:pt x="186969" y="155019"/>
                        <a:pt x="176971" y="160955"/>
                        <a:pt x="166796" y="166325"/>
                      </a:cubicBezTo>
                      <a:cubicBezTo>
                        <a:pt x="123552" y="189183"/>
                        <a:pt x="95395" y="222110"/>
                        <a:pt x="95572" y="273867"/>
                      </a:cubicBezTo>
                      <a:cubicBezTo>
                        <a:pt x="95572" y="283229"/>
                        <a:pt x="89884" y="290083"/>
                        <a:pt x="84372" y="297255"/>
                      </a:cubicBezTo>
                      <a:cubicBezTo>
                        <a:pt x="73915" y="310857"/>
                        <a:pt x="59394" y="321244"/>
                        <a:pt x="52823" y="337919"/>
                      </a:cubicBezTo>
                      <a:cubicBezTo>
                        <a:pt x="50668" y="343431"/>
                        <a:pt x="48725" y="348977"/>
                        <a:pt x="56427" y="350390"/>
                      </a:cubicBezTo>
                      <a:cubicBezTo>
                        <a:pt x="65648" y="352086"/>
                        <a:pt x="66990" y="359293"/>
                        <a:pt x="68509" y="365865"/>
                      </a:cubicBezTo>
                      <a:cubicBezTo>
                        <a:pt x="74515" y="391549"/>
                        <a:pt x="94971" y="404798"/>
                        <a:pt x="119737" y="395859"/>
                      </a:cubicBezTo>
                      <a:cubicBezTo>
                        <a:pt x="133763" y="390807"/>
                        <a:pt x="147576" y="385826"/>
                        <a:pt x="162132" y="382717"/>
                      </a:cubicBezTo>
                      <a:cubicBezTo>
                        <a:pt x="173508" y="380279"/>
                        <a:pt x="181387" y="370917"/>
                        <a:pt x="192303" y="366642"/>
                      </a:cubicBezTo>
                      <a:cubicBezTo>
                        <a:pt x="214137" y="358092"/>
                        <a:pt x="233603" y="346186"/>
                        <a:pt x="246534" y="324635"/>
                      </a:cubicBezTo>
                      <a:cubicBezTo>
                        <a:pt x="264305" y="294994"/>
                        <a:pt x="275610" y="262986"/>
                        <a:pt x="284230" y="230059"/>
                      </a:cubicBezTo>
                      <a:cubicBezTo>
                        <a:pt x="297974" y="177630"/>
                        <a:pt x="312741" y="125943"/>
                        <a:pt x="349908" y="84113"/>
                      </a:cubicBezTo>
                      <a:cubicBezTo>
                        <a:pt x="352169" y="81605"/>
                        <a:pt x="354854" y="77825"/>
                        <a:pt x="353370" y="74468"/>
                      </a:cubicBezTo>
                      <a:cubicBezTo>
                        <a:pt x="350084" y="67014"/>
                        <a:pt x="355242" y="65530"/>
                        <a:pt x="359906" y="62845"/>
                      </a:cubicBezTo>
                      <a:cubicBezTo>
                        <a:pt x="372872" y="55320"/>
                        <a:pt x="382905" y="45216"/>
                        <a:pt x="388805" y="31013"/>
                      </a:cubicBezTo>
                      <a:cubicBezTo>
                        <a:pt x="392197" y="22887"/>
                        <a:pt x="389865" y="21015"/>
                        <a:pt x="381881" y="20732"/>
                      </a:cubicBezTo>
                      <a:cubicBezTo>
                        <a:pt x="368032" y="20238"/>
                        <a:pt x="354536" y="22463"/>
                        <a:pt x="341111" y="24866"/>
                      </a:cubicBezTo>
                      <a:cubicBezTo>
                        <a:pt x="300164" y="32179"/>
                        <a:pt x="266036" y="55178"/>
                        <a:pt x="230176" y="74150"/>
                      </a:cubicBezTo>
                      <a:cubicBezTo>
                        <a:pt x="221768" y="78602"/>
                        <a:pt x="215762" y="85844"/>
                        <a:pt x="209261" y="92451"/>
                      </a:cubicBezTo>
                      <a:cubicBezTo>
                        <a:pt x="201984" y="99799"/>
                        <a:pt x="204174" y="105805"/>
                        <a:pt x="212052" y="110857"/>
                      </a:cubicBezTo>
                      <a:cubicBezTo>
                        <a:pt x="216327" y="113613"/>
                        <a:pt x="221168" y="113578"/>
                        <a:pt x="226078" y="114108"/>
                      </a:cubicBezTo>
                      <a:cubicBezTo>
                        <a:pt x="242612" y="115874"/>
                        <a:pt x="257874" y="111493"/>
                        <a:pt x="272678" y="102520"/>
                      </a:cubicBezTo>
                      <a:cubicBezTo>
                        <a:pt x="273278" y="109515"/>
                        <a:pt x="269604" y="110116"/>
                        <a:pt x="267484" y="112129"/>
                      </a:cubicBezTo>
                      <a:cubicBezTo>
                        <a:pt x="253353" y="125519"/>
                        <a:pt x="239857" y="140711"/>
                        <a:pt x="242754" y="161096"/>
                      </a:cubicBezTo>
                      <a:cubicBezTo>
                        <a:pt x="245333" y="179255"/>
                        <a:pt x="233851" y="184873"/>
                        <a:pt x="221415" y="191656"/>
                      </a:cubicBezTo>
                      <a:close/>
                      <a:moveTo>
                        <a:pt x="105358" y="191726"/>
                      </a:moveTo>
                      <a:cubicBezTo>
                        <a:pt x="86351" y="205187"/>
                        <a:pt x="71336" y="220131"/>
                        <a:pt x="59041" y="237513"/>
                      </a:cubicBezTo>
                      <a:cubicBezTo>
                        <a:pt x="33993" y="272949"/>
                        <a:pt x="21345" y="312270"/>
                        <a:pt x="23888" y="356008"/>
                      </a:cubicBezTo>
                      <a:cubicBezTo>
                        <a:pt x="24100" y="359576"/>
                        <a:pt x="23747" y="363498"/>
                        <a:pt x="28834" y="363816"/>
                      </a:cubicBezTo>
                      <a:cubicBezTo>
                        <a:pt x="32933" y="364098"/>
                        <a:pt x="36183" y="362155"/>
                        <a:pt x="36466" y="358092"/>
                      </a:cubicBezTo>
                      <a:cubicBezTo>
                        <a:pt x="38267" y="333291"/>
                        <a:pt x="53035" y="313577"/>
                        <a:pt x="62892" y="292097"/>
                      </a:cubicBezTo>
                      <a:cubicBezTo>
                        <a:pt x="74657" y="266519"/>
                        <a:pt x="81016" y="238326"/>
                        <a:pt x="99988" y="216068"/>
                      </a:cubicBezTo>
                      <a:cubicBezTo>
                        <a:pt x="104863" y="210310"/>
                        <a:pt x="107442" y="202043"/>
                        <a:pt x="105358" y="191691"/>
                      </a:cubicBezTo>
                      <a:close/>
                      <a:moveTo>
                        <a:pt x="295182" y="327038"/>
                      </a:moveTo>
                      <a:cubicBezTo>
                        <a:pt x="319241" y="327144"/>
                        <a:pt x="346233" y="305840"/>
                        <a:pt x="354394" y="281922"/>
                      </a:cubicBezTo>
                      <a:cubicBezTo>
                        <a:pt x="357857" y="271818"/>
                        <a:pt x="356337" y="262703"/>
                        <a:pt x="351956" y="253765"/>
                      </a:cubicBezTo>
                      <a:cubicBezTo>
                        <a:pt x="345491" y="240587"/>
                        <a:pt x="333833" y="238502"/>
                        <a:pt x="322492" y="247617"/>
                      </a:cubicBezTo>
                      <a:cubicBezTo>
                        <a:pt x="314684" y="253906"/>
                        <a:pt x="311716" y="262844"/>
                        <a:pt x="309137" y="271535"/>
                      </a:cubicBezTo>
                      <a:cubicBezTo>
                        <a:pt x="305604" y="283406"/>
                        <a:pt x="299245" y="291850"/>
                        <a:pt x="288187" y="297290"/>
                      </a:cubicBezTo>
                      <a:cubicBezTo>
                        <a:pt x="280697" y="300965"/>
                        <a:pt x="274126" y="306511"/>
                        <a:pt x="277165" y="315980"/>
                      </a:cubicBezTo>
                      <a:cubicBezTo>
                        <a:pt x="279885" y="324529"/>
                        <a:pt x="286774" y="328345"/>
                        <a:pt x="295147" y="327038"/>
                      </a:cubicBezTo>
                      <a:close/>
                      <a:moveTo>
                        <a:pt x="431624" y="76729"/>
                      </a:moveTo>
                      <a:cubicBezTo>
                        <a:pt x="430635" y="77012"/>
                        <a:pt x="427738" y="77153"/>
                        <a:pt x="425760" y="78602"/>
                      </a:cubicBezTo>
                      <a:cubicBezTo>
                        <a:pt x="410144" y="89907"/>
                        <a:pt x="392126" y="95595"/>
                        <a:pt x="374073" y="101389"/>
                      </a:cubicBezTo>
                      <a:cubicBezTo>
                        <a:pt x="368243" y="103262"/>
                        <a:pt x="362732" y="106123"/>
                        <a:pt x="358174" y="110610"/>
                      </a:cubicBezTo>
                      <a:cubicBezTo>
                        <a:pt x="349943" y="118736"/>
                        <a:pt x="348565" y="132444"/>
                        <a:pt x="355596" y="140287"/>
                      </a:cubicBezTo>
                      <a:cubicBezTo>
                        <a:pt x="363015" y="148554"/>
                        <a:pt x="372872" y="147671"/>
                        <a:pt x="382729" y="137143"/>
                      </a:cubicBezTo>
                      <a:cubicBezTo>
                        <a:pt x="389830" y="129511"/>
                        <a:pt x="396860" y="124565"/>
                        <a:pt x="408448" y="123753"/>
                      </a:cubicBezTo>
                      <a:cubicBezTo>
                        <a:pt x="430812" y="122234"/>
                        <a:pt x="443283" y="110822"/>
                        <a:pt x="446462" y="93405"/>
                      </a:cubicBezTo>
                      <a:cubicBezTo>
                        <a:pt x="448300" y="83336"/>
                        <a:pt x="442894" y="76517"/>
                        <a:pt x="431624" y="76694"/>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32" name="Oval 4331">
                  <a:extLst>
                    <a:ext uri="{FF2B5EF4-FFF2-40B4-BE49-F238E27FC236}">
                      <a16:creationId xmlns:a16="http://schemas.microsoft.com/office/drawing/2014/main" id="{B79F8FA1-2D04-5A76-5D98-CE24793EFD49}"/>
                    </a:ext>
                  </a:extLst>
                </p:cNvPr>
                <p:cNvSpPr/>
                <p:nvPr/>
              </p:nvSpPr>
              <p:spPr>
                <a:xfrm rot="19591284">
                  <a:off x="6102100" y="2430262"/>
                  <a:ext cx="269349" cy="217493"/>
                </a:xfrm>
                <a:prstGeom prst="ellipse">
                  <a:avLst/>
                </a:prstGeom>
                <a:solidFill>
                  <a:srgbClr val="DB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257" name="Group 4256">
                <a:extLst>
                  <a:ext uri="{FF2B5EF4-FFF2-40B4-BE49-F238E27FC236}">
                    <a16:creationId xmlns:a16="http://schemas.microsoft.com/office/drawing/2014/main" id="{C439A15A-6C58-E92F-EFBE-4DFA6E739FCE}"/>
                  </a:ext>
                </a:extLst>
              </p:cNvPr>
              <p:cNvGrpSpPr/>
              <p:nvPr/>
            </p:nvGrpSpPr>
            <p:grpSpPr>
              <a:xfrm rot="9900000">
                <a:off x="6231561" y="2586888"/>
                <a:ext cx="156332" cy="190715"/>
                <a:chOff x="7023864" y="4381061"/>
                <a:chExt cx="1454089" cy="1773897"/>
              </a:xfrm>
            </p:grpSpPr>
            <p:sp>
              <p:nvSpPr>
                <p:cNvPr id="4310" name="Freeform: Shape 4309">
                  <a:extLst>
                    <a:ext uri="{FF2B5EF4-FFF2-40B4-BE49-F238E27FC236}">
                      <a16:creationId xmlns:a16="http://schemas.microsoft.com/office/drawing/2014/main" id="{4C051816-5CCC-B7F0-7966-ACD677062F1C}"/>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11" name="Freeform: Shape 4310">
                  <a:extLst>
                    <a:ext uri="{FF2B5EF4-FFF2-40B4-BE49-F238E27FC236}">
                      <a16:creationId xmlns:a16="http://schemas.microsoft.com/office/drawing/2014/main" id="{E5806F83-9DE3-7C96-370C-1E7B1FE35045}"/>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12" name="Rectangle: Rounded Corners 4311">
                  <a:extLst>
                    <a:ext uri="{FF2B5EF4-FFF2-40B4-BE49-F238E27FC236}">
                      <a16:creationId xmlns:a16="http://schemas.microsoft.com/office/drawing/2014/main" id="{60A265A1-B46C-4F88-9FEE-D3A57B09A35F}"/>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13" name="Freeform: Shape 4312">
                  <a:extLst>
                    <a:ext uri="{FF2B5EF4-FFF2-40B4-BE49-F238E27FC236}">
                      <a16:creationId xmlns:a16="http://schemas.microsoft.com/office/drawing/2014/main" id="{B27AB4C1-B198-2D8A-8533-34FD4D8EEA8F}"/>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14" name="Freeform: Shape 4313">
                  <a:extLst>
                    <a:ext uri="{FF2B5EF4-FFF2-40B4-BE49-F238E27FC236}">
                      <a16:creationId xmlns:a16="http://schemas.microsoft.com/office/drawing/2014/main" id="{C89F013B-5375-B37D-6D5D-45A475E21231}"/>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15" name="Freeform: Shape 4314">
                  <a:extLst>
                    <a:ext uri="{FF2B5EF4-FFF2-40B4-BE49-F238E27FC236}">
                      <a16:creationId xmlns:a16="http://schemas.microsoft.com/office/drawing/2014/main" id="{11782414-A167-BD18-A7C9-6CFB5B5ED3E2}"/>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16" name="Freeform: Shape 4315">
                  <a:extLst>
                    <a:ext uri="{FF2B5EF4-FFF2-40B4-BE49-F238E27FC236}">
                      <a16:creationId xmlns:a16="http://schemas.microsoft.com/office/drawing/2014/main" id="{7DA09F94-0B5D-1108-31CD-16A5E4C739D7}"/>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17" name="Rectangle: Rounded Corners 4316">
                  <a:extLst>
                    <a:ext uri="{FF2B5EF4-FFF2-40B4-BE49-F238E27FC236}">
                      <a16:creationId xmlns:a16="http://schemas.microsoft.com/office/drawing/2014/main" id="{41DE9696-E92A-3CB2-6DBB-1C57E067F71D}"/>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318" name="Group 4317">
                  <a:extLst>
                    <a:ext uri="{FF2B5EF4-FFF2-40B4-BE49-F238E27FC236}">
                      <a16:creationId xmlns:a16="http://schemas.microsoft.com/office/drawing/2014/main" id="{C467CD67-9E1C-E19D-95D8-FCD22BC1E09E}"/>
                    </a:ext>
                  </a:extLst>
                </p:cNvPr>
                <p:cNvGrpSpPr/>
                <p:nvPr/>
              </p:nvGrpSpPr>
              <p:grpSpPr>
                <a:xfrm rot="18900000">
                  <a:off x="7023864" y="4541844"/>
                  <a:ext cx="155034" cy="650324"/>
                  <a:chOff x="1687853" y="3177376"/>
                  <a:chExt cx="389584" cy="2276476"/>
                </a:xfrm>
              </p:grpSpPr>
              <p:sp>
                <p:nvSpPr>
                  <p:cNvPr id="4329" name="Freeform: Shape 4328">
                    <a:extLst>
                      <a:ext uri="{FF2B5EF4-FFF2-40B4-BE49-F238E27FC236}">
                        <a16:creationId xmlns:a16="http://schemas.microsoft.com/office/drawing/2014/main" id="{4A238B3B-A1E4-02DA-4390-FFCFCEC86878}"/>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30" name="Freeform: Shape 4329">
                    <a:extLst>
                      <a:ext uri="{FF2B5EF4-FFF2-40B4-BE49-F238E27FC236}">
                        <a16:creationId xmlns:a16="http://schemas.microsoft.com/office/drawing/2014/main" id="{FFEB3E58-69CE-6EE4-496A-9D7F7AFF6211}"/>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319" name="Group 4318">
                  <a:extLst>
                    <a:ext uri="{FF2B5EF4-FFF2-40B4-BE49-F238E27FC236}">
                      <a16:creationId xmlns:a16="http://schemas.microsoft.com/office/drawing/2014/main" id="{7BD57308-E4BF-C00F-92E9-7117169476AF}"/>
                    </a:ext>
                  </a:extLst>
                </p:cNvPr>
                <p:cNvGrpSpPr/>
                <p:nvPr/>
              </p:nvGrpSpPr>
              <p:grpSpPr>
                <a:xfrm rot="18900000">
                  <a:off x="7159822" y="4381061"/>
                  <a:ext cx="155034" cy="650324"/>
                  <a:chOff x="1687853" y="3177376"/>
                  <a:chExt cx="389584" cy="2276476"/>
                </a:xfrm>
              </p:grpSpPr>
              <p:sp>
                <p:nvSpPr>
                  <p:cNvPr id="4327" name="Freeform: Shape 4326">
                    <a:extLst>
                      <a:ext uri="{FF2B5EF4-FFF2-40B4-BE49-F238E27FC236}">
                        <a16:creationId xmlns:a16="http://schemas.microsoft.com/office/drawing/2014/main" id="{D2989288-0033-109B-ABA7-AF4BEAF45E87}"/>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28" name="Freeform: Shape 4327">
                    <a:extLst>
                      <a:ext uri="{FF2B5EF4-FFF2-40B4-BE49-F238E27FC236}">
                        <a16:creationId xmlns:a16="http://schemas.microsoft.com/office/drawing/2014/main" id="{A337B620-4733-6BAC-59AA-A8C121AF7CC8}"/>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320" name="Rectangle: Rounded Corners 4319">
                  <a:extLst>
                    <a:ext uri="{FF2B5EF4-FFF2-40B4-BE49-F238E27FC236}">
                      <a16:creationId xmlns:a16="http://schemas.microsoft.com/office/drawing/2014/main" id="{6FDE1153-0F33-9679-9AEE-6C8E9EE06C77}"/>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321" name="Group 4320">
                  <a:extLst>
                    <a:ext uri="{FF2B5EF4-FFF2-40B4-BE49-F238E27FC236}">
                      <a16:creationId xmlns:a16="http://schemas.microsoft.com/office/drawing/2014/main" id="{0F7CAD1E-E61D-E733-CCE3-9AA08290DB2D}"/>
                    </a:ext>
                  </a:extLst>
                </p:cNvPr>
                <p:cNvGrpSpPr/>
                <p:nvPr/>
              </p:nvGrpSpPr>
              <p:grpSpPr>
                <a:xfrm rot="2700000" flipH="1">
                  <a:off x="8075274" y="4531570"/>
                  <a:ext cx="155034" cy="650324"/>
                  <a:chOff x="1687853" y="3177376"/>
                  <a:chExt cx="389584" cy="2276476"/>
                </a:xfrm>
              </p:grpSpPr>
              <p:sp>
                <p:nvSpPr>
                  <p:cNvPr id="4325" name="Freeform: Shape 4324">
                    <a:extLst>
                      <a:ext uri="{FF2B5EF4-FFF2-40B4-BE49-F238E27FC236}">
                        <a16:creationId xmlns:a16="http://schemas.microsoft.com/office/drawing/2014/main" id="{51F846B6-AE51-4D46-77C8-937B25BF6D10}"/>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26" name="Freeform: Shape 4325">
                    <a:extLst>
                      <a:ext uri="{FF2B5EF4-FFF2-40B4-BE49-F238E27FC236}">
                        <a16:creationId xmlns:a16="http://schemas.microsoft.com/office/drawing/2014/main" id="{35CBCA98-686E-368E-E438-462F19038D56}"/>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322" name="Group 4321">
                  <a:extLst>
                    <a:ext uri="{FF2B5EF4-FFF2-40B4-BE49-F238E27FC236}">
                      <a16:creationId xmlns:a16="http://schemas.microsoft.com/office/drawing/2014/main" id="{8A6D354F-B92B-747D-307A-6F7B2405D832}"/>
                    </a:ext>
                  </a:extLst>
                </p:cNvPr>
                <p:cNvGrpSpPr/>
                <p:nvPr/>
              </p:nvGrpSpPr>
              <p:grpSpPr>
                <a:xfrm rot="2700000" flipH="1">
                  <a:off x="7938470" y="4374279"/>
                  <a:ext cx="155034" cy="650324"/>
                  <a:chOff x="1687853" y="3177376"/>
                  <a:chExt cx="389584" cy="2276476"/>
                </a:xfrm>
              </p:grpSpPr>
              <p:sp>
                <p:nvSpPr>
                  <p:cNvPr id="4323" name="Freeform: Shape 4322">
                    <a:extLst>
                      <a:ext uri="{FF2B5EF4-FFF2-40B4-BE49-F238E27FC236}">
                        <a16:creationId xmlns:a16="http://schemas.microsoft.com/office/drawing/2014/main" id="{9A29AF03-DC39-D43A-A344-ABD6AADD1B05}"/>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24" name="Freeform: Shape 4323">
                    <a:extLst>
                      <a:ext uri="{FF2B5EF4-FFF2-40B4-BE49-F238E27FC236}">
                        <a16:creationId xmlns:a16="http://schemas.microsoft.com/office/drawing/2014/main" id="{C63F22AA-156C-7D93-2D8A-41184C563270}"/>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4258" name="Freeform: Shape 4257">
                <a:extLst>
                  <a:ext uri="{FF2B5EF4-FFF2-40B4-BE49-F238E27FC236}">
                    <a16:creationId xmlns:a16="http://schemas.microsoft.com/office/drawing/2014/main" id="{3916CBD8-F330-9224-3DE4-A3EB6772F48A}"/>
                  </a:ext>
                </a:extLst>
              </p:cNvPr>
              <p:cNvSpPr/>
              <p:nvPr/>
            </p:nvSpPr>
            <p:spPr>
              <a:xfrm rot="7176786">
                <a:off x="6162107" y="2771354"/>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6"/>
              </a:solidFill>
              <a:ln w="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4259" name="Group 4258">
                <a:extLst>
                  <a:ext uri="{FF2B5EF4-FFF2-40B4-BE49-F238E27FC236}">
                    <a16:creationId xmlns:a16="http://schemas.microsoft.com/office/drawing/2014/main" id="{62765D84-4172-6E8E-7AAE-D68C4B310167}"/>
                  </a:ext>
                </a:extLst>
              </p:cNvPr>
              <p:cNvGrpSpPr/>
              <p:nvPr/>
            </p:nvGrpSpPr>
            <p:grpSpPr>
              <a:xfrm>
                <a:off x="5775656" y="2741644"/>
                <a:ext cx="273908" cy="255661"/>
                <a:chOff x="5775656" y="2741644"/>
                <a:chExt cx="273908" cy="255661"/>
              </a:xfrm>
            </p:grpSpPr>
            <p:sp>
              <p:nvSpPr>
                <p:cNvPr id="4308" name="Freeform: Shape 4307">
                  <a:extLst>
                    <a:ext uri="{FF2B5EF4-FFF2-40B4-BE49-F238E27FC236}">
                      <a16:creationId xmlns:a16="http://schemas.microsoft.com/office/drawing/2014/main" id="{356B1B7C-90F8-1FF0-2005-FE357657E8D5}"/>
                    </a:ext>
                  </a:extLst>
                </p:cNvPr>
                <p:cNvSpPr/>
                <p:nvPr/>
              </p:nvSpPr>
              <p:spPr>
                <a:xfrm>
                  <a:off x="5782892" y="2741644"/>
                  <a:ext cx="266672" cy="255661"/>
                </a:xfrm>
                <a:custGeom>
                  <a:avLst/>
                  <a:gdLst>
                    <a:gd name="connsiteX0" fmla="*/ 157469 w 830972"/>
                    <a:gd name="connsiteY0" fmla="*/ 124883 h 796660"/>
                    <a:gd name="connsiteX1" fmla="*/ 176476 w 830972"/>
                    <a:gd name="connsiteY1" fmla="*/ 102979 h 796660"/>
                    <a:gd name="connsiteX2" fmla="*/ 245015 w 830972"/>
                    <a:gd name="connsiteY2" fmla="*/ 42177 h 796660"/>
                    <a:gd name="connsiteX3" fmla="*/ 342171 w 830972"/>
                    <a:gd name="connsiteY3" fmla="*/ 3845 h 796660"/>
                    <a:gd name="connsiteX4" fmla="*/ 433638 w 830972"/>
                    <a:gd name="connsiteY4" fmla="*/ 8862 h 796660"/>
                    <a:gd name="connsiteX5" fmla="*/ 529734 w 830972"/>
                    <a:gd name="connsiteY5" fmla="*/ 25643 h 796660"/>
                    <a:gd name="connsiteX6" fmla="*/ 595870 w 830972"/>
                    <a:gd name="connsiteY6" fmla="*/ 30165 h 796660"/>
                    <a:gd name="connsiteX7" fmla="*/ 662890 w 830972"/>
                    <a:gd name="connsiteY7" fmla="*/ 70370 h 796660"/>
                    <a:gd name="connsiteX8" fmla="*/ 730864 w 830972"/>
                    <a:gd name="connsiteY8" fmla="*/ 131455 h 796660"/>
                    <a:gd name="connsiteX9" fmla="*/ 827914 w 830972"/>
                    <a:gd name="connsiteY9" fmla="*/ 271359 h 796660"/>
                    <a:gd name="connsiteX10" fmla="*/ 815372 w 830972"/>
                    <a:gd name="connsiteY10" fmla="*/ 355125 h 796660"/>
                    <a:gd name="connsiteX11" fmla="*/ 802052 w 830972"/>
                    <a:gd name="connsiteY11" fmla="*/ 386992 h 796660"/>
                    <a:gd name="connsiteX12" fmla="*/ 797142 w 830972"/>
                    <a:gd name="connsiteY12" fmla="*/ 450408 h 796660"/>
                    <a:gd name="connsiteX13" fmla="*/ 756584 w 830972"/>
                    <a:gd name="connsiteY13" fmla="*/ 606882 h 796660"/>
                    <a:gd name="connsiteX14" fmla="*/ 720972 w 830972"/>
                    <a:gd name="connsiteY14" fmla="*/ 634474 h 796660"/>
                    <a:gd name="connsiteX15" fmla="*/ 682392 w 830972"/>
                    <a:gd name="connsiteY15" fmla="*/ 684430 h 796660"/>
                    <a:gd name="connsiteX16" fmla="*/ 568526 w 830972"/>
                    <a:gd name="connsiteY16" fmla="*/ 786743 h 796660"/>
                    <a:gd name="connsiteX17" fmla="*/ 485431 w 830972"/>
                    <a:gd name="connsiteY17" fmla="*/ 781868 h 796660"/>
                    <a:gd name="connsiteX18" fmla="*/ 390536 w 830972"/>
                    <a:gd name="connsiteY18" fmla="*/ 786496 h 796660"/>
                    <a:gd name="connsiteX19" fmla="*/ 226714 w 830972"/>
                    <a:gd name="connsiteY19" fmla="*/ 761730 h 796660"/>
                    <a:gd name="connsiteX20" fmla="*/ 126273 w 830972"/>
                    <a:gd name="connsiteY20" fmla="*/ 716650 h 796660"/>
                    <a:gd name="connsiteX21" fmla="*/ 71265 w 830972"/>
                    <a:gd name="connsiteY21" fmla="*/ 686090 h 796660"/>
                    <a:gd name="connsiteX22" fmla="*/ 6082 w 830972"/>
                    <a:gd name="connsiteY22" fmla="*/ 600558 h 796660"/>
                    <a:gd name="connsiteX23" fmla="*/ 960 w 830972"/>
                    <a:gd name="connsiteY23" fmla="*/ 533573 h 796660"/>
                    <a:gd name="connsiteX24" fmla="*/ 3362 w 830972"/>
                    <a:gd name="connsiteY24" fmla="*/ 424971 h 796660"/>
                    <a:gd name="connsiteX25" fmla="*/ 7036 w 830972"/>
                    <a:gd name="connsiteY25" fmla="*/ 300505 h 796660"/>
                    <a:gd name="connsiteX26" fmla="*/ 97091 w 830972"/>
                    <a:gd name="connsiteY26" fmla="*/ 171765 h 796660"/>
                    <a:gd name="connsiteX27" fmla="*/ 127933 w 830972"/>
                    <a:gd name="connsiteY27" fmla="*/ 148978 h 796660"/>
                    <a:gd name="connsiteX28" fmla="*/ 157469 w 830972"/>
                    <a:gd name="connsiteY28" fmla="*/ 124848 h 796660"/>
                    <a:gd name="connsiteX29" fmla="*/ 221450 w 830972"/>
                    <a:gd name="connsiteY29" fmla="*/ 191585 h 796660"/>
                    <a:gd name="connsiteX30" fmla="*/ 225230 w 830972"/>
                    <a:gd name="connsiteY30" fmla="*/ 179220 h 796660"/>
                    <a:gd name="connsiteX31" fmla="*/ 198238 w 830972"/>
                    <a:gd name="connsiteY31" fmla="*/ 152122 h 796660"/>
                    <a:gd name="connsiteX32" fmla="*/ 166796 w 830972"/>
                    <a:gd name="connsiteY32" fmla="*/ 166325 h 796660"/>
                    <a:gd name="connsiteX33" fmla="*/ 95572 w 830972"/>
                    <a:gd name="connsiteY33" fmla="*/ 273867 h 796660"/>
                    <a:gd name="connsiteX34" fmla="*/ 84372 w 830972"/>
                    <a:gd name="connsiteY34" fmla="*/ 297255 h 796660"/>
                    <a:gd name="connsiteX35" fmla="*/ 52823 w 830972"/>
                    <a:gd name="connsiteY35" fmla="*/ 337919 h 796660"/>
                    <a:gd name="connsiteX36" fmla="*/ 56427 w 830972"/>
                    <a:gd name="connsiteY36" fmla="*/ 350390 h 796660"/>
                    <a:gd name="connsiteX37" fmla="*/ 68509 w 830972"/>
                    <a:gd name="connsiteY37" fmla="*/ 365865 h 796660"/>
                    <a:gd name="connsiteX38" fmla="*/ 119737 w 830972"/>
                    <a:gd name="connsiteY38" fmla="*/ 395859 h 796660"/>
                    <a:gd name="connsiteX39" fmla="*/ 162132 w 830972"/>
                    <a:gd name="connsiteY39" fmla="*/ 382717 h 796660"/>
                    <a:gd name="connsiteX40" fmla="*/ 192303 w 830972"/>
                    <a:gd name="connsiteY40" fmla="*/ 366642 h 796660"/>
                    <a:gd name="connsiteX41" fmla="*/ 246534 w 830972"/>
                    <a:gd name="connsiteY41" fmla="*/ 324635 h 796660"/>
                    <a:gd name="connsiteX42" fmla="*/ 284230 w 830972"/>
                    <a:gd name="connsiteY42" fmla="*/ 230059 h 796660"/>
                    <a:gd name="connsiteX43" fmla="*/ 349908 w 830972"/>
                    <a:gd name="connsiteY43" fmla="*/ 84113 h 796660"/>
                    <a:gd name="connsiteX44" fmla="*/ 353370 w 830972"/>
                    <a:gd name="connsiteY44" fmla="*/ 74468 h 796660"/>
                    <a:gd name="connsiteX45" fmla="*/ 359906 w 830972"/>
                    <a:gd name="connsiteY45" fmla="*/ 62845 h 796660"/>
                    <a:gd name="connsiteX46" fmla="*/ 388805 w 830972"/>
                    <a:gd name="connsiteY46" fmla="*/ 31013 h 796660"/>
                    <a:gd name="connsiteX47" fmla="*/ 381881 w 830972"/>
                    <a:gd name="connsiteY47" fmla="*/ 20732 h 796660"/>
                    <a:gd name="connsiteX48" fmla="*/ 341111 w 830972"/>
                    <a:gd name="connsiteY48" fmla="*/ 24866 h 796660"/>
                    <a:gd name="connsiteX49" fmla="*/ 230176 w 830972"/>
                    <a:gd name="connsiteY49" fmla="*/ 74150 h 796660"/>
                    <a:gd name="connsiteX50" fmla="*/ 209261 w 830972"/>
                    <a:gd name="connsiteY50" fmla="*/ 92451 h 796660"/>
                    <a:gd name="connsiteX51" fmla="*/ 212052 w 830972"/>
                    <a:gd name="connsiteY51" fmla="*/ 110857 h 796660"/>
                    <a:gd name="connsiteX52" fmla="*/ 226078 w 830972"/>
                    <a:gd name="connsiteY52" fmla="*/ 114108 h 796660"/>
                    <a:gd name="connsiteX53" fmla="*/ 272678 w 830972"/>
                    <a:gd name="connsiteY53" fmla="*/ 102520 h 796660"/>
                    <a:gd name="connsiteX54" fmla="*/ 267484 w 830972"/>
                    <a:gd name="connsiteY54" fmla="*/ 112129 h 796660"/>
                    <a:gd name="connsiteX55" fmla="*/ 242754 w 830972"/>
                    <a:gd name="connsiteY55" fmla="*/ 161096 h 796660"/>
                    <a:gd name="connsiteX56" fmla="*/ 221415 w 830972"/>
                    <a:gd name="connsiteY56" fmla="*/ 191656 h 796660"/>
                    <a:gd name="connsiteX57" fmla="*/ 105358 w 830972"/>
                    <a:gd name="connsiteY57" fmla="*/ 191726 h 796660"/>
                    <a:gd name="connsiteX58" fmla="*/ 59041 w 830972"/>
                    <a:gd name="connsiteY58" fmla="*/ 237513 h 796660"/>
                    <a:gd name="connsiteX59" fmla="*/ 23888 w 830972"/>
                    <a:gd name="connsiteY59" fmla="*/ 356008 h 796660"/>
                    <a:gd name="connsiteX60" fmla="*/ 28834 w 830972"/>
                    <a:gd name="connsiteY60" fmla="*/ 363816 h 796660"/>
                    <a:gd name="connsiteX61" fmla="*/ 36466 w 830972"/>
                    <a:gd name="connsiteY61" fmla="*/ 358092 h 796660"/>
                    <a:gd name="connsiteX62" fmla="*/ 62892 w 830972"/>
                    <a:gd name="connsiteY62" fmla="*/ 292097 h 796660"/>
                    <a:gd name="connsiteX63" fmla="*/ 99988 w 830972"/>
                    <a:gd name="connsiteY63" fmla="*/ 216068 h 796660"/>
                    <a:gd name="connsiteX64" fmla="*/ 105358 w 830972"/>
                    <a:gd name="connsiteY64" fmla="*/ 191691 h 796660"/>
                    <a:gd name="connsiteX65" fmla="*/ 295182 w 830972"/>
                    <a:gd name="connsiteY65" fmla="*/ 327038 h 796660"/>
                    <a:gd name="connsiteX66" fmla="*/ 354394 w 830972"/>
                    <a:gd name="connsiteY66" fmla="*/ 281922 h 796660"/>
                    <a:gd name="connsiteX67" fmla="*/ 351956 w 830972"/>
                    <a:gd name="connsiteY67" fmla="*/ 253765 h 796660"/>
                    <a:gd name="connsiteX68" fmla="*/ 322492 w 830972"/>
                    <a:gd name="connsiteY68" fmla="*/ 247617 h 796660"/>
                    <a:gd name="connsiteX69" fmla="*/ 309137 w 830972"/>
                    <a:gd name="connsiteY69" fmla="*/ 271535 h 796660"/>
                    <a:gd name="connsiteX70" fmla="*/ 288187 w 830972"/>
                    <a:gd name="connsiteY70" fmla="*/ 297290 h 796660"/>
                    <a:gd name="connsiteX71" fmla="*/ 277165 w 830972"/>
                    <a:gd name="connsiteY71" fmla="*/ 315980 h 796660"/>
                    <a:gd name="connsiteX72" fmla="*/ 295147 w 830972"/>
                    <a:gd name="connsiteY72" fmla="*/ 327038 h 796660"/>
                    <a:gd name="connsiteX73" fmla="*/ 431624 w 830972"/>
                    <a:gd name="connsiteY73" fmla="*/ 76729 h 796660"/>
                    <a:gd name="connsiteX74" fmla="*/ 425760 w 830972"/>
                    <a:gd name="connsiteY74" fmla="*/ 78602 h 796660"/>
                    <a:gd name="connsiteX75" fmla="*/ 374073 w 830972"/>
                    <a:gd name="connsiteY75" fmla="*/ 101389 h 796660"/>
                    <a:gd name="connsiteX76" fmla="*/ 358174 w 830972"/>
                    <a:gd name="connsiteY76" fmla="*/ 110610 h 796660"/>
                    <a:gd name="connsiteX77" fmla="*/ 355596 w 830972"/>
                    <a:gd name="connsiteY77" fmla="*/ 140287 h 796660"/>
                    <a:gd name="connsiteX78" fmla="*/ 382729 w 830972"/>
                    <a:gd name="connsiteY78" fmla="*/ 137143 h 796660"/>
                    <a:gd name="connsiteX79" fmla="*/ 408448 w 830972"/>
                    <a:gd name="connsiteY79" fmla="*/ 123753 h 796660"/>
                    <a:gd name="connsiteX80" fmla="*/ 446462 w 830972"/>
                    <a:gd name="connsiteY80" fmla="*/ 93405 h 796660"/>
                    <a:gd name="connsiteX81" fmla="*/ 431624 w 830972"/>
                    <a:gd name="connsiteY81" fmla="*/ 76694 h 79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30972" h="796660">
                      <a:moveTo>
                        <a:pt x="157469" y="124883"/>
                      </a:moveTo>
                      <a:cubicBezTo>
                        <a:pt x="165983" y="119478"/>
                        <a:pt x="171954" y="111246"/>
                        <a:pt x="176476" y="102979"/>
                      </a:cubicBezTo>
                      <a:cubicBezTo>
                        <a:pt x="192162" y="74292"/>
                        <a:pt x="217316" y="57051"/>
                        <a:pt x="245015" y="42177"/>
                      </a:cubicBezTo>
                      <a:cubicBezTo>
                        <a:pt x="275928" y="25572"/>
                        <a:pt x="307230" y="10593"/>
                        <a:pt x="342171" y="3845"/>
                      </a:cubicBezTo>
                      <a:cubicBezTo>
                        <a:pt x="373331" y="-2161"/>
                        <a:pt x="403714" y="-1596"/>
                        <a:pt x="433638" y="8862"/>
                      </a:cubicBezTo>
                      <a:cubicBezTo>
                        <a:pt x="464799" y="19743"/>
                        <a:pt x="496737" y="25502"/>
                        <a:pt x="529734" y="25643"/>
                      </a:cubicBezTo>
                      <a:cubicBezTo>
                        <a:pt x="551850" y="25749"/>
                        <a:pt x="573825" y="25855"/>
                        <a:pt x="595870" y="30165"/>
                      </a:cubicBezTo>
                      <a:cubicBezTo>
                        <a:pt x="623498" y="35535"/>
                        <a:pt x="645438" y="49702"/>
                        <a:pt x="662890" y="70370"/>
                      </a:cubicBezTo>
                      <a:cubicBezTo>
                        <a:pt x="682816" y="93970"/>
                        <a:pt x="705180" y="114532"/>
                        <a:pt x="730864" y="131455"/>
                      </a:cubicBezTo>
                      <a:cubicBezTo>
                        <a:pt x="781950" y="165159"/>
                        <a:pt x="811097" y="213984"/>
                        <a:pt x="827914" y="271359"/>
                      </a:cubicBezTo>
                      <a:cubicBezTo>
                        <a:pt x="836640" y="301106"/>
                        <a:pt x="824875" y="328027"/>
                        <a:pt x="815372" y="355125"/>
                      </a:cubicBezTo>
                      <a:cubicBezTo>
                        <a:pt x="811556" y="365971"/>
                        <a:pt x="806928" y="376570"/>
                        <a:pt x="802052" y="386992"/>
                      </a:cubicBezTo>
                      <a:cubicBezTo>
                        <a:pt x="792408" y="407589"/>
                        <a:pt x="790641" y="428822"/>
                        <a:pt x="797142" y="450408"/>
                      </a:cubicBezTo>
                      <a:cubicBezTo>
                        <a:pt x="815266" y="510856"/>
                        <a:pt x="797566" y="562155"/>
                        <a:pt x="756584" y="606882"/>
                      </a:cubicBezTo>
                      <a:cubicBezTo>
                        <a:pt x="746586" y="617798"/>
                        <a:pt x="733655" y="626454"/>
                        <a:pt x="720972" y="634474"/>
                      </a:cubicBezTo>
                      <a:cubicBezTo>
                        <a:pt x="701788" y="646592"/>
                        <a:pt x="689564" y="662207"/>
                        <a:pt x="682392" y="684430"/>
                      </a:cubicBezTo>
                      <a:cubicBezTo>
                        <a:pt x="664480" y="739932"/>
                        <a:pt x="628338" y="777416"/>
                        <a:pt x="568526" y="786743"/>
                      </a:cubicBezTo>
                      <a:cubicBezTo>
                        <a:pt x="540686" y="791089"/>
                        <a:pt x="512564" y="788686"/>
                        <a:pt x="485431" y="781868"/>
                      </a:cubicBezTo>
                      <a:cubicBezTo>
                        <a:pt x="452963" y="773707"/>
                        <a:pt x="422262" y="776533"/>
                        <a:pt x="390536" y="786496"/>
                      </a:cubicBezTo>
                      <a:cubicBezTo>
                        <a:pt x="332455" y="804691"/>
                        <a:pt x="276952" y="799638"/>
                        <a:pt x="226714" y="761730"/>
                      </a:cubicBezTo>
                      <a:cubicBezTo>
                        <a:pt x="196755" y="739119"/>
                        <a:pt x="164923" y="720748"/>
                        <a:pt x="126273" y="716650"/>
                      </a:cubicBezTo>
                      <a:cubicBezTo>
                        <a:pt x="104157" y="714318"/>
                        <a:pt x="87375" y="699833"/>
                        <a:pt x="71265" y="686090"/>
                      </a:cubicBezTo>
                      <a:cubicBezTo>
                        <a:pt x="43461" y="662384"/>
                        <a:pt x="16928" y="637053"/>
                        <a:pt x="6082" y="600558"/>
                      </a:cubicBezTo>
                      <a:cubicBezTo>
                        <a:pt x="-383" y="578830"/>
                        <a:pt x="-948" y="556361"/>
                        <a:pt x="960" y="533573"/>
                      </a:cubicBezTo>
                      <a:cubicBezTo>
                        <a:pt x="3963" y="497502"/>
                        <a:pt x="5658" y="461501"/>
                        <a:pt x="3362" y="424971"/>
                      </a:cubicBezTo>
                      <a:cubicBezTo>
                        <a:pt x="748" y="383635"/>
                        <a:pt x="-2715" y="341311"/>
                        <a:pt x="7036" y="300505"/>
                      </a:cubicBezTo>
                      <a:cubicBezTo>
                        <a:pt x="20002" y="246346"/>
                        <a:pt x="51304" y="203703"/>
                        <a:pt x="97091" y="171765"/>
                      </a:cubicBezTo>
                      <a:cubicBezTo>
                        <a:pt x="107583" y="164452"/>
                        <a:pt x="117688" y="156574"/>
                        <a:pt x="127933" y="148978"/>
                      </a:cubicBezTo>
                      <a:cubicBezTo>
                        <a:pt x="143902" y="148413"/>
                        <a:pt x="154748" y="141594"/>
                        <a:pt x="157469" y="124848"/>
                      </a:cubicBezTo>
                      <a:close/>
                      <a:moveTo>
                        <a:pt x="221450" y="191585"/>
                      </a:moveTo>
                      <a:cubicBezTo>
                        <a:pt x="222722" y="187452"/>
                        <a:pt x="224206" y="183389"/>
                        <a:pt x="225230" y="179220"/>
                      </a:cubicBezTo>
                      <a:cubicBezTo>
                        <a:pt x="230282" y="158941"/>
                        <a:pt x="218412" y="146964"/>
                        <a:pt x="198238" y="152122"/>
                      </a:cubicBezTo>
                      <a:cubicBezTo>
                        <a:pt x="186969" y="155019"/>
                        <a:pt x="176971" y="160955"/>
                        <a:pt x="166796" y="166325"/>
                      </a:cubicBezTo>
                      <a:cubicBezTo>
                        <a:pt x="123552" y="189183"/>
                        <a:pt x="95395" y="222110"/>
                        <a:pt x="95572" y="273867"/>
                      </a:cubicBezTo>
                      <a:cubicBezTo>
                        <a:pt x="95572" y="283229"/>
                        <a:pt x="89884" y="290083"/>
                        <a:pt x="84372" y="297255"/>
                      </a:cubicBezTo>
                      <a:cubicBezTo>
                        <a:pt x="73915" y="310857"/>
                        <a:pt x="59394" y="321244"/>
                        <a:pt x="52823" y="337919"/>
                      </a:cubicBezTo>
                      <a:cubicBezTo>
                        <a:pt x="50668" y="343431"/>
                        <a:pt x="48725" y="348977"/>
                        <a:pt x="56427" y="350390"/>
                      </a:cubicBezTo>
                      <a:cubicBezTo>
                        <a:pt x="65648" y="352086"/>
                        <a:pt x="66990" y="359293"/>
                        <a:pt x="68509" y="365865"/>
                      </a:cubicBezTo>
                      <a:cubicBezTo>
                        <a:pt x="74515" y="391549"/>
                        <a:pt x="94971" y="404798"/>
                        <a:pt x="119737" y="395859"/>
                      </a:cubicBezTo>
                      <a:cubicBezTo>
                        <a:pt x="133763" y="390807"/>
                        <a:pt x="147576" y="385826"/>
                        <a:pt x="162132" y="382717"/>
                      </a:cubicBezTo>
                      <a:cubicBezTo>
                        <a:pt x="173508" y="380279"/>
                        <a:pt x="181387" y="370917"/>
                        <a:pt x="192303" y="366642"/>
                      </a:cubicBezTo>
                      <a:cubicBezTo>
                        <a:pt x="214137" y="358092"/>
                        <a:pt x="233603" y="346186"/>
                        <a:pt x="246534" y="324635"/>
                      </a:cubicBezTo>
                      <a:cubicBezTo>
                        <a:pt x="264305" y="294994"/>
                        <a:pt x="275610" y="262986"/>
                        <a:pt x="284230" y="230059"/>
                      </a:cubicBezTo>
                      <a:cubicBezTo>
                        <a:pt x="297974" y="177630"/>
                        <a:pt x="312741" y="125943"/>
                        <a:pt x="349908" y="84113"/>
                      </a:cubicBezTo>
                      <a:cubicBezTo>
                        <a:pt x="352169" y="81605"/>
                        <a:pt x="354854" y="77825"/>
                        <a:pt x="353370" y="74468"/>
                      </a:cubicBezTo>
                      <a:cubicBezTo>
                        <a:pt x="350084" y="67014"/>
                        <a:pt x="355242" y="65530"/>
                        <a:pt x="359906" y="62845"/>
                      </a:cubicBezTo>
                      <a:cubicBezTo>
                        <a:pt x="372872" y="55320"/>
                        <a:pt x="382905" y="45216"/>
                        <a:pt x="388805" y="31013"/>
                      </a:cubicBezTo>
                      <a:cubicBezTo>
                        <a:pt x="392197" y="22887"/>
                        <a:pt x="389865" y="21015"/>
                        <a:pt x="381881" y="20732"/>
                      </a:cubicBezTo>
                      <a:cubicBezTo>
                        <a:pt x="368032" y="20238"/>
                        <a:pt x="354536" y="22463"/>
                        <a:pt x="341111" y="24866"/>
                      </a:cubicBezTo>
                      <a:cubicBezTo>
                        <a:pt x="300164" y="32179"/>
                        <a:pt x="266036" y="55178"/>
                        <a:pt x="230176" y="74150"/>
                      </a:cubicBezTo>
                      <a:cubicBezTo>
                        <a:pt x="221768" y="78602"/>
                        <a:pt x="215762" y="85844"/>
                        <a:pt x="209261" y="92451"/>
                      </a:cubicBezTo>
                      <a:cubicBezTo>
                        <a:pt x="201984" y="99799"/>
                        <a:pt x="204174" y="105805"/>
                        <a:pt x="212052" y="110857"/>
                      </a:cubicBezTo>
                      <a:cubicBezTo>
                        <a:pt x="216327" y="113613"/>
                        <a:pt x="221168" y="113578"/>
                        <a:pt x="226078" y="114108"/>
                      </a:cubicBezTo>
                      <a:cubicBezTo>
                        <a:pt x="242612" y="115874"/>
                        <a:pt x="257874" y="111493"/>
                        <a:pt x="272678" y="102520"/>
                      </a:cubicBezTo>
                      <a:cubicBezTo>
                        <a:pt x="273278" y="109515"/>
                        <a:pt x="269604" y="110116"/>
                        <a:pt x="267484" y="112129"/>
                      </a:cubicBezTo>
                      <a:cubicBezTo>
                        <a:pt x="253353" y="125519"/>
                        <a:pt x="239857" y="140711"/>
                        <a:pt x="242754" y="161096"/>
                      </a:cubicBezTo>
                      <a:cubicBezTo>
                        <a:pt x="245333" y="179255"/>
                        <a:pt x="233851" y="184873"/>
                        <a:pt x="221415" y="191656"/>
                      </a:cubicBezTo>
                      <a:close/>
                      <a:moveTo>
                        <a:pt x="105358" y="191726"/>
                      </a:moveTo>
                      <a:cubicBezTo>
                        <a:pt x="86351" y="205187"/>
                        <a:pt x="71336" y="220131"/>
                        <a:pt x="59041" y="237513"/>
                      </a:cubicBezTo>
                      <a:cubicBezTo>
                        <a:pt x="33993" y="272949"/>
                        <a:pt x="21345" y="312270"/>
                        <a:pt x="23888" y="356008"/>
                      </a:cubicBezTo>
                      <a:cubicBezTo>
                        <a:pt x="24100" y="359576"/>
                        <a:pt x="23747" y="363498"/>
                        <a:pt x="28834" y="363816"/>
                      </a:cubicBezTo>
                      <a:cubicBezTo>
                        <a:pt x="32933" y="364098"/>
                        <a:pt x="36183" y="362155"/>
                        <a:pt x="36466" y="358092"/>
                      </a:cubicBezTo>
                      <a:cubicBezTo>
                        <a:pt x="38267" y="333291"/>
                        <a:pt x="53035" y="313577"/>
                        <a:pt x="62892" y="292097"/>
                      </a:cubicBezTo>
                      <a:cubicBezTo>
                        <a:pt x="74657" y="266519"/>
                        <a:pt x="81016" y="238326"/>
                        <a:pt x="99988" y="216068"/>
                      </a:cubicBezTo>
                      <a:cubicBezTo>
                        <a:pt x="104863" y="210310"/>
                        <a:pt x="107442" y="202043"/>
                        <a:pt x="105358" y="191691"/>
                      </a:cubicBezTo>
                      <a:close/>
                      <a:moveTo>
                        <a:pt x="295182" y="327038"/>
                      </a:moveTo>
                      <a:cubicBezTo>
                        <a:pt x="319241" y="327144"/>
                        <a:pt x="346233" y="305840"/>
                        <a:pt x="354394" y="281922"/>
                      </a:cubicBezTo>
                      <a:cubicBezTo>
                        <a:pt x="357857" y="271818"/>
                        <a:pt x="356337" y="262703"/>
                        <a:pt x="351956" y="253765"/>
                      </a:cubicBezTo>
                      <a:cubicBezTo>
                        <a:pt x="345491" y="240587"/>
                        <a:pt x="333833" y="238502"/>
                        <a:pt x="322492" y="247617"/>
                      </a:cubicBezTo>
                      <a:cubicBezTo>
                        <a:pt x="314684" y="253906"/>
                        <a:pt x="311716" y="262844"/>
                        <a:pt x="309137" y="271535"/>
                      </a:cubicBezTo>
                      <a:cubicBezTo>
                        <a:pt x="305604" y="283406"/>
                        <a:pt x="299245" y="291850"/>
                        <a:pt x="288187" y="297290"/>
                      </a:cubicBezTo>
                      <a:cubicBezTo>
                        <a:pt x="280697" y="300965"/>
                        <a:pt x="274126" y="306511"/>
                        <a:pt x="277165" y="315980"/>
                      </a:cubicBezTo>
                      <a:cubicBezTo>
                        <a:pt x="279885" y="324529"/>
                        <a:pt x="286774" y="328345"/>
                        <a:pt x="295147" y="327038"/>
                      </a:cubicBezTo>
                      <a:close/>
                      <a:moveTo>
                        <a:pt x="431624" y="76729"/>
                      </a:moveTo>
                      <a:cubicBezTo>
                        <a:pt x="430635" y="77012"/>
                        <a:pt x="427738" y="77153"/>
                        <a:pt x="425760" y="78602"/>
                      </a:cubicBezTo>
                      <a:cubicBezTo>
                        <a:pt x="410144" y="89907"/>
                        <a:pt x="392126" y="95595"/>
                        <a:pt x="374073" y="101389"/>
                      </a:cubicBezTo>
                      <a:cubicBezTo>
                        <a:pt x="368243" y="103262"/>
                        <a:pt x="362732" y="106123"/>
                        <a:pt x="358174" y="110610"/>
                      </a:cubicBezTo>
                      <a:cubicBezTo>
                        <a:pt x="349943" y="118736"/>
                        <a:pt x="348565" y="132444"/>
                        <a:pt x="355596" y="140287"/>
                      </a:cubicBezTo>
                      <a:cubicBezTo>
                        <a:pt x="363015" y="148554"/>
                        <a:pt x="372872" y="147671"/>
                        <a:pt x="382729" y="137143"/>
                      </a:cubicBezTo>
                      <a:cubicBezTo>
                        <a:pt x="389830" y="129511"/>
                        <a:pt x="396860" y="124565"/>
                        <a:pt x="408448" y="123753"/>
                      </a:cubicBezTo>
                      <a:cubicBezTo>
                        <a:pt x="430812" y="122234"/>
                        <a:pt x="443283" y="110822"/>
                        <a:pt x="446462" y="93405"/>
                      </a:cubicBezTo>
                      <a:cubicBezTo>
                        <a:pt x="448300" y="83336"/>
                        <a:pt x="442894" y="76517"/>
                        <a:pt x="431624" y="76694"/>
                      </a:cubicBezTo>
                      <a:close/>
                    </a:path>
                  </a:pathLst>
                </a:custGeom>
                <a:solidFill>
                  <a:srgbClr val="DB90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09" name="Oval 4308">
                  <a:extLst>
                    <a:ext uri="{FF2B5EF4-FFF2-40B4-BE49-F238E27FC236}">
                      <a16:creationId xmlns:a16="http://schemas.microsoft.com/office/drawing/2014/main" id="{1978A962-7C7E-37D4-98C9-2BE8B3B68BA8}"/>
                    </a:ext>
                  </a:extLst>
                </p:cNvPr>
                <p:cNvSpPr/>
                <p:nvPr/>
              </p:nvSpPr>
              <p:spPr>
                <a:xfrm rot="20087050">
                  <a:off x="5775656" y="2753540"/>
                  <a:ext cx="230533" cy="203969"/>
                </a:xfrm>
                <a:prstGeom prst="ellipse">
                  <a:avLst/>
                </a:prstGeom>
                <a:solidFill>
                  <a:srgbClr val="DB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260" name="Freeform: Shape 4259">
                <a:extLst>
                  <a:ext uri="{FF2B5EF4-FFF2-40B4-BE49-F238E27FC236}">
                    <a16:creationId xmlns:a16="http://schemas.microsoft.com/office/drawing/2014/main" id="{0928C41B-0A61-26D2-1A49-9CC8321DE376}"/>
                  </a:ext>
                </a:extLst>
              </p:cNvPr>
              <p:cNvSpPr/>
              <p:nvPr/>
            </p:nvSpPr>
            <p:spPr>
              <a:xfrm rot="12600000">
                <a:off x="5996588" y="2370531"/>
                <a:ext cx="143134" cy="81171"/>
              </a:xfrm>
              <a:custGeom>
                <a:avLst/>
                <a:gdLst>
                  <a:gd name="connsiteX0" fmla="*/ 76130 w 186456"/>
                  <a:gd name="connsiteY0" fmla="*/ 69281 h 105739"/>
                  <a:gd name="connsiteX1" fmla="*/ 108809 w 186456"/>
                  <a:gd name="connsiteY1" fmla="*/ 48119 h 105739"/>
                  <a:gd name="connsiteX2" fmla="*/ 164806 w 186456"/>
                  <a:gd name="connsiteY2" fmla="*/ 62533 h 105739"/>
                  <a:gd name="connsiteX3" fmla="*/ 179221 w 186456"/>
                  <a:gd name="connsiteY3" fmla="*/ 84190 h 105739"/>
                  <a:gd name="connsiteX4" fmla="*/ 183743 w 186456"/>
                  <a:gd name="connsiteY4" fmla="*/ 100371 h 105739"/>
                  <a:gd name="connsiteX5" fmla="*/ 166008 w 186456"/>
                  <a:gd name="connsiteY5" fmla="*/ 104257 h 105739"/>
                  <a:gd name="connsiteX6" fmla="*/ 147460 w 186456"/>
                  <a:gd name="connsiteY6" fmla="*/ 79456 h 105739"/>
                  <a:gd name="connsiteX7" fmla="*/ 115557 w 186456"/>
                  <a:gd name="connsiteY7" fmla="*/ 69776 h 105739"/>
                  <a:gd name="connsiteX8" fmla="*/ 93900 w 186456"/>
                  <a:gd name="connsiteY8" fmla="*/ 86698 h 105739"/>
                  <a:gd name="connsiteX9" fmla="*/ 61327 w 186456"/>
                  <a:gd name="connsiteY9" fmla="*/ 88748 h 105739"/>
                  <a:gd name="connsiteX10" fmla="*/ 52000 w 186456"/>
                  <a:gd name="connsiteY10" fmla="*/ 57375 h 105739"/>
                  <a:gd name="connsiteX11" fmla="*/ 52212 w 186456"/>
                  <a:gd name="connsiteY11" fmla="*/ 54867 h 105739"/>
                  <a:gd name="connsiteX12" fmla="*/ 54119 w 186456"/>
                  <a:gd name="connsiteY12" fmla="*/ 23176 h 105739"/>
                  <a:gd name="connsiteX13" fmla="*/ 23701 w 186456"/>
                  <a:gd name="connsiteY13" fmla="*/ 43067 h 105739"/>
                  <a:gd name="connsiteX14" fmla="*/ 4093 w 186456"/>
                  <a:gd name="connsiteY14" fmla="*/ 52570 h 105739"/>
                  <a:gd name="connsiteX15" fmla="*/ 5789 w 186456"/>
                  <a:gd name="connsiteY15" fmla="*/ 30030 h 105739"/>
                  <a:gd name="connsiteX16" fmla="*/ 40058 w 186456"/>
                  <a:gd name="connsiteY16" fmla="*/ 2509 h 105739"/>
                  <a:gd name="connsiteX17" fmla="*/ 80546 w 186456"/>
                  <a:gd name="connsiteY17" fmla="*/ 37379 h 105739"/>
                  <a:gd name="connsiteX18" fmla="*/ 76059 w 186456"/>
                  <a:gd name="connsiteY18" fmla="*/ 69316 h 1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456" h="105739">
                    <a:moveTo>
                      <a:pt x="76130" y="69281"/>
                    </a:moveTo>
                    <a:cubicBezTo>
                      <a:pt x="91286" y="68362"/>
                      <a:pt x="98917" y="56174"/>
                      <a:pt x="108809" y="48119"/>
                    </a:cubicBezTo>
                    <a:cubicBezTo>
                      <a:pt x="132515" y="28794"/>
                      <a:pt x="153784" y="34022"/>
                      <a:pt x="164806" y="62533"/>
                    </a:cubicBezTo>
                    <a:cubicBezTo>
                      <a:pt x="167951" y="70694"/>
                      <a:pt x="168198" y="80233"/>
                      <a:pt x="179221" y="84190"/>
                    </a:cubicBezTo>
                    <a:cubicBezTo>
                      <a:pt x="185403" y="86380"/>
                      <a:pt x="189396" y="92669"/>
                      <a:pt x="183743" y="100371"/>
                    </a:cubicBezTo>
                    <a:cubicBezTo>
                      <a:pt x="178761" y="107189"/>
                      <a:pt x="172826" y="106306"/>
                      <a:pt x="166008" y="104257"/>
                    </a:cubicBezTo>
                    <a:cubicBezTo>
                      <a:pt x="153607" y="100512"/>
                      <a:pt x="151063" y="89489"/>
                      <a:pt x="147460" y="79456"/>
                    </a:cubicBezTo>
                    <a:cubicBezTo>
                      <a:pt x="138698" y="55185"/>
                      <a:pt x="135872" y="54195"/>
                      <a:pt x="115557" y="69776"/>
                    </a:cubicBezTo>
                    <a:cubicBezTo>
                      <a:pt x="108279" y="75358"/>
                      <a:pt x="101390" y="81434"/>
                      <a:pt x="93900" y="86698"/>
                    </a:cubicBezTo>
                    <a:cubicBezTo>
                      <a:pt x="83620" y="93906"/>
                      <a:pt x="71996" y="95672"/>
                      <a:pt x="61327" y="88748"/>
                    </a:cubicBezTo>
                    <a:cubicBezTo>
                      <a:pt x="50127" y="81434"/>
                      <a:pt x="48997" y="69670"/>
                      <a:pt x="52000" y="57375"/>
                    </a:cubicBezTo>
                    <a:cubicBezTo>
                      <a:pt x="52212" y="56562"/>
                      <a:pt x="52070" y="55715"/>
                      <a:pt x="52212" y="54867"/>
                    </a:cubicBezTo>
                    <a:cubicBezTo>
                      <a:pt x="53978" y="44021"/>
                      <a:pt x="66520" y="29818"/>
                      <a:pt x="54119" y="23176"/>
                    </a:cubicBezTo>
                    <a:cubicBezTo>
                      <a:pt x="38857" y="14980"/>
                      <a:pt x="32604" y="34305"/>
                      <a:pt x="23701" y="43067"/>
                    </a:cubicBezTo>
                    <a:cubicBezTo>
                      <a:pt x="17836" y="48861"/>
                      <a:pt x="13102" y="59177"/>
                      <a:pt x="4093" y="52570"/>
                    </a:cubicBezTo>
                    <a:cubicBezTo>
                      <a:pt x="-3856" y="46706"/>
                      <a:pt x="1479" y="37485"/>
                      <a:pt x="5789" y="30030"/>
                    </a:cubicBezTo>
                    <a:cubicBezTo>
                      <a:pt x="13667" y="16393"/>
                      <a:pt x="26068" y="7596"/>
                      <a:pt x="40058" y="2509"/>
                    </a:cubicBezTo>
                    <a:cubicBezTo>
                      <a:pt x="65460" y="-6748"/>
                      <a:pt x="84821" y="10670"/>
                      <a:pt x="80546" y="37379"/>
                    </a:cubicBezTo>
                    <a:cubicBezTo>
                      <a:pt x="78885" y="47730"/>
                      <a:pt x="72031" y="57375"/>
                      <a:pt x="76059" y="69316"/>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61" name="Oval 4260">
                <a:extLst>
                  <a:ext uri="{FF2B5EF4-FFF2-40B4-BE49-F238E27FC236}">
                    <a16:creationId xmlns:a16="http://schemas.microsoft.com/office/drawing/2014/main" id="{9AFA586D-5A16-D8E9-AB49-683DB1DA30AD}"/>
                  </a:ext>
                </a:extLst>
              </p:cNvPr>
              <p:cNvSpPr/>
              <p:nvPr/>
            </p:nvSpPr>
            <p:spPr>
              <a:xfrm rot="19898347">
                <a:off x="5895249" y="2171033"/>
                <a:ext cx="214511" cy="139931"/>
              </a:xfrm>
              <a:prstGeom prst="ellipse">
                <a:avLst/>
              </a:prstGeom>
              <a:solidFill>
                <a:srgbClr val="DB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262" name="Group 4261">
                <a:extLst>
                  <a:ext uri="{FF2B5EF4-FFF2-40B4-BE49-F238E27FC236}">
                    <a16:creationId xmlns:a16="http://schemas.microsoft.com/office/drawing/2014/main" id="{19162E04-8F60-BC93-2729-78AFE8FF1E77}"/>
                  </a:ext>
                </a:extLst>
              </p:cNvPr>
              <p:cNvGrpSpPr/>
              <p:nvPr/>
            </p:nvGrpSpPr>
            <p:grpSpPr>
              <a:xfrm rot="12178551">
                <a:off x="5874224" y="2159526"/>
                <a:ext cx="165708" cy="167998"/>
                <a:chOff x="7023864" y="4381061"/>
                <a:chExt cx="1454089" cy="1773897"/>
              </a:xfrm>
            </p:grpSpPr>
            <p:sp>
              <p:nvSpPr>
                <p:cNvPr id="4287" name="Freeform: Shape 4286">
                  <a:extLst>
                    <a:ext uri="{FF2B5EF4-FFF2-40B4-BE49-F238E27FC236}">
                      <a16:creationId xmlns:a16="http://schemas.microsoft.com/office/drawing/2014/main" id="{97AE8DE9-73B3-E6E8-493D-34AA4AE07BAE}"/>
                    </a:ext>
                  </a:extLst>
                </p:cNvPr>
                <p:cNvSpPr/>
                <p:nvPr/>
              </p:nvSpPr>
              <p:spPr>
                <a:xfrm>
                  <a:off x="7713974"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88" name="Freeform: Shape 4287">
                  <a:extLst>
                    <a:ext uri="{FF2B5EF4-FFF2-40B4-BE49-F238E27FC236}">
                      <a16:creationId xmlns:a16="http://schemas.microsoft.com/office/drawing/2014/main" id="{67CF13A0-B006-3BE7-ACF8-14966D201301}"/>
                    </a:ext>
                  </a:extLst>
                </p:cNvPr>
                <p:cNvSpPr/>
                <p:nvPr/>
              </p:nvSpPr>
              <p:spPr>
                <a:xfrm flipH="1">
                  <a:off x="7347876" y="4846795"/>
                  <a:ext cx="156511" cy="359911"/>
                </a:xfrm>
                <a:custGeom>
                  <a:avLst/>
                  <a:gdLst>
                    <a:gd name="connsiteX0" fmla="*/ 298884 w 350931"/>
                    <a:gd name="connsiteY0" fmla="*/ 177 h 806997"/>
                    <a:gd name="connsiteX1" fmla="*/ 266318 w 350931"/>
                    <a:gd name="connsiteY1" fmla="*/ 17072 h 806997"/>
                    <a:gd name="connsiteX2" fmla="*/ 11815 w 350931"/>
                    <a:gd name="connsiteY2" fmla="*/ 319515 h 806997"/>
                    <a:gd name="connsiteX3" fmla="*/ 733 w 350931"/>
                    <a:gd name="connsiteY3" fmla="*/ 354489 h 806997"/>
                    <a:gd name="connsiteX4" fmla="*/ 1557 w 350931"/>
                    <a:gd name="connsiteY4" fmla="*/ 356077 h 806997"/>
                    <a:gd name="connsiteX5" fmla="*/ 0 w 350931"/>
                    <a:gd name="connsiteY5" fmla="*/ 363786 h 806997"/>
                    <a:gd name="connsiteX6" fmla="*/ 0 w 350931"/>
                    <a:gd name="connsiteY6" fmla="*/ 759062 h 806997"/>
                    <a:gd name="connsiteX7" fmla="*/ 47935 w 350931"/>
                    <a:gd name="connsiteY7" fmla="*/ 806997 h 806997"/>
                    <a:gd name="connsiteX8" fmla="*/ 95870 w 350931"/>
                    <a:gd name="connsiteY8" fmla="*/ 759062 h 806997"/>
                    <a:gd name="connsiteX9" fmla="*/ 95870 w 350931"/>
                    <a:gd name="connsiteY9" fmla="*/ 368524 h 806997"/>
                    <a:gd name="connsiteX10" fmla="*/ 339672 w 350931"/>
                    <a:gd name="connsiteY10" fmla="*/ 78799 h 806997"/>
                    <a:gd name="connsiteX11" fmla="*/ 333858 w 350931"/>
                    <a:gd name="connsiteY11" fmla="*/ 11259 h 806997"/>
                    <a:gd name="connsiteX12" fmla="*/ 298884 w 350931"/>
                    <a:gd name="connsiteY12" fmla="*/ 177 h 8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931" h="806997">
                      <a:moveTo>
                        <a:pt x="298884" y="177"/>
                      </a:moveTo>
                      <a:cubicBezTo>
                        <a:pt x="286662" y="1229"/>
                        <a:pt x="274840" y="6944"/>
                        <a:pt x="266318" y="17072"/>
                      </a:cubicBezTo>
                      <a:lnTo>
                        <a:pt x="11815" y="319515"/>
                      </a:lnTo>
                      <a:cubicBezTo>
                        <a:pt x="3292" y="329643"/>
                        <a:pt x="-319" y="342267"/>
                        <a:pt x="733" y="354489"/>
                      </a:cubicBezTo>
                      <a:lnTo>
                        <a:pt x="1557" y="356077"/>
                      </a:lnTo>
                      <a:lnTo>
                        <a:pt x="0" y="363786"/>
                      </a:lnTo>
                      <a:lnTo>
                        <a:pt x="0" y="759062"/>
                      </a:lnTo>
                      <a:cubicBezTo>
                        <a:pt x="0" y="785536"/>
                        <a:pt x="21461" y="806997"/>
                        <a:pt x="47935" y="806997"/>
                      </a:cubicBezTo>
                      <a:cubicBezTo>
                        <a:pt x="74409" y="806997"/>
                        <a:pt x="95870" y="785536"/>
                        <a:pt x="95870" y="759062"/>
                      </a:cubicBezTo>
                      <a:lnTo>
                        <a:pt x="95870" y="368524"/>
                      </a:lnTo>
                      <a:lnTo>
                        <a:pt x="339672" y="78799"/>
                      </a:lnTo>
                      <a:cubicBezTo>
                        <a:pt x="356718" y="58543"/>
                        <a:pt x="354115" y="28304"/>
                        <a:pt x="333858" y="11259"/>
                      </a:cubicBezTo>
                      <a:cubicBezTo>
                        <a:pt x="323730" y="2736"/>
                        <a:pt x="311106" y="-875"/>
                        <a:pt x="298884" y="177"/>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89" name="Rectangle: Rounded Corners 4288">
                  <a:extLst>
                    <a:ext uri="{FF2B5EF4-FFF2-40B4-BE49-F238E27FC236}">
                      <a16:creationId xmlns:a16="http://schemas.microsoft.com/office/drawing/2014/main" id="{ABC574F5-94BD-37DC-6E99-24F137E83724}"/>
                    </a:ext>
                  </a:extLst>
                </p:cNvPr>
                <p:cNvSpPr/>
                <p:nvPr/>
              </p:nvSpPr>
              <p:spPr>
                <a:xfrm>
                  <a:off x="7491877" y="5024989"/>
                  <a:ext cx="240613" cy="38953"/>
                </a:xfrm>
                <a:prstGeom prst="roundRect">
                  <a:avLst/>
                </a:prstGeom>
                <a:gradFill>
                  <a:gsLst>
                    <a:gs pos="49000">
                      <a:srgbClr val="EE331F"/>
                    </a:gs>
                    <a:gs pos="39000">
                      <a:schemeClr val="accent6"/>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90" name="Freeform: Shape 4289">
                  <a:extLst>
                    <a:ext uri="{FF2B5EF4-FFF2-40B4-BE49-F238E27FC236}">
                      <a16:creationId xmlns:a16="http://schemas.microsoft.com/office/drawing/2014/main" id="{6E054A00-1310-43A4-A770-7B0CF13D71FB}"/>
                    </a:ext>
                  </a:extLst>
                </p:cNvPr>
                <p:cNvSpPr/>
                <p:nvPr/>
              </p:nvSpPr>
              <p:spPr>
                <a:xfrm>
                  <a:off x="7659471"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91" name="Freeform: Shape 4290">
                  <a:extLst>
                    <a:ext uri="{FF2B5EF4-FFF2-40B4-BE49-F238E27FC236}">
                      <a16:creationId xmlns:a16="http://schemas.microsoft.com/office/drawing/2014/main" id="{05C64A49-D531-5A06-63A6-D9EB0B55BD5A}"/>
                    </a:ext>
                  </a:extLst>
                </p:cNvPr>
                <p:cNvSpPr/>
                <p:nvPr/>
              </p:nvSpPr>
              <p:spPr>
                <a:xfrm>
                  <a:off x="7659471"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92" name="Freeform: Shape 4291">
                  <a:extLst>
                    <a:ext uri="{FF2B5EF4-FFF2-40B4-BE49-F238E27FC236}">
                      <a16:creationId xmlns:a16="http://schemas.microsoft.com/office/drawing/2014/main" id="{0B3296A7-2189-B8AB-F783-19FDD0B2C7B8}"/>
                    </a:ext>
                  </a:extLst>
                </p:cNvPr>
                <p:cNvSpPr/>
                <p:nvPr/>
              </p:nvSpPr>
              <p:spPr>
                <a:xfrm>
                  <a:off x="7389718" y="5509638"/>
                  <a:ext cx="173750" cy="645320"/>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93" name="Freeform: Shape 4292">
                  <a:extLst>
                    <a:ext uri="{FF2B5EF4-FFF2-40B4-BE49-F238E27FC236}">
                      <a16:creationId xmlns:a16="http://schemas.microsoft.com/office/drawing/2014/main" id="{2D7C3992-0599-2FDE-FEE7-4911279E2764}"/>
                    </a:ext>
                  </a:extLst>
                </p:cNvPr>
                <p:cNvSpPr/>
                <p:nvPr/>
              </p:nvSpPr>
              <p:spPr>
                <a:xfrm>
                  <a:off x="7389718" y="5139676"/>
                  <a:ext cx="173750" cy="36996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94" name="Rectangle: Rounded Corners 4293">
                  <a:extLst>
                    <a:ext uri="{FF2B5EF4-FFF2-40B4-BE49-F238E27FC236}">
                      <a16:creationId xmlns:a16="http://schemas.microsoft.com/office/drawing/2014/main" id="{EA40FF0B-0D4E-9D50-EF6E-7444F681766F}"/>
                    </a:ext>
                  </a:extLst>
                </p:cNvPr>
                <p:cNvSpPr/>
                <p:nvPr/>
              </p:nvSpPr>
              <p:spPr>
                <a:xfrm rot="18838513">
                  <a:off x="7192896" y="4890609"/>
                  <a:ext cx="202655" cy="48408"/>
                </a:xfrm>
                <a:prstGeom prst="round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295" name="Group 4294">
                  <a:extLst>
                    <a:ext uri="{FF2B5EF4-FFF2-40B4-BE49-F238E27FC236}">
                      <a16:creationId xmlns:a16="http://schemas.microsoft.com/office/drawing/2014/main" id="{1F2B6C1E-2018-55BF-42F5-5025459767B9}"/>
                    </a:ext>
                  </a:extLst>
                </p:cNvPr>
                <p:cNvGrpSpPr/>
                <p:nvPr/>
              </p:nvGrpSpPr>
              <p:grpSpPr>
                <a:xfrm rot="18900000">
                  <a:off x="7023864" y="4541844"/>
                  <a:ext cx="155034" cy="650324"/>
                  <a:chOff x="1687853" y="3177376"/>
                  <a:chExt cx="389584" cy="2276476"/>
                </a:xfrm>
              </p:grpSpPr>
              <p:sp>
                <p:nvSpPr>
                  <p:cNvPr id="4306" name="Freeform: Shape 4305">
                    <a:extLst>
                      <a:ext uri="{FF2B5EF4-FFF2-40B4-BE49-F238E27FC236}">
                        <a16:creationId xmlns:a16="http://schemas.microsoft.com/office/drawing/2014/main" id="{BE3AB487-8A0D-0722-116A-3DBAC5E2EFC9}"/>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07" name="Freeform: Shape 4306">
                    <a:extLst>
                      <a:ext uri="{FF2B5EF4-FFF2-40B4-BE49-F238E27FC236}">
                        <a16:creationId xmlns:a16="http://schemas.microsoft.com/office/drawing/2014/main" id="{1CFB4B95-DBDA-8758-2C02-278C02826359}"/>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296" name="Group 4295">
                  <a:extLst>
                    <a:ext uri="{FF2B5EF4-FFF2-40B4-BE49-F238E27FC236}">
                      <a16:creationId xmlns:a16="http://schemas.microsoft.com/office/drawing/2014/main" id="{D07DBA05-2D32-9A27-F852-E0993D66A092}"/>
                    </a:ext>
                  </a:extLst>
                </p:cNvPr>
                <p:cNvGrpSpPr/>
                <p:nvPr/>
              </p:nvGrpSpPr>
              <p:grpSpPr>
                <a:xfrm rot="18900000">
                  <a:off x="7159822" y="4381061"/>
                  <a:ext cx="155034" cy="650324"/>
                  <a:chOff x="1687853" y="3177376"/>
                  <a:chExt cx="389584" cy="2276476"/>
                </a:xfrm>
              </p:grpSpPr>
              <p:sp>
                <p:nvSpPr>
                  <p:cNvPr id="4304" name="Freeform: Shape 4303">
                    <a:extLst>
                      <a:ext uri="{FF2B5EF4-FFF2-40B4-BE49-F238E27FC236}">
                        <a16:creationId xmlns:a16="http://schemas.microsoft.com/office/drawing/2014/main" id="{1203D49E-73E7-52B2-674D-1510E2B57737}"/>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05" name="Freeform: Shape 4304">
                    <a:extLst>
                      <a:ext uri="{FF2B5EF4-FFF2-40B4-BE49-F238E27FC236}">
                        <a16:creationId xmlns:a16="http://schemas.microsoft.com/office/drawing/2014/main" id="{29C9C3D6-1CB5-5B5A-2545-6A216FEB8214}"/>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297" name="Rectangle: Rounded Corners 4296">
                  <a:extLst>
                    <a:ext uri="{FF2B5EF4-FFF2-40B4-BE49-F238E27FC236}">
                      <a16:creationId xmlns:a16="http://schemas.microsoft.com/office/drawing/2014/main" id="{703DCED1-2C87-5CED-28F4-7098DB24C07E}"/>
                    </a:ext>
                  </a:extLst>
                </p:cNvPr>
                <p:cNvSpPr/>
                <p:nvPr/>
              </p:nvSpPr>
              <p:spPr>
                <a:xfrm rot="2700000">
                  <a:off x="7823696" y="4883637"/>
                  <a:ext cx="202655" cy="48408"/>
                </a:xfrm>
                <a:prstGeom prst="round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298" name="Group 4297">
                  <a:extLst>
                    <a:ext uri="{FF2B5EF4-FFF2-40B4-BE49-F238E27FC236}">
                      <a16:creationId xmlns:a16="http://schemas.microsoft.com/office/drawing/2014/main" id="{B6E0D937-7BCE-8CD2-6A8D-8490DAF641A3}"/>
                    </a:ext>
                  </a:extLst>
                </p:cNvPr>
                <p:cNvGrpSpPr/>
                <p:nvPr/>
              </p:nvGrpSpPr>
              <p:grpSpPr>
                <a:xfrm rot="2700000" flipH="1">
                  <a:off x="8075274" y="4531570"/>
                  <a:ext cx="155034" cy="650324"/>
                  <a:chOff x="1687853" y="3177376"/>
                  <a:chExt cx="389584" cy="2276476"/>
                </a:xfrm>
              </p:grpSpPr>
              <p:sp>
                <p:nvSpPr>
                  <p:cNvPr id="4302" name="Freeform: Shape 4301">
                    <a:extLst>
                      <a:ext uri="{FF2B5EF4-FFF2-40B4-BE49-F238E27FC236}">
                        <a16:creationId xmlns:a16="http://schemas.microsoft.com/office/drawing/2014/main" id="{B2E73AEB-F9C3-5B52-4049-5FB71F8D3A2B}"/>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03" name="Freeform: Shape 4302">
                    <a:extLst>
                      <a:ext uri="{FF2B5EF4-FFF2-40B4-BE49-F238E27FC236}">
                        <a16:creationId xmlns:a16="http://schemas.microsoft.com/office/drawing/2014/main" id="{B489236C-E42D-62FF-4B3C-06AF3E0433F8}"/>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299" name="Group 4298">
                  <a:extLst>
                    <a:ext uri="{FF2B5EF4-FFF2-40B4-BE49-F238E27FC236}">
                      <a16:creationId xmlns:a16="http://schemas.microsoft.com/office/drawing/2014/main" id="{48432920-88A1-E1BA-D824-0B31F93B2794}"/>
                    </a:ext>
                  </a:extLst>
                </p:cNvPr>
                <p:cNvGrpSpPr/>
                <p:nvPr/>
              </p:nvGrpSpPr>
              <p:grpSpPr>
                <a:xfrm rot="2700000" flipH="1">
                  <a:off x="7938470" y="4374279"/>
                  <a:ext cx="155034" cy="650324"/>
                  <a:chOff x="1687853" y="3177376"/>
                  <a:chExt cx="389584" cy="2276476"/>
                </a:xfrm>
              </p:grpSpPr>
              <p:sp>
                <p:nvSpPr>
                  <p:cNvPr id="4300" name="Freeform: Shape 4299">
                    <a:extLst>
                      <a:ext uri="{FF2B5EF4-FFF2-40B4-BE49-F238E27FC236}">
                        <a16:creationId xmlns:a16="http://schemas.microsoft.com/office/drawing/2014/main" id="{6FF51D01-7F81-4E79-DAC6-C3F70AB404B4}"/>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01" name="Freeform: Shape 4300">
                    <a:extLst>
                      <a:ext uri="{FF2B5EF4-FFF2-40B4-BE49-F238E27FC236}">
                        <a16:creationId xmlns:a16="http://schemas.microsoft.com/office/drawing/2014/main" id="{E659A981-9A60-7038-7FC3-3CB8DC0366BF}"/>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4263" name="Arc 4262">
                <a:extLst>
                  <a:ext uri="{FF2B5EF4-FFF2-40B4-BE49-F238E27FC236}">
                    <a16:creationId xmlns:a16="http://schemas.microsoft.com/office/drawing/2014/main" id="{8183355F-5489-17C5-51ED-DB04B8F297FD}"/>
                  </a:ext>
                </a:extLst>
              </p:cNvPr>
              <p:cNvSpPr/>
              <p:nvPr/>
            </p:nvSpPr>
            <p:spPr>
              <a:xfrm rot="9368963" flipH="1">
                <a:off x="6023069" y="2843119"/>
                <a:ext cx="211791" cy="96635"/>
              </a:xfrm>
              <a:prstGeom prst="arc">
                <a:avLst>
                  <a:gd name="adj1" fmla="val 11165533"/>
                  <a:gd name="adj2" fmla="val 19945290"/>
                </a:avLst>
              </a:prstGeom>
              <a:ln w="12700">
                <a:solidFill>
                  <a:schemeClr val="tx1"/>
                </a:solidFill>
                <a:headEnd type="triangle" w="sm"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4264" name="Group 4263">
                <a:extLst>
                  <a:ext uri="{FF2B5EF4-FFF2-40B4-BE49-F238E27FC236}">
                    <a16:creationId xmlns:a16="http://schemas.microsoft.com/office/drawing/2014/main" id="{66922E15-9770-CABD-C313-979F25EA37ED}"/>
                  </a:ext>
                </a:extLst>
              </p:cNvPr>
              <p:cNvGrpSpPr/>
              <p:nvPr/>
            </p:nvGrpSpPr>
            <p:grpSpPr>
              <a:xfrm>
                <a:off x="5786624" y="2769500"/>
                <a:ext cx="231098" cy="178802"/>
                <a:chOff x="2870207" y="4343659"/>
                <a:chExt cx="1185930" cy="917562"/>
              </a:xfrm>
            </p:grpSpPr>
            <p:sp>
              <p:nvSpPr>
                <p:cNvPr id="4265" name="Freeform: Shape 4264">
                  <a:extLst>
                    <a:ext uri="{FF2B5EF4-FFF2-40B4-BE49-F238E27FC236}">
                      <a16:creationId xmlns:a16="http://schemas.microsoft.com/office/drawing/2014/main" id="{BB161AEF-F32D-B13D-D746-A320CA3C6495}"/>
                    </a:ext>
                  </a:extLst>
                </p:cNvPr>
                <p:cNvSpPr/>
                <p:nvPr/>
              </p:nvSpPr>
              <p:spPr>
                <a:xfrm rot="13242395">
                  <a:off x="3333309" y="4343659"/>
                  <a:ext cx="73937" cy="274607"/>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66" name="Freeform: Shape 4265">
                  <a:extLst>
                    <a:ext uri="{FF2B5EF4-FFF2-40B4-BE49-F238E27FC236}">
                      <a16:creationId xmlns:a16="http://schemas.microsoft.com/office/drawing/2014/main" id="{8822CF4C-AC1B-5F1A-29AC-C99011E39572}"/>
                    </a:ext>
                  </a:extLst>
                </p:cNvPr>
                <p:cNvSpPr/>
                <p:nvPr/>
              </p:nvSpPr>
              <p:spPr>
                <a:xfrm rot="13242395">
                  <a:off x="3447190" y="4703378"/>
                  <a:ext cx="73937" cy="1574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67" name="Freeform: Shape 4266">
                  <a:extLst>
                    <a:ext uri="{FF2B5EF4-FFF2-40B4-BE49-F238E27FC236}">
                      <a16:creationId xmlns:a16="http://schemas.microsoft.com/office/drawing/2014/main" id="{6C8ED86F-ED7F-193F-4416-2A838BE60CFD}"/>
                    </a:ext>
                  </a:extLst>
                </p:cNvPr>
                <p:cNvSpPr/>
                <p:nvPr/>
              </p:nvSpPr>
              <p:spPr>
                <a:xfrm rot="13242395">
                  <a:off x="3982200" y="4621605"/>
                  <a:ext cx="73937" cy="274607"/>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flip="none" rotWithShape="1">
                  <a:gsLst>
                    <a:gs pos="0">
                      <a:schemeClr val="accent1">
                        <a:lumMod val="5000"/>
                        <a:lumOff val="95000"/>
                      </a:schemeClr>
                    </a:gs>
                    <a:gs pos="74000">
                      <a:schemeClr val="accent1"/>
                    </a:gs>
                    <a:gs pos="83000">
                      <a:schemeClr val="accent1"/>
                    </a:gs>
                    <a:gs pos="100000">
                      <a:schemeClr val="accent1">
                        <a:lumMod val="30000"/>
                        <a:lumOff val="70000"/>
                      </a:schemeClr>
                    </a:gs>
                  </a:gsLst>
                  <a:lin ang="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68" name="Freeform: Shape 4267">
                  <a:extLst>
                    <a:ext uri="{FF2B5EF4-FFF2-40B4-BE49-F238E27FC236}">
                      <a16:creationId xmlns:a16="http://schemas.microsoft.com/office/drawing/2014/main" id="{F09724C0-B193-E4D9-BDC6-C8E67075F2C1}"/>
                    </a:ext>
                  </a:extLst>
                </p:cNvPr>
                <p:cNvSpPr/>
                <p:nvPr/>
              </p:nvSpPr>
              <p:spPr>
                <a:xfrm rot="13242395">
                  <a:off x="3534207" y="4778242"/>
                  <a:ext cx="73937" cy="1574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69" name="Rectangle: Rounded Corners 4268">
                  <a:extLst>
                    <a:ext uri="{FF2B5EF4-FFF2-40B4-BE49-F238E27FC236}">
                      <a16:creationId xmlns:a16="http://schemas.microsoft.com/office/drawing/2014/main" id="{ED362CA9-3726-20FD-BAB7-383B798A80A0}"/>
                    </a:ext>
                  </a:extLst>
                </p:cNvPr>
                <p:cNvSpPr/>
                <p:nvPr/>
              </p:nvSpPr>
              <p:spPr>
                <a:xfrm rot="10480908">
                  <a:off x="3473143" y="5029479"/>
                  <a:ext cx="86237" cy="20599"/>
                </a:xfrm>
                <a:prstGeom prst="roundRect">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270" name="Group 4269">
                  <a:extLst>
                    <a:ext uri="{FF2B5EF4-FFF2-40B4-BE49-F238E27FC236}">
                      <a16:creationId xmlns:a16="http://schemas.microsoft.com/office/drawing/2014/main" id="{162CB6A4-11DA-27A5-FEDF-079344A44227}"/>
                    </a:ext>
                  </a:extLst>
                </p:cNvPr>
                <p:cNvGrpSpPr/>
                <p:nvPr/>
              </p:nvGrpSpPr>
              <p:grpSpPr>
                <a:xfrm rot="10542395">
                  <a:off x="3532214" y="4970351"/>
                  <a:ext cx="65972" cy="276736"/>
                  <a:chOff x="1687853" y="3177376"/>
                  <a:chExt cx="389584" cy="2276476"/>
                </a:xfrm>
              </p:grpSpPr>
              <p:sp>
                <p:nvSpPr>
                  <p:cNvPr id="4285" name="Freeform: Shape 4284">
                    <a:extLst>
                      <a:ext uri="{FF2B5EF4-FFF2-40B4-BE49-F238E27FC236}">
                        <a16:creationId xmlns:a16="http://schemas.microsoft.com/office/drawing/2014/main" id="{B8E95BF5-2B2D-268B-FC2F-BFC7DA9C7929}"/>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86" name="Freeform: Shape 4285">
                    <a:extLst>
                      <a:ext uri="{FF2B5EF4-FFF2-40B4-BE49-F238E27FC236}">
                        <a16:creationId xmlns:a16="http://schemas.microsoft.com/office/drawing/2014/main" id="{8513B28A-80FE-5D25-CB6C-8F5F1DC0AB6B}"/>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60000"/>
                          <a:lumOff val="40000"/>
                        </a:schemeClr>
                      </a:gs>
                      <a:gs pos="100000">
                        <a:schemeClr val="accent1">
                          <a:lumMod val="30000"/>
                          <a:lumOff val="70000"/>
                        </a:schemeClr>
                      </a:gs>
                    </a:gsLst>
                    <a:lin ang="108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271" name="Group 4270">
                  <a:extLst>
                    <a:ext uri="{FF2B5EF4-FFF2-40B4-BE49-F238E27FC236}">
                      <a16:creationId xmlns:a16="http://schemas.microsoft.com/office/drawing/2014/main" id="{A4898596-590F-3690-2E6C-8D59C193121A}"/>
                    </a:ext>
                  </a:extLst>
                </p:cNvPr>
                <p:cNvGrpSpPr/>
                <p:nvPr/>
              </p:nvGrpSpPr>
              <p:grpSpPr>
                <a:xfrm rot="10542395">
                  <a:off x="3443735" y="4984485"/>
                  <a:ext cx="65972" cy="276736"/>
                  <a:chOff x="1687853" y="3177376"/>
                  <a:chExt cx="389584" cy="2276476"/>
                </a:xfrm>
              </p:grpSpPr>
              <p:sp>
                <p:nvSpPr>
                  <p:cNvPr id="4283" name="Freeform: Shape 4282">
                    <a:extLst>
                      <a:ext uri="{FF2B5EF4-FFF2-40B4-BE49-F238E27FC236}">
                        <a16:creationId xmlns:a16="http://schemas.microsoft.com/office/drawing/2014/main" id="{D5AB275C-F899-1678-C7C1-2636ACCE79AC}"/>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1"/>
                      </a:gs>
                      <a:gs pos="83000">
                        <a:schemeClr val="accent1"/>
                      </a:gs>
                      <a:gs pos="100000">
                        <a:schemeClr val="accent1">
                          <a:lumMod val="30000"/>
                          <a:lumOff val="70000"/>
                        </a:schemeClr>
                      </a:gs>
                    </a:gsLst>
                    <a:lin ang="108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84" name="Freeform: Shape 4283">
                    <a:extLst>
                      <a:ext uri="{FF2B5EF4-FFF2-40B4-BE49-F238E27FC236}">
                        <a16:creationId xmlns:a16="http://schemas.microsoft.com/office/drawing/2014/main" id="{870CC8CA-A236-C021-F776-1DD8E7590E44}"/>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1">
                          <a:lumMod val="60000"/>
                          <a:lumOff val="40000"/>
                        </a:schemeClr>
                      </a:gs>
                      <a:gs pos="83000">
                        <a:schemeClr val="accent1">
                          <a:lumMod val="40000"/>
                          <a:lumOff val="60000"/>
                        </a:schemeClr>
                      </a:gs>
                      <a:gs pos="100000">
                        <a:schemeClr val="accent1">
                          <a:lumMod val="30000"/>
                          <a:lumOff val="70000"/>
                        </a:schemeClr>
                      </a:gs>
                    </a:gsLst>
                    <a:lin ang="108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272" name="Rectangle: Rounded Corners 4271">
                  <a:extLst>
                    <a:ext uri="{FF2B5EF4-FFF2-40B4-BE49-F238E27FC236}">
                      <a16:creationId xmlns:a16="http://schemas.microsoft.com/office/drawing/2014/main" id="{C08B1254-799C-51EC-16C7-1D09FD0FC592}"/>
                    </a:ext>
                  </a:extLst>
                </p:cNvPr>
                <p:cNvSpPr/>
                <p:nvPr/>
              </p:nvSpPr>
              <p:spPr>
                <a:xfrm rot="15942395">
                  <a:off x="3267724" y="4856663"/>
                  <a:ext cx="86237" cy="20599"/>
                </a:xfrm>
                <a:prstGeom prst="roundRect">
                  <a:avLst/>
                </a:prstGeom>
                <a:solidFill>
                  <a:schemeClr val="accent6"/>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273" name="Group 4272">
                  <a:extLst>
                    <a:ext uri="{FF2B5EF4-FFF2-40B4-BE49-F238E27FC236}">
                      <a16:creationId xmlns:a16="http://schemas.microsoft.com/office/drawing/2014/main" id="{AB034B85-0EFC-4233-9D9A-AB097F533C45}"/>
                    </a:ext>
                  </a:extLst>
                </p:cNvPr>
                <p:cNvGrpSpPr/>
                <p:nvPr/>
              </p:nvGrpSpPr>
              <p:grpSpPr>
                <a:xfrm rot="15942395" flipH="1">
                  <a:off x="3190198" y="4681870"/>
                  <a:ext cx="65972" cy="276736"/>
                  <a:chOff x="1687853" y="3177376"/>
                  <a:chExt cx="389584" cy="2276476"/>
                </a:xfrm>
              </p:grpSpPr>
              <p:sp>
                <p:nvSpPr>
                  <p:cNvPr id="4281" name="Freeform: Shape 4280">
                    <a:extLst>
                      <a:ext uri="{FF2B5EF4-FFF2-40B4-BE49-F238E27FC236}">
                        <a16:creationId xmlns:a16="http://schemas.microsoft.com/office/drawing/2014/main" id="{7CFFB933-DC50-DECF-F4FA-F88C99523323}"/>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82" name="Freeform: Shape 4281">
                    <a:extLst>
                      <a:ext uri="{FF2B5EF4-FFF2-40B4-BE49-F238E27FC236}">
                        <a16:creationId xmlns:a16="http://schemas.microsoft.com/office/drawing/2014/main" id="{F6E48DCB-74E7-051A-9059-AB386BF808EA}"/>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4000">
                        <a:schemeClr val="accent6">
                          <a:lumMod val="40000"/>
                          <a:lumOff val="60000"/>
                        </a:schemeClr>
                      </a:gs>
                      <a:gs pos="83000">
                        <a:schemeClr val="accent6">
                          <a:lumMod val="40000"/>
                          <a:lumOff val="60000"/>
                        </a:schemeClr>
                      </a:gs>
                      <a:gs pos="100000">
                        <a:schemeClr val="accent6">
                          <a:lumMod val="20000"/>
                          <a:lumOff val="80000"/>
                        </a:schemeClr>
                      </a:gs>
                    </a:gsLst>
                    <a:lin ang="108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274" name="Group 4273">
                  <a:extLst>
                    <a:ext uri="{FF2B5EF4-FFF2-40B4-BE49-F238E27FC236}">
                      <a16:creationId xmlns:a16="http://schemas.microsoft.com/office/drawing/2014/main" id="{FE85651D-427B-6626-6492-96C1CCA6BDA1}"/>
                    </a:ext>
                  </a:extLst>
                </p:cNvPr>
                <p:cNvGrpSpPr/>
                <p:nvPr/>
              </p:nvGrpSpPr>
              <p:grpSpPr>
                <a:xfrm rot="15942395" flipH="1">
                  <a:off x="3190676" y="4770576"/>
                  <a:ext cx="65972" cy="276736"/>
                  <a:chOff x="1687853" y="3177376"/>
                  <a:chExt cx="389584" cy="2276476"/>
                </a:xfrm>
              </p:grpSpPr>
              <p:sp>
                <p:nvSpPr>
                  <p:cNvPr id="4279" name="Freeform: Shape 4278">
                    <a:extLst>
                      <a:ext uri="{FF2B5EF4-FFF2-40B4-BE49-F238E27FC236}">
                        <a16:creationId xmlns:a16="http://schemas.microsoft.com/office/drawing/2014/main" id="{A7E230DB-1EB8-03EF-75CF-BCC1A9FCF69F}"/>
                      </a:ext>
                    </a:extLst>
                  </p:cNvPr>
                  <p:cNvSpPr/>
                  <p:nvPr/>
                </p:nvSpPr>
                <p:spPr>
                  <a:xfrm>
                    <a:off x="1687853" y="4006909"/>
                    <a:ext cx="389584" cy="1446943"/>
                  </a:xfrm>
                  <a:custGeom>
                    <a:avLst/>
                    <a:gdLst>
                      <a:gd name="connsiteX0" fmla="*/ 0 w 389584"/>
                      <a:gd name="connsiteY0" fmla="*/ 0 h 1446943"/>
                      <a:gd name="connsiteX1" fmla="*/ 389584 w 389584"/>
                      <a:gd name="connsiteY1" fmla="*/ 0 h 1446943"/>
                      <a:gd name="connsiteX2" fmla="*/ 389583 w 389584"/>
                      <a:gd name="connsiteY2" fmla="*/ 1252151 h 1446943"/>
                      <a:gd name="connsiteX3" fmla="*/ 194791 w 389584"/>
                      <a:gd name="connsiteY3" fmla="*/ 1446943 h 1446943"/>
                      <a:gd name="connsiteX4" fmla="*/ 194792 w 389584"/>
                      <a:gd name="connsiteY4" fmla="*/ 1446942 h 1446943"/>
                      <a:gd name="connsiteX5" fmla="*/ 0 w 389584"/>
                      <a:gd name="connsiteY5" fmla="*/ 1252150 h 1446943"/>
                      <a:gd name="connsiteX6" fmla="*/ 0 w 389584"/>
                      <a:gd name="connsiteY6" fmla="*/ 0 h 144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84" h="1446943">
                        <a:moveTo>
                          <a:pt x="0" y="0"/>
                        </a:moveTo>
                        <a:lnTo>
                          <a:pt x="389584" y="0"/>
                        </a:lnTo>
                        <a:lnTo>
                          <a:pt x="389583" y="1252151"/>
                        </a:lnTo>
                        <a:cubicBezTo>
                          <a:pt x="389583" y="1359732"/>
                          <a:pt x="302372" y="1446943"/>
                          <a:pt x="194791" y="1446943"/>
                        </a:cubicBezTo>
                        <a:lnTo>
                          <a:pt x="194792" y="1446942"/>
                        </a:lnTo>
                        <a:cubicBezTo>
                          <a:pt x="87211" y="1446942"/>
                          <a:pt x="0" y="1359731"/>
                          <a:pt x="0" y="1252150"/>
                        </a:cubicBezTo>
                        <a:lnTo>
                          <a:pt x="0" y="0"/>
                        </a:lnTo>
                        <a:close/>
                      </a:path>
                    </a:pathLst>
                  </a:custGeom>
                  <a:gradFill>
                    <a:gsLst>
                      <a:gs pos="0">
                        <a:schemeClr val="accent1">
                          <a:lumMod val="5000"/>
                          <a:lumOff val="95000"/>
                        </a:schemeClr>
                      </a:gs>
                      <a:gs pos="74000">
                        <a:schemeClr val="accent6"/>
                      </a:gs>
                      <a:gs pos="83000">
                        <a:schemeClr val="accent6"/>
                      </a:gs>
                      <a:gs pos="100000">
                        <a:schemeClr val="accent6">
                          <a:lumMod val="20000"/>
                          <a:lumOff val="80000"/>
                        </a:schemeClr>
                      </a:gs>
                    </a:gsLst>
                    <a:lin ang="108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80" name="Freeform: Shape 4279">
                    <a:extLst>
                      <a:ext uri="{FF2B5EF4-FFF2-40B4-BE49-F238E27FC236}">
                        <a16:creationId xmlns:a16="http://schemas.microsoft.com/office/drawing/2014/main" id="{C0B6CCB9-E4DA-B789-C522-C5546F984860}"/>
                      </a:ext>
                    </a:extLst>
                  </p:cNvPr>
                  <p:cNvSpPr/>
                  <p:nvPr/>
                </p:nvSpPr>
                <p:spPr>
                  <a:xfrm>
                    <a:off x="1687853" y="3177376"/>
                    <a:ext cx="389584" cy="829532"/>
                  </a:xfrm>
                  <a:custGeom>
                    <a:avLst/>
                    <a:gdLst>
                      <a:gd name="connsiteX0" fmla="*/ 194792 w 389584"/>
                      <a:gd name="connsiteY0" fmla="*/ 0 h 829532"/>
                      <a:gd name="connsiteX1" fmla="*/ 389584 w 389584"/>
                      <a:gd name="connsiteY1" fmla="*/ 194792 h 829532"/>
                      <a:gd name="connsiteX2" fmla="*/ 389584 w 389584"/>
                      <a:gd name="connsiteY2" fmla="*/ 829532 h 829532"/>
                      <a:gd name="connsiteX3" fmla="*/ 0 w 389584"/>
                      <a:gd name="connsiteY3" fmla="*/ 829532 h 829532"/>
                      <a:gd name="connsiteX4" fmla="*/ 0 w 389584"/>
                      <a:gd name="connsiteY4" fmla="*/ 194792 h 829532"/>
                      <a:gd name="connsiteX5" fmla="*/ 194792 w 389584"/>
                      <a:gd name="connsiteY5" fmla="*/ 0 h 8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84" h="829532">
                        <a:moveTo>
                          <a:pt x="194792" y="0"/>
                        </a:moveTo>
                        <a:cubicBezTo>
                          <a:pt x="302373" y="0"/>
                          <a:pt x="389584" y="87211"/>
                          <a:pt x="389584" y="194792"/>
                        </a:cubicBezTo>
                        <a:lnTo>
                          <a:pt x="389584" y="829532"/>
                        </a:lnTo>
                        <a:lnTo>
                          <a:pt x="0" y="829532"/>
                        </a:lnTo>
                        <a:lnTo>
                          <a:pt x="0" y="194792"/>
                        </a:lnTo>
                        <a:cubicBezTo>
                          <a:pt x="0" y="87211"/>
                          <a:pt x="87211" y="0"/>
                          <a:pt x="194792" y="0"/>
                        </a:cubicBezTo>
                        <a:close/>
                      </a:path>
                    </a:pathLst>
                  </a:custGeom>
                  <a:gradFill>
                    <a:gsLst>
                      <a:gs pos="0">
                        <a:schemeClr val="accent1">
                          <a:lumMod val="5000"/>
                          <a:lumOff val="95000"/>
                        </a:schemeClr>
                      </a:gs>
                      <a:gs pos="72000">
                        <a:schemeClr val="accent6">
                          <a:lumMod val="40000"/>
                          <a:lumOff val="60000"/>
                        </a:schemeClr>
                      </a:gs>
                      <a:gs pos="83000">
                        <a:schemeClr val="accent6">
                          <a:lumMod val="60000"/>
                          <a:lumOff val="40000"/>
                        </a:schemeClr>
                      </a:gs>
                      <a:gs pos="100000">
                        <a:schemeClr val="accent6">
                          <a:lumMod val="20000"/>
                          <a:lumOff val="80000"/>
                        </a:schemeClr>
                      </a:gs>
                    </a:gsLst>
                    <a:lin ang="108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275" name="Arc 4274">
                  <a:extLst>
                    <a:ext uri="{FF2B5EF4-FFF2-40B4-BE49-F238E27FC236}">
                      <a16:creationId xmlns:a16="http://schemas.microsoft.com/office/drawing/2014/main" id="{1408C185-F6CC-C1E9-E542-56F25BE5E8D8}"/>
                    </a:ext>
                  </a:extLst>
                </p:cNvPr>
                <p:cNvSpPr/>
                <p:nvPr/>
              </p:nvSpPr>
              <p:spPr>
                <a:xfrm rot="11606015">
                  <a:off x="2870207" y="4547408"/>
                  <a:ext cx="290962" cy="290962"/>
                </a:xfrm>
                <a:prstGeom prst="arc">
                  <a:avLst>
                    <a:gd name="adj1" fmla="val 17496903"/>
                    <a:gd name="adj2" fmla="val 7915523"/>
                  </a:avLst>
                </a:prstGeom>
                <a:ln w="19050" cap="rnd">
                  <a:solidFill>
                    <a:schemeClr val="accent1"/>
                  </a:solidFill>
                  <a:beve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sp>
              <p:nvSpPr>
                <p:cNvPr id="4276" name="Rectangle 750">
                  <a:extLst>
                    <a:ext uri="{FF2B5EF4-FFF2-40B4-BE49-F238E27FC236}">
                      <a16:creationId xmlns:a16="http://schemas.microsoft.com/office/drawing/2014/main" id="{9114F517-5797-A7F5-4A94-72D55430B2AD}"/>
                    </a:ext>
                  </a:extLst>
                </p:cNvPr>
                <p:cNvSpPr/>
                <p:nvPr/>
              </p:nvSpPr>
              <p:spPr>
                <a:xfrm rot="21308047">
                  <a:off x="3109777" y="4996055"/>
                  <a:ext cx="53755" cy="259095"/>
                </a:xfrm>
                <a:custGeom>
                  <a:avLst/>
                  <a:gdLst>
                    <a:gd name="connsiteX0" fmla="*/ 0 w 45719"/>
                    <a:gd name="connsiteY0" fmla="*/ 0 h 233345"/>
                    <a:gd name="connsiteX1" fmla="*/ 45719 w 45719"/>
                    <a:gd name="connsiteY1" fmla="*/ 0 h 233345"/>
                    <a:gd name="connsiteX2" fmla="*/ 45719 w 45719"/>
                    <a:gd name="connsiteY2" fmla="*/ 233345 h 233345"/>
                    <a:gd name="connsiteX3" fmla="*/ 0 w 45719"/>
                    <a:gd name="connsiteY3" fmla="*/ 233345 h 233345"/>
                    <a:gd name="connsiteX4" fmla="*/ 0 w 45719"/>
                    <a:gd name="connsiteY4" fmla="*/ 0 h 233345"/>
                    <a:gd name="connsiteX0" fmla="*/ 0 w 45719"/>
                    <a:gd name="connsiteY0" fmla="*/ 0 h 235726"/>
                    <a:gd name="connsiteX1" fmla="*/ 45719 w 45719"/>
                    <a:gd name="connsiteY1" fmla="*/ 0 h 235726"/>
                    <a:gd name="connsiteX2" fmla="*/ 45719 w 45719"/>
                    <a:gd name="connsiteY2" fmla="*/ 233345 h 235726"/>
                    <a:gd name="connsiteX3" fmla="*/ 2381 w 45719"/>
                    <a:gd name="connsiteY3" fmla="*/ 235726 h 235726"/>
                    <a:gd name="connsiteX4" fmla="*/ 0 w 45719"/>
                    <a:gd name="connsiteY4" fmla="*/ 0 h 235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235726">
                      <a:moveTo>
                        <a:pt x="0" y="0"/>
                      </a:moveTo>
                      <a:lnTo>
                        <a:pt x="45719" y="0"/>
                      </a:lnTo>
                      <a:lnTo>
                        <a:pt x="45719" y="233345"/>
                      </a:lnTo>
                      <a:lnTo>
                        <a:pt x="2381" y="235726"/>
                      </a:lnTo>
                      <a:cubicBezTo>
                        <a:pt x="1587" y="157151"/>
                        <a:pt x="794" y="78575"/>
                        <a:pt x="0" y="0"/>
                      </a:cubicBezTo>
                      <a:close/>
                    </a:path>
                  </a:pathLst>
                </a:custGeom>
                <a:solidFill>
                  <a:schemeClr val="accent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77" name="Rectangle 750">
                  <a:extLst>
                    <a:ext uri="{FF2B5EF4-FFF2-40B4-BE49-F238E27FC236}">
                      <a16:creationId xmlns:a16="http://schemas.microsoft.com/office/drawing/2014/main" id="{08059901-2B5A-128F-4776-61EE4001C050}"/>
                    </a:ext>
                  </a:extLst>
                </p:cNvPr>
                <p:cNvSpPr/>
                <p:nvPr/>
              </p:nvSpPr>
              <p:spPr>
                <a:xfrm rot="21308047">
                  <a:off x="3800802" y="4936291"/>
                  <a:ext cx="53757" cy="259098"/>
                </a:xfrm>
                <a:custGeom>
                  <a:avLst/>
                  <a:gdLst>
                    <a:gd name="connsiteX0" fmla="*/ 0 w 45719"/>
                    <a:gd name="connsiteY0" fmla="*/ 0 h 233345"/>
                    <a:gd name="connsiteX1" fmla="*/ 45719 w 45719"/>
                    <a:gd name="connsiteY1" fmla="*/ 0 h 233345"/>
                    <a:gd name="connsiteX2" fmla="*/ 45719 w 45719"/>
                    <a:gd name="connsiteY2" fmla="*/ 233345 h 233345"/>
                    <a:gd name="connsiteX3" fmla="*/ 0 w 45719"/>
                    <a:gd name="connsiteY3" fmla="*/ 233345 h 233345"/>
                    <a:gd name="connsiteX4" fmla="*/ 0 w 45719"/>
                    <a:gd name="connsiteY4" fmla="*/ 0 h 233345"/>
                    <a:gd name="connsiteX0" fmla="*/ 0 w 45719"/>
                    <a:gd name="connsiteY0" fmla="*/ 0 h 235726"/>
                    <a:gd name="connsiteX1" fmla="*/ 45719 w 45719"/>
                    <a:gd name="connsiteY1" fmla="*/ 0 h 235726"/>
                    <a:gd name="connsiteX2" fmla="*/ 45719 w 45719"/>
                    <a:gd name="connsiteY2" fmla="*/ 233345 h 235726"/>
                    <a:gd name="connsiteX3" fmla="*/ 2381 w 45719"/>
                    <a:gd name="connsiteY3" fmla="*/ 235726 h 235726"/>
                    <a:gd name="connsiteX4" fmla="*/ 0 w 45719"/>
                    <a:gd name="connsiteY4" fmla="*/ 0 h 235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235726">
                      <a:moveTo>
                        <a:pt x="0" y="0"/>
                      </a:moveTo>
                      <a:lnTo>
                        <a:pt x="45719" y="0"/>
                      </a:lnTo>
                      <a:lnTo>
                        <a:pt x="45719" y="233345"/>
                      </a:lnTo>
                      <a:lnTo>
                        <a:pt x="2381" y="235726"/>
                      </a:lnTo>
                      <a:cubicBezTo>
                        <a:pt x="1587" y="157151"/>
                        <a:pt x="794" y="78575"/>
                        <a:pt x="0" y="0"/>
                      </a:cubicBezTo>
                      <a:close/>
                    </a:path>
                  </a:pathLst>
                </a:custGeom>
                <a:solidFill>
                  <a:schemeClr val="accent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78" name="Arc 4277">
                  <a:extLst>
                    <a:ext uri="{FF2B5EF4-FFF2-40B4-BE49-F238E27FC236}">
                      <a16:creationId xmlns:a16="http://schemas.microsoft.com/office/drawing/2014/main" id="{7FB28173-555F-6599-9D7B-46A81E7E2F4C}"/>
                    </a:ext>
                  </a:extLst>
                </p:cNvPr>
                <p:cNvSpPr/>
                <p:nvPr/>
              </p:nvSpPr>
              <p:spPr>
                <a:xfrm rot="16520812">
                  <a:off x="3581228" y="4506720"/>
                  <a:ext cx="290962" cy="290962"/>
                </a:xfrm>
                <a:prstGeom prst="arc">
                  <a:avLst>
                    <a:gd name="adj1" fmla="val 17496903"/>
                    <a:gd name="adj2" fmla="val 7915523"/>
                  </a:avLst>
                </a:prstGeom>
                <a:ln w="19050" cap="rnd">
                  <a:solidFill>
                    <a:schemeClr val="accent1"/>
                  </a:solidFill>
                  <a:beve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5369"/>
                    </a:solidFill>
                    <a:effectLst/>
                    <a:uLnTx/>
                    <a:uFillTx/>
                    <a:latin typeface="Arial" panose="020B0604020202020204" pitchFamily="34" charset="0"/>
                    <a:ea typeface="+mn-ea"/>
                    <a:cs typeface="Arial" panose="020B0604020202020204" pitchFamily="34" charset="0"/>
                  </a:endParaRPr>
                </a:p>
              </p:txBody>
            </p:sp>
          </p:grpSp>
        </p:grpSp>
        <p:cxnSp>
          <p:nvCxnSpPr>
            <p:cNvPr id="4195" name="Straight Connector 4194">
              <a:extLst>
                <a:ext uri="{FF2B5EF4-FFF2-40B4-BE49-F238E27FC236}">
                  <a16:creationId xmlns:a16="http://schemas.microsoft.com/office/drawing/2014/main" id="{E67BC7FC-D127-215B-9516-70AF83210718}"/>
                </a:ext>
              </a:extLst>
            </p:cNvPr>
            <p:cNvCxnSpPr>
              <a:cxnSpLocks/>
            </p:cNvCxnSpPr>
            <p:nvPr/>
          </p:nvCxnSpPr>
          <p:spPr>
            <a:xfrm>
              <a:off x="5137506" y="3069835"/>
              <a:ext cx="0" cy="714936"/>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4196" name="Rectangle: Rounded Corners 4195">
              <a:extLst>
                <a:ext uri="{FF2B5EF4-FFF2-40B4-BE49-F238E27FC236}">
                  <a16:creationId xmlns:a16="http://schemas.microsoft.com/office/drawing/2014/main" id="{BB08FCE8-7CE7-D9E4-79FC-662CA982150B}"/>
                </a:ext>
              </a:extLst>
            </p:cNvPr>
            <p:cNvSpPr/>
            <p:nvPr/>
          </p:nvSpPr>
          <p:spPr>
            <a:xfrm>
              <a:off x="4591796" y="3783815"/>
              <a:ext cx="1100197" cy="39706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ysoso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gradation</a:t>
              </a:r>
            </a:p>
          </p:txBody>
        </p:sp>
      </p:grpSp>
      <p:cxnSp>
        <p:nvCxnSpPr>
          <p:cNvPr id="4333" name="Straight Connector 4332">
            <a:extLst>
              <a:ext uri="{FF2B5EF4-FFF2-40B4-BE49-F238E27FC236}">
                <a16:creationId xmlns:a16="http://schemas.microsoft.com/office/drawing/2014/main" id="{9B26A654-AD4B-F7C8-6B5F-305175E40836}"/>
              </a:ext>
            </a:extLst>
          </p:cNvPr>
          <p:cNvCxnSpPr>
            <a:cxnSpLocks/>
          </p:cNvCxnSpPr>
          <p:nvPr/>
        </p:nvCxnSpPr>
        <p:spPr>
          <a:xfrm>
            <a:off x="5024360" y="3222769"/>
            <a:ext cx="3348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BD34478-F4B3-F882-C4F2-B6270317D97F}"/>
              </a:ext>
            </a:extLst>
          </p:cNvPr>
          <p:cNvSpPr/>
          <p:nvPr/>
        </p:nvSpPr>
        <p:spPr>
          <a:xfrm>
            <a:off x="741811" y="3819627"/>
            <a:ext cx="1204914" cy="480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G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nnot bind</a:t>
            </a:r>
          </a:p>
        </p:txBody>
      </p:sp>
      <p:sp>
        <p:nvSpPr>
          <p:cNvPr id="6" name="Oval 5">
            <a:extLst>
              <a:ext uri="{FF2B5EF4-FFF2-40B4-BE49-F238E27FC236}">
                <a16:creationId xmlns:a16="http://schemas.microsoft.com/office/drawing/2014/main" id="{A20FAB13-CC34-39CE-EB42-900A2C8E6430}"/>
              </a:ext>
            </a:extLst>
          </p:cNvPr>
          <p:cNvSpPr/>
          <p:nvPr/>
        </p:nvSpPr>
        <p:spPr bwMode="auto">
          <a:xfrm>
            <a:off x="1272806" y="3695196"/>
            <a:ext cx="144000" cy="144000"/>
          </a:xfrm>
          <a:prstGeom prst="ellipse">
            <a:avLst/>
          </a:prstGeom>
          <a:gradFill flip="none" rotWithShape="1">
            <a:gsLst>
              <a:gs pos="83000">
                <a:schemeClr val="accent6"/>
              </a:gs>
              <a:gs pos="74000">
                <a:schemeClr val="accent6"/>
              </a:gs>
              <a:gs pos="0">
                <a:srgbClr val="EEDFF9"/>
              </a:gs>
            </a:gsLst>
            <a:path path="circle">
              <a:fillToRect l="100000" b="100000"/>
            </a:path>
            <a:tileRect t="-100000" r="-100000"/>
          </a:gradFill>
          <a:ln w="12700"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363"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Arial" pitchFamily="-110" charset="0"/>
            </a:endParaRPr>
          </a:p>
        </p:txBody>
      </p:sp>
      <p:sp>
        <p:nvSpPr>
          <p:cNvPr id="7" name="Arc 6">
            <a:extLst>
              <a:ext uri="{FF2B5EF4-FFF2-40B4-BE49-F238E27FC236}">
                <a16:creationId xmlns:a16="http://schemas.microsoft.com/office/drawing/2014/main" id="{44F864BF-CB73-37FF-295D-4E9B1735CAF8}"/>
              </a:ext>
            </a:extLst>
          </p:cNvPr>
          <p:cNvSpPr/>
          <p:nvPr/>
        </p:nvSpPr>
        <p:spPr>
          <a:xfrm rot="18921820">
            <a:off x="1230957" y="3612519"/>
            <a:ext cx="537773" cy="349714"/>
          </a:xfrm>
          <a:prstGeom prst="arc">
            <a:avLst>
              <a:gd name="adj1" fmla="val 16200000"/>
              <a:gd name="adj2" fmla="val 4889359"/>
            </a:avLst>
          </a:prstGeom>
          <a:ln w="12700">
            <a:solidFill>
              <a:schemeClr val="tx1"/>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383C1D1C-66B6-DC1F-2C1E-ED3EEFA8550A}"/>
              </a:ext>
            </a:extLst>
          </p:cNvPr>
          <p:cNvCxnSpPr>
            <a:cxnSpLocks/>
          </p:cNvCxnSpPr>
          <p:nvPr/>
        </p:nvCxnSpPr>
        <p:spPr>
          <a:xfrm flipH="1">
            <a:off x="1803402" y="2241127"/>
            <a:ext cx="216000" cy="0"/>
          </a:xfrm>
          <a:prstGeom prst="line">
            <a:avLst/>
          </a:prstGeom>
          <a:ln w="12700">
            <a:solidFill>
              <a:schemeClr val="accent6"/>
            </a:solidFill>
            <a:tailEnd type="none" w="lg" len="med"/>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5F6CAA29-CBA5-5107-B033-FEE1C7D36712}"/>
              </a:ext>
            </a:extLst>
          </p:cNvPr>
          <p:cNvSpPr/>
          <p:nvPr/>
        </p:nvSpPr>
        <p:spPr>
          <a:xfrm>
            <a:off x="1065425" y="2033691"/>
            <a:ext cx="1100197" cy="39706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MET</a:t>
            </a:r>
          </a:p>
        </p:txBody>
      </p:sp>
    </p:spTree>
    <p:extLst>
      <p:ext uri="{BB962C8B-B14F-4D97-AF65-F5344CB8AC3E}">
        <p14:creationId xmlns:p14="http://schemas.microsoft.com/office/powerpoint/2010/main" val="3068391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0764C-B0C4-152F-3D82-3439D1087EA5}"/>
            </a:ext>
          </a:extLst>
        </p:cNvPr>
        <p:cNvGrpSpPr/>
        <p:nvPr/>
      </p:nvGrpSpPr>
      <p:grpSpPr>
        <a:xfrm>
          <a:off x="0" y="0"/>
          <a:ext cx="0" cy="0"/>
          <a:chOff x="0" y="0"/>
          <a:chExt cx="0" cy="0"/>
        </a:xfrm>
      </p:grpSpPr>
      <p:grpSp>
        <p:nvGrpSpPr>
          <p:cNvPr id="591" name="Group 590">
            <a:extLst>
              <a:ext uri="{FF2B5EF4-FFF2-40B4-BE49-F238E27FC236}">
                <a16:creationId xmlns:a16="http://schemas.microsoft.com/office/drawing/2014/main" id="{F03085F9-FC23-B885-D63C-48A648605283}"/>
              </a:ext>
            </a:extLst>
          </p:cNvPr>
          <p:cNvGrpSpPr/>
          <p:nvPr/>
        </p:nvGrpSpPr>
        <p:grpSpPr>
          <a:xfrm>
            <a:off x="0" y="5460144"/>
            <a:ext cx="11755486" cy="1026586"/>
            <a:chOff x="-1" y="5183761"/>
            <a:chExt cx="11755486" cy="1026586"/>
          </a:xfrm>
        </p:grpSpPr>
        <p:sp>
          <p:nvSpPr>
            <p:cNvPr id="592" name="Rectangle 591">
              <a:extLst>
                <a:ext uri="{FF2B5EF4-FFF2-40B4-BE49-F238E27FC236}">
                  <a16:creationId xmlns:a16="http://schemas.microsoft.com/office/drawing/2014/main" id="{D1C78D8E-54D9-353F-890F-BF1322700F01}"/>
                </a:ext>
              </a:extLst>
            </p:cNvPr>
            <p:cNvSpPr/>
            <p:nvPr/>
          </p:nvSpPr>
          <p:spPr>
            <a:xfrm>
              <a:off x="296883" y="5325052"/>
              <a:ext cx="11458602" cy="720000"/>
            </a:xfrm>
            <a:prstGeom prst="rect">
              <a:avLst/>
            </a:prstGeom>
            <a:gradFill flip="none" rotWithShape="1">
              <a:gsLst>
                <a:gs pos="8000">
                  <a:schemeClr val="bg1"/>
                </a:gs>
                <a:gs pos="0">
                  <a:schemeClr val="accent1"/>
                </a:gs>
                <a:gs pos="90000">
                  <a:schemeClr val="bg1"/>
                </a:gs>
                <a:gs pos="99000">
                  <a:schemeClr val="accent1"/>
                </a:gs>
              </a:gsLst>
              <a:lin ang="0" scaled="1"/>
              <a:tileRect/>
            </a:gra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593" name="Group 592">
              <a:extLst>
                <a:ext uri="{FF2B5EF4-FFF2-40B4-BE49-F238E27FC236}">
                  <a16:creationId xmlns:a16="http://schemas.microsoft.com/office/drawing/2014/main" id="{6D8E79BC-118D-019F-A711-69557CDA2DC2}"/>
                </a:ext>
              </a:extLst>
            </p:cNvPr>
            <p:cNvGrpSpPr/>
            <p:nvPr/>
          </p:nvGrpSpPr>
          <p:grpSpPr>
            <a:xfrm>
              <a:off x="-1" y="5183761"/>
              <a:ext cx="425473" cy="1026586"/>
              <a:chOff x="0" y="5282896"/>
              <a:chExt cx="436762" cy="1241728"/>
            </a:xfrm>
          </p:grpSpPr>
          <p:sp>
            <p:nvSpPr>
              <p:cNvPr id="596" name="Freeform 14">
                <a:extLst>
                  <a:ext uri="{FF2B5EF4-FFF2-40B4-BE49-F238E27FC236}">
                    <a16:creationId xmlns:a16="http://schemas.microsoft.com/office/drawing/2014/main" id="{AC5E8535-22DC-7113-43A3-CA19A942CBEE}"/>
                  </a:ext>
                </a:extLst>
              </p:cNvPr>
              <p:cNvSpPr>
                <a:spLocks/>
              </p:cNvSpPr>
              <p:nvPr/>
            </p:nvSpPr>
            <p:spPr bwMode="auto">
              <a:xfrm>
                <a:off x="17982" y="5313808"/>
                <a:ext cx="393085" cy="1197236"/>
              </a:xfrm>
              <a:custGeom>
                <a:avLst/>
                <a:gdLst>
                  <a:gd name="T0" fmla="*/ 153 w 153"/>
                  <a:gd name="T1" fmla="*/ 0 h 1032"/>
                  <a:gd name="T2" fmla="*/ 150 w 153"/>
                  <a:gd name="T3" fmla="*/ 1032 h 1032"/>
                  <a:gd name="T4" fmla="*/ 0 w 153"/>
                  <a:gd name="T5" fmla="*/ 1032 h 1032"/>
                  <a:gd name="T6" fmla="*/ 0 w 153"/>
                  <a:gd name="T7" fmla="*/ 0 h 1032"/>
                  <a:gd name="T8" fmla="*/ 153 w 153"/>
                  <a:gd name="T9" fmla="*/ 0 h 1032"/>
                </a:gdLst>
                <a:ahLst/>
                <a:cxnLst>
                  <a:cxn ang="0">
                    <a:pos x="T0" y="T1"/>
                  </a:cxn>
                  <a:cxn ang="0">
                    <a:pos x="T2" y="T3"/>
                  </a:cxn>
                  <a:cxn ang="0">
                    <a:pos x="T4" y="T5"/>
                  </a:cxn>
                  <a:cxn ang="0">
                    <a:pos x="T6" y="T7"/>
                  </a:cxn>
                  <a:cxn ang="0">
                    <a:pos x="T8" y="T9"/>
                  </a:cxn>
                </a:cxnLst>
                <a:rect l="0" t="0" r="r" b="b"/>
                <a:pathLst>
                  <a:path w="153" h="1032">
                    <a:moveTo>
                      <a:pt x="153" y="0"/>
                    </a:moveTo>
                    <a:lnTo>
                      <a:pt x="150" y="1032"/>
                    </a:lnTo>
                    <a:lnTo>
                      <a:pt x="0" y="1032"/>
                    </a:lnTo>
                    <a:lnTo>
                      <a:pt x="0" y="0"/>
                    </a:lnTo>
                    <a:lnTo>
                      <a:pt x="153" y="0"/>
                    </a:lnTo>
                    <a:close/>
                  </a:path>
                </a:pathLst>
              </a:custGeom>
              <a:gradFill flip="none" rotWithShape="1">
                <a:gsLst>
                  <a:gs pos="0">
                    <a:sysClr val="window" lastClr="FFFFFF">
                      <a:alpha val="0"/>
                    </a:sysClr>
                  </a:gs>
                  <a:gs pos="50000">
                    <a:sysClr val="window" lastClr="FFFFFF"/>
                  </a:gs>
                  <a:gs pos="100000">
                    <a:sysClr val="window" lastClr="FFFFFF">
                      <a:alpha val="0"/>
                    </a:sysClr>
                  </a:gs>
                </a:gsLst>
                <a:lin ang="5400000" scaled="0"/>
                <a:tileRect/>
              </a:gradFill>
              <a:ln w="12700" cap="flat" cmpd="sng" algn="ctr">
                <a:noFill/>
                <a:prstDash val="solid"/>
                <a:miter lim="800000"/>
              </a:ln>
              <a:effectLst>
                <a:outerShdw blurRad="101600" dist="88900" sx="95000" sy="95000" algn="tl" rotWithShape="0">
                  <a:prstClr val="black">
                    <a:alpha val="5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97" name="Rectangle 596">
                <a:extLst>
                  <a:ext uri="{FF2B5EF4-FFF2-40B4-BE49-F238E27FC236}">
                    <a16:creationId xmlns:a16="http://schemas.microsoft.com/office/drawing/2014/main" id="{EE9107F5-549E-CACE-111C-7D249FB154E0}"/>
                  </a:ext>
                </a:extLst>
              </p:cNvPr>
              <p:cNvSpPr/>
              <p:nvPr/>
            </p:nvSpPr>
            <p:spPr>
              <a:xfrm>
                <a:off x="0" y="5282896"/>
                <a:ext cx="436762" cy="1241728"/>
              </a:xfrm>
              <a:prstGeom prst="rect">
                <a:avLst/>
              </a:prstGeom>
              <a:solidFill>
                <a:srgbClr val="F6F5F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594" name="Picture 2" descr="Data Icon 2500462">
              <a:extLst>
                <a:ext uri="{FF2B5EF4-FFF2-40B4-BE49-F238E27FC236}">
                  <a16:creationId xmlns:a16="http://schemas.microsoft.com/office/drawing/2014/main" id="{32A05B2C-4A99-61CF-E716-CED4A783F7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9151" y="5239419"/>
              <a:ext cx="891266" cy="891266"/>
            </a:xfrm>
            <a:prstGeom prst="rect">
              <a:avLst/>
            </a:prstGeom>
            <a:noFill/>
            <a:extLst>
              <a:ext uri="{909E8E84-426E-40DD-AFC4-6F175D3DCCD1}">
                <a14:hiddenFill xmlns:a14="http://schemas.microsoft.com/office/drawing/2010/main">
                  <a:solidFill>
                    <a:srgbClr val="FFFFFF"/>
                  </a:solidFill>
                </a14:hiddenFill>
              </a:ext>
            </a:extLst>
          </p:spPr>
        </p:pic>
        <p:sp>
          <p:nvSpPr>
            <p:cNvPr id="595" name="TextBox 594">
              <a:extLst>
                <a:ext uri="{FF2B5EF4-FFF2-40B4-BE49-F238E27FC236}">
                  <a16:creationId xmlns:a16="http://schemas.microsoft.com/office/drawing/2014/main" id="{BA953B00-FE5B-DCCA-EC1A-9A1F13DE1A05}"/>
                </a:ext>
              </a:extLst>
            </p:cNvPr>
            <p:cNvSpPr txBox="1"/>
            <p:nvPr/>
          </p:nvSpPr>
          <p:spPr>
            <a:xfrm>
              <a:off x="1299224" y="5372602"/>
              <a:ext cx="936250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L amivantamab + lazertinib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reduced the risk of progression or </a:t>
              </a:r>
              <a:b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death by</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30% </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s osimertinib</a:t>
              </a:r>
              <a:r>
                <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grpSp>
      <p:sp>
        <p:nvSpPr>
          <p:cNvPr id="11" name="Rectangle 10">
            <a:extLst>
              <a:ext uri="{FF2B5EF4-FFF2-40B4-BE49-F238E27FC236}">
                <a16:creationId xmlns:a16="http://schemas.microsoft.com/office/drawing/2014/main" id="{3B37BCD3-7938-0254-7EB1-FD169FDC52D1}"/>
              </a:ext>
            </a:extLst>
          </p:cNvPr>
          <p:cNvSpPr/>
          <p:nvPr/>
        </p:nvSpPr>
        <p:spPr>
          <a:xfrm>
            <a:off x="449312" y="1082976"/>
            <a:ext cx="11306174" cy="4330399"/>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EB5B7497-E40D-44F1-CD36-F7F1BDE1C6DE}"/>
              </a:ext>
            </a:extLst>
          </p:cNvPr>
          <p:cNvSpPr>
            <a:spLocks noGrp="1"/>
          </p:cNvSpPr>
          <p:nvPr>
            <p:ph type="title"/>
          </p:nvPr>
        </p:nvSpPr>
        <p:spPr/>
        <p:txBody>
          <a:bodyPr/>
          <a:lstStyle/>
          <a:p>
            <a:r>
              <a:rPr lang="en-GB" dirty="0"/>
              <a:t>Amivantamab + lazertinib: PFS by BICR</a:t>
            </a:r>
          </a:p>
        </p:txBody>
      </p:sp>
      <p:sp>
        <p:nvSpPr>
          <p:cNvPr id="4" name="Text Placeholder 3">
            <a:extLst>
              <a:ext uri="{FF2B5EF4-FFF2-40B4-BE49-F238E27FC236}">
                <a16:creationId xmlns:a16="http://schemas.microsoft.com/office/drawing/2014/main" id="{787D165D-3869-74CB-EECE-CB73115712F1}"/>
              </a:ext>
            </a:extLst>
          </p:cNvPr>
          <p:cNvSpPr>
            <a:spLocks noGrp="1"/>
          </p:cNvSpPr>
          <p:nvPr>
            <p:ph type="body" sz="quarter" idx="13"/>
          </p:nvPr>
        </p:nvSpPr>
        <p:spPr>
          <a:xfrm>
            <a:off x="3527132" y="6524625"/>
            <a:ext cx="8231777" cy="230832"/>
          </a:xfrm>
        </p:spPr>
        <p:txBody>
          <a:bodyPr/>
          <a:lstStyle/>
          <a:p>
            <a:r>
              <a:rPr lang="en-GB" dirty="0"/>
              <a:t>*At the time of the prespecified final PFS analysis, there were a total of 444 PFS events in the amivantamab + lazertinib and osimertinib arms combined.</a:t>
            </a:r>
          </a:p>
          <a:p>
            <a:r>
              <a:rPr lang="en-GB" dirty="0"/>
              <a:t>1L, first-line; BICR, blinded independent central review; HR, hazard ratio; mPFS, median PFS.</a:t>
            </a:r>
          </a:p>
        </p:txBody>
      </p:sp>
      <p:sp>
        <p:nvSpPr>
          <p:cNvPr id="5" name="Text Placeholder 4">
            <a:extLst>
              <a:ext uri="{FF2B5EF4-FFF2-40B4-BE49-F238E27FC236}">
                <a16:creationId xmlns:a16="http://schemas.microsoft.com/office/drawing/2014/main" id="{B81F9DA5-16F9-B542-4F94-AA2E53898F68}"/>
              </a:ext>
            </a:extLst>
          </p:cNvPr>
          <p:cNvSpPr>
            <a:spLocks noGrp="1"/>
          </p:cNvSpPr>
          <p:nvPr>
            <p:ph type="body" sz="quarter" idx="15"/>
          </p:nvPr>
        </p:nvSpPr>
        <p:spPr>
          <a:xfrm>
            <a:off x="442913" y="6524625"/>
            <a:ext cx="2664407" cy="230832"/>
          </a:xfrm>
        </p:spPr>
        <p:txBody>
          <a:bodyPr/>
          <a:lstStyle/>
          <a:p>
            <a:r>
              <a:rPr lang="en-GB" dirty="0"/>
              <a:t>1. Cho BC, et al. </a:t>
            </a:r>
            <a:r>
              <a:rPr lang="en-GB" i="1" dirty="0"/>
              <a:t>N Engl J Med</a:t>
            </a:r>
            <a:r>
              <a:rPr lang="en-GB" dirty="0"/>
              <a:t>. 2024;391:1486</a:t>
            </a:r>
            <a:r>
              <a:rPr lang="en-GB" dirty="0">
                <a:ea typeface="Calibri" panose="020F0502020204030204" pitchFamily="34" charset="0"/>
              </a:rPr>
              <a:t>–</a:t>
            </a:r>
            <a:r>
              <a:rPr lang="en-GB" dirty="0"/>
              <a:t>98; </a:t>
            </a:r>
            <a:br>
              <a:rPr lang="en-GB" dirty="0"/>
            </a:br>
            <a:r>
              <a:rPr lang="en-GB" dirty="0"/>
              <a:t>2. Cho BC, et al. Presented at ESMO 2023: LBA14.</a:t>
            </a:r>
          </a:p>
        </p:txBody>
      </p:sp>
      <p:sp>
        <p:nvSpPr>
          <p:cNvPr id="13" name="TextBox 12">
            <a:extLst>
              <a:ext uri="{FF2B5EF4-FFF2-40B4-BE49-F238E27FC236}">
                <a16:creationId xmlns:a16="http://schemas.microsoft.com/office/drawing/2014/main" id="{FEF8DD6A-D27D-235F-99D4-E024911B0218}"/>
              </a:ext>
            </a:extLst>
          </p:cNvPr>
          <p:cNvSpPr txBox="1"/>
          <p:nvPr/>
        </p:nvSpPr>
        <p:spPr>
          <a:xfrm>
            <a:off x="449312" y="1082976"/>
            <a:ext cx="11306174" cy="355276"/>
          </a:xfrm>
          <a:prstGeom prst="rect">
            <a:avLst/>
          </a:prstGeom>
          <a:gradFill>
            <a:gsLst>
              <a:gs pos="0">
                <a:schemeClr val="accent6"/>
              </a:gs>
              <a:gs pos="100000">
                <a:schemeClr val="accent6"/>
              </a:gs>
              <a:gs pos="93000">
                <a:schemeClr val="accent5">
                  <a:lumMod val="50000"/>
                </a:schemeClr>
              </a:gs>
              <a:gs pos="7000">
                <a:schemeClr val="accent5">
                  <a:lumMod val="50000"/>
                </a:schemeClr>
              </a:gs>
            </a:gsLst>
            <a:lin ang="0" scaled="1"/>
          </a:gradFill>
        </p:spPr>
        <p:txBody>
          <a:bodyPr wrap="square" lIns="108000" tIns="54000" rIns="108000" bIns="5400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FS</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2</a:t>
            </a:r>
          </a:p>
        </p:txBody>
      </p:sp>
      <p:graphicFrame>
        <p:nvGraphicFramePr>
          <p:cNvPr id="3" name="Table 8">
            <a:extLst>
              <a:ext uri="{FF2B5EF4-FFF2-40B4-BE49-F238E27FC236}">
                <a16:creationId xmlns:a16="http://schemas.microsoft.com/office/drawing/2014/main" id="{E5E59431-263C-EF9C-07C2-E01939377AAB}"/>
              </a:ext>
            </a:extLst>
          </p:cNvPr>
          <p:cNvGraphicFramePr>
            <a:graphicFrameLocks noGrp="1"/>
          </p:cNvGraphicFramePr>
          <p:nvPr/>
        </p:nvGraphicFramePr>
        <p:xfrm>
          <a:off x="7585297" y="2805957"/>
          <a:ext cx="3924000" cy="1188720"/>
        </p:xfrm>
        <a:graphic>
          <a:graphicData uri="http://schemas.openxmlformats.org/drawingml/2006/table">
            <a:tbl>
              <a:tblPr firstRow="1">
                <a:effectLst/>
              </a:tblPr>
              <a:tblGrid>
                <a:gridCol w="1260000">
                  <a:extLst>
                    <a:ext uri="{9D8B030D-6E8A-4147-A177-3AD203B41FA5}">
                      <a16:colId xmlns:a16="http://schemas.microsoft.com/office/drawing/2014/main" val="3609005308"/>
                    </a:ext>
                  </a:extLst>
                </a:gridCol>
                <a:gridCol w="972000">
                  <a:extLst>
                    <a:ext uri="{9D8B030D-6E8A-4147-A177-3AD203B41FA5}">
                      <a16:colId xmlns:a16="http://schemas.microsoft.com/office/drawing/2014/main" val="3388733588"/>
                    </a:ext>
                  </a:extLst>
                </a:gridCol>
                <a:gridCol w="1692000">
                  <a:extLst>
                    <a:ext uri="{9D8B030D-6E8A-4147-A177-3AD203B41FA5}">
                      <a16:colId xmlns:a16="http://schemas.microsoft.com/office/drawing/2014/main" val="531657196"/>
                    </a:ext>
                  </a:extLst>
                </a:gridCol>
              </a:tblGrid>
              <a:tr h="0">
                <a:tc gridSpan="3">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l"/>
                      <a:r>
                        <a:rPr lang="en-US" sz="1200" dirty="0">
                          <a:solidFill>
                            <a:schemeClr val="bg1"/>
                          </a:solidFill>
                          <a:latin typeface="Arial" panose="020B0604020202020204" pitchFamily="34" charset="0"/>
                          <a:cs typeface="Arial" panose="020B0604020202020204" pitchFamily="34" charset="0"/>
                        </a:rPr>
                        <a:t>mPFS,</a:t>
                      </a:r>
                      <a:r>
                        <a:rPr lang="en-US" sz="1200" baseline="0" dirty="0">
                          <a:solidFill>
                            <a:schemeClr val="bg1"/>
                          </a:solidFill>
                          <a:latin typeface="Arial" panose="020B0604020202020204" pitchFamily="34" charset="0"/>
                          <a:cs typeface="Arial" panose="020B0604020202020204" pitchFamily="34" charset="0"/>
                        </a:rPr>
                        <a:t> </a:t>
                      </a:r>
                      <a:r>
                        <a:rPr lang="en-US" sz="1200" b="1" dirty="0">
                          <a:solidFill>
                            <a:schemeClr val="bg1"/>
                          </a:solidFill>
                          <a:latin typeface="Arial" panose="020B0604020202020204" pitchFamily="34" charset="0"/>
                          <a:cs typeface="Arial" panose="020B0604020202020204" pitchFamily="34" charset="0"/>
                        </a:rPr>
                        <a:t>months </a:t>
                      </a:r>
                      <a:r>
                        <a:rPr lang="en-US" sz="1200" b="0" dirty="0">
                          <a:solidFill>
                            <a:schemeClr val="bg1"/>
                          </a:solidFill>
                          <a:latin typeface="Arial" panose="020B0604020202020204" pitchFamily="34" charset="0"/>
                          <a:cs typeface="Arial" panose="020B0604020202020204" pitchFamily="34" charset="0"/>
                        </a:rPr>
                        <a:t>(95% CI)</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a:endParaRPr lang="en-US" sz="1400" b="0">
                        <a:solidFill>
                          <a:schemeClr val="bg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15754074"/>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200" b="1" dirty="0">
                          <a:solidFill>
                            <a:schemeClr val="bg1"/>
                          </a:solidFill>
                          <a:latin typeface="Arial" panose="020B0604020202020204" pitchFamily="34" charset="0"/>
                          <a:cs typeface="Arial" panose="020B0604020202020204" pitchFamily="34" charset="0"/>
                        </a:rPr>
                        <a:t>Amivantamab + lazertinib</a:t>
                      </a:r>
                    </a:p>
                  </a:txBody>
                  <a:tcPr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200" b="1" dirty="0">
                          <a:solidFill>
                            <a:srgbClr val="000000"/>
                          </a:solidFill>
                          <a:latin typeface="Arial" panose="020B0604020202020204" pitchFamily="34" charset="0"/>
                          <a:cs typeface="Arial" panose="020B0604020202020204" pitchFamily="34" charset="0"/>
                        </a:rPr>
                        <a:t>23.7 </a:t>
                      </a:r>
                      <a:br>
                        <a:rPr lang="en-US" sz="1200" b="1" dirty="0">
                          <a:solidFill>
                            <a:srgbClr val="000000"/>
                          </a:solidFill>
                          <a:latin typeface="Arial" panose="020B0604020202020204" pitchFamily="34" charset="0"/>
                          <a:cs typeface="Arial" panose="020B0604020202020204" pitchFamily="34" charset="0"/>
                        </a:rPr>
                      </a:br>
                      <a:r>
                        <a:rPr lang="en-US" sz="1200" b="0" dirty="0">
                          <a:solidFill>
                            <a:srgbClr val="000000"/>
                          </a:solidFill>
                          <a:latin typeface="Arial" panose="020B0604020202020204" pitchFamily="34" charset="0"/>
                          <a:cs typeface="Arial" panose="020B0604020202020204" pitchFamily="34" charset="0"/>
                        </a:rPr>
                        <a:t>(19.1–27.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rgbClr val="000000"/>
                          </a:solidFill>
                          <a:latin typeface="Arial" panose="020B0604020202020204" pitchFamily="34" charset="0"/>
                          <a:ea typeface="+mn-ea"/>
                          <a:cs typeface="Arial" panose="020B0604020202020204" pitchFamily="34" charset="0"/>
                        </a:rPr>
                        <a:t>HR, 0.70 </a:t>
                      </a:r>
                      <a:r>
                        <a:rPr lang="en-US" sz="1200" b="0" i="0" kern="1200" dirty="0">
                          <a:solidFill>
                            <a:srgbClr val="000000"/>
                          </a:solidFill>
                          <a:latin typeface="Arial" panose="020B0604020202020204" pitchFamily="34" charset="0"/>
                          <a:ea typeface="+mn-ea"/>
                          <a:cs typeface="Arial" panose="020B0604020202020204" pitchFamily="34" charset="0"/>
                        </a:rPr>
                        <a:t>(95% CI, </a:t>
                      </a:r>
                      <a:br>
                        <a:rPr lang="en-US" sz="1200" b="0" i="0" kern="1200" dirty="0">
                          <a:solidFill>
                            <a:srgbClr val="000000"/>
                          </a:solidFill>
                          <a:latin typeface="Arial" panose="020B0604020202020204" pitchFamily="34" charset="0"/>
                          <a:ea typeface="+mn-ea"/>
                          <a:cs typeface="Arial" panose="020B0604020202020204" pitchFamily="34" charset="0"/>
                        </a:rPr>
                      </a:br>
                      <a:r>
                        <a:rPr lang="en-US" sz="1200" b="0" i="0" kern="1200" dirty="0">
                          <a:solidFill>
                            <a:srgbClr val="000000"/>
                          </a:solidFill>
                          <a:latin typeface="Arial" panose="020B0604020202020204" pitchFamily="34" charset="0"/>
                          <a:ea typeface="+mn-ea"/>
                          <a:cs typeface="Arial" panose="020B0604020202020204" pitchFamily="34" charset="0"/>
                        </a:rPr>
                        <a:t>0.58–0.85)</a:t>
                      </a:r>
                      <a:r>
                        <a:rPr lang="en-US" sz="1200" b="1" i="0" kern="1200" dirty="0">
                          <a:solidFill>
                            <a:srgbClr val="000000"/>
                          </a:solidFill>
                          <a:latin typeface="Arial" panose="020B0604020202020204" pitchFamily="34" charset="0"/>
                          <a:ea typeface="+mn-ea"/>
                          <a:cs typeface="Arial" panose="020B0604020202020204" pitchFamily="34" charset="0"/>
                        </a:rPr>
                        <a:t>; p&lt;0.001 </a:t>
                      </a:r>
                    </a:p>
                  </a:txBody>
                  <a:tcPr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6F5F4"/>
                    </a:solidFill>
                  </a:tcPr>
                </a:tc>
                <a:extLst>
                  <a:ext uri="{0D108BD9-81ED-4DB2-BD59-A6C34878D82A}">
                    <a16:rowId xmlns:a16="http://schemas.microsoft.com/office/drawing/2014/main" val="1300018867"/>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200" b="1" dirty="0">
                          <a:solidFill>
                            <a:schemeClr val="bg1"/>
                          </a:solidFill>
                          <a:latin typeface="Arial" panose="020B0604020202020204" pitchFamily="34" charset="0"/>
                          <a:cs typeface="Arial" panose="020B0604020202020204" pitchFamily="34" charset="0"/>
                        </a:rPr>
                        <a:t>Osimertinib</a:t>
                      </a:r>
                    </a:p>
                  </a:txBody>
                  <a:tcPr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200" b="1" dirty="0">
                          <a:solidFill>
                            <a:srgbClr val="000000"/>
                          </a:solidFill>
                          <a:latin typeface="Arial" panose="020B0604020202020204" pitchFamily="34" charset="0"/>
                          <a:cs typeface="Arial" panose="020B0604020202020204" pitchFamily="34" charset="0"/>
                        </a:rPr>
                        <a:t>16.6 </a:t>
                      </a:r>
                      <a:br>
                        <a:rPr lang="en-US" sz="1200" b="1" dirty="0">
                          <a:solidFill>
                            <a:srgbClr val="000000"/>
                          </a:solidFill>
                          <a:latin typeface="Arial" panose="020B0604020202020204" pitchFamily="34" charset="0"/>
                          <a:cs typeface="Arial" panose="020B0604020202020204" pitchFamily="34" charset="0"/>
                        </a:rPr>
                      </a:br>
                      <a:r>
                        <a:rPr lang="en-US" sz="1200" b="0" dirty="0">
                          <a:solidFill>
                            <a:srgbClr val="000000"/>
                          </a:solidFill>
                          <a:latin typeface="Arial" panose="020B0604020202020204" pitchFamily="34" charset="0"/>
                          <a:cs typeface="Arial" panose="020B0604020202020204" pitchFamily="34" charset="0"/>
                        </a:rPr>
                        <a:t>(14.8–18.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pPr algn="ctr"/>
                      <a:endParaRPr lang="en-US" sz="140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914406"/>
                  </a:ext>
                </a:extLst>
              </a:tr>
            </a:tbl>
          </a:graphicData>
        </a:graphic>
      </p:graphicFrame>
      <p:sp>
        <p:nvSpPr>
          <p:cNvPr id="520" name="TextBox 519">
            <a:extLst>
              <a:ext uri="{FF2B5EF4-FFF2-40B4-BE49-F238E27FC236}">
                <a16:creationId xmlns:a16="http://schemas.microsoft.com/office/drawing/2014/main" id="{20DA60F4-7BBC-707F-9189-05283D408311}"/>
              </a:ext>
            </a:extLst>
          </p:cNvPr>
          <p:cNvSpPr txBox="1"/>
          <p:nvPr/>
        </p:nvSpPr>
        <p:spPr>
          <a:xfrm>
            <a:off x="1136562" y="4987963"/>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9</a:t>
            </a:r>
          </a:p>
        </p:txBody>
      </p:sp>
      <p:sp>
        <p:nvSpPr>
          <p:cNvPr id="598" name="TextBox 597">
            <a:extLst>
              <a:ext uri="{FF2B5EF4-FFF2-40B4-BE49-F238E27FC236}">
                <a16:creationId xmlns:a16="http://schemas.microsoft.com/office/drawing/2014/main" id="{04E453EA-4022-1DCB-751C-01534C768F76}"/>
              </a:ext>
            </a:extLst>
          </p:cNvPr>
          <p:cNvSpPr txBox="1"/>
          <p:nvPr/>
        </p:nvSpPr>
        <p:spPr>
          <a:xfrm>
            <a:off x="1683318" y="4987963"/>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9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4</a:t>
            </a:r>
          </a:p>
        </p:txBody>
      </p:sp>
      <p:sp>
        <p:nvSpPr>
          <p:cNvPr id="599" name="TextBox 598">
            <a:extLst>
              <a:ext uri="{FF2B5EF4-FFF2-40B4-BE49-F238E27FC236}">
                <a16:creationId xmlns:a16="http://schemas.microsoft.com/office/drawing/2014/main" id="{8DC94482-098D-3B99-2F72-F8093DE8A05F}"/>
              </a:ext>
            </a:extLst>
          </p:cNvPr>
          <p:cNvSpPr txBox="1"/>
          <p:nvPr/>
        </p:nvSpPr>
        <p:spPr>
          <a:xfrm>
            <a:off x="2230073" y="4987963"/>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8</a:t>
            </a:r>
          </a:p>
        </p:txBody>
      </p:sp>
      <p:sp>
        <p:nvSpPr>
          <p:cNvPr id="600" name="TextBox 599">
            <a:extLst>
              <a:ext uri="{FF2B5EF4-FFF2-40B4-BE49-F238E27FC236}">
                <a16:creationId xmlns:a16="http://schemas.microsoft.com/office/drawing/2014/main" id="{AF274438-EB9A-B34D-7973-D35E0321160D}"/>
              </a:ext>
            </a:extLst>
          </p:cNvPr>
          <p:cNvSpPr txBox="1"/>
          <p:nvPr/>
        </p:nvSpPr>
        <p:spPr>
          <a:xfrm>
            <a:off x="2776829" y="4987963"/>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3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25</a:t>
            </a:r>
          </a:p>
        </p:txBody>
      </p:sp>
      <p:sp>
        <p:nvSpPr>
          <p:cNvPr id="601" name="TextBox 600">
            <a:extLst>
              <a:ext uri="{FF2B5EF4-FFF2-40B4-BE49-F238E27FC236}">
                <a16:creationId xmlns:a16="http://schemas.microsoft.com/office/drawing/2014/main" id="{D8E6DC67-7BC7-0705-5F18-DAA6ACCC26CE}"/>
              </a:ext>
            </a:extLst>
          </p:cNvPr>
          <p:cNvSpPr txBox="1"/>
          <p:nvPr/>
        </p:nvSpPr>
        <p:spPr>
          <a:xfrm>
            <a:off x="3323585" y="4987963"/>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9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6</a:t>
            </a:r>
          </a:p>
        </p:txBody>
      </p:sp>
      <p:sp>
        <p:nvSpPr>
          <p:cNvPr id="602" name="TextBox 601">
            <a:extLst>
              <a:ext uri="{FF2B5EF4-FFF2-40B4-BE49-F238E27FC236}">
                <a16:creationId xmlns:a16="http://schemas.microsoft.com/office/drawing/2014/main" id="{2FDA3D9C-38F8-893B-B01A-948D259C886E}"/>
              </a:ext>
            </a:extLst>
          </p:cNvPr>
          <p:cNvSpPr txBox="1"/>
          <p:nvPr/>
        </p:nvSpPr>
        <p:spPr>
          <a:xfrm>
            <a:off x="3870342" y="4987963"/>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5</a:t>
            </a:r>
          </a:p>
        </p:txBody>
      </p:sp>
      <p:sp>
        <p:nvSpPr>
          <p:cNvPr id="603" name="TextBox 602">
            <a:extLst>
              <a:ext uri="{FF2B5EF4-FFF2-40B4-BE49-F238E27FC236}">
                <a16:creationId xmlns:a16="http://schemas.microsoft.com/office/drawing/2014/main" id="{BBCEA9CE-FDD3-D7C2-469F-5A1C51F1430B}"/>
              </a:ext>
            </a:extLst>
          </p:cNvPr>
          <p:cNvSpPr txBox="1"/>
          <p:nvPr/>
        </p:nvSpPr>
        <p:spPr>
          <a:xfrm>
            <a:off x="4417097" y="4987963"/>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9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0</a:t>
            </a:r>
          </a:p>
        </p:txBody>
      </p:sp>
      <p:sp>
        <p:nvSpPr>
          <p:cNvPr id="604" name="TextBox 603">
            <a:extLst>
              <a:ext uri="{FF2B5EF4-FFF2-40B4-BE49-F238E27FC236}">
                <a16:creationId xmlns:a16="http://schemas.microsoft.com/office/drawing/2014/main" id="{690A67F8-9F33-E00A-0AA1-6DA35F9D7BB3}"/>
              </a:ext>
            </a:extLst>
          </p:cNvPr>
          <p:cNvSpPr txBox="1"/>
          <p:nvPr/>
        </p:nvSpPr>
        <p:spPr>
          <a:xfrm>
            <a:off x="4963853" y="4987963"/>
            <a:ext cx="39626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0</a:t>
            </a:r>
          </a:p>
        </p:txBody>
      </p:sp>
      <p:sp>
        <p:nvSpPr>
          <p:cNvPr id="605" name="TextBox 604">
            <a:extLst>
              <a:ext uri="{FF2B5EF4-FFF2-40B4-BE49-F238E27FC236}">
                <a16:creationId xmlns:a16="http://schemas.microsoft.com/office/drawing/2014/main" id="{6A88AF5D-433D-D3B5-906C-4067668190D0}"/>
              </a:ext>
            </a:extLst>
          </p:cNvPr>
          <p:cNvSpPr txBox="1"/>
          <p:nvPr/>
        </p:nvSpPr>
        <p:spPr>
          <a:xfrm>
            <a:off x="5545875" y="4987963"/>
            <a:ext cx="3257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p>
        </p:txBody>
      </p:sp>
      <p:sp>
        <p:nvSpPr>
          <p:cNvPr id="606" name="TextBox 605">
            <a:extLst>
              <a:ext uri="{FF2B5EF4-FFF2-40B4-BE49-F238E27FC236}">
                <a16:creationId xmlns:a16="http://schemas.microsoft.com/office/drawing/2014/main" id="{CEA30008-AF6D-661A-6F92-F40700FD7976}"/>
              </a:ext>
            </a:extLst>
          </p:cNvPr>
          <p:cNvSpPr txBox="1"/>
          <p:nvPr/>
        </p:nvSpPr>
        <p:spPr>
          <a:xfrm>
            <a:off x="6092633" y="4987963"/>
            <a:ext cx="3257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p>
        </p:txBody>
      </p:sp>
      <p:sp>
        <p:nvSpPr>
          <p:cNvPr id="607" name="TextBox 606">
            <a:extLst>
              <a:ext uri="{FF2B5EF4-FFF2-40B4-BE49-F238E27FC236}">
                <a16:creationId xmlns:a16="http://schemas.microsoft.com/office/drawing/2014/main" id="{712F4E9B-3373-7AE9-44E4-6C59C86B6363}"/>
              </a:ext>
            </a:extLst>
          </p:cNvPr>
          <p:cNvSpPr txBox="1"/>
          <p:nvPr/>
        </p:nvSpPr>
        <p:spPr>
          <a:xfrm>
            <a:off x="6639389" y="4987963"/>
            <a:ext cx="3257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608" name="TextBox 607">
            <a:extLst>
              <a:ext uri="{FF2B5EF4-FFF2-40B4-BE49-F238E27FC236}">
                <a16:creationId xmlns:a16="http://schemas.microsoft.com/office/drawing/2014/main" id="{12B7E987-932D-FA8A-82F1-8D040D353B4A}"/>
              </a:ext>
            </a:extLst>
          </p:cNvPr>
          <p:cNvSpPr txBox="1"/>
          <p:nvPr/>
        </p:nvSpPr>
        <p:spPr>
          <a:xfrm>
            <a:off x="7221416" y="4987963"/>
            <a:ext cx="25519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612" name="Graphic 587">
            <a:extLst>
              <a:ext uri="{FF2B5EF4-FFF2-40B4-BE49-F238E27FC236}">
                <a16:creationId xmlns:a16="http://schemas.microsoft.com/office/drawing/2014/main" id="{A2DCFF68-F8E9-6724-0C76-03C58200A93E}"/>
              </a:ext>
            </a:extLst>
          </p:cNvPr>
          <p:cNvSpPr/>
          <p:nvPr/>
        </p:nvSpPr>
        <p:spPr>
          <a:xfrm>
            <a:off x="1329674" y="1628240"/>
            <a:ext cx="5878860" cy="1919150"/>
          </a:xfrm>
          <a:custGeom>
            <a:avLst/>
            <a:gdLst>
              <a:gd name="connsiteX0" fmla="*/ 0 w 4740867"/>
              <a:gd name="connsiteY0" fmla="*/ 0 h 1558121"/>
              <a:gd name="connsiteX1" fmla="*/ 164700 w 4740867"/>
              <a:gd name="connsiteY1" fmla="*/ 0 h 1558121"/>
              <a:gd name="connsiteX2" fmla="*/ 164700 w 4740867"/>
              <a:gd name="connsiteY2" fmla="*/ 34804 h 1558121"/>
              <a:gd name="connsiteX3" fmla="*/ 212211 w 4740867"/>
              <a:gd name="connsiteY3" fmla="*/ 34804 h 1558121"/>
              <a:gd name="connsiteX4" fmla="*/ 212211 w 4740867"/>
              <a:gd name="connsiteY4" fmla="*/ 66501 h 1558121"/>
              <a:gd name="connsiteX5" fmla="*/ 329400 w 4740867"/>
              <a:gd name="connsiteY5" fmla="*/ 66501 h 1558121"/>
              <a:gd name="connsiteX6" fmla="*/ 329400 w 4740867"/>
              <a:gd name="connsiteY6" fmla="*/ 95022 h 1558121"/>
              <a:gd name="connsiteX7" fmla="*/ 376910 w 4740867"/>
              <a:gd name="connsiteY7" fmla="*/ 95022 h 1558121"/>
              <a:gd name="connsiteX8" fmla="*/ 376910 w 4740867"/>
              <a:gd name="connsiteY8" fmla="*/ 117189 h 1558121"/>
              <a:gd name="connsiteX9" fmla="*/ 490923 w 4740867"/>
              <a:gd name="connsiteY9" fmla="*/ 117189 h 1558121"/>
              <a:gd name="connsiteX10" fmla="*/ 490923 w 4740867"/>
              <a:gd name="connsiteY10" fmla="*/ 139356 h 1558121"/>
              <a:gd name="connsiteX11" fmla="*/ 541610 w 4740867"/>
              <a:gd name="connsiteY11" fmla="*/ 139356 h 1558121"/>
              <a:gd name="connsiteX12" fmla="*/ 541610 w 4740867"/>
              <a:gd name="connsiteY12" fmla="*/ 180514 h 1558121"/>
              <a:gd name="connsiteX13" fmla="*/ 630279 w 4740867"/>
              <a:gd name="connsiteY13" fmla="*/ 180514 h 1558121"/>
              <a:gd name="connsiteX14" fmla="*/ 630279 w 4740867"/>
              <a:gd name="connsiteY14" fmla="*/ 212211 h 1558121"/>
              <a:gd name="connsiteX15" fmla="*/ 791802 w 4740867"/>
              <a:gd name="connsiteY15" fmla="*/ 212211 h 1558121"/>
              <a:gd name="connsiteX16" fmla="*/ 791802 w 4740867"/>
              <a:gd name="connsiteY16" fmla="*/ 234378 h 1558121"/>
              <a:gd name="connsiteX17" fmla="*/ 826606 w 4740867"/>
              <a:gd name="connsiteY17" fmla="*/ 234378 h 1558121"/>
              <a:gd name="connsiteX18" fmla="*/ 826606 w 4740867"/>
              <a:gd name="connsiteY18" fmla="*/ 288242 h 1558121"/>
              <a:gd name="connsiteX19" fmla="*/ 962786 w 4740867"/>
              <a:gd name="connsiteY19" fmla="*/ 288242 h 1558121"/>
              <a:gd name="connsiteX20" fmla="*/ 962786 w 4740867"/>
              <a:gd name="connsiteY20" fmla="*/ 304056 h 1558121"/>
              <a:gd name="connsiteX21" fmla="*/ 1035640 w 4740867"/>
              <a:gd name="connsiteY21" fmla="*/ 304056 h 1558121"/>
              <a:gd name="connsiteX22" fmla="*/ 1035640 w 4740867"/>
              <a:gd name="connsiteY22" fmla="*/ 329400 h 1558121"/>
              <a:gd name="connsiteX23" fmla="*/ 1083151 w 4740867"/>
              <a:gd name="connsiteY23" fmla="*/ 329400 h 1558121"/>
              <a:gd name="connsiteX24" fmla="*/ 1083151 w 4740867"/>
              <a:gd name="connsiteY24" fmla="*/ 354743 h 1558121"/>
              <a:gd name="connsiteX25" fmla="*/ 1124309 w 4740867"/>
              <a:gd name="connsiteY25" fmla="*/ 354743 h 1558121"/>
              <a:gd name="connsiteX26" fmla="*/ 1124309 w 4740867"/>
              <a:gd name="connsiteY26" fmla="*/ 389548 h 1558121"/>
              <a:gd name="connsiteX27" fmla="*/ 1336520 w 4740867"/>
              <a:gd name="connsiteY27" fmla="*/ 389548 h 1558121"/>
              <a:gd name="connsiteX28" fmla="*/ 1336520 w 4740867"/>
              <a:gd name="connsiteY28" fmla="*/ 427529 h 1558121"/>
              <a:gd name="connsiteX29" fmla="*/ 1361863 w 4740867"/>
              <a:gd name="connsiteY29" fmla="*/ 427529 h 1558121"/>
              <a:gd name="connsiteX30" fmla="*/ 1361863 w 4740867"/>
              <a:gd name="connsiteY30" fmla="*/ 452873 h 1558121"/>
              <a:gd name="connsiteX31" fmla="*/ 1384031 w 4740867"/>
              <a:gd name="connsiteY31" fmla="*/ 452873 h 1558121"/>
              <a:gd name="connsiteX32" fmla="*/ 1384031 w 4740867"/>
              <a:gd name="connsiteY32" fmla="*/ 481393 h 1558121"/>
              <a:gd name="connsiteX33" fmla="*/ 1441002 w 4740867"/>
              <a:gd name="connsiteY33" fmla="*/ 481393 h 1558121"/>
              <a:gd name="connsiteX34" fmla="*/ 1441002 w 4740867"/>
              <a:gd name="connsiteY34" fmla="*/ 503560 h 1558121"/>
              <a:gd name="connsiteX35" fmla="*/ 1567652 w 4740867"/>
              <a:gd name="connsiteY35" fmla="*/ 503560 h 1558121"/>
              <a:gd name="connsiteX36" fmla="*/ 1567652 w 4740867"/>
              <a:gd name="connsiteY36" fmla="*/ 525727 h 1558121"/>
              <a:gd name="connsiteX37" fmla="*/ 1615163 w 4740867"/>
              <a:gd name="connsiteY37" fmla="*/ 525727 h 1558121"/>
              <a:gd name="connsiteX38" fmla="*/ 1615163 w 4740867"/>
              <a:gd name="connsiteY38" fmla="*/ 551071 h 1558121"/>
              <a:gd name="connsiteX39" fmla="*/ 1637330 w 4740867"/>
              <a:gd name="connsiteY39" fmla="*/ 551071 h 1558121"/>
              <a:gd name="connsiteX40" fmla="*/ 1637330 w 4740867"/>
              <a:gd name="connsiteY40" fmla="*/ 585875 h 1558121"/>
              <a:gd name="connsiteX41" fmla="*/ 1672134 w 4740867"/>
              <a:gd name="connsiteY41" fmla="*/ 585875 h 1558121"/>
              <a:gd name="connsiteX42" fmla="*/ 1672134 w 4740867"/>
              <a:gd name="connsiteY42" fmla="*/ 608043 h 1558121"/>
              <a:gd name="connsiteX43" fmla="*/ 1874815 w 4740867"/>
              <a:gd name="connsiteY43" fmla="*/ 608043 h 1558121"/>
              <a:gd name="connsiteX44" fmla="*/ 1874815 w 4740867"/>
              <a:gd name="connsiteY44" fmla="*/ 636563 h 1558121"/>
              <a:gd name="connsiteX45" fmla="*/ 1893806 w 4740867"/>
              <a:gd name="connsiteY45" fmla="*/ 636563 h 1558121"/>
              <a:gd name="connsiteX46" fmla="*/ 1893806 w 4740867"/>
              <a:gd name="connsiteY46" fmla="*/ 655553 h 1558121"/>
              <a:gd name="connsiteX47" fmla="*/ 1931787 w 4740867"/>
              <a:gd name="connsiteY47" fmla="*/ 655553 h 1558121"/>
              <a:gd name="connsiteX48" fmla="*/ 1931787 w 4740867"/>
              <a:gd name="connsiteY48" fmla="*/ 680897 h 1558121"/>
              <a:gd name="connsiteX49" fmla="*/ 2052152 w 4740867"/>
              <a:gd name="connsiteY49" fmla="*/ 680897 h 1558121"/>
              <a:gd name="connsiteX50" fmla="*/ 2052152 w 4740867"/>
              <a:gd name="connsiteY50" fmla="*/ 703064 h 1558121"/>
              <a:gd name="connsiteX51" fmla="*/ 2143997 w 4740867"/>
              <a:gd name="connsiteY51" fmla="*/ 703064 h 1558121"/>
              <a:gd name="connsiteX52" fmla="*/ 2143997 w 4740867"/>
              <a:gd name="connsiteY52" fmla="*/ 722055 h 1558121"/>
              <a:gd name="connsiteX53" fmla="*/ 2196619 w 4740867"/>
              <a:gd name="connsiteY53" fmla="*/ 722055 h 1558121"/>
              <a:gd name="connsiteX54" fmla="*/ 2196619 w 4740867"/>
              <a:gd name="connsiteY54" fmla="*/ 772742 h 1558121"/>
              <a:gd name="connsiteX55" fmla="*/ 2368845 w 4740867"/>
              <a:gd name="connsiteY55" fmla="*/ 772742 h 1558121"/>
              <a:gd name="connsiteX56" fmla="*/ 2368845 w 4740867"/>
              <a:gd name="connsiteY56" fmla="*/ 813900 h 1558121"/>
              <a:gd name="connsiteX57" fmla="*/ 2435347 w 4740867"/>
              <a:gd name="connsiteY57" fmla="*/ 813900 h 1558121"/>
              <a:gd name="connsiteX58" fmla="*/ 2435347 w 4740867"/>
              <a:gd name="connsiteY58" fmla="*/ 839244 h 1558121"/>
              <a:gd name="connsiteX59" fmla="*/ 2457514 w 4740867"/>
              <a:gd name="connsiteY59" fmla="*/ 839244 h 1558121"/>
              <a:gd name="connsiteX60" fmla="*/ 2457514 w 4740867"/>
              <a:gd name="connsiteY60" fmla="*/ 893108 h 1558121"/>
              <a:gd name="connsiteX61" fmla="*/ 2581056 w 4740867"/>
              <a:gd name="connsiteY61" fmla="*/ 893108 h 1558121"/>
              <a:gd name="connsiteX62" fmla="*/ 2581056 w 4740867"/>
              <a:gd name="connsiteY62" fmla="*/ 918452 h 1558121"/>
              <a:gd name="connsiteX63" fmla="*/ 2691892 w 4740867"/>
              <a:gd name="connsiteY63" fmla="*/ 918452 h 1558121"/>
              <a:gd name="connsiteX64" fmla="*/ 2691892 w 4740867"/>
              <a:gd name="connsiteY64" fmla="*/ 946972 h 1558121"/>
              <a:gd name="connsiteX65" fmla="*/ 2726696 w 4740867"/>
              <a:gd name="connsiteY65" fmla="*/ 946972 h 1558121"/>
              <a:gd name="connsiteX66" fmla="*/ 2726696 w 4740867"/>
              <a:gd name="connsiteY66" fmla="*/ 978669 h 1558121"/>
              <a:gd name="connsiteX67" fmla="*/ 2748863 w 4740867"/>
              <a:gd name="connsiteY67" fmla="*/ 978669 h 1558121"/>
              <a:gd name="connsiteX68" fmla="*/ 2748863 w 4740867"/>
              <a:gd name="connsiteY68" fmla="*/ 1013473 h 1558121"/>
              <a:gd name="connsiteX69" fmla="*/ 2967358 w 4740867"/>
              <a:gd name="connsiteY69" fmla="*/ 1013473 h 1558121"/>
              <a:gd name="connsiteX70" fmla="*/ 2967358 w 4740867"/>
              <a:gd name="connsiteY70" fmla="*/ 1035640 h 1558121"/>
              <a:gd name="connsiteX71" fmla="*/ 3002163 w 4740867"/>
              <a:gd name="connsiteY71" fmla="*/ 1035640 h 1558121"/>
              <a:gd name="connsiteX72" fmla="*/ 3002163 w 4740867"/>
              <a:gd name="connsiteY72" fmla="*/ 1086328 h 1558121"/>
              <a:gd name="connsiteX73" fmla="*/ 3261884 w 4740867"/>
              <a:gd name="connsiteY73" fmla="*/ 1086328 h 1558121"/>
              <a:gd name="connsiteX74" fmla="*/ 3261884 w 4740867"/>
              <a:gd name="connsiteY74" fmla="*/ 1121132 h 1558121"/>
              <a:gd name="connsiteX75" fmla="*/ 3521606 w 4740867"/>
              <a:gd name="connsiteY75" fmla="*/ 1121132 h 1558121"/>
              <a:gd name="connsiteX76" fmla="*/ 3521606 w 4740867"/>
              <a:gd name="connsiteY76" fmla="*/ 1159114 h 1558121"/>
              <a:gd name="connsiteX77" fmla="*/ 3553303 w 4740867"/>
              <a:gd name="connsiteY77" fmla="*/ 1159114 h 1558121"/>
              <a:gd name="connsiteX78" fmla="*/ 3553303 w 4740867"/>
              <a:gd name="connsiteY78" fmla="*/ 1184457 h 1558121"/>
              <a:gd name="connsiteX79" fmla="*/ 4037872 w 4740867"/>
              <a:gd name="connsiteY79" fmla="*/ 1184457 h 1558121"/>
              <a:gd name="connsiteX80" fmla="*/ 4037872 w 4740867"/>
              <a:gd name="connsiteY80" fmla="*/ 1244605 h 1558121"/>
              <a:gd name="connsiteX81" fmla="*/ 4072677 w 4740867"/>
              <a:gd name="connsiteY81" fmla="*/ 1244605 h 1558121"/>
              <a:gd name="connsiteX82" fmla="*/ 4072677 w 4740867"/>
              <a:gd name="connsiteY82" fmla="*/ 1293567 h 1558121"/>
              <a:gd name="connsiteX83" fmla="*/ 4097261 w 4740867"/>
              <a:gd name="connsiteY83" fmla="*/ 1318151 h 1558121"/>
              <a:gd name="connsiteX84" fmla="*/ 4740868 w 4740867"/>
              <a:gd name="connsiteY84" fmla="*/ 1318151 h 1558121"/>
              <a:gd name="connsiteX85" fmla="*/ 4740868 w 4740867"/>
              <a:gd name="connsiteY85" fmla="*/ 1558122 h 1558121"/>
              <a:gd name="connsiteX86" fmla="*/ 4075784 w 4740867"/>
              <a:gd name="connsiteY86" fmla="*/ 1558122 h 1558121"/>
              <a:gd name="connsiteX87" fmla="*/ 4075784 w 4740867"/>
              <a:gd name="connsiteY87" fmla="*/ 1542308 h 1558121"/>
              <a:gd name="connsiteX88" fmla="*/ 3825592 w 4740867"/>
              <a:gd name="connsiteY88" fmla="*/ 1542308 h 1558121"/>
              <a:gd name="connsiteX89" fmla="*/ 3825592 w 4740867"/>
              <a:gd name="connsiteY89" fmla="*/ 1516964 h 1558121"/>
              <a:gd name="connsiteX90" fmla="*/ 3784435 w 4740867"/>
              <a:gd name="connsiteY90" fmla="*/ 1516964 h 1558121"/>
              <a:gd name="connsiteX91" fmla="*/ 3784435 w 4740867"/>
              <a:gd name="connsiteY91" fmla="*/ 1475807 h 1558121"/>
              <a:gd name="connsiteX92" fmla="*/ 3531066 w 4740867"/>
              <a:gd name="connsiteY92" fmla="*/ 1475807 h 1558121"/>
              <a:gd name="connsiteX93" fmla="*/ 3508899 w 4740867"/>
              <a:gd name="connsiteY93" fmla="*/ 1453639 h 1558121"/>
              <a:gd name="connsiteX94" fmla="*/ 3404417 w 4740867"/>
              <a:gd name="connsiteY94" fmla="*/ 1453639 h 1558121"/>
              <a:gd name="connsiteX95" fmla="*/ 3404417 w 4740867"/>
              <a:gd name="connsiteY95" fmla="*/ 1421943 h 1558121"/>
              <a:gd name="connsiteX96" fmla="*/ 3315748 w 4740867"/>
              <a:gd name="connsiteY96" fmla="*/ 1421943 h 1558121"/>
              <a:gd name="connsiteX97" fmla="*/ 3315748 w 4740867"/>
              <a:gd name="connsiteY97" fmla="*/ 1399775 h 1558121"/>
              <a:gd name="connsiteX98" fmla="*/ 3284051 w 4740867"/>
              <a:gd name="connsiteY98" fmla="*/ 1399775 h 1558121"/>
              <a:gd name="connsiteX99" fmla="*/ 3284051 w 4740867"/>
              <a:gd name="connsiteY99" fmla="*/ 1371255 h 1558121"/>
              <a:gd name="connsiteX100" fmla="*/ 3024330 w 4740867"/>
              <a:gd name="connsiteY100" fmla="*/ 1371255 h 1558121"/>
              <a:gd name="connsiteX101" fmla="*/ 3024330 w 4740867"/>
              <a:gd name="connsiteY101" fmla="*/ 1333274 h 1558121"/>
              <a:gd name="connsiteX102" fmla="*/ 2989525 w 4740867"/>
              <a:gd name="connsiteY102" fmla="*/ 1333274 h 1558121"/>
              <a:gd name="connsiteX103" fmla="*/ 2989525 w 4740867"/>
              <a:gd name="connsiteY103" fmla="*/ 1307930 h 1558121"/>
              <a:gd name="connsiteX104" fmla="*/ 2970535 w 4740867"/>
              <a:gd name="connsiteY104" fmla="*/ 1307930 h 1558121"/>
              <a:gd name="connsiteX105" fmla="*/ 2970535 w 4740867"/>
              <a:gd name="connsiteY105" fmla="*/ 1276233 h 1558121"/>
              <a:gd name="connsiteX106" fmla="*/ 2748863 w 4740867"/>
              <a:gd name="connsiteY106" fmla="*/ 1276233 h 1558121"/>
              <a:gd name="connsiteX107" fmla="*/ 2748863 w 4740867"/>
              <a:gd name="connsiteY107" fmla="*/ 1224303 h 1558121"/>
              <a:gd name="connsiteX108" fmla="*/ 2729873 w 4740867"/>
              <a:gd name="connsiteY108" fmla="*/ 1224303 h 1558121"/>
              <a:gd name="connsiteX109" fmla="*/ 2729873 w 4740867"/>
              <a:gd name="connsiteY109" fmla="*/ 1181212 h 1558121"/>
              <a:gd name="connsiteX110" fmla="*/ 2546183 w 4740867"/>
              <a:gd name="connsiteY110" fmla="*/ 1181212 h 1558121"/>
              <a:gd name="connsiteX111" fmla="*/ 2546183 w 4740867"/>
              <a:gd name="connsiteY111" fmla="*/ 1155868 h 1558121"/>
              <a:gd name="connsiteX112" fmla="*/ 2460691 w 4740867"/>
              <a:gd name="connsiteY112" fmla="*/ 1155868 h 1558121"/>
              <a:gd name="connsiteX113" fmla="*/ 2460691 w 4740867"/>
              <a:gd name="connsiteY113" fmla="*/ 1130524 h 1558121"/>
              <a:gd name="connsiteX114" fmla="*/ 2432170 w 4740867"/>
              <a:gd name="connsiteY114" fmla="*/ 1130524 h 1558121"/>
              <a:gd name="connsiteX115" fmla="*/ 2432170 w 4740867"/>
              <a:gd name="connsiteY115" fmla="*/ 1076660 h 1558121"/>
              <a:gd name="connsiteX116" fmla="*/ 2349855 w 4740867"/>
              <a:gd name="connsiteY116" fmla="*/ 1076660 h 1558121"/>
              <a:gd name="connsiteX117" fmla="*/ 2349855 w 4740867"/>
              <a:gd name="connsiteY117" fmla="*/ 1054493 h 1558121"/>
              <a:gd name="connsiteX118" fmla="*/ 2229489 w 4740867"/>
              <a:gd name="connsiteY118" fmla="*/ 1054493 h 1558121"/>
              <a:gd name="connsiteX119" fmla="*/ 2229489 w 4740867"/>
              <a:gd name="connsiteY119" fmla="*/ 1019688 h 1558121"/>
              <a:gd name="connsiteX120" fmla="*/ 2181979 w 4740867"/>
              <a:gd name="connsiteY120" fmla="*/ 1019688 h 1558121"/>
              <a:gd name="connsiteX121" fmla="*/ 2205113 w 4740867"/>
              <a:gd name="connsiteY121" fmla="*/ 996554 h 1558121"/>
              <a:gd name="connsiteX122" fmla="*/ 2096417 w 4740867"/>
              <a:gd name="connsiteY122" fmla="*/ 996554 h 1558121"/>
              <a:gd name="connsiteX123" fmla="*/ 2096417 w 4740867"/>
              <a:gd name="connsiteY123" fmla="*/ 953187 h 1558121"/>
              <a:gd name="connsiteX124" fmla="*/ 2026739 w 4740867"/>
              <a:gd name="connsiteY124" fmla="*/ 953187 h 1558121"/>
              <a:gd name="connsiteX125" fmla="*/ 2026739 w 4740867"/>
              <a:gd name="connsiteY125" fmla="*/ 924667 h 1558121"/>
              <a:gd name="connsiteX126" fmla="*/ 1925365 w 4740867"/>
              <a:gd name="connsiteY126" fmla="*/ 924667 h 1558121"/>
              <a:gd name="connsiteX127" fmla="*/ 1925365 w 4740867"/>
              <a:gd name="connsiteY127" fmla="*/ 829645 h 1558121"/>
              <a:gd name="connsiteX128" fmla="*/ 1782832 w 4740867"/>
              <a:gd name="connsiteY128" fmla="*/ 829645 h 1558121"/>
              <a:gd name="connsiteX129" fmla="*/ 1782832 w 4740867"/>
              <a:gd name="connsiteY129" fmla="*/ 801125 h 1558121"/>
              <a:gd name="connsiteX130" fmla="*/ 1656182 w 4740867"/>
              <a:gd name="connsiteY130" fmla="*/ 801125 h 1558121"/>
              <a:gd name="connsiteX131" fmla="*/ 1656182 w 4740867"/>
              <a:gd name="connsiteY131" fmla="*/ 756790 h 1558121"/>
              <a:gd name="connsiteX132" fmla="*/ 1637192 w 4740867"/>
              <a:gd name="connsiteY132" fmla="*/ 756790 h 1558121"/>
              <a:gd name="connsiteX133" fmla="*/ 1637192 w 4740867"/>
              <a:gd name="connsiteY133" fmla="*/ 661769 h 1558121"/>
              <a:gd name="connsiteX134" fmla="*/ 1611848 w 4740867"/>
              <a:gd name="connsiteY134" fmla="*/ 661769 h 1558121"/>
              <a:gd name="connsiteX135" fmla="*/ 1611848 w 4740867"/>
              <a:gd name="connsiteY135" fmla="*/ 630072 h 1558121"/>
              <a:gd name="connsiteX136" fmla="*/ 1516826 w 4740867"/>
              <a:gd name="connsiteY136" fmla="*/ 630072 h 1558121"/>
              <a:gd name="connsiteX137" fmla="*/ 1516826 w 4740867"/>
              <a:gd name="connsiteY137" fmla="*/ 604728 h 1558121"/>
              <a:gd name="connsiteX138" fmla="*/ 1364833 w 4740867"/>
              <a:gd name="connsiteY138" fmla="*/ 604728 h 1558121"/>
              <a:gd name="connsiteX139" fmla="*/ 1364833 w 4740867"/>
              <a:gd name="connsiteY139" fmla="*/ 544580 h 1558121"/>
              <a:gd name="connsiteX140" fmla="*/ 1345842 w 4740867"/>
              <a:gd name="connsiteY140" fmla="*/ 544580 h 1558121"/>
              <a:gd name="connsiteX141" fmla="*/ 1345842 w 4740867"/>
              <a:gd name="connsiteY141" fmla="*/ 505425 h 1558121"/>
              <a:gd name="connsiteX142" fmla="*/ 1117818 w 4740867"/>
              <a:gd name="connsiteY142" fmla="*/ 505425 h 1558121"/>
              <a:gd name="connsiteX143" fmla="*/ 1117818 w 4740867"/>
              <a:gd name="connsiteY143" fmla="*/ 484431 h 1558121"/>
              <a:gd name="connsiteX144" fmla="*/ 1106285 w 4740867"/>
              <a:gd name="connsiteY144" fmla="*/ 484431 h 1558121"/>
              <a:gd name="connsiteX145" fmla="*/ 1106285 w 4740867"/>
              <a:gd name="connsiteY145" fmla="*/ 440097 h 1558121"/>
              <a:gd name="connsiteX146" fmla="*/ 1070307 w 4740867"/>
              <a:gd name="connsiteY146" fmla="*/ 440097 h 1558121"/>
              <a:gd name="connsiteX147" fmla="*/ 1070307 w 4740867"/>
              <a:gd name="connsiteY147" fmla="*/ 372422 h 1558121"/>
              <a:gd name="connsiteX148" fmla="*/ 1025973 w 4740867"/>
              <a:gd name="connsiteY148" fmla="*/ 372422 h 1558121"/>
              <a:gd name="connsiteX149" fmla="*/ 1025973 w 4740867"/>
              <a:gd name="connsiteY149" fmla="*/ 356677 h 1558121"/>
              <a:gd name="connsiteX150" fmla="*/ 841246 w 4740867"/>
              <a:gd name="connsiteY150" fmla="*/ 356677 h 1558121"/>
              <a:gd name="connsiteX151" fmla="*/ 841246 w 4740867"/>
              <a:gd name="connsiteY151" fmla="*/ 327121 h 1558121"/>
              <a:gd name="connsiteX152" fmla="*/ 823292 w 4740867"/>
              <a:gd name="connsiteY152" fmla="*/ 327121 h 1558121"/>
              <a:gd name="connsiteX153" fmla="*/ 823292 w 4740867"/>
              <a:gd name="connsiteY153" fmla="*/ 295424 h 1558121"/>
              <a:gd name="connsiteX154" fmla="*/ 804301 w 4740867"/>
              <a:gd name="connsiteY154" fmla="*/ 295424 h 1558121"/>
              <a:gd name="connsiteX155" fmla="*/ 804301 w 4740867"/>
              <a:gd name="connsiteY155" fmla="*/ 272221 h 1558121"/>
              <a:gd name="connsiteX156" fmla="*/ 779993 w 4740867"/>
              <a:gd name="connsiteY156" fmla="*/ 272221 h 1558121"/>
              <a:gd name="connsiteX157" fmla="*/ 779993 w 4740867"/>
              <a:gd name="connsiteY157" fmla="*/ 242665 h 1558121"/>
              <a:gd name="connsiteX158" fmla="*/ 677582 w 4740867"/>
              <a:gd name="connsiteY158" fmla="*/ 242665 h 1558121"/>
              <a:gd name="connsiteX159" fmla="*/ 677582 w 4740867"/>
              <a:gd name="connsiteY159" fmla="*/ 230027 h 1558121"/>
              <a:gd name="connsiteX160" fmla="*/ 587878 w 4740867"/>
              <a:gd name="connsiteY160" fmla="*/ 230027 h 1558121"/>
              <a:gd name="connsiteX161" fmla="*/ 587878 w 4740867"/>
              <a:gd name="connsiteY161" fmla="*/ 205719 h 1558121"/>
              <a:gd name="connsiteX162" fmla="*/ 549897 w 4740867"/>
              <a:gd name="connsiteY162" fmla="*/ 205719 h 1558121"/>
              <a:gd name="connsiteX163" fmla="*/ 549897 w 4740867"/>
              <a:gd name="connsiteY163" fmla="*/ 161385 h 1558121"/>
              <a:gd name="connsiteX164" fmla="*/ 524553 w 4740867"/>
              <a:gd name="connsiteY164" fmla="*/ 161385 h 1558121"/>
              <a:gd name="connsiteX165" fmla="*/ 524553 w 4740867"/>
              <a:gd name="connsiteY165" fmla="*/ 147643 h 1558121"/>
              <a:gd name="connsiteX166" fmla="*/ 478078 w 4740867"/>
              <a:gd name="connsiteY166" fmla="*/ 147643 h 1558121"/>
              <a:gd name="connsiteX167" fmla="*/ 478078 w 4740867"/>
              <a:gd name="connsiteY167" fmla="*/ 135005 h 1558121"/>
              <a:gd name="connsiteX168" fmla="*/ 331333 w 4740867"/>
              <a:gd name="connsiteY168" fmla="*/ 135005 h 1558121"/>
              <a:gd name="connsiteX169" fmla="*/ 331333 w 4740867"/>
              <a:gd name="connsiteY169" fmla="*/ 116015 h 1558121"/>
              <a:gd name="connsiteX170" fmla="*/ 281751 w 4740867"/>
              <a:gd name="connsiteY170" fmla="*/ 116015 h 1558121"/>
              <a:gd name="connsiteX171" fmla="*/ 281751 w 4740867"/>
              <a:gd name="connsiteY171" fmla="*/ 81210 h 1558121"/>
              <a:gd name="connsiteX172" fmla="*/ 170915 w 4740867"/>
              <a:gd name="connsiteY172" fmla="*/ 81210 h 1558121"/>
              <a:gd name="connsiteX173" fmla="*/ 170915 w 4740867"/>
              <a:gd name="connsiteY173" fmla="*/ 64292 h 1558121"/>
              <a:gd name="connsiteX174" fmla="*/ 147712 w 4740867"/>
              <a:gd name="connsiteY174" fmla="*/ 64292 h 1558121"/>
              <a:gd name="connsiteX175" fmla="*/ 147712 w 4740867"/>
              <a:gd name="connsiteY175" fmla="*/ 51654 h 1558121"/>
              <a:gd name="connsiteX176" fmla="*/ 109731 w 4740867"/>
              <a:gd name="connsiteY176" fmla="*/ 51654 h 1558121"/>
              <a:gd name="connsiteX177" fmla="*/ 109731 w 4740867"/>
              <a:gd name="connsiteY177" fmla="*/ 27346 h 1558121"/>
              <a:gd name="connsiteX178" fmla="*/ 52759 w 4740867"/>
              <a:gd name="connsiteY178" fmla="*/ 27346 h 1558121"/>
              <a:gd name="connsiteX179" fmla="*/ 52759 w 4740867"/>
              <a:gd name="connsiteY179" fmla="*/ 15745 h 1558121"/>
              <a:gd name="connsiteX180" fmla="*/ 0 w 4740867"/>
              <a:gd name="connsiteY180" fmla="*/ 15745 h 1558121"/>
              <a:gd name="connsiteX181" fmla="*/ 0 w 4740867"/>
              <a:gd name="connsiteY181" fmla="*/ 4212 h 1558121"/>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08899 w 4740868"/>
              <a:gd name="connsiteY93" fmla="*/ 1453639 h 1558122"/>
              <a:gd name="connsiteX94" fmla="*/ 3404417 w 4740868"/>
              <a:gd name="connsiteY94" fmla="*/ 1453639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48863 w 4740868"/>
              <a:gd name="connsiteY106" fmla="*/ 1276233 h 1558122"/>
              <a:gd name="connsiteX107" fmla="*/ 2748863 w 4740868"/>
              <a:gd name="connsiteY107" fmla="*/ 1224303 h 1558122"/>
              <a:gd name="connsiteX108" fmla="*/ 2729873 w 4740868"/>
              <a:gd name="connsiteY108" fmla="*/ 1224303 h 1558122"/>
              <a:gd name="connsiteX109" fmla="*/ 2729873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205113 w 4740868"/>
              <a:gd name="connsiteY121" fmla="*/ 996554 h 1558122"/>
              <a:gd name="connsiteX122" fmla="*/ 2096417 w 4740868"/>
              <a:gd name="connsiteY122" fmla="*/ 996554 h 1558122"/>
              <a:gd name="connsiteX123" fmla="*/ 2096417 w 4740868"/>
              <a:gd name="connsiteY123" fmla="*/ 953187 h 1558122"/>
              <a:gd name="connsiteX124" fmla="*/ 2026739 w 4740868"/>
              <a:gd name="connsiteY124" fmla="*/ 953187 h 1558122"/>
              <a:gd name="connsiteX125" fmla="*/ 2026739 w 4740868"/>
              <a:gd name="connsiteY125" fmla="*/ 924667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611848 w 4740868"/>
              <a:gd name="connsiteY135" fmla="*/ 630072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08899 w 4740868"/>
              <a:gd name="connsiteY93" fmla="*/ 1453639 h 1558122"/>
              <a:gd name="connsiteX94" fmla="*/ 3404417 w 4740868"/>
              <a:gd name="connsiteY94" fmla="*/ 1453639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48863 w 4740868"/>
              <a:gd name="connsiteY106" fmla="*/ 1276233 h 1558122"/>
              <a:gd name="connsiteX107" fmla="*/ 2748863 w 4740868"/>
              <a:gd name="connsiteY107" fmla="*/ 1224303 h 1558122"/>
              <a:gd name="connsiteX108" fmla="*/ 2729873 w 4740868"/>
              <a:gd name="connsiteY108" fmla="*/ 1224303 h 1558122"/>
              <a:gd name="connsiteX109" fmla="*/ 2729873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205113 w 4740868"/>
              <a:gd name="connsiteY121" fmla="*/ 996554 h 1558122"/>
              <a:gd name="connsiteX122" fmla="*/ 2096417 w 4740868"/>
              <a:gd name="connsiteY122" fmla="*/ 996554 h 1558122"/>
              <a:gd name="connsiteX123" fmla="*/ 2096417 w 4740868"/>
              <a:gd name="connsiteY123" fmla="*/ 953187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611848 w 4740868"/>
              <a:gd name="connsiteY135" fmla="*/ 630072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08899 w 4740868"/>
              <a:gd name="connsiteY93" fmla="*/ 1453639 h 1558122"/>
              <a:gd name="connsiteX94" fmla="*/ 3404417 w 4740868"/>
              <a:gd name="connsiteY94" fmla="*/ 1453639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48863 w 4740868"/>
              <a:gd name="connsiteY106" fmla="*/ 1276233 h 1558122"/>
              <a:gd name="connsiteX107" fmla="*/ 2748863 w 4740868"/>
              <a:gd name="connsiteY107" fmla="*/ 1224303 h 1558122"/>
              <a:gd name="connsiteX108" fmla="*/ 2729873 w 4740868"/>
              <a:gd name="connsiteY108" fmla="*/ 1224303 h 1558122"/>
              <a:gd name="connsiteX109" fmla="*/ 2729873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205113 w 4740868"/>
              <a:gd name="connsiteY121" fmla="*/ 996554 h 1558122"/>
              <a:gd name="connsiteX122" fmla="*/ 2107902 w 4740868"/>
              <a:gd name="connsiteY122" fmla="*/ 979447 h 1558122"/>
              <a:gd name="connsiteX123" fmla="*/ 2096417 w 4740868"/>
              <a:gd name="connsiteY123" fmla="*/ 953187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611848 w 4740868"/>
              <a:gd name="connsiteY135" fmla="*/ 630072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08899 w 4740868"/>
              <a:gd name="connsiteY93" fmla="*/ 1453639 h 1558122"/>
              <a:gd name="connsiteX94" fmla="*/ 3404417 w 4740868"/>
              <a:gd name="connsiteY94" fmla="*/ 1453639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48863 w 4740868"/>
              <a:gd name="connsiteY106" fmla="*/ 1276233 h 1558122"/>
              <a:gd name="connsiteX107" fmla="*/ 2748863 w 4740868"/>
              <a:gd name="connsiteY107" fmla="*/ 1224303 h 1558122"/>
              <a:gd name="connsiteX108" fmla="*/ 2729873 w 4740868"/>
              <a:gd name="connsiteY108" fmla="*/ 1224303 h 1558122"/>
              <a:gd name="connsiteX109" fmla="*/ 2729873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85013 w 4740868"/>
              <a:gd name="connsiteY121" fmla="*/ 962338 h 1558122"/>
              <a:gd name="connsiteX122" fmla="*/ 2107902 w 4740868"/>
              <a:gd name="connsiteY122" fmla="*/ 979447 h 1558122"/>
              <a:gd name="connsiteX123" fmla="*/ 2096417 w 4740868"/>
              <a:gd name="connsiteY123" fmla="*/ 953187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611848 w 4740868"/>
              <a:gd name="connsiteY135" fmla="*/ 630072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08899 w 4740868"/>
              <a:gd name="connsiteY93" fmla="*/ 1453639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48863 w 4740868"/>
              <a:gd name="connsiteY106" fmla="*/ 1276233 h 1558122"/>
              <a:gd name="connsiteX107" fmla="*/ 2748863 w 4740868"/>
              <a:gd name="connsiteY107" fmla="*/ 1224303 h 1558122"/>
              <a:gd name="connsiteX108" fmla="*/ 2729873 w 4740868"/>
              <a:gd name="connsiteY108" fmla="*/ 1224303 h 1558122"/>
              <a:gd name="connsiteX109" fmla="*/ 2729873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85013 w 4740868"/>
              <a:gd name="connsiteY121" fmla="*/ 962338 h 1558122"/>
              <a:gd name="connsiteX122" fmla="*/ 2107902 w 4740868"/>
              <a:gd name="connsiteY122" fmla="*/ 979447 h 1558122"/>
              <a:gd name="connsiteX123" fmla="*/ 2096417 w 4740868"/>
              <a:gd name="connsiteY123" fmla="*/ 953187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611848 w 4740868"/>
              <a:gd name="connsiteY135" fmla="*/ 630072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11770 w 4740868"/>
              <a:gd name="connsiteY93" fmla="*/ 1442233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48863 w 4740868"/>
              <a:gd name="connsiteY106" fmla="*/ 1276233 h 1558122"/>
              <a:gd name="connsiteX107" fmla="*/ 2748863 w 4740868"/>
              <a:gd name="connsiteY107" fmla="*/ 1224303 h 1558122"/>
              <a:gd name="connsiteX108" fmla="*/ 2729873 w 4740868"/>
              <a:gd name="connsiteY108" fmla="*/ 1224303 h 1558122"/>
              <a:gd name="connsiteX109" fmla="*/ 2729873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85013 w 4740868"/>
              <a:gd name="connsiteY121" fmla="*/ 962338 h 1558122"/>
              <a:gd name="connsiteX122" fmla="*/ 2107902 w 4740868"/>
              <a:gd name="connsiteY122" fmla="*/ 979447 h 1558122"/>
              <a:gd name="connsiteX123" fmla="*/ 2096417 w 4740868"/>
              <a:gd name="connsiteY123" fmla="*/ 953187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611848 w 4740868"/>
              <a:gd name="connsiteY135" fmla="*/ 630072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11770 w 4740868"/>
              <a:gd name="connsiteY93" fmla="*/ 1442233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48863 w 4740868"/>
              <a:gd name="connsiteY106" fmla="*/ 1276233 h 1558122"/>
              <a:gd name="connsiteX107" fmla="*/ 2748863 w 4740868"/>
              <a:gd name="connsiteY107" fmla="*/ 1224303 h 1558122"/>
              <a:gd name="connsiteX108" fmla="*/ 2729873 w 4740868"/>
              <a:gd name="connsiteY108" fmla="*/ 1224303 h 1558122"/>
              <a:gd name="connsiteX109" fmla="*/ 2729873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85013 w 4740868"/>
              <a:gd name="connsiteY121" fmla="*/ 962338 h 1558122"/>
              <a:gd name="connsiteX122" fmla="*/ 2107902 w 4740868"/>
              <a:gd name="connsiteY122" fmla="*/ 979447 h 1558122"/>
              <a:gd name="connsiteX123" fmla="*/ 2070574 w 4740868"/>
              <a:gd name="connsiteY123" fmla="*/ 967443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611848 w 4740868"/>
              <a:gd name="connsiteY135" fmla="*/ 630072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11770 w 4740868"/>
              <a:gd name="connsiteY93" fmla="*/ 1442233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48863 w 4740868"/>
              <a:gd name="connsiteY106" fmla="*/ 1276233 h 1558122"/>
              <a:gd name="connsiteX107" fmla="*/ 2748863 w 4740868"/>
              <a:gd name="connsiteY107" fmla="*/ 1224303 h 1558122"/>
              <a:gd name="connsiteX108" fmla="*/ 2729873 w 4740868"/>
              <a:gd name="connsiteY108" fmla="*/ 1224303 h 1558122"/>
              <a:gd name="connsiteX109" fmla="*/ 2729873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64913 w 4740868"/>
              <a:gd name="connsiteY121" fmla="*/ 973743 h 1558122"/>
              <a:gd name="connsiteX122" fmla="*/ 2107902 w 4740868"/>
              <a:gd name="connsiteY122" fmla="*/ 979447 h 1558122"/>
              <a:gd name="connsiteX123" fmla="*/ 2070574 w 4740868"/>
              <a:gd name="connsiteY123" fmla="*/ 967443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611848 w 4740868"/>
              <a:gd name="connsiteY135" fmla="*/ 630072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11770 w 4740868"/>
              <a:gd name="connsiteY93" fmla="*/ 1442233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48863 w 4740868"/>
              <a:gd name="connsiteY106" fmla="*/ 1276233 h 1558122"/>
              <a:gd name="connsiteX107" fmla="*/ 2748863 w 4740868"/>
              <a:gd name="connsiteY107" fmla="*/ 1224303 h 1558122"/>
              <a:gd name="connsiteX108" fmla="*/ 2729873 w 4740868"/>
              <a:gd name="connsiteY108" fmla="*/ 1224303 h 1558122"/>
              <a:gd name="connsiteX109" fmla="*/ 2729873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64913 w 4740868"/>
              <a:gd name="connsiteY121" fmla="*/ 973743 h 1558122"/>
              <a:gd name="connsiteX122" fmla="*/ 2107902 w 4740868"/>
              <a:gd name="connsiteY122" fmla="*/ 979447 h 1558122"/>
              <a:gd name="connsiteX123" fmla="*/ 2070574 w 4740868"/>
              <a:gd name="connsiteY123" fmla="*/ 967443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591749 w 4740868"/>
              <a:gd name="connsiteY135" fmla="*/ 650031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11770 w 4740868"/>
              <a:gd name="connsiteY93" fmla="*/ 1442233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48863 w 4740868"/>
              <a:gd name="connsiteY106" fmla="*/ 1276233 h 1558122"/>
              <a:gd name="connsiteX107" fmla="*/ 2748863 w 4740868"/>
              <a:gd name="connsiteY107" fmla="*/ 1224303 h 1558122"/>
              <a:gd name="connsiteX108" fmla="*/ 2729873 w 4740868"/>
              <a:gd name="connsiteY108" fmla="*/ 1224303 h 1558122"/>
              <a:gd name="connsiteX109" fmla="*/ 2692546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64913 w 4740868"/>
              <a:gd name="connsiteY121" fmla="*/ 973743 h 1558122"/>
              <a:gd name="connsiteX122" fmla="*/ 2107902 w 4740868"/>
              <a:gd name="connsiteY122" fmla="*/ 979447 h 1558122"/>
              <a:gd name="connsiteX123" fmla="*/ 2070574 w 4740868"/>
              <a:gd name="connsiteY123" fmla="*/ 967443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591749 w 4740868"/>
              <a:gd name="connsiteY135" fmla="*/ 650031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11770 w 4740868"/>
              <a:gd name="connsiteY93" fmla="*/ 1442233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66091 w 4740868"/>
              <a:gd name="connsiteY106" fmla="*/ 1259125 h 1558122"/>
              <a:gd name="connsiteX107" fmla="*/ 2748863 w 4740868"/>
              <a:gd name="connsiteY107" fmla="*/ 1224303 h 1558122"/>
              <a:gd name="connsiteX108" fmla="*/ 2729873 w 4740868"/>
              <a:gd name="connsiteY108" fmla="*/ 1224303 h 1558122"/>
              <a:gd name="connsiteX109" fmla="*/ 2692546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64913 w 4740868"/>
              <a:gd name="connsiteY121" fmla="*/ 973743 h 1558122"/>
              <a:gd name="connsiteX122" fmla="*/ 2107902 w 4740868"/>
              <a:gd name="connsiteY122" fmla="*/ 979447 h 1558122"/>
              <a:gd name="connsiteX123" fmla="*/ 2070574 w 4740868"/>
              <a:gd name="connsiteY123" fmla="*/ 967443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591749 w 4740868"/>
              <a:gd name="connsiteY135" fmla="*/ 650031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11770 w 4740868"/>
              <a:gd name="connsiteY93" fmla="*/ 1442233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66091 w 4740868"/>
              <a:gd name="connsiteY106" fmla="*/ 1259125 h 1558122"/>
              <a:gd name="connsiteX107" fmla="*/ 2740249 w 4740868"/>
              <a:gd name="connsiteY107" fmla="*/ 1247113 h 1558122"/>
              <a:gd name="connsiteX108" fmla="*/ 2729873 w 4740868"/>
              <a:gd name="connsiteY108" fmla="*/ 1224303 h 1558122"/>
              <a:gd name="connsiteX109" fmla="*/ 2692546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64913 w 4740868"/>
              <a:gd name="connsiteY121" fmla="*/ 973743 h 1558122"/>
              <a:gd name="connsiteX122" fmla="*/ 2107902 w 4740868"/>
              <a:gd name="connsiteY122" fmla="*/ 979447 h 1558122"/>
              <a:gd name="connsiteX123" fmla="*/ 2070574 w 4740868"/>
              <a:gd name="connsiteY123" fmla="*/ 967443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82832 w 4740868"/>
              <a:gd name="connsiteY129" fmla="*/ 801125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591749 w 4740868"/>
              <a:gd name="connsiteY135" fmla="*/ 650031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11770 w 4740868"/>
              <a:gd name="connsiteY93" fmla="*/ 1442233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66091 w 4740868"/>
              <a:gd name="connsiteY106" fmla="*/ 1259125 h 1558122"/>
              <a:gd name="connsiteX107" fmla="*/ 2740249 w 4740868"/>
              <a:gd name="connsiteY107" fmla="*/ 1247113 h 1558122"/>
              <a:gd name="connsiteX108" fmla="*/ 2729873 w 4740868"/>
              <a:gd name="connsiteY108" fmla="*/ 1224303 h 1558122"/>
              <a:gd name="connsiteX109" fmla="*/ 2692546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64913 w 4740868"/>
              <a:gd name="connsiteY121" fmla="*/ 973743 h 1558122"/>
              <a:gd name="connsiteX122" fmla="*/ 2107902 w 4740868"/>
              <a:gd name="connsiteY122" fmla="*/ 979447 h 1558122"/>
              <a:gd name="connsiteX123" fmla="*/ 2070574 w 4740868"/>
              <a:gd name="connsiteY123" fmla="*/ 967443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48375 w 4740868"/>
              <a:gd name="connsiteY129" fmla="*/ 812530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591749 w 4740868"/>
              <a:gd name="connsiteY135" fmla="*/ 650031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05425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11770 w 4740868"/>
              <a:gd name="connsiteY93" fmla="*/ 1442233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66091 w 4740868"/>
              <a:gd name="connsiteY106" fmla="*/ 1259125 h 1558122"/>
              <a:gd name="connsiteX107" fmla="*/ 2740249 w 4740868"/>
              <a:gd name="connsiteY107" fmla="*/ 1247113 h 1558122"/>
              <a:gd name="connsiteX108" fmla="*/ 2729873 w 4740868"/>
              <a:gd name="connsiteY108" fmla="*/ 1224303 h 1558122"/>
              <a:gd name="connsiteX109" fmla="*/ 2692546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64913 w 4740868"/>
              <a:gd name="connsiteY121" fmla="*/ 973743 h 1558122"/>
              <a:gd name="connsiteX122" fmla="*/ 2107902 w 4740868"/>
              <a:gd name="connsiteY122" fmla="*/ 979447 h 1558122"/>
              <a:gd name="connsiteX123" fmla="*/ 2070574 w 4740868"/>
              <a:gd name="connsiteY123" fmla="*/ 967443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48375 w 4740868"/>
              <a:gd name="connsiteY129" fmla="*/ 812530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591749 w 4740868"/>
              <a:gd name="connsiteY135" fmla="*/ 650031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5842 w 4740868"/>
              <a:gd name="connsiteY141" fmla="*/ 505425 h 1558122"/>
              <a:gd name="connsiteX142" fmla="*/ 1117818 w 4740868"/>
              <a:gd name="connsiteY142" fmla="*/ 516831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 name="connsiteX0" fmla="*/ 0 w 4740868"/>
              <a:gd name="connsiteY0" fmla="*/ 0 h 1558122"/>
              <a:gd name="connsiteX1" fmla="*/ 164700 w 4740868"/>
              <a:gd name="connsiteY1" fmla="*/ 0 h 1558122"/>
              <a:gd name="connsiteX2" fmla="*/ 164700 w 4740868"/>
              <a:gd name="connsiteY2" fmla="*/ 34804 h 1558122"/>
              <a:gd name="connsiteX3" fmla="*/ 212211 w 4740868"/>
              <a:gd name="connsiteY3" fmla="*/ 34804 h 1558122"/>
              <a:gd name="connsiteX4" fmla="*/ 212211 w 4740868"/>
              <a:gd name="connsiteY4" fmla="*/ 66501 h 1558122"/>
              <a:gd name="connsiteX5" fmla="*/ 329400 w 4740868"/>
              <a:gd name="connsiteY5" fmla="*/ 66501 h 1558122"/>
              <a:gd name="connsiteX6" fmla="*/ 329400 w 4740868"/>
              <a:gd name="connsiteY6" fmla="*/ 95022 h 1558122"/>
              <a:gd name="connsiteX7" fmla="*/ 376910 w 4740868"/>
              <a:gd name="connsiteY7" fmla="*/ 95022 h 1558122"/>
              <a:gd name="connsiteX8" fmla="*/ 376910 w 4740868"/>
              <a:gd name="connsiteY8" fmla="*/ 117189 h 1558122"/>
              <a:gd name="connsiteX9" fmla="*/ 490923 w 4740868"/>
              <a:gd name="connsiteY9" fmla="*/ 117189 h 1558122"/>
              <a:gd name="connsiteX10" fmla="*/ 490923 w 4740868"/>
              <a:gd name="connsiteY10" fmla="*/ 139356 h 1558122"/>
              <a:gd name="connsiteX11" fmla="*/ 541610 w 4740868"/>
              <a:gd name="connsiteY11" fmla="*/ 139356 h 1558122"/>
              <a:gd name="connsiteX12" fmla="*/ 541610 w 4740868"/>
              <a:gd name="connsiteY12" fmla="*/ 180514 h 1558122"/>
              <a:gd name="connsiteX13" fmla="*/ 630279 w 4740868"/>
              <a:gd name="connsiteY13" fmla="*/ 180514 h 1558122"/>
              <a:gd name="connsiteX14" fmla="*/ 630279 w 4740868"/>
              <a:gd name="connsiteY14" fmla="*/ 212211 h 1558122"/>
              <a:gd name="connsiteX15" fmla="*/ 791802 w 4740868"/>
              <a:gd name="connsiteY15" fmla="*/ 212211 h 1558122"/>
              <a:gd name="connsiteX16" fmla="*/ 791802 w 4740868"/>
              <a:gd name="connsiteY16" fmla="*/ 234378 h 1558122"/>
              <a:gd name="connsiteX17" fmla="*/ 826606 w 4740868"/>
              <a:gd name="connsiteY17" fmla="*/ 234378 h 1558122"/>
              <a:gd name="connsiteX18" fmla="*/ 826606 w 4740868"/>
              <a:gd name="connsiteY18" fmla="*/ 288242 h 1558122"/>
              <a:gd name="connsiteX19" fmla="*/ 962786 w 4740868"/>
              <a:gd name="connsiteY19" fmla="*/ 288242 h 1558122"/>
              <a:gd name="connsiteX20" fmla="*/ 962786 w 4740868"/>
              <a:gd name="connsiteY20" fmla="*/ 304056 h 1558122"/>
              <a:gd name="connsiteX21" fmla="*/ 1035640 w 4740868"/>
              <a:gd name="connsiteY21" fmla="*/ 304056 h 1558122"/>
              <a:gd name="connsiteX22" fmla="*/ 1035640 w 4740868"/>
              <a:gd name="connsiteY22" fmla="*/ 329400 h 1558122"/>
              <a:gd name="connsiteX23" fmla="*/ 1083151 w 4740868"/>
              <a:gd name="connsiteY23" fmla="*/ 329400 h 1558122"/>
              <a:gd name="connsiteX24" fmla="*/ 1083151 w 4740868"/>
              <a:gd name="connsiteY24" fmla="*/ 354743 h 1558122"/>
              <a:gd name="connsiteX25" fmla="*/ 1124309 w 4740868"/>
              <a:gd name="connsiteY25" fmla="*/ 354743 h 1558122"/>
              <a:gd name="connsiteX26" fmla="*/ 1124309 w 4740868"/>
              <a:gd name="connsiteY26" fmla="*/ 389548 h 1558122"/>
              <a:gd name="connsiteX27" fmla="*/ 1336520 w 4740868"/>
              <a:gd name="connsiteY27" fmla="*/ 389548 h 1558122"/>
              <a:gd name="connsiteX28" fmla="*/ 1336520 w 4740868"/>
              <a:gd name="connsiteY28" fmla="*/ 427529 h 1558122"/>
              <a:gd name="connsiteX29" fmla="*/ 1361863 w 4740868"/>
              <a:gd name="connsiteY29" fmla="*/ 427529 h 1558122"/>
              <a:gd name="connsiteX30" fmla="*/ 1361863 w 4740868"/>
              <a:gd name="connsiteY30" fmla="*/ 452873 h 1558122"/>
              <a:gd name="connsiteX31" fmla="*/ 1384031 w 4740868"/>
              <a:gd name="connsiteY31" fmla="*/ 452873 h 1558122"/>
              <a:gd name="connsiteX32" fmla="*/ 1384031 w 4740868"/>
              <a:gd name="connsiteY32" fmla="*/ 481393 h 1558122"/>
              <a:gd name="connsiteX33" fmla="*/ 1441002 w 4740868"/>
              <a:gd name="connsiteY33" fmla="*/ 481393 h 1558122"/>
              <a:gd name="connsiteX34" fmla="*/ 1441002 w 4740868"/>
              <a:gd name="connsiteY34" fmla="*/ 503560 h 1558122"/>
              <a:gd name="connsiteX35" fmla="*/ 1567652 w 4740868"/>
              <a:gd name="connsiteY35" fmla="*/ 503560 h 1558122"/>
              <a:gd name="connsiteX36" fmla="*/ 1567652 w 4740868"/>
              <a:gd name="connsiteY36" fmla="*/ 525727 h 1558122"/>
              <a:gd name="connsiteX37" fmla="*/ 1615163 w 4740868"/>
              <a:gd name="connsiteY37" fmla="*/ 525727 h 1558122"/>
              <a:gd name="connsiteX38" fmla="*/ 1615163 w 4740868"/>
              <a:gd name="connsiteY38" fmla="*/ 551071 h 1558122"/>
              <a:gd name="connsiteX39" fmla="*/ 1637330 w 4740868"/>
              <a:gd name="connsiteY39" fmla="*/ 551071 h 1558122"/>
              <a:gd name="connsiteX40" fmla="*/ 1637330 w 4740868"/>
              <a:gd name="connsiteY40" fmla="*/ 585875 h 1558122"/>
              <a:gd name="connsiteX41" fmla="*/ 1672134 w 4740868"/>
              <a:gd name="connsiteY41" fmla="*/ 585875 h 1558122"/>
              <a:gd name="connsiteX42" fmla="*/ 1672134 w 4740868"/>
              <a:gd name="connsiteY42" fmla="*/ 608043 h 1558122"/>
              <a:gd name="connsiteX43" fmla="*/ 1874815 w 4740868"/>
              <a:gd name="connsiteY43" fmla="*/ 608043 h 1558122"/>
              <a:gd name="connsiteX44" fmla="*/ 1874815 w 4740868"/>
              <a:gd name="connsiteY44" fmla="*/ 636563 h 1558122"/>
              <a:gd name="connsiteX45" fmla="*/ 1893806 w 4740868"/>
              <a:gd name="connsiteY45" fmla="*/ 636563 h 1558122"/>
              <a:gd name="connsiteX46" fmla="*/ 1893806 w 4740868"/>
              <a:gd name="connsiteY46" fmla="*/ 655553 h 1558122"/>
              <a:gd name="connsiteX47" fmla="*/ 1931787 w 4740868"/>
              <a:gd name="connsiteY47" fmla="*/ 655553 h 1558122"/>
              <a:gd name="connsiteX48" fmla="*/ 1931787 w 4740868"/>
              <a:gd name="connsiteY48" fmla="*/ 680897 h 1558122"/>
              <a:gd name="connsiteX49" fmla="*/ 2052152 w 4740868"/>
              <a:gd name="connsiteY49" fmla="*/ 680897 h 1558122"/>
              <a:gd name="connsiteX50" fmla="*/ 2052152 w 4740868"/>
              <a:gd name="connsiteY50" fmla="*/ 703064 h 1558122"/>
              <a:gd name="connsiteX51" fmla="*/ 2143997 w 4740868"/>
              <a:gd name="connsiteY51" fmla="*/ 703064 h 1558122"/>
              <a:gd name="connsiteX52" fmla="*/ 2143997 w 4740868"/>
              <a:gd name="connsiteY52" fmla="*/ 722055 h 1558122"/>
              <a:gd name="connsiteX53" fmla="*/ 2196619 w 4740868"/>
              <a:gd name="connsiteY53" fmla="*/ 722055 h 1558122"/>
              <a:gd name="connsiteX54" fmla="*/ 2196619 w 4740868"/>
              <a:gd name="connsiteY54" fmla="*/ 772742 h 1558122"/>
              <a:gd name="connsiteX55" fmla="*/ 2368845 w 4740868"/>
              <a:gd name="connsiteY55" fmla="*/ 772742 h 1558122"/>
              <a:gd name="connsiteX56" fmla="*/ 2368845 w 4740868"/>
              <a:gd name="connsiteY56" fmla="*/ 813900 h 1558122"/>
              <a:gd name="connsiteX57" fmla="*/ 2435347 w 4740868"/>
              <a:gd name="connsiteY57" fmla="*/ 813900 h 1558122"/>
              <a:gd name="connsiteX58" fmla="*/ 2435347 w 4740868"/>
              <a:gd name="connsiteY58" fmla="*/ 839244 h 1558122"/>
              <a:gd name="connsiteX59" fmla="*/ 2457514 w 4740868"/>
              <a:gd name="connsiteY59" fmla="*/ 839244 h 1558122"/>
              <a:gd name="connsiteX60" fmla="*/ 2457514 w 4740868"/>
              <a:gd name="connsiteY60" fmla="*/ 893108 h 1558122"/>
              <a:gd name="connsiteX61" fmla="*/ 2581056 w 4740868"/>
              <a:gd name="connsiteY61" fmla="*/ 893108 h 1558122"/>
              <a:gd name="connsiteX62" fmla="*/ 2581056 w 4740868"/>
              <a:gd name="connsiteY62" fmla="*/ 918452 h 1558122"/>
              <a:gd name="connsiteX63" fmla="*/ 2691892 w 4740868"/>
              <a:gd name="connsiteY63" fmla="*/ 918452 h 1558122"/>
              <a:gd name="connsiteX64" fmla="*/ 2691892 w 4740868"/>
              <a:gd name="connsiteY64" fmla="*/ 946972 h 1558122"/>
              <a:gd name="connsiteX65" fmla="*/ 2726696 w 4740868"/>
              <a:gd name="connsiteY65" fmla="*/ 946972 h 1558122"/>
              <a:gd name="connsiteX66" fmla="*/ 2726696 w 4740868"/>
              <a:gd name="connsiteY66" fmla="*/ 978669 h 1558122"/>
              <a:gd name="connsiteX67" fmla="*/ 2748863 w 4740868"/>
              <a:gd name="connsiteY67" fmla="*/ 978669 h 1558122"/>
              <a:gd name="connsiteX68" fmla="*/ 2748863 w 4740868"/>
              <a:gd name="connsiteY68" fmla="*/ 1013473 h 1558122"/>
              <a:gd name="connsiteX69" fmla="*/ 2967358 w 4740868"/>
              <a:gd name="connsiteY69" fmla="*/ 1013473 h 1558122"/>
              <a:gd name="connsiteX70" fmla="*/ 2967358 w 4740868"/>
              <a:gd name="connsiteY70" fmla="*/ 1035640 h 1558122"/>
              <a:gd name="connsiteX71" fmla="*/ 3002163 w 4740868"/>
              <a:gd name="connsiteY71" fmla="*/ 1035640 h 1558122"/>
              <a:gd name="connsiteX72" fmla="*/ 3002163 w 4740868"/>
              <a:gd name="connsiteY72" fmla="*/ 1086328 h 1558122"/>
              <a:gd name="connsiteX73" fmla="*/ 3261884 w 4740868"/>
              <a:gd name="connsiteY73" fmla="*/ 1086328 h 1558122"/>
              <a:gd name="connsiteX74" fmla="*/ 3261884 w 4740868"/>
              <a:gd name="connsiteY74" fmla="*/ 1121132 h 1558122"/>
              <a:gd name="connsiteX75" fmla="*/ 3521606 w 4740868"/>
              <a:gd name="connsiteY75" fmla="*/ 1121132 h 1558122"/>
              <a:gd name="connsiteX76" fmla="*/ 3521606 w 4740868"/>
              <a:gd name="connsiteY76" fmla="*/ 1159114 h 1558122"/>
              <a:gd name="connsiteX77" fmla="*/ 3553303 w 4740868"/>
              <a:gd name="connsiteY77" fmla="*/ 1159114 h 1558122"/>
              <a:gd name="connsiteX78" fmla="*/ 3553303 w 4740868"/>
              <a:gd name="connsiteY78" fmla="*/ 1184457 h 1558122"/>
              <a:gd name="connsiteX79" fmla="*/ 4037872 w 4740868"/>
              <a:gd name="connsiteY79" fmla="*/ 1184457 h 1558122"/>
              <a:gd name="connsiteX80" fmla="*/ 4037872 w 4740868"/>
              <a:gd name="connsiteY80" fmla="*/ 1244605 h 1558122"/>
              <a:gd name="connsiteX81" fmla="*/ 4072677 w 4740868"/>
              <a:gd name="connsiteY81" fmla="*/ 1244605 h 1558122"/>
              <a:gd name="connsiteX82" fmla="*/ 4072677 w 4740868"/>
              <a:gd name="connsiteY82" fmla="*/ 1293567 h 1558122"/>
              <a:gd name="connsiteX83" fmla="*/ 4097261 w 4740868"/>
              <a:gd name="connsiteY83" fmla="*/ 1318151 h 1558122"/>
              <a:gd name="connsiteX84" fmla="*/ 4740868 w 4740868"/>
              <a:gd name="connsiteY84" fmla="*/ 1318151 h 1558122"/>
              <a:gd name="connsiteX85" fmla="*/ 4740868 w 4740868"/>
              <a:gd name="connsiteY85" fmla="*/ 1558122 h 1558122"/>
              <a:gd name="connsiteX86" fmla="*/ 4075784 w 4740868"/>
              <a:gd name="connsiteY86" fmla="*/ 1558122 h 1558122"/>
              <a:gd name="connsiteX87" fmla="*/ 4075784 w 4740868"/>
              <a:gd name="connsiteY87" fmla="*/ 1542308 h 1558122"/>
              <a:gd name="connsiteX88" fmla="*/ 3825592 w 4740868"/>
              <a:gd name="connsiteY88" fmla="*/ 1542308 h 1558122"/>
              <a:gd name="connsiteX89" fmla="*/ 3825592 w 4740868"/>
              <a:gd name="connsiteY89" fmla="*/ 1516964 h 1558122"/>
              <a:gd name="connsiteX90" fmla="*/ 3784435 w 4740868"/>
              <a:gd name="connsiteY90" fmla="*/ 1516964 h 1558122"/>
              <a:gd name="connsiteX91" fmla="*/ 3784435 w 4740868"/>
              <a:gd name="connsiteY91" fmla="*/ 1475807 h 1558122"/>
              <a:gd name="connsiteX92" fmla="*/ 3531066 w 4740868"/>
              <a:gd name="connsiteY92" fmla="*/ 1475807 h 1558122"/>
              <a:gd name="connsiteX93" fmla="*/ 3511770 w 4740868"/>
              <a:gd name="connsiteY93" fmla="*/ 1442233 h 1558122"/>
              <a:gd name="connsiteX94" fmla="*/ 3404417 w 4740868"/>
              <a:gd name="connsiteY94" fmla="*/ 1439383 h 1558122"/>
              <a:gd name="connsiteX95" fmla="*/ 3404417 w 4740868"/>
              <a:gd name="connsiteY95" fmla="*/ 1421943 h 1558122"/>
              <a:gd name="connsiteX96" fmla="*/ 3315748 w 4740868"/>
              <a:gd name="connsiteY96" fmla="*/ 1421943 h 1558122"/>
              <a:gd name="connsiteX97" fmla="*/ 3315748 w 4740868"/>
              <a:gd name="connsiteY97" fmla="*/ 1399775 h 1558122"/>
              <a:gd name="connsiteX98" fmla="*/ 3284051 w 4740868"/>
              <a:gd name="connsiteY98" fmla="*/ 1399775 h 1558122"/>
              <a:gd name="connsiteX99" fmla="*/ 3284051 w 4740868"/>
              <a:gd name="connsiteY99" fmla="*/ 1371255 h 1558122"/>
              <a:gd name="connsiteX100" fmla="*/ 3024330 w 4740868"/>
              <a:gd name="connsiteY100" fmla="*/ 1371255 h 1558122"/>
              <a:gd name="connsiteX101" fmla="*/ 3024330 w 4740868"/>
              <a:gd name="connsiteY101" fmla="*/ 1333274 h 1558122"/>
              <a:gd name="connsiteX102" fmla="*/ 2989525 w 4740868"/>
              <a:gd name="connsiteY102" fmla="*/ 1333274 h 1558122"/>
              <a:gd name="connsiteX103" fmla="*/ 2989525 w 4740868"/>
              <a:gd name="connsiteY103" fmla="*/ 1307930 h 1558122"/>
              <a:gd name="connsiteX104" fmla="*/ 2970535 w 4740868"/>
              <a:gd name="connsiteY104" fmla="*/ 1307930 h 1558122"/>
              <a:gd name="connsiteX105" fmla="*/ 2970535 w 4740868"/>
              <a:gd name="connsiteY105" fmla="*/ 1276233 h 1558122"/>
              <a:gd name="connsiteX106" fmla="*/ 2766091 w 4740868"/>
              <a:gd name="connsiteY106" fmla="*/ 1259125 h 1558122"/>
              <a:gd name="connsiteX107" fmla="*/ 2740249 w 4740868"/>
              <a:gd name="connsiteY107" fmla="*/ 1247113 h 1558122"/>
              <a:gd name="connsiteX108" fmla="*/ 2729873 w 4740868"/>
              <a:gd name="connsiteY108" fmla="*/ 1224303 h 1558122"/>
              <a:gd name="connsiteX109" fmla="*/ 2692546 w 4740868"/>
              <a:gd name="connsiteY109" fmla="*/ 1181212 h 1558122"/>
              <a:gd name="connsiteX110" fmla="*/ 2546183 w 4740868"/>
              <a:gd name="connsiteY110" fmla="*/ 1181212 h 1558122"/>
              <a:gd name="connsiteX111" fmla="*/ 2546183 w 4740868"/>
              <a:gd name="connsiteY111" fmla="*/ 1155868 h 1558122"/>
              <a:gd name="connsiteX112" fmla="*/ 2460691 w 4740868"/>
              <a:gd name="connsiteY112" fmla="*/ 1155868 h 1558122"/>
              <a:gd name="connsiteX113" fmla="*/ 2460691 w 4740868"/>
              <a:gd name="connsiteY113" fmla="*/ 1130524 h 1558122"/>
              <a:gd name="connsiteX114" fmla="*/ 2432170 w 4740868"/>
              <a:gd name="connsiteY114" fmla="*/ 1130524 h 1558122"/>
              <a:gd name="connsiteX115" fmla="*/ 2432170 w 4740868"/>
              <a:gd name="connsiteY115" fmla="*/ 1076660 h 1558122"/>
              <a:gd name="connsiteX116" fmla="*/ 2349855 w 4740868"/>
              <a:gd name="connsiteY116" fmla="*/ 1076660 h 1558122"/>
              <a:gd name="connsiteX117" fmla="*/ 2349855 w 4740868"/>
              <a:gd name="connsiteY117" fmla="*/ 1054493 h 1558122"/>
              <a:gd name="connsiteX118" fmla="*/ 2229489 w 4740868"/>
              <a:gd name="connsiteY118" fmla="*/ 1054493 h 1558122"/>
              <a:gd name="connsiteX119" fmla="*/ 2229489 w 4740868"/>
              <a:gd name="connsiteY119" fmla="*/ 1019688 h 1558122"/>
              <a:gd name="connsiteX120" fmla="*/ 2181979 w 4740868"/>
              <a:gd name="connsiteY120" fmla="*/ 1019688 h 1558122"/>
              <a:gd name="connsiteX121" fmla="*/ 2164913 w 4740868"/>
              <a:gd name="connsiteY121" fmla="*/ 973743 h 1558122"/>
              <a:gd name="connsiteX122" fmla="*/ 2107902 w 4740868"/>
              <a:gd name="connsiteY122" fmla="*/ 979447 h 1558122"/>
              <a:gd name="connsiteX123" fmla="*/ 2070574 w 4740868"/>
              <a:gd name="connsiteY123" fmla="*/ 967443 h 1558122"/>
              <a:gd name="connsiteX124" fmla="*/ 2026739 w 4740868"/>
              <a:gd name="connsiteY124" fmla="*/ 953187 h 1558122"/>
              <a:gd name="connsiteX125" fmla="*/ 1995153 w 4740868"/>
              <a:gd name="connsiteY125" fmla="*/ 950329 h 1558122"/>
              <a:gd name="connsiteX126" fmla="*/ 1925365 w 4740868"/>
              <a:gd name="connsiteY126" fmla="*/ 924667 h 1558122"/>
              <a:gd name="connsiteX127" fmla="*/ 1911008 w 4740868"/>
              <a:gd name="connsiteY127" fmla="*/ 829645 h 1558122"/>
              <a:gd name="connsiteX128" fmla="*/ 1782832 w 4740868"/>
              <a:gd name="connsiteY128" fmla="*/ 829645 h 1558122"/>
              <a:gd name="connsiteX129" fmla="*/ 1748375 w 4740868"/>
              <a:gd name="connsiteY129" fmla="*/ 812530 h 1558122"/>
              <a:gd name="connsiteX130" fmla="*/ 1656182 w 4740868"/>
              <a:gd name="connsiteY130" fmla="*/ 801125 h 1558122"/>
              <a:gd name="connsiteX131" fmla="*/ 1656182 w 4740868"/>
              <a:gd name="connsiteY131" fmla="*/ 756790 h 1558122"/>
              <a:gd name="connsiteX132" fmla="*/ 1637192 w 4740868"/>
              <a:gd name="connsiteY132" fmla="*/ 756790 h 1558122"/>
              <a:gd name="connsiteX133" fmla="*/ 1637192 w 4740868"/>
              <a:gd name="connsiteY133" fmla="*/ 661769 h 1558122"/>
              <a:gd name="connsiteX134" fmla="*/ 1611848 w 4740868"/>
              <a:gd name="connsiteY134" fmla="*/ 661769 h 1558122"/>
              <a:gd name="connsiteX135" fmla="*/ 1591749 w 4740868"/>
              <a:gd name="connsiteY135" fmla="*/ 650031 h 1558122"/>
              <a:gd name="connsiteX136" fmla="*/ 1516826 w 4740868"/>
              <a:gd name="connsiteY136" fmla="*/ 630072 h 1558122"/>
              <a:gd name="connsiteX137" fmla="*/ 1516826 w 4740868"/>
              <a:gd name="connsiteY137" fmla="*/ 604728 h 1558122"/>
              <a:gd name="connsiteX138" fmla="*/ 1364833 w 4740868"/>
              <a:gd name="connsiteY138" fmla="*/ 604728 h 1558122"/>
              <a:gd name="connsiteX139" fmla="*/ 1364833 w 4740868"/>
              <a:gd name="connsiteY139" fmla="*/ 544580 h 1558122"/>
              <a:gd name="connsiteX140" fmla="*/ 1345842 w 4740868"/>
              <a:gd name="connsiteY140" fmla="*/ 544580 h 1558122"/>
              <a:gd name="connsiteX141" fmla="*/ 1340099 w 4740868"/>
              <a:gd name="connsiteY141" fmla="*/ 516831 h 1558122"/>
              <a:gd name="connsiteX142" fmla="*/ 1117818 w 4740868"/>
              <a:gd name="connsiteY142" fmla="*/ 516831 h 1558122"/>
              <a:gd name="connsiteX143" fmla="*/ 1117818 w 4740868"/>
              <a:gd name="connsiteY143" fmla="*/ 484431 h 1558122"/>
              <a:gd name="connsiteX144" fmla="*/ 1106285 w 4740868"/>
              <a:gd name="connsiteY144" fmla="*/ 484431 h 1558122"/>
              <a:gd name="connsiteX145" fmla="*/ 1106285 w 4740868"/>
              <a:gd name="connsiteY145" fmla="*/ 440097 h 1558122"/>
              <a:gd name="connsiteX146" fmla="*/ 1070307 w 4740868"/>
              <a:gd name="connsiteY146" fmla="*/ 440097 h 1558122"/>
              <a:gd name="connsiteX147" fmla="*/ 1070307 w 4740868"/>
              <a:gd name="connsiteY147" fmla="*/ 372422 h 1558122"/>
              <a:gd name="connsiteX148" fmla="*/ 1025973 w 4740868"/>
              <a:gd name="connsiteY148" fmla="*/ 372422 h 1558122"/>
              <a:gd name="connsiteX149" fmla="*/ 1025973 w 4740868"/>
              <a:gd name="connsiteY149" fmla="*/ 356677 h 1558122"/>
              <a:gd name="connsiteX150" fmla="*/ 841246 w 4740868"/>
              <a:gd name="connsiteY150" fmla="*/ 356677 h 1558122"/>
              <a:gd name="connsiteX151" fmla="*/ 841246 w 4740868"/>
              <a:gd name="connsiteY151" fmla="*/ 327121 h 1558122"/>
              <a:gd name="connsiteX152" fmla="*/ 823292 w 4740868"/>
              <a:gd name="connsiteY152" fmla="*/ 327121 h 1558122"/>
              <a:gd name="connsiteX153" fmla="*/ 823292 w 4740868"/>
              <a:gd name="connsiteY153" fmla="*/ 295424 h 1558122"/>
              <a:gd name="connsiteX154" fmla="*/ 804301 w 4740868"/>
              <a:gd name="connsiteY154" fmla="*/ 295424 h 1558122"/>
              <a:gd name="connsiteX155" fmla="*/ 804301 w 4740868"/>
              <a:gd name="connsiteY155" fmla="*/ 272221 h 1558122"/>
              <a:gd name="connsiteX156" fmla="*/ 779993 w 4740868"/>
              <a:gd name="connsiteY156" fmla="*/ 272221 h 1558122"/>
              <a:gd name="connsiteX157" fmla="*/ 779993 w 4740868"/>
              <a:gd name="connsiteY157" fmla="*/ 242665 h 1558122"/>
              <a:gd name="connsiteX158" fmla="*/ 677582 w 4740868"/>
              <a:gd name="connsiteY158" fmla="*/ 242665 h 1558122"/>
              <a:gd name="connsiteX159" fmla="*/ 677582 w 4740868"/>
              <a:gd name="connsiteY159" fmla="*/ 230027 h 1558122"/>
              <a:gd name="connsiteX160" fmla="*/ 587878 w 4740868"/>
              <a:gd name="connsiteY160" fmla="*/ 230027 h 1558122"/>
              <a:gd name="connsiteX161" fmla="*/ 587878 w 4740868"/>
              <a:gd name="connsiteY161" fmla="*/ 205719 h 1558122"/>
              <a:gd name="connsiteX162" fmla="*/ 549897 w 4740868"/>
              <a:gd name="connsiteY162" fmla="*/ 205719 h 1558122"/>
              <a:gd name="connsiteX163" fmla="*/ 549897 w 4740868"/>
              <a:gd name="connsiteY163" fmla="*/ 161385 h 1558122"/>
              <a:gd name="connsiteX164" fmla="*/ 524553 w 4740868"/>
              <a:gd name="connsiteY164" fmla="*/ 161385 h 1558122"/>
              <a:gd name="connsiteX165" fmla="*/ 524553 w 4740868"/>
              <a:gd name="connsiteY165" fmla="*/ 147643 h 1558122"/>
              <a:gd name="connsiteX166" fmla="*/ 478078 w 4740868"/>
              <a:gd name="connsiteY166" fmla="*/ 147643 h 1558122"/>
              <a:gd name="connsiteX167" fmla="*/ 478078 w 4740868"/>
              <a:gd name="connsiteY167" fmla="*/ 135005 h 1558122"/>
              <a:gd name="connsiteX168" fmla="*/ 331333 w 4740868"/>
              <a:gd name="connsiteY168" fmla="*/ 135005 h 1558122"/>
              <a:gd name="connsiteX169" fmla="*/ 331333 w 4740868"/>
              <a:gd name="connsiteY169" fmla="*/ 116015 h 1558122"/>
              <a:gd name="connsiteX170" fmla="*/ 281751 w 4740868"/>
              <a:gd name="connsiteY170" fmla="*/ 116015 h 1558122"/>
              <a:gd name="connsiteX171" fmla="*/ 281751 w 4740868"/>
              <a:gd name="connsiteY171" fmla="*/ 81210 h 1558122"/>
              <a:gd name="connsiteX172" fmla="*/ 170915 w 4740868"/>
              <a:gd name="connsiteY172" fmla="*/ 81210 h 1558122"/>
              <a:gd name="connsiteX173" fmla="*/ 170915 w 4740868"/>
              <a:gd name="connsiteY173" fmla="*/ 64292 h 1558122"/>
              <a:gd name="connsiteX174" fmla="*/ 147712 w 4740868"/>
              <a:gd name="connsiteY174" fmla="*/ 64292 h 1558122"/>
              <a:gd name="connsiteX175" fmla="*/ 147712 w 4740868"/>
              <a:gd name="connsiteY175" fmla="*/ 51654 h 1558122"/>
              <a:gd name="connsiteX176" fmla="*/ 109731 w 4740868"/>
              <a:gd name="connsiteY176" fmla="*/ 51654 h 1558122"/>
              <a:gd name="connsiteX177" fmla="*/ 109731 w 4740868"/>
              <a:gd name="connsiteY177" fmla="*/ 27346 h 1558122"/>
              <a:gd name="connsiteX178" fmla="*/ 52759 w 4740868"/>
              <a:gd name="connsiteY178" fmla="*/ 27346 h 1558122"/>
              <a:gd name="connsiteX179" fmla="*/ 52759 w 4740868"/>
              <a:gd name="connsiteY179" fmla="*/ 15745 h 1558122"/>
              <a:gd name="connsiteX180" fmla="*/ 0 w 4740868"/>
              <a:gd name="connsiteY180" fmla="*/ 15745 h 1558122"/>
              <a:gd name="connsiteX181" fmla="*/ 0 w 4740868"/>
              <a:gd name="connsiteY181" fmla="*/ 4212 h 1558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4740868" h="1558122">
                <a:moveTo>
                  <a:pt x="0" y="0"/>
                </a:moveTo>
                <a:lnTo>
                  <a:pt x="164700" y="0"/>
                </a:lnTo>
                <a:lnTo>
                  <a:pt x="164700" y="34804"/>
                </a:lnTo>
                <a:lnTo>
                  <a:pt x="212211" y="34804"/>
                </a:lnTo>
                <a:lnTo>
                  <a:pt x="212211" y="66501"/>
                </a:lnTo>
                <a:lnTo>
                  <a:pt x="329400" y="66501"/>
                </a:lnTo>
                <a:lnTo>
                  <a:pt x="329400" y="95022"/>
                </a:lnTo>
                <a:lnTo>
                  <a:pt x="376910" y="95022"/>
                </a:lnTo>
                <a:lnTo>
                  <a:pt x="376910" y="117189"/>
                </a:lnTo>
                <a:lnTo>
                  <a:pt x="490923" y="117189"/>
                </a:lnTo>
                <a:lnTo>
                  <a:pt x="490923" y="139356"/>
                </a:lnTo>
                <a:lnTo>
                  <a:pt x="541610" y="139356"/>
                </a:lnTo>
                <a:lnTo>
                  <a:pt x="541610" y="180514"/>
                </a:lnTo>
                <a:lnTo>
                  <a:pt x="630279" y="180514"/>
                </a:lnTo>
                <a:lnTo>
                  <a:pt x="630279" y="212211"/>
                </a:lnTo>
                <a:lnTo>
                  <a:pt x="791802" y="212211"/>
                </a:lnTo>
                <a:lnTo>
                  <a:pt x="791802" y="234378"/>
                </a:lnTo>
                <a:lnTo>
                  <a:pt x="826606" y="234378"/>
                </a:lnTo>
                <a:lnTo>
                  <a:pt x="826606" y="288242"/>
                </a:lnTo>
                <a:lnTo>
                  <a:pt x="962786" y="288242"/>
                </a:lnTo>
                <a:lnTo>
                  <a:pt x="962786" y="304056"/>
                </a:lnTo>
                <a:lnTo>
                  <a:pt x="1035640" y="304056"/>
                </a:lnTo>
                <a:lnTo>
                  <a:pt x="1035640" y="329400"/>
                </a:lnTo>
                <a:lnTo>
                  <a:pt x="1083151" y="329400"/>
                </a:lnTo>
                <a:lnTo>
                  <a:pt x="1083151" y="354743"/>
                </a:lnTo>
                <a:lnTo>
                  <a:pt x="1124309" y="354743"/>
                </a:lnTo>
                <a:lnTo>
                  <a:pt x="1124309" y="389548"/>
                </a:lnTo>
                <a:lnTo>
                  <a:pt x="1336520" y="389548"/>
                </a:lnTo>
                <a:lnTo>
                  <a:pt x="1336520" y="427529"/>
                </a:lnTo>
                <a:lnTo>
                  <a:pt x="1361863" y="427529"/>
                </a:lnTo>
                <a:lnTo>
                  <a:pt x="1361863" y="452873"/>
                </a:lnTo>
                <a:lnTo>
                  <a:pt x="1384031" y="452873"/>
                </a:lnTo>
                <a:lnTo>
                  <a:pt x="1384031" y="481393"/>
                </a:lnTo>
                <a:lnTo>
                  <a:pt x="1441002" y="481393"/>
                </a:lnTo>
                <a:lnTo>
                  <a:pt x="1441002" y="503560"/>
                </a:lnTo>
                <a:lnTo>
                  <a:pt x="1567652" y="503560"/>
                </a:lnTo>
                <a:lnTo>
                  <a:pt x="1567652" y="525727"/>
                </a:lnTo>
                <a:lnTo>
                  <a:pt x="1615163" y="525727"/>
                </a:lnTo>
                <a:lnTo>
                  <a:pt x="1615163" y="551071"/>
                </a:lnTo>
                <a:lnTo>
                  <a:pt x="1637330" y="551071"/>
                </a:lnTo>
                <a:lnTo>
                  <a:pt x="1637330" y="585875"/>
                </a:lnTo>
                <a:lnTo>
                  <a:pt x="1672134" y="585875"/>
                </a:lnTo>
                <a:lnTo>
                  <a:pt x="1672134" y="608043"/>
                </a:lnTo>
                <a:lnTo>
                  <a:pt x="1874815" y="608043"/>
                </a:lnTo>
                <a:lnTo>
                  <a:pt x="1874815" y="636563"/>
                </a:lnTo>
                <a:lnTo>
                  <a:pt x="1893806" y="636563"/>
                </a:lnTo>
                <a:lnTo>
                  <a:pt x="1893806" y="655553"/>
                </a:lnTo>
                <a:lnTo>
                  <a:pt x="1931787" y="655553"/>
                </a:lnTo>
                <a:lnTo>
                  <a:pt x="1931787" y="680897"/>
                </a:lnTo>
                <a:lnTo>
                  <a:pt x="2052152" y="680897"/>
                </a:lnTo>
                <a:lnTo>
                  <a:pt x="2052152" y="703064"/>
                </a:lnTo>
                <a:lnTo>
                  <a:pt x="2143997" y="703064"/>
                </a:lnTo>
                <a:lnTo>
                  <a:pt x="2143997" y="722055"/>
                </a:lnTo>
                <a:lnTo>
                  <a:pt x="2196619" y="722055"/>
                </a:lnTo>
                <a:lnTo>
                  <a:pt x="2196619" y="772742"/>
                </a:lnTo>
                <a:lnTo>
                  <a:pt x="2368845" y="772742"/>
                </a:lnTo>
                <a:lnTo>
                  <a:pt x="2368845" y="813900"/>
                </a:lnTo>
                <a:lnTo>
                  <a:pt x="2435347" y="813900"/>
                </a:lnTo>
                <a:lnTo>
                  <a:pt x="2435347" y="839244"/>
                </a:lnTo>
                <a:lnTo>
                  <a:pt x="2457514" y="839244"/>
                </a:lnTo>
                <a:lnTo>
                  <a:pt x="2457514" y="893108"/>
                </a:lnTo>
                <a:lnTo>
                  <a:pt x="2581056" y="893108"/>
                </a:lnTo>
                <a:lnTo>
                  <a:pt x="2581056" y="918452"/>
                </a:lnTo>
                <a:lnTo>
                  <a:pt x="2691892" y="918452"/>
                </a:lnTo>
                <a:lnTo>
                  <a:pt x="2691892" y="946972"/>
                </a:lnTo>
                <a:lnTo>
                  <a:pt x="2726696" y="946972"/>
                </a:lnTo>
                <a:lnTo>
                  <a:pt x="2726696" y="978669"/>
                </a:lnTo>
                <a:lnTo>
                  <a:pt x="2748863" y="978669"/>
                </a:lnTo>
                <a:lnTo>
                  <a:pt x="2748863" y="1013473"/>
                </a:lnTo>
                <a:lnTo>
                  <a:pt x="2967358" y="1013473"/>
                </a:lnTo>
                <a:lnTo>
                  <a:pt x="2967358" y="1035640"/>
                </a:lnTo>
                <a:lnTo>
                  <a:pt x="3002163" y="1035640"/>
                </a:lnTo>
                <a:lnTo>
                  <a:pt x="3002163" y="1086328"/>
                </a:lnTo>
                <a:lnTo>
                  <a:pt x="3261884" y="1086328"/>
                </a:lnTo>
                <a:lnTo>
                  <a:pt x="3261884" y="1121132"/>
                </a:lnTo>
                <a:lnTo>
                  <a:pt x="3521606" y="1121132"/>
                </a:lnTo>
                <a:lnTo>
                  <a:pt x="3521606" y="1159114"/>
                </a:lnTo>
                <a:lnTo>
                  <a:pt x="3553303" y="1159114"/>
                </a:lnTo>
                <a:lnTo>
                  <a:pt x="3553303" y="1184457"/>
                </a:lnTo>
                <a:lnTo>
                  <a:pt x="4037872" y="1184457"/>
                </a:lnTo>
                <a:lnTo>
                  <a:pt x="4037872" y="1244605"/>
                </a:lnTo>
                <a:lnTo>
                  <a:pt x="4072677" y="1244605"/>
                </a:lnTo>
                <a:lnTo>
                  <a:pt x="4072677" y="1293567"/>
                </a:lnTo>
                <a:lnTo>
                  <a:pt x="4097261" y="1318151"/>
                </a:lnTo>
                <a:lnTo>
                  <a:pt x="4740868" y="1318151"/>
                </a:lnTo>
                <a:lnTo>
                  <a:pt x="4740868" y="1558122"/>
                </a:lnTo>
                <a:lnTo>
                  <a:pt x="4075784" y="1558122"/>
                </a:lnTo>
                <a:lnTo>
                  <a:pt x="4075784" y="1542308"/>
                </a:lnTo>
                <a:lnTo>
                  <a:pt x="3825592" y="1542308"/>
                </a:lnTo>
                <a:lnTo>
                  <a:pt x="3825592" y="1516964"/>
                </a:lnTo>
                <a:lnTo>
                  <a:pt x="3784435" y="1516964"/>
                </a:lnTo>
                <a:lnTo>
                  <a:pt x="3784435" y="1475807"/>
                </a:lnTo>
                <a:lnTo>
                  <a:pt x="3531066" y="1475807"/>
                </a:lnTo>
                <a:lnTo>
                  <a:pt x="3511770" y="1442233"/>
                </a:lnTo>
                <a:lnTo>
                  <a:pt x="3404417" y="1439383"/>
                </a:lnTo>
                <a:lnTo>
                  <a:pt x="3404417" y="1421943"/>
                </a:lnTo>
                <a:lnTo>
                  <a:pt x="3315748" y="1421943"/>
                </a:lnTo>
                <a:lnTo>
                  <a:pt x="3315748" y="1399775"/>
                </a:lnTo>
                <a:lnTo>
                  <a:pt x="3284051" y="1399775"/>
                </a:lnTo>
                <a:lnTo>
                  <a:pt x="3284051" y="1371255"/>
                </a:lnTo>
                <a:lnTo>
                  <a:pt x="3024330" y="1371255"/>
                </a:lnTo>
                <a:lnTo>
                  <a:pt x="3024330" y="1333274"/>
                </a:lnTo>
                <a:lnTo>
                  <a:pt x="2989525" y="1333274"/>
                </a:lnTo>
                <a:lnTo>
                  <a:pt x="2989525" y="1307930"/>
                </a:lnTo>
                <a:cubicBezTo>
                  <a:pt x="2989525" y="1307930"/>
                  <a:pt x="2970535" y="1317460"/>
                  <a:pt x="2970535" y="1307930"/>
                </a:cubicBezTo>
                <a:lnTo>
                  <a:pt x="2970535" y="1276233"/>
                </a:lnTo>
                <a:lnTo>
                  <a:pt x="2766091" y="1259125"/>
                </a:lnTo>
                <a:lnTo>
                  <a:pt x="2740249" y="1247113"/>
                </a:lnTo>
                <a:lnTo>
                  <a:pt x="2729873" y="1224303"/>
                </a:lnTo>
                <a:lnTo>
                  <a:pt x="2692546" y="1181212"/>
                </a:lnTo>
                <a:lnTo>
                  <a:pt x="2546183" y="1181212"/>
                </a:lnTo>
                <a:lnTo>
                  <a:pt x="2546183" y="1155868"/>
                </a:lnTo>
                <a:lnTo>
                  <a:pt x="2460691" y="1155868"/>
                </a:lnTo>
                <a:lnTo>
                  <a:pt x="2460691" y="1130524"/>
                </a:lnTo>
                <a:lnTo>
                  <a:pt x="2432170" y="1130524"/>
                </a:lnTo>
                <a:lnTo>
                  <a:pt x="2432170" y="1076660"/>
                </a:lnTo>
                <a:lnTo>
                  <a:pt x="2349855" y="1076660"/>
                </a:lnTo>
                <a:lnTo>
                  <a:pt x="2349855" y="1054493"/>
                </a:lnTo>
                <a:lnTo>
                  <a:pt x="2229489" y="1054493"/>
                </a:lnTo>
                <a:lnTo>
                  <a:pt x="2229489" y="1019688"/>
                </a:lnTo>
                <a:lnTo>
                  <a:pt x="2181979" y="1019688"/>
                </a:lnTo>
                <a:lnTo>
                  <a:pt x="2164913" y="973743"/>
                </a:lnTo>
                <a:lnTo>
                  <a:pt x="2107902" y="979447"/>
                </a:lnTo>
                <a:lnTo>
                  <a:pt x="2070574" y="967443"/>
                </a:lnTo>
                <a:lnTo>
                  <a:pt x="2026739" y="953187"/>
                </a:lnTo>
                <a:lnTo>
                  <a:pt x="1995153" y="950329"/>
                </a:lnTo>
                <a:lnTo>
                  <a:pt x="1925365" y="924667"/>
                </a:lnTo>
                <a:lnTo>
                  <a:pt x="1911008" y="829645"/>
                </a:lnTo>
                <a:lnTo>
                  <a:pt x="1782832" y="829645"/>
                </a:lnTo>
                <a:lnTo>
                  <a:pt x="1748375" y="812530"/>
                </a:lnTo>
                <a:lnTo>
                  <a:pt x="1656182" y="801125"/>
                </a:lnTo>
                <a:lnTo>
                  <a:pt x="1656182" y="756790"/>
                </a:lnTo>
                <a:cubicBezTo>
                  <a:pt x="1656182" y="756790"/>
                  <a:pt x="1637192" y="775781"/>
                  <a:pt x="1637192" y="756790"/>
                </a:cubicBezTo>
                <a:lnTo>
                  <a:pt x="1637192" y="661769"/>
                </a:lnTo>
                <a:lnTo>
                  <a:pt x="1611848" y="661769"/>
                </a:lnTo>
                <a:lnTo>
                  <a:pt x="1591749" y="650031"/>
                </a:lnTo>
                <a:lnTo>
                  <a:pt x="1516826" y="630072"/>
                </a:lnTo>
                <a:lnTo>
                  <a:pt x="1516826" y="604728"/>
                </a:lnTo>
                <a:lnTo>
                  <a:pt x="1364833" y="604728"/>
                </a:lnTo>
                <a:lnTo>
                  <a:pt x="1364833" y="544580"/>
                </a:lnTo>
                <a:lnTo>
                  <a:pt x="1345842" y="544580"/>
                </a:lnTo>
                <a:lnTo>
                  <a:pt x="1340099" y="516831"/>
                </a:lnTo>
                <a:lnTo>
                  <a:pt x="1117818" y="516831"/>
                </a:lnTo>
                <a:lnTo>
                  <a:pt x="1117818" y="484431"/>
                </a:lnTo>
                <a:lnTo>
                  <a:pt x="1106285" y="484431"/>
                </a:lnTo>
                <a:lnTo>
                  <a:pt x="1106285" y="440097"/>
                </a:lnTo>
                <a:lnTo>
                  <a:pt x="1070307" y="440097"/>
                </a:lnTo>
                <a:lnTo>
                  <a:pt x="1070307" y="372422"/>
                </a:lnTo>
                <a:lnTo>
                  <a:pt x="1025973" y="372422"/>
                </a:lnTo>
                <a:lnTo>
                  <a:pt x="1025973" y="356677"/>
                </a:lnTo>
                <a:lnTo>
                  <a:pt x="841246" y="356677"/>
                </a:lnTo>
                <a:lnTo>
                  <a:pt x="841246" y="327121"/>
                </a:lnTo>
                <a:lnTo>
                  <a:pt x="823292" y="327121"/>
                </a:lnTo>
                <a:lnTo>
                  <a:pt x="823292" y="295424"/>
                </a:lnTo>
                <a:lnTo>
                  <a:pt x="804301" y="295424"/>
                </a:lnTo>
                <a:lnTo>
                  <a:pt x="804301" y="272221"/>
                </a:lnTo>
                <a:lnTo>
                  <a:pt x="779993" y="272221"/>
                </a:lnTo>
                <a:lnTo>
                  <a:pt x="779993" y="242665"/>
                </a:lnTo>
                <a:lnTo>
                  <a:pt x="677582" y="242665"/>
                </a:lnTo>
                <a:lnTo>
                  <a:pt x="677582" y="230027"/>
                </a:lnTo>
                <a:lnTo>
                  <a:pt x="587878" y="230027"/>
                </a:lnTo>
                <a:lnTo>
                  <a:pt x="587878" y="205719"/>
                </a:lnTo>
                <a:lnTo>
                  <a:pt x="549897" y="205719"/>
                </a:lnTo>
                <a:lnTo>
                  <a:pt x="549897" y="161385"/>
                </a:lnTo>
                <a:lnTo>
                  <a:pt x="524553" y="161385"/>
                </a:lnTo>
                <a:lnTo>
                  <a:pt x="524553" y="147643"/>
                </a:lnTo>
                <a:lnTo>
                  <a:pt x="478078" y="147643"/>
                </a:lnTo>
                <a:lnTo>
                  <a:pt x="478078" y="135005"/>
                </a:lnTo>
                <a:lnTo>
                  <a:pt x="331333" y="135005"/>
                </a:lnTo>
                <a:lnTo>
                  <a:pt x="331333" y="116015"/>
                </a:lnTo>
                <a:lnTo>
                  <a:pt x="281751" y="116015"/>
                </a:lnTo>
                <a:lnTo>
                  <a:pt x="281751" y="81210"/>
                </a:lnTo>
                <a:lnTo>
                  <a:pt x="170915" y="81210"/>
                </a:lnTo>
                <a:lnTo>
                  <a:pt x="170915" y="64292"/>
                </a:lnTo>
                <a:lnTo>
                  <a:pt x="147712" y="64292"/>
                </a:lnTo>
                <a:lnTo>
                  <a:pt x="147712" y="51654"/>
                </a:lnTo>
                <a:lnTo>
                  <a:pt x="109731" y="51654"/>
                </a:lnTo>
                <a:lnTo>
                  <a:pt x="109731" y="27346"/>
                </a:lnTo>
                <a:lnTo>
                  <a:pt x="52759" y="27346"/>
                </a:lnTo>
                <a:lnTo>
                  <a:pt x="52759" y="15745"/>
                </a:lnTo>
                <a:lnTo>
                  <a:pt x="0" y="15745"/>
                </a:lnTo>
                <a:lnTo>
                  <a:pt x="0" y="4212"/>
                </a:lnTo>
              </a:path>
            </a:pathLst>
          </a:custGeom>
          <a:gradFill flip="none" rotWithShape="1">
            <a:gsLst>
              <a:gs pos="0">
                <a:srgbClr val="007CB4">
                  <a:alpha val="64000"/>
                </a:srgbClr>
              </a:gs>
              <a:gs pos="50000">
                <a:srgbClr val="007CB4">
                  <a:alpha val="39000"/>
                </a:srgbClr>
              </a:gs>
              <a:gs pos="100000">
                <a:srgbClr val="9271AE"/>
              </a:gs>
            </a:gsLst>
            <a:lin ang="0" scaled="1"/>
            <a:tileRect/>
          </a:gradFill>
          <a:ln w="6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614" name="Group 613">
            <a:extLst>
              <a:ext uri="{FF2B5EF4-FFF2-40B4-BE49-F238E27FC236}">
                <a16:creationId xmlns:a16="http://schemas.microsoft.com/office/drawing/2014/main" id="{0CCA4C38-E424-B575-E8EF-DC16388AF29D}"/>
              </a:ext>
            </a:extLst>
          </p:cNvPr>
          <p:cNvGrpSpPr/>
          <p:nvPr/>
        </p:nvGrpSpPr>
        <p:grpSpPr>
          <a:xfrm>
            <a:off x="1207096" y="4377056"/>
            <a:ext cx="255198" cy="315043"/>
            <a:chOff x="1250861" y="3578269"/>
            <a:chExt cx="189961" cy="215413"/>
          </a:xfrm>
        </p:grpSpPr>
        <p:sp>
          <p:nvSpPr>
            <p:cNvPr id="666" name="TextBox 665">
              <a:extLst>
                <a:ext uri="{FF2B5EF4-FFF2-40B4-BE49-F238E27FC236}">
                  <a16:creationId xmlns:a16="http://schemas.microsoft.com/office/drawing/2014/main" id="{6E74C093-2FA8-C7B4-B3E7-624540A3C39B}"/>
                </a:ext>
              </a:extLst>
            </p:cNvPr>
            <p:cNvSpPr txBox="1"/>
            <p:nvPr/>
          </p:nvSpPr>
          <p:spPr>
            <a:xfrm>
              <a:off x="1250861" y="3625327"/>
              <a:ext cx="189961" cy="1683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cxnSp>
          <p:nvCxnSpPr>
            <p:cNvPr id="667" name="Straight Connector 666">
              <a:extLst>
                <a:ext uri="{FF2B5EF4-FFF2-40B4-BE49-F238E27FC236}">
                  <a16:creationId xmlns:a16="http://schemas.microsoft.com/office/drawing/2014/main" id="{7C89C9D7-6F29-4142-5A47-EC023B940C38}"/>
                </a:ext>
              </a:extLst>
            </p:cNvPr>
            <p:cNvCxnSpPr>
              <a:cxnSpLocks/>
            </p:cNvCxnSpPr>
            <p:nvPr/>
          </p:nvCxnSpPr>
          <p:spPr>
            <a:xfrm>
              <a:off x="1344895" y="3578269"/>
              <a:ext cx="1" cy="64800"/>
            </a:xfrm>
            <a:prstGeom prst="line">
              <a:avLst/>
            </a:prstGeom>
            <a:noFill/>
            <a:ln w="12700" cap="flat" cmpd="sng" algn="ctr">
              <a:solidFill>
                <a:schemeClr val="tx1"/>
              </a:solidFill>
              <a:prstDash val="solid"/>
              <a:miter lim="800000"/>
            </a:ln>
            <a:effectLst/>
          </p:spPr>
        </p:cxnSp>
      </p:grpSp>
      <p:sp>
        <p:nvSpPr>
          <p:cNvPr id="616" name="Freeform: Shape 615">
            <a:extLst>
              <a:ext uri="{FF2B5EF4-FFF2-40B4-BE49-F238E27FC236}">
                <a16:creationId xmlns:a16="http://schemas.microsoft.com/office/drawing/2014/main" id="{C008FDE6-07ED-074F-EAA6-BA52B431D4DC}"/>
              </a:ext>
            </a:extLst>
          </p:cNvPr>
          <p:cNvSpPr/>
          <p:nvPr/>
        </p:nvSpPr>
        <p:spPr>
          <a:xfrm>
            <a:off x="1332893" y="1627404"/>
            <a:ext cx="6016495" cy="2748826"/>
          </a:xfrm>
          <a:custGeom>
            <a:avLst/>
            <a:gdLst>
              <a:gd name="connsiteX0" fmla="*/ 0 w 5341434"/>
              <a:gd name="connsiteY0" fmla="*/ 0 h 2219093"/>
              <a:gd name="connsiteX1" fmla="*/ 0 w 5341434"/>
              <a:gd name="connsiteY1" fmla="*/ 2219093 h 2219093"/>
              <a:gd name="connsiteX2" fmla="*/ 133815 w 5341434"/>
              <a:gd name="connsiteY2" fmla="*/ 2219093 h 2219093"/>
              <a:gd name="connsiteX3" fmla="*/ 5341434 w 5341434"/>
              <a:gd name="connsiteY3" fmla="*/ 2219093 h 2219093"/>
            </a:gdLst>
            <a:ahLst/>
            <a:cxnLst>
              <a:cxn ang="0">
                <a:pos x="connsiteX0" y="connsiteY0"/>
              </a:cxn>
              <a:cxn ang="0">
                <a:pos x="connsiteX1" y="connsiteY1"/>
              </a:cxn>
              <a:cxn ang="0">
                <a:pos x="connsiteX2" y="connsiteY2"/>
              </a:cxn>
              <a:cxn ang="0">
                <a:pos x="connsiteX3" y="connsiteY3"/>
              </a:cxn>
            </a:cxnLst>
            <a:rect l="l" t="t" r="r" b="b"/>
            <a:pathLst>
              <a:path w="5341434" h="2219093">
                <a:moveTo>
                  <a:pt x="0" y="0"/>
                </a:moveTo>
                <a:lnTo>
                  <a:pt x="0" y="2219093"/>
                </a:lnTo>
                <a:lnTo>
                  <a:pt x="133815" y="2219093"/>
                </a:lnTo>
                <a:lnTo>
                  <a:pt x="5341434" y="2219093"/>
                </a:lnTo>
              </a:path>
            </a:pathLst>
          </a:custGeom>
          <a:noFill/>
          <a:ln w="1270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22" name="TextBox 621">
            <a:extLst>
              <a:ext uri="{FF2B5EF4-FFF2-40B4-BE49-F238E27FC236}">
                <a16:creationId xmlns:a16="http://schemas.microsoft.com/office/drawing/2014/main" id="{659EBF02-0072-8D0E-C5F7-04DEB539EFFB}"/>
              </a:ext>
            </a:extLst>
          </p:cNvPr>
          <p:cNvSpPr txBox="1"/>
          <p:nvPr/>
        </p:nvSpPr>
        <p:spPr>
          <a:xfrm>
            <a:off x="3993556" y="4689379"/>
            <a:ext cx="732892"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ths</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623" name="Straight Connector 622">
            <a:extLst>
              <a:ext uri="{FF2B5EF4-FFF2-40B4-BE49-F238E27FC236}">
                <a16:creationId xmlns:a16="http://schemas.microsoft.com/office/drawing/2014/main" id="{7CDE8B95-3DC8-23AF-AD62-C491FA4B1905}"/>
              </a:ext>
            </a:extLst>
          </p:cNvPr>
          <p:cNvCxnSpPr>
            <a:cxnSpLocks/>
          </p:cNvCxnSpPr>
          <p:nvPr/>
        </p:nvCxnSpPr>
        <p:spPr>
          <a:xfrm>
            <a:off x="1246664" y="2724140"/>
            <a:ext cx="86432" cy="0"/>
          </a:xfrm>
          <a:prstGeom prst="line">
            <a:avLst/>
          </a:prstGeom>
          <a:noFill/>
          <a:ln w="12700" cap="flat" cmpd="sng" algn="ctr">
            <a:solidFill>
              <a:schemeClr val="tx1"/>
            </a:solidFill>
            <a:prstDash val="solid"/>
            <a:miter lim="800000"/>
          </a:ln>
          <a:effectLst/>
        </p:spPr>
      </p:cxnSp>
      <p:sp>
        <p:nvSpPr>
          <p:cNvPr id="624" name="TextBox 623">
            <a:extLst>
              <a:ext uri="{FF2B5EF4-FFF2-40B4-BE49-F238E27FC236}">
                <a16:creationId xmlns:a16="http://schemas.microsoft.com/office/drawing/2014/main" id="{BBB80973-B4DB-9237-5D5F-DC431AAE5448}"/>
              </a:ext>
            </a:extLst>
          </p:cNvPr>
          <p:cNvSpPr txBox="1"/>
          <p:nvPr/>
        </p:nvSpPr>
        <p:spPr>
          <a:xfrm>
            <a:off x="985475" y="2601028"/>
            <a:ext cx="325730" cy="246221"/>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p>
        </p:txBody>
      </p:sp>
      <p:cxnSp>
        <p:nvCxnSpPr>
          <p:cNvPr id="625" name="Straight Connector 624">
            <a:extLst>
              <a:ext uri="{FF2B5EF4-FFF2-40B4-BE49-F238E27FC236}">
                <a16:creationId xmlns:a16="http://schemas.microsoft.com/office/drawing/2014/main" id="{D06DEBBB-970A-846F-17A5-4EFF8DE4889C}"/>
              </a:ext>
            </a:extLst>
          </p:cNvPr>
          <p:cNvCxnSpPr>
            <a:cxnSpLocks/>
          </p:cNvCxnSpPr>
          <p:nvPr/>
        </p:nvCxnSpPr>
        <p:spPr>
          <a:xfrm>
            <a:off x="1246664" y="3273801"/>
            <a:ext cx="86432" cy="0"/>
          </a:xfrm>
          <a:prstGeom prst="line">
            <a:avLst/>
          </a:prstGeom>
          <a:noFill/>
          <a:ln w="12700" cap="flat" cmpd="sng" algn="ctr">
            <a:solidFill>
              <a:schemeClr val="tx1"/>
            </a:solidFill>
            <a:prstDash val="solid"/>
            <a:miter lim="800000"/>
          </a:ln>
          <a:effectLst/>
        </p:spPr>
      </p:cxnSp>
      <p:sp>
        <p:nvSpPr>
          <p:cNvPr id="626" name="TextBox 625">
            <a:extLst>
              <a:ext uri="{FF2B5EF4-FFF2-40B4-BE49-F238E27FC236}">
                <a16:creationId xmlns:a16="http://schemas.microsoft.com/office/drawing/2014/main" id="{CE6174A9-B03F-8B14-641E-2D799056178D}"/>
              </a:ext>
            </a:extLst>
          </p:cNvPr>
          <p:cNvSpPr txBox="1"/>
          <p:nvPr/>
        </p:nvSpPr>
        <p:spPr>
          <a:xfrm>
            <a:off x="985475" y="3150691"/>
            <a:ext cx="325730" cy="246221"/>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p>
        </p:txBody>
      </p:sp>
      <p:cxnSp>
        <p:nvCxnSpPr>
          <p:cNvPr id="627" name="Straight Connector 626">
            <a:extLst>
              <a:ext uri="{FF2B5EF4-FFF2-40B4-BE49-F238E27FC236}">
                <a16:creationId xmlns:a16="http://schemas.microsoft.com/office/drawing/2014/main" id="{CDC1121E-0683-A96B-7CC7-86F22E65D6E4}"/>
              </a:ext>
            </a:extLst>
          </p:cNvPr>
          <p:cNvCxnSpPr>
            <a:cxnSpLocks/>
          </p:cNvCxnSpPr>
          <p:nvPr/>
        </p:nvCxnSpPr>
        <p:spPr>
          <a:xfrm>
            <a:off x="1246664" y="3823463"/>
            <a:ext cx="86432" cy="0"/>
          </a:xfrm>
          <a:prstGeom prst="line">
            <a:avLst/>
          </a:prstGeom>
          <a:noFill/>
          <a:ln w="12700" cap="flat" cmpd="sng" algn="ctr">
            <a:solidFill>
              <a:schemeClr val="tx1"/>
            </a:solidFill>
            <a:prstDash val="solid"/>
            <a:miter lim="800000"/>
          </a:ln>
          <a:effectLst/>
        </p:spPr>
      </p:cxnSp>
      <p:sp>
        <p:nvSpPr>
          <p:cNvPr id="628" name="TextBox 627">
            <a:extLst>
              <a:ext uri="{FF2B5EF4-FFF2-40B4-BE49-F238E27FC236}">
                <a16:creationId xmlns:a16="http://schemas.microsoft.com/office/drawing/2014/main" id="{5CA5A65A-EFE3-2D3B-954E-CBC9E8BA2660}"/>
              </a:ext>
            </a:extLst>
          </p:cNvPr>
          <p:cNvSpPr txBox="1"/>
          <p:nvPr/>
        </p:nvSpPr>
        <p:spPr>
          <a:xfrm>
            <a:off x="985475" y="3700353"/>
            <a:ext cx="325730" cy="246221"/>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cxnSp>
        <p:nvCxnSpPr>
          <p:cNvPr id="629" name="Straight Connector 628">
            <a:extLst>
              <a:ext uri="{FF2B5EF4-FFF2-40B4-BE49-F238E27FC236}">
                <a16:creationId xmlns:a16="http://schemas.microsoft.com/office/drawing/2014/main" id="{0D93A993-C160-41A5-5E57-36EBC2B5F66A}"/>
              </a:ext>
            </a:extLst>
          </p:cNvPr>
          <p:cNvCxnSpPr>
            <a:cxnSpLocks/>
          </p:cNvCxnSpPr>
          <p:nvPr/>
        </p:nvCxnSpPr>
        <p:spPr>
          <a:xfrm>
            <a:off x="1246664" y="2174477"/>
            <a:ext cx="86432" cy="0"/>
          </a:xfrm>
          <a:prstGeom prst="line">
            <a:avLst/>
          </a:prstGeom>
          <a:noFill/>
          <a:ln w="12700" cap="flat" cmpd="sng" algn="ctr">
            <a:solidFill>
              <a:schemeClr val="tx1"/>
            </a:solidFill>
            <a:prstDash val="solid"/>
            <a:miter lim="800000"/>
          </a:ln>
          <a:effectLst/>
        </p:spPr>
      </p:cxnSp>
      <p:sp>
        <p:nvSpPr>
          <p:cNvPr id="630" name="TextBox 629">
            <a:extLst>
              <a:ext uri="{FF2B5EF4-FFF2-40B4-BE49-F238E27FC236}">
                <a16:creationId xmlns:a16="http://schemas.microsoft.com/office/drawing/2014/main" id="{9CC67721-2D93-9654-EC13-827A711686E8}"/>
              </a:ext>
            </a:extLst>
          </p:cNvPr>
          <p:cNvSpPr txBox="1"/>
          <p:nvPr/>
        </p:nvSpPr>
        <p:spPr>
          <a:xfrm>
            <a:off x="985475" y="2051367"/>
            <a:ext cx="325730" cy="246221"/>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a:t>
            </a:r>
          </a:p>
        </p:txBody>
      </p:sp>
      <p:cxnSp>
        <p:nvCxnSpPr>
          <p:cNvPr id="631" name="Straight Connector 630">
            <a:extLst>
              <a:ext uri="{FF2B5EF4-FFF2-40B4-BE49-F238E27FC236}">
                <a16:creationId xmlns:a16="http://schemas.microsoft.com/office/drawing/2014/main" id="{0DB04270-2956-D86E-433E-B79929814AFC}"/>
              </a:ext>
            </a:extLst>
          </p:cNvPr>
          <p:cNvCxnSpPr>
            <a:cxnSpLocks/>
          </p:cNvCxnSpPr>
          <p:nvPr/>
        </p:nvCxnSpPr>
        <p:spPr>
          <a:xfrm>
            <a:off x="1246664" y="1624815"/>
            <a:ext cx="86432" cy="0"/>
          </a:xfrm>
          <a:prstGeom prst="line">
            <a:avLst/>
          </a:prstGeom>
          <a:noFill/>
          <a:ln w="12700" cap="flat" cmpd="sng" algn="ctr">
            <a:solidFill>
              <a:schemeClr val="tx1"/>
            </a:solidFill>
            <a:prstDash val="solid"/>
            <a:miter lim="800000"/>
          </a:ln>
          <a:effectLst/>
        </p:spPr>
      </p:cxnSp>
      <p:sp>
        <p:nvSpPr>
          <p:cNvPr id="632" name="TextBox 631">
            <a:extLst>
              <a:ext uri="{FF2B5EF4-FFF2-40B4-BE49-F238E27FC236}">
                <a16:creationId xmlns:a16="http://schemas.microsoft.com/office/drawing/2014/main" id="{2DF1E428-07AA-D590-07CF-508B0068E8F5}"/>
              </a:ext>
            </a:extLst>
          </p:cNvPr>
          <p:cNvSpPr txBox="1"/>
          <p:nvPr/>
        </p:nvSpPr>
        <p:spPr>
          <a:xfrm>
            <a:off x="912668" y="1501705"/>
            <a:ext cx="396262" cy="246221"/>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p>
        </p:txBody>
      </p:sp>
      <p:sp>
        <p:nvSpPr>
          <p:cNvPr id="633" name="TextBox 632">
            <a:extLst>
              <a:ext uri="{FF2B5EF4-FFF2-40B4-BE49-F238E27FC236}">
                <a16:creationId xmlns:a16="http://schemas.microsoft.com/office/drawing/2014/main" id="{E6B60048-E1D7-2172-E799-E9F434D682D0}"/>
              </a:ext>
            </a:extLst>
          </p:cNvPr>
          <p:cNvSpPr txBox="1"/>
          <p:nvPr/>
        </p:nvSpPr>
        <p:spPr>
          <a:xfrm rot="16200000">
            <a:off x="-108418" y="2770983"/>
            <a:ext cx="1688284"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tients who are</a:t>
            </a:r>
            <a:b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gression-free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grpSp>
        <p:nvGrpSpPr>
          <p:cNvPr id="634" name="Group 633">
            <a:extLst>
              <a:ext uri="{FF2B5EF4-FFF2-40B4-BE49-F238E27FC236}">
                <a16:creationId xmlns:a16="http://schemas.microsoft.com/office/drawing/2014/main" id="{084C37D3-95AD-73E7-0672-CFE7D8231AB6}"/>
              </a:ext>
            </a:extLst>
          </p:cNvPr>
          <p:cNvGrpSpPr/>
          <p:nvPr/>
        </p:nvGrpSpPr>
        <p:grpSpPr>
          <a:xfrm>
            <a:off x="2300610" y="4377063"/>
            <a:ext cx="255198" cy="315044"/>
            <a:chOff x="1933296" y="3578269"/>
            <a:chExt cx="189961" cy="215413"/>
          </a:xfrm>
        </p:grpSpPr>
        <p:sp>
          <p:nvSpPr>
            <p:cNvPr id="664" name="TextBox 663">
              <a:extLst>
                <a:ext uri="{FF2B5EF4-FFF2-40B4-BE49-F238E27FC236}">
                  <a16:creationId xmlns:a16="http://schemas.microsoft.com/office/drawing/2014/main" id="{100147DB-717C-5292-3280-8F0AAD4B6DD7}"/>
                </a:ext>
              </a:extLst>
            </p:cNvPr>
            <p:cNvSpPr txBox="1"/>
            <p:nvPr/>
          </p:nvSpPr>
          <p:spPr>
            <a:xfrm>
              <a:off x="1933296" y="3625327"/>
              <a:ext cx="189961" cy="1683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cxnSp>
          <p:nvCxnSpPr>
            <p:cNvPr id="665" name="Straight Connector 664">
              <a:extLst>
                <a:ext uri="{FF2B5EF4-FFF2-40B4-BE49-F238E27FC236}">
                  <a16:creationId xmlns:a16="http://schemas.microsoft.com/office/drawing/2014/main" id="{E2E5CBDA-5B4A-E0E2-82B0-2790010F0B02}"/>
                </a:ext>
              </a:extLst>
            </p:cNvPr>
            <p:cNvCxnSpPr>
              <a:cxnSpLocks/>
            </p:cNvCxnSpPr>
            <p:nvPr/>
          </p:nvCxnSpPr>
          <p:spPr>
            <a:xfrm>
              <a:off x="2027332" y="3578269"/>
              <a:ext cx="1" cy="64800"/>
            </a:xfrm>
            <a:prstGeom prst="line">
              <a:avLst/>
            </a:prstGeom>
            <a:noFill/>
            <a:ln w="12700" cap="flat" cmpd="sng" algn="ctr">
              <a:solidFill>
                <a:schemeClr val="tx1"/>
              </a:solidFill>
              <a:prstDash val="solid"/>
              <a:miter lim="800000"/>
            </a:ln>
            <a:effectLst/>
          </p:spPr>
        </p:cxnSp>
      </p:grpSp>
      <p:grpSp>
        <p:nvGrpSpPr>
          <p:cNvPr id="635" name="Group 634">
            <a:extLst>
              <a:ext uri="{FF2B5EF4-FFF2-40B4-BE49-F238E27FC236}">
                <a16:creationId xmlns:a16="http://schemas.microsoft.com/office/drawing/2014/main" id="{1AF63A01-B550-41C4-0162-3B2B885D767D}"/>
              </a:ext>
            </a:extLst>
          </p:cNvPr>
          <p:cNvGrpSpPr/>
          <p:nvPr/>
        </p:nvGrpSpPr>
        <p:grpSpPr>
          <a:xfrm>
            <a:off x="4452372" y="4377063"/>
            <a:ext cx="325730" cy="315044"/>
            <a:chOff x="3271916" y="3578269"/>
            <a:chExt cx="242463" cy="215413"/>
          </a:xfrm>
        </p:grpSpPr>
        <p:sp>
          <p:nvSpPr>
            <p:cNvPr id="662" name="TextBox 661">
              <a:extLst>
                <a:ext uri="{FF2B5EF4-FFF2-40B4-BE49-F238E27FC236}">
                  <a16:creationId xmlns:a16="http://schemas.microsoft.com/office/drawing/2014/main" id="{0E3D7A02-6393-CF9E-BD21-4428A6010808}"/>
                </a:ext>
              </a:extLst>
            </p:cNvPr>
            <p:cNvSpPr txBox="1"/>
            <p:nvPr/>
          </p:nvSpPr>
          <p:spPr>
            <a:xfrm>
              <a:off x="3271916" y="3625327"/>
              <a:ext cx="242463" cy="1683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cxnSp>
          <p:nvCxnSpPr>
            <p:cNvPr id="663" name="Straight Connector 662">
              <a:extLst>
                <a:ext uri="{FF2B5EF4-FFF2-40B4-BE49-F238E27FC236}">
                  <a16:creationId xmlns:a16="http://schemas.microsoft.com/office/drawing/2014/main" id="{A582C67F-6EDE-E59A-88EE-04E2651A2819}"/>
                </a:ext>
              </a:extLst>
            </p:cNvPr>
            <p:cNvCxnSpPr>
              <a:cxnSpLocks/>
            </p:cNvCxnSpPr>
            <p:nvPr/>
          </p:nvCxnSpPr>
          <p:spPr>
            <a:xfrm>
              <a:off x="3392202" y="3578269"/>
              <a:ext cx="1" cy="64800"/>
            </a:xfrm>
            <a:prstGeom prst="line">
              <a:avLst/>
            </a:prstGeom>
            <a:noFill/>
            <a:ln w="12700" cap="flat" cmpd="sng" algn="ctr">
              <a:solidFill>
                <a:schemeClr val="tx1"/>
              </a:solidFill>
              <a:prstDash val="solid"/>
              <a:miter lim="800000"/>
            </a:ln>
            <a:effectLst/>
          </p:spPr>
        </p:cxnSp>
      </p:grpSp>
      <p:grpSp>
        <p:nvGrpSpPr>
          <p:cNvPr id="636" name="Group 635">
            <a:extLst>
              <a:ext uri="{FF2B5EF4-FFF2-40B4-BE49-F238E27FC236}">
                <a16:creationId xmlns:a16="http://schemas.microsoft.com/office/drawing/2014/main" id="{3651375F-2DEB-D6F5-687E-7C141F3DDD87}"/>
              </a:ext>
            </a:extLst>
          </p:cNvPr>
          <p:cNvGrpSpPr/>
          <p:nvPr/>
        </p:nvGrpSpPr>
        <p:grpSpPr>
          <a:xfrm>
            <a:off x="6639399" y="4377063"/>
            <a:ext cx="325730" cy="315044"/>
            <a:chOff x="4636783" y="3578269"/>
            <a:chExt cx="242463" cy="215413"/>
          </a:xfrm>
        </p:grpSpPr>
        <p:sp>
          <p:nvSpPr>
            <p:cNvPr id="660" name="TextBox 659">
              <a:extLst>
                <a:ext uri="{FF2B5EF4-FFF2-40B4-BE49-F238E27FC236}">
                  <a16:creationId xmlns:a16="http://schemas.microsoft.com/office/drawing/2014/main" id="{3CC3A959-0A26-6C91-CC26-0E858B07B64B}"/>
                </a:ext>
              </a:extLst>
            </p:cNvPr>
            <p:cNvSpPr txBox="1"/>
            <p:nvPr/>
          </p:nvSpPr>
          <p:spPr>
            <a:xfrm>
              <a:off x="4636783" y="3625327"/>
              <a:ext cx="242463" cy="1683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cxnSp>
          <p:nvCxnSpPr>
            <p:cNvPr id="661" name="Straight Connector 660">
              <a:extLst>
                <a:ext uri="{FF2B5EF4-FFF2-40B4-BE49-F238E27FC236}">
                  <a16:creationId xmlns:a16="http://schemas.microsoft.com/office/drawing/2014/main" id="{93CC0F55-7523-424A-1C1F-646290ABEEF9}"/>
                </a:ext>
              </a:extLst>
            </p:cNvPr>
            <p:cNvCxnSpPr>
              <a:cxnSpLocks/>
            </p:cNvCxnSpPr>
            <p:nvPr/>
          </p:nvCxnSpPr>
          <p:spPr>
            <a:xfrm>
              <a:off x="4757069" y="3578269"/>
              <a:ext cx="1" cy="64800"/>
            </a:xfrm>
            <a:prstGeom prst="line">
              <a:avLst/>
            </a:prstGeom>
            <a:noFill/>
            <a:ln w="12700" cap="flat" cmpd="sng" algn="ctr">
              <a:solidFill>
                <a:schemeClr val="tx1"/>
              </a:solidFill>
              <a:prstDash val="solid"/>
              <a:miter lim="800000"/>
            </a:ln>
            <a:effectLst/>
          </p:spPr>
        </p:cxnSp>
      </p:grpSp>
      <p:sp>
        <p:nvSpPr>
          <p:cNvPr id="637" name="TextBox 636">
            <a:extLst>
              <a:ext uri="{FF2B5EF4-FFF2-40B4-BE49-F238E27FC236}">
                <a16:creationId xmlns:a16="http://schemas.microsoft.com/office/drawing/2014/main" id="{8818D1EF-32A3-D58F-7540-99B9F4BAA825}"/>
              </a:ext>
            </a:extLst>
          </p:cNvPr>
          <p:cNvSpPr txBox="1"/>
          <p:nvPr/>
        </p:nvSpPr>
        <p:spPr>
          <a:xfrm>
            <a:off x="3358858" y="4445885"/>
            <a:ext cx="32573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cxnSp>
        <p:nvCxnSpPr>
          <p:cNvPr id="638" name="Straight Connector 637">
            <a:extLst>
              <a:ext uri="{FF2B5EF4-FFF2-40B4-BE49-F238E27FC236}">
                <a16:creationId xmlns:a16="http://schemas.microsoft.com/office/drawing/2014/main" id="{5BD06BA7-CBD7-66F5-E109-DACDDC64D8F5}"/>
              </a:ext>
            </a:extLst>
          </p:cNvPr>
          <p:cNvCxnSpPr>
            <a:cxnSpLocks/>
          </p:cNvCxnSpPr>
          <p:nvPr/>
        </p:nvCxnSpPr>
        <p:spPr>
          <a:xfrm>
            <a:off x="3521724" y="4377061"/>
            <a:ext cx="1" cy="94771"/>
          </a:xfrm>
          <a:prstGeom prst="line">
            <a:avLst/>
          </a:prstGeom>
          <a:noFill/>
          <a:ln w="12700" cap="flat" cmpd="sng" algn="ctr">
            <a:solidFill>
              <a:schemeClr val="tx1"/>
            </a:solidFill>
            <a:prstDash val="solid"/>
            <a:miter lim="800000"/>
          </a:ln>
          <a:effectLst/>
        </p:spPr>
      </p:cxnSp>
      <p:sp>
        <p:nvSpPr>
          <p:cNvPr id="658" name="TextBox 657">
            <a:extLst>
              <a:ext uri="{FF2B5EF4-FFF2-40B4-BE49-F238E27FC236}">
                <a16:creationId xmlns:a16="http://schemas.microsoft.com/office/drawing/2014/main" id="{09E96A8D-C741-93F3-456D-981FB3D7CFDE}"/>
              </a:ext>
            </a:extLst>
          </p:cNvPr>
          <p:cNvSpPr txBox="1"/>
          <p:nvPr/>
        </p:nvSpPr>
        <p:spPr>
          <a:xfrm>
            <a:off x="5545886" y="4445886"/>
            <a:ext cx="32573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cxnSp>
        <p:nvCxnSpPr>
          <p:cNvPr id="659" name="Straight Connector 658">
            <a:extLst>
              <a:ext uri="{FF2B5EF4-FFF2-40B4-BE49-F238E27FC236}">
                <a16:creationId xmlns:a16="http://schemas.microsoft.com/office/drawing/2014/main" id="{32F26D43-4392-B6DD-F55E-8A54E8B5BC79}"/>
              </a:ext>
            </a:extLst>
          </p:cNvPr>
          <p:cNvCxnSpPr>
            <a:cxnSpLocks/>
          </p:cNvCxnSpPr>
          <p:nvPr/>
        </p:nvCxnSpPr>
        <p:spPr>
          <a:xfrm>
            <a:off x="5707481" y="4377063"/>
            <a:ext cx="1" cy="94771"/>
          </a:xfrm>
          <a:prstGeom prst="line">
            <a:avLst/>
          </a:prstGeom>
          <a:noFill/>
          <a:ln w="12700" cap="flat" cmpd="sng" algn="ctr">
            <a:solidFill>
              <a:schemeClr val="tx1"/>
            </a:solidFill>
            <a:prstDash val="solid"/>
            <a:miter lim="800000"/>
          </a:ln>
          <a:effectLst/>
        </p:spPr>
      </p:cxnSp>
      <p:grpSp>
        <p:nvGrpSpPr>
          <p:cNvPr id="640" name="Group 639">
            <a:extLst>
              <a:ext uri="{FF2B5EF4-FFF2-40B4-BE49-F238E27FC236}">
                <a16:creationId xmlns:a16="http://schemas.microsoft.com/office/drawing/2014/main" id="{1624C89D-CFAE-4098-27AE-E0EBD44A2509}"/>
              </a:ext>
            </a:extLst>
          </p:cNvPr>
          <p:cNvGrpSpPr/>
          <p:nvPr/>
        </p:nvGrpSpPr>
        <p:grpSpPr>
          <a:xfrm>
            <a:off x="1753852" y="4377063"/>
            <a:ext cx="255198" cy="315044"/>
            <a:chOff x="1592078" y="3578269"/>
            <a:chExt cx="189961" cy="215413"/>
          </a:xfrm>
        </p:grpSpPr>
        <p:sp>
          <p:nvSpPr>
            <p:cNvPr id="656" name="TextBox 655">
              <a:extLst>
                <a:ext uri="{FF2B5EF4-FFF2-40B4-BE49-F238E27FC236}">
                  <a16:creationId xmlns:a16="http://schemas.microsoft.com/office/drawing/2014/main" id="{11729969-7C69-4631-02EC-C706DF781EB9}"/>
                </a:ext>
              </a:extLst>
            </p:cNvPr>
            <p:cNvSpPr txBox="1"/>
            <p:nvPr/>
          </p:nvSpPr>
          <p:spPr>
            <a:xfrm>
              <a:off x="1592078" y="3625327"/>
              <a:ext cx="189961" cy="1683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cxnSp>
          <p:nvCxnSpPr>
            <p:cNvPr id="657" name="Straight Connector 656">
              <a:extLst>
                <a:ext uri="{FF2B5EF4-FFF2-40B4-BE49-F238E27FC236}">
                  <a16:creationId xmlns:a16="http://schemas.microsoft.com/office/drawing/2014/main" id="{C2E5165D-B1AD-0B19-5AE8-C63E18D866B1}"/>
                </a:ext>
              </a:extLst>
            </p:cNvPr>
            <p:cNvCxnSpPr>
              <a:cxnSpLocks/>
            </p:cNvCxnSpPr>
            <p:nvPr/>
          </p:nvCxnSpPr>
          <p:spPr>
            <a:xfrm>
              <a:off x="1686114" y="3578269"/>
              <a:ext cx="1" cy="64800"/>
            </a:xfrm>
            <a:prstGeom prst="line">
              <a:avLst/>
            </a:prstGeom>
            <a:noFill/>
            <a:ln w="12700" cap="flat" cmpd="sng" algn="ctr">
              <a:solidFill>
                <a:schemeClr val="tx1"/>
              </a:solidFill>
              <a:prstDash val="solid"/>
              <a:miter lim="800000"/>
            </a:ln>
            <a:effectLst/>
          </p:spPr>
        </p:cxnSp>
      </p:grpSp>
      <p:grpSp>
        <p:nvGrpSpPr>
          <p:cNvPr id="641" name="Group 640">
            <a:extLst>
              <a:ext uri="{FF2B5EF4-FFF2-40B4-BE49-F238E27FC236}">
                <a16:creationId xmlns:a16="http://schemas.microsoft.com/office/drawing/2014/main" id="{6D09E300-C0D4-BE2D-032B-45B813604177}"/>
              </a:ext>
            </a:extLst>
          </p:cNvPr>
          <p:cNvGrpSpPr/>
          <p:nvPr/>
        </p:nvGrpSpPr>
        <p:grpSpPr>
          <a:xfrm>
            <a:off x="2847367" y="4377063"/>
            <a:ext cx="255198" cy="315044"/>
            <a:chOff x="2274514" y="3578269"/>
            <a:chExt cx="189961" cy="215413"/>
          </a:xfrm>
        </p:grpSpPr>
        <p:sp>
          <p:nvSpPr>
            <p:cNvPr id="654" name="TextBox 653">
              <a:extLst>
                <a:ext uri="{FF2B5EF4-FFF2-40B4-BE49-F238E27FC236}">
                  <a16:creationId xmlns:a16="http://schemas.microsoft.com/office/drawing/2014/main" id="{FB8DE062-A19C-AE22-B628-EA986078AF3E}"/>
                </a:ext>
              </a:extLst>
            </p:cNvPr>
            <p:cNvSpPr txBox="1"/>
            <p:nvPr/>
          </p:nvSpPr>
          <p:spPr>
            <a:xfrm>
              <a:off x="2274514" y="3625327"/>
              <a:ext cx="189961" cy="1683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p>
          </p:txBody>
        </p:sp>
        <p:cxnSp>
          <p:nvCxnSpPr>
            <p:cNvPr id="655" name="Straight Connector 654">
              <a:extLst>
                <a:ext uri="{FF2B5EF4-FFF2-40B4-BE49-F238E27FC236}">
                  <a16:creationId xmlns:a16="http://schemas.microsoft.com/office/drawing/2014/main" id="{3E643BC1-6A0F-7DE5-87AE-C6199B48F3D9}"/>
                </a:ext>
              </a:extLst>
            </p:cNvPr>
            <p:cNvCxnSpPr>
              <a:cxnSpLocks/>
            </p:cNvCxnSpPr>
            <p:nvPr/>
          </p:nvCxnSpPr>
          <p:spPr>
            <a:xfrm>
              <a:off x="2368549" y="3578269"/>
              <a:ext cx="1" cy="64800"/>
            </a:xfrm>
            <a:prstGeom prst="line">
              <a:avLst/>
            </a:prstGeom>
            <a:noFill/>
            <a:ln w="12700" cap="flat" cmpd="sng" algn="ctr">
              <a:solidFill>
                <a:schemeClr val="tx1"/>
              </a:solidFill>
              <a:prstDash val="solid"/>
              <a:miter lim="800000"/>
            </a:ln>
            <a:effectLst/>
          </p:spPr>
        </p:cxnSp>
      </p:grpSp>
      <p:grpSp>
        <p:nvGrpSpPr>
          <p:cNvPr id="642" name="Group 641">
            <a:extLst>
              <a:ext uri="{FF2B5EF4-FFF2-40B4-BE49-F238E27FC236}">
                <a16:creationId xmlns:a16="http://schemas.microsoft.com/office/drawing/2014/main" id="{64938599-B94D-5744-715D-13E17DB0332E}"/>
              </a:ext>
            </a:extLst>
          </p:cNvPr>
          <p:cNvGrpSpPr/>
          <p:nvPr/>
        </p:nvGrpSpPr>
        <p:grpSpPr>
          <a:xfrm>
            <a:off x="3905615" y="4377063"/>
            <a:ext cx="325730" cy="315044"/>
            <a:chOff x="2930698" y="3578269"/>
            <a:chExt cx="242463" cy="215413"/>
          </a:xfrm>
        </p:grpSpPr>
        <p:sp>
          <p:nvSpPr>
            <p:cNvPr id="652" name="TextBox 651">
              <a:extLst>
                <a:ext uri="{FF2B5EF4-FFF2-40B4-BE49-F238E27FC236}">
                  <a16:creationId xmlns:a16="http://schemas.microsoft.com/office/drawing/2014/main" id="{C2FCC646-8827-340A-B919-1E7F58D1A772}"/>
                </a:ext>
              </a:extLst>
            </p:cNvPr>
            <p:cNvSpPr txBox="1"/>
            <p:nvPr/>
          </p:nvSpPr>
          <p:spPr>
            <a:xfrm>
              <a:off x="2930698" y="3625327"/>
              <a:ext cx="242463" cy="1683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cxnSp>
          <p:nvCxnSpPr>
            <p:cNvPr id="653" name="Straight Connector 652">
              <a:extLst>
                <a:ext uri="{FF2B5EF4-FFF2-40B4-BE49-F238E27FC236}">
                  <a16:creationId xmlns:a16="http://schemas.microsoft.com/office/drawing/2014/main" id="{198C9CBF-5A70-47BA-6CEC-7FFE066156EA}"/>
                </a:ext>
              </a:extLst>
            </p:cNvPr>
            <p:cNvCxnSpPr>
              <a:cxnSpLocks/>
            </p:cNvCxnSpPr>
            <p:nvPr/>
          </p:nvCxnSpPr>
          <p:spPr>
            <a:xfrm>
              <a:off x="3050984" y="3578269"/>
              <a:ext cx="1" cy="64800"/>
            </a:xfrm>
            <a:prstGeom prst="line">
              <a:avLst/>
            </a:prstGeom>
            <a:noFill/>
            <a:ln w="12700" cap="flat" cmpd="sng" algn="ctr">
              <a:solidFill>
                <a:schemeClr val="tx1"/>
              </a:solidFill>
              <a:prstDash val="solid"/>
              <a:miter lim="800000"/>
            </a:ln>
            <a:effectLst/>
          </p:spPr>
        </p:cxnSp>
      </p:grpSp>
      <p:grpSp>
        <p:nvGrpSpPr>
          <p:cNvPr id="643" name="Group 642">
            <a:extLst>
              <a:ext uri="{FF2B5EF4-FFF2-40B4-BE49-F238E27FC236}">
                <a16:creationId xmlns:a16="http://schemas.microsoft.com/office/drawing/2014/main" id="{417CB695-597F-4B2D-3E9C-FD807EB2D67C}"/>
              </a:ext>
            </a:extLst>
          </p:cNvPr>
          <p:cNvGrpSpPr/>
          <p:nvPr/>
        </p:nvGrpSpPr>
        <p:grpSpPr>
          <a:xfrm>
            <a:off x="4999128" y="4377063"/>
            <a:ext cx="325730" cy="315044"/>
            <a:chOff x="3613133" y="3578269"/>
            <a:chExt cx="242463" cy="215413"/>
          </a:xfrm>
        </p:grpSpPr>
        <p:sp>
          <p:nvSpPr>
            <p:cNvPr id="650" name="TextBox 649">
              <a:extLst>
                <a:ext uri="{FF2B5EF4-FFF2-40B4-BE49-F238E27FC236}">
                  <a16:creationId xmlns:a16="http://schemas.microsoft.com/office/drawing/2014/main" id="{79EECEA7-B885-1893-7E39-F48BE1190A89}"/>
                </a:ext>
              </a:extLst>
            </p:cNvPr>
            <p:cNvSpPr txBox="1"/>
            <p:nvPr/>
          </p:nvSpPr>
          <p:spPr>
            <a:xfrm>
              <a:off x="3613133" y="3625327"/>
              <a:ext cx="242463" cy="1683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a:t>
              </a:r>
            </a:p>
          </p:txBody>
        </p:sp>
        <p:cxnSp>
          <p:nvCxnSpPr>
            <p:cNvPr id="651" name="Straight Connector 650">
              <a:extLst>
                <a:ext uri="{FF2B5EF4-FFF2-40B4-BE49-F238E27FC236}">
                  <a16:creationId xmlns:a16="http://schemas.microsoft.com/office/drawing/2014/main" id="{7FB69242-8257-7DDC-2C03-EBC20758E913}"/>
                </a:ext>
              </a:extLst>
            </p:cNvPr>
            <p:cNvCxnSpPr>
              <a:cxnSpLocks/>
            </p:cNvCxnSpPr>
            <p:nvPr/>
          </p:nvCxnSpPr>
          <p:spPr>
            <a:xfrm>
              <a:off x="3733419" y="3578269"/>
              <a:ext cx="1" cy="64800"/>
            </a:xfrm>
            <a:prstGeom prst="line">
              <a:avLst/>
            </a:prstGeom>
            <a:noFill/>
            <a:ln w="12700" cap="flat" cmpd="sng" algn="ctr">
              <a:solidFill>
                <a:schemeClr val="tx1"/>
              </a:solidFill>
              <a:prstDash val="solid"/>
              <a:miter lim="800000"/>
            </a:ln>
            <a:effectLst/>
          </p:spPr>
        </p:cxnSp>
      </p:grpSp>
      <p:grpSp>
        <p:nvGrpSpPr>
          <p:cNvPr id="644" name="Group 643">
            <a:extLst>
              <a:ext uri="{FF2B5EF4-FFF2-40B4-BE49-F238E27FC236}">
                <a16:creationId xmlns:a16="http://schemas.microsoft.com/office/drawing/2014/main" id="{50A65811-AB7B-9839-D197-02FD296362A2}"/>
              </a:ext>
            </a:extLst>
          </p:cNvPr>
          <p:cNvGrpSpPr/>
          <p:nvPr/>
        </p:nvGrpSpPr>
        <p:grpSpPr>
          <a:xfrm>
            <a:off x="6092643" y="4377063"/>
            <a:ext cx="325730" cy="315044"/>
            <a:chOff x="4295567" y="3578269"/>
            <a:chExt cx="242463" cy="215413"/>
          </a:xfrm>
        </p:grpSpPr>
        <p:sp>
          <p:nvSpPr>
            <p:cNvPr id="648" name="TextBox 647">
              <a:extLst>
                <a:ext uri="{FF2B5EF4-FFF2-40B4-BE49-F238E27FC236}">
                  <a16:creationId xmlns:a16="http://schemas.microsoft.com/office/drawing/2014/main" id="{945FAA61-003E-A862-2FB2-61A2E64F2D9B}"/>
                </a:ext>
              </a:extLst>
            </p:cNvPr>
            <p:cNvSpPr txBox="1"/>
            <p:nvPr/>
          </p:nvSpPr>
          <p:spPr>
            <a:xfrm>
              <a:off x="4295567" y="3625327"/>
              <a:ext cx="242463" cy="1683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a:t>
              </a:r>
            </a:p>
          </p:txBody>
        </p:sp>
        <p:cxnSp>
          <p:nvCxnSpPr>
            <p:cNvPr id="649" name="Straight Connector 648">
              <a:extLst>
                <a:ext uri="{FF2B5EF4-FFF2-40B4-BE49-F238E27FC236}">
                  <a16:creationId xmlns:a16="http://schemas.microsoft.com/office/drawing/2014/main" id="{412D2E58-CA0E-7264-CBE7-E7CABC2BD4D2}"/>
                </a:ext>
              </a:extLst>
            </p:cNvPr>
            <p:cNvCxnSpPr>
              <a:cxnSpLocks/>
            </p:cNvCxnSpPr>
            <p:nvPr/>
          </p:nvCxnSpPr>
          <p:spPr>
            <a:xfrm>
              <a:off x="4415852" y="3578269"/>
              <a:ext cx="1" cy="64800"/>
            </a:xfrm>
            <a:prstGeom prst="line">
              <a:avLst/>
            </a:prstGeom>
            <a:noFill/>
            <a:ln w="12700" cap="flat" cmpd="sng" algn="ctr">
              <a:solidFill>
                <a:schemeClr val="tx1"/>
              </a:solidFill>
              <a:prstDash val="solid"/>
              <a:miter lim="800000"/>
            </a:ln>
            <a:effectLst/>
          </p:spPr>
        </p:cxnSp>
      </p:grpSp>
      <p:grpSp>
        <p:nvGrpSpPr>
          <p:cNvPr id="645" name="Group 644">
            <a:extLst>
              <a:ext uri="{FF2B5EF4-FFF2-40B4-BE49-F238E27FC236}">
                <a16:creationId xmlns:a16="http://schemas.microsoft.com/office/drawing/2014/main" id="{D8C92491-24B0-EC18-7B03-A012AAADF0AD}"/>
              </a:ext>
            </a:extLst>
          </p:cNvPr>
          <p:cNvGrpSpPr/>
          <p:nvPr/>
        </p:nvGrpSpPr>
        <p:grpSpPr>
          <a:xfrm>
            <a:off x="7186154" y="4377063"/>
            <a:ext cx="325730" cy="315044"/>
            <a:chOff x="5701483" y="3578269"/>
            <a:chExt cx="242463" cy="215413"/>
          </a:xfrm>
        </p:grpSpPr>
        <p:sp>
          <p:nvSpPr>
            <p:cNvPr id="646" name="TextBox 645">
              <a:extLst>
                <a:ext uri="{FF2B5EF4-FFF2-40B4-BE49-F238E27FC236}">
                  <a16:creationId xmlns:a16="http://schemas.microsoft.com/office/drawing/2014/main" id="{74AC6574-68BF-17CE-30DA-87D52AA20694}"/>
                </a:ext>
              </a:extLst>
            </p:cNvPr>
            <p:cNvSpPr txBox="1"/>
            <p:nvPr/>
          </p:nvSpPr>
          <p:spPr>
            <a:xfrm>
              <a:off x="5701483" y="3625327"/>
              <a:ext cx="242463" cy="1683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3</a:t>
              </a:r>
            </a:p>
          </p:txBody>
        </p:sp>
        <p:cxnSp>
          <p:nvCxnSpPr>
            <p:cNvPr id="647" name="Straight Connector 646">
              <a:extLst>
                <a:ext uri="{FF2B5EF4-FFF2-40B4-BE49-F238E27FC236}">
                  <a16:creationId xmlns:a16="http://schemas.microsoft.com/office/drawing/2014/main" id="{F9C45B92-EAAC-47EB-BFC4-CEA774513952}"/>
                </a:ext>
              </a:extLst>
            </p:cNvPr>
            <p:cNvCxnSpPr>
              <a:cxnSpLocks/>
            </p:cNvCxnSpPr>
            <p:nvPr/>
          </p:nvCxnSpPr>
          <p:spPr>
            <a:xfrm>
              <a:off x="5821767" y="3578269"/>
              <a:ext cx="1" cy="64800"/>
            </a:xfrm>
            <a:prstGeom prst="line">
              <a:avLst/>
            </a:prstGeom>
            <a:noFill/>
            <a:ln w="12700" cap="flat" cmpd="sng" algn="ctr">
              <a:solidFill>
                <a:schemeClr val="tx1"/>
              </a:solidFill>
              <a:prstDash val="solid"/>
              <a:miter lim="800000"/>
            </a:ln>
            <a:effectLst/>
          </p:spPr>
        </p:cxnSp>
      </p:grpSp>
      <p:grpSp>
        <p:nvGrpSpPr>
          <p:cNvPr id="619" name="Group 618">
            <a:extLst>
              <a:ext uri="{FF2B5EF4-FFF2-40B4-BE49-F238E27FC236}">
                <a16:creationId xmlns:a16="http://schemas.microsoft.com/office/drawing/2014/main" id="{13AD7AD4-FE0C-0B1D-C80A-80D7F60A4932}"/>
              </a:ext>
            </a:extLst>
          </p:cNvPr>
          <p:cNvGrpSpPr/>
          <p:nvPr/>
        </p:nvGrpSpPr>
        <p:grpSpPr>
          <a:xfrm>
            <a:off x="1056006" y="4250007"/>
            <a:ext cx="277089" cy="246220"/>
            <a:chOff x="1138395" y="3491400"/>
            <a:chExt cx="206256" cy="168355"/>
          </a:xfrm>
        </p:grpSpPr>
        <p:sp>
          <p:nvSpPr>
            <p:cNvPr id="620" name="TextBox 619">
              <a:extLst>
                <a:ext uri="{FF2B5EF4-FFF2-40B4-BE49-F238E27FC236}">
                  <a16:creationId xmlns:a16="http://schemas.microsoft.com/office/drawing/2014/main" id="{7A1AC413-B003-EC1A-3832-3E057228CB27}"/>
                </a:ext>
              </a:extLst>
            </p:cNvPr>
            <p:cNvSpPr txBox="1"/>
            <p:nvPr/>
          </p:nvSpPr>
          <p:spPr>
            <a:xfrm>
              <a:off x="1138395" y="3491400"/>
              <a:ext cx="189961" cy="168355"/>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cxnSp>
          <p:nvCxnSpPr>
            <p:cNvPr id="621" name="Straight Connector 620">
              <a:extLst>
                <a:ext uri="{FF2B5EF4-FFF2-40B4-BE49-F238E27FC236}">
                  <a16:creationId xmlns:a16="http://schemas.microsoft.com/office/drawing/2014/main" id="{54775E99-0326-016B-1C0A-5B108ADF864B}"/>
                </a:ext>
              </a:extLst>
            </p:cNvPr>
            <p:cNvCxnSpPr>
              <a:cxnSpLocks/>
            </p:cNvCxnSpPr>
            <p:nvPr/>
          </p:nvCxnSpPr>
          <p:spPr>
            <a:xfrm>
              <a:off x="1280314" y="3575578"/>
              <a:ext cx="64337" cy="0"/>
            </a:xfrm>
            <a:prstGeom prst="line">
              <a:avLst/>
            </a:prstGeom>
            <a:noFill/>
            <a:ln w="12700" cap="flat" cmpd="sng" algn="ctr">
              <a:solidFill>
                <a:schemeClr val="tx1"/>
              </a:solidFill>
              <a:prstDash val="solid"/>
              <a:miter lim="800000"/>
            </a:ln>
            <a:effectLst/>
          </p:spPr>
        </p:cxnSp>
      </p:grpSp>
      <p:grpSp>
        <p:nvGrpSpPr>
          <p:cNvPr id="668" name="Group 667">
            <a:extLst>
              <a:ext uri="{FF2B5EF4-FFF2-40B4-BE49-F238E27FC236}">
                <a16:creationId xmlns:a16="http://schemas.microsoft.com/office/drawing/2014/main" id="{4FCB4894-A156-1607-93A0-4202430C21B7}"/>
              </a:ext>
            </a:extLst>
          </p:cNvPr>
          <p:cNvGrpSpPr/>
          <p:nvPr/>
        </p:nvGrpSpPr>
        <p:grpSpPr>
          <a:xfrm>
            <a:off x="1331364" y="1591565"/>
            <a:ext cx="5890483" cy="1717439"/>
            <a:chOff x="148046" y="-3265"/>
            <a:chExt cx="11730445" cy="4099564"/>
          </a:xfrm>
        </p:grpSpPr>
        <p:sp>
          <p:nvSpPr>
            <p:cNvPr id="669" name="Freeform: Shape 668">
              <a:extLst>
                <a:ext uri="{FF2B5EF4-FFF2-40B4-BE49-F238E27FC236}">
                  <a16:creationId xmlns:a16="http://schemas.microsoft.com/office/drawing/2014/main" id="{7D09CEC6-F749-CE83-8A55-9D62510DC85C}"/>
                </a:ext>
              </a:extLst>
            </p:cNvPr>
            <p:cNvSpPr/>
            <p:nvPr/>
          </p:nvSpPr>
          <p:spPr>
            <a:xfrm>
              <a:off x="148046" y="113211"/>
              <a:ext cx="11730445" cy="3857898"/>
            </a:xfrm>
            <a:custGeom>
              <a:avLst/>
              <a:gdLst>
                <a:gd name="connsiteX0" fmla="*/ 0 w 11730445"/>
                <a:gd name="connsiteY0" fmla="*/ 0 h 3857898"/>
                <a:gd name="connsiteX1" fmla="*/ 269965 w 11730445"/>
                <a:gd name="connsiteY1" fmla="*/ 0 h 3857898"/>
                <a:gd name="connsiteX2" fmla="*/ 269965 w 11730445"/>
                <a:gd name="connsiteY2" fmla="*/ 43543 h 3857898"/>
                <a:gd name="connsiteX3" fmla="*/ 365760 w 11730445"/>
                <a:gd name="connsiteY3" fmla="*/ 43543 h 3857898"/>
                <a:gd name="connsiteX4" fmla="*/ 365760 w 11730445"/>
                <a:gd name="connsiteY4" fmla="*/ 69669 h 3857898"/>
                <a:gd name="connsiteX5" fmla="*/ 452845 w 11730445"/>
                <a:gd name="connsiteY5" fmla="*/ 69669 h 3857898"/>
                <a:gd name="connsiteX6" fmla="*/ 452845 w 11730445"/>
                <a:gd name="connsiteY6" fmla="*/ 104503 h 3857898"/>
                <a:gd name="connsiteX7" fmla="*/ 513805 w 11730445"/>
                <a:gd name="connsiteY7" fmla="*/ 104503 h 3857898"/>
                <a:gd name="connsiteX8" fmla="*/ 513805 w 11730445"/>
                <a:gd name="connsiteY8" fmla="*/ 104503 h 3857898"/>
                <a:gd name="connsiteX9" fmla="*/ 574765 w 11730445"/>
                <a:gd name="connsiteY9" fmla="*/ 165463 h 3857898"/>
                <a:gd name="connsiteX10" fmla="*/ 574765 w 11730445"/>
                <a:gd name="connsiteY10" fmla="*/ 200298 h 3857898"/>
                <a:gd name="connsiteX11" fmla="*/ 705394 w 11730445"/>
                <a:gd name="connsiteY11" fmla="*/ 200298 h 3857898"/>
                <a:gd name="connsiteX12" fmla="*/ 705394 w 11730445"/>
                <a:gd name="connsiteY12" fmla="*/ 226423 h 3857898"/>
                <a:gd name="connsiteX13" fmla="*/ 853440 w 11730445"/>
                <a:gd name="connsiteY13" fmla="*/ 226423 h 3857898"/>
                <a:gd name="connsiteX14" fmla="*/ 853440 w 11730445"/>
                <a:gd name="connsiteY14" fmla="*/ 287383 h 3857898"/>
                <a:gd name="connsiteX15" fmla="*/ 949234 w 11730445"/>
                <a:gd name="connsiteY15" fmla="*/ 287383 h 3857898"/>
                <a:gd name="connsiteX16" fmla="*/ 949234 w 11730445"/>
                <a:gd name="connsiteY16" fmla="*/ 304800 h 3857898"/>
                <a:gd name="connsiteX17" fmla="*/ 1010194 w 11730445"/>
                <a:gd name="connsiteY17" fmla="*/ 304800 h 3857898"/>
                <a:gd name="connsiteX18" fmla="*/ 1010194 w 11730445"/>
                <a:gd name="connsiteY18" fmla="*/ 383178 h 3857898"/>
                <a:gd name="connsiteX19" fmla="*/ 1175657 w 11730445"/>
                <a:gd name="connsiteY19" fmla="*/ 383178 h 3857898"/>
                <a:gd name="connsiteX20" fmla="*/ 1175657 w 11730445"/>
                <a:gd name="connsiteY20" fmla="*/ 400595 h 3857898"/>
                <a:gd name="connsiteX21" fmla="*/ 1262743 w 11730445"/>
                <a:gd name="connsiteY21" fmla="*/ 400595 h 3857898"/>
                <a:gd name="connsiteX22" fmla="*/ 1262743 w 11730445"/>
                <a:gd name="connsiteY22" fmla="*/ 435429 h 3857898"/>
                <a:gd name="connsiteX23" fmla="*/ 1332411 w 11730445"/>
                <a:gd name="connsiteY23" fmla="*/ 435429 h 3857898"/>
                <a:gd name="connsiteX24" fmla="*/ 1332411 w 11730445"/>
                <a:gd name="connsiteY24" fmla="*/ 470263 h 3857898"/>
                <a:gd name="connsiteX25" fmla="*/ 1384663 w 11730445"/>
                <a:gd name="connsiteY25" fmla="*/ 470263 h 3857898"/>
                <a:gd name="connsiteX26" fmla="*/ 1384663 w 11730445"/>
                <a:gd name="connsiteY26" fmla="*/ 531223 h 3857898"/>
                <a:gd name="connsiteX27" fmla="*/ 1532708 w 11730445"/>
                <a:gd name="connsiteY27" fmla="*/ 531223 h 3857898"/>
                <a:gd name="connsiteX28" fmla="*/ 1532708 w 11730445"/>
                <a:gd name="connsiteY28" fmla="*/ 557349 h 3857898"/>
                <a:gd name="connsiteX29" fmla="*/ 1602377 w 11730445"/>
                <a:gd name="connsiteY29" fmla="*/ 557349 h 3857898"/>
                <a:gd name="connsiteX30" fmla="*/ 1602377 w 11730445"/>
                <a:gd name="connsiteY30" fmla="*/ 618309 h 3857898"/>
                <a:gd name="connsiteX31" fmla="*/ 1933303 w 11730445"/>
                <a:gd name="connsiteY31" fmla="*/ 618309 h 3857898"/>
                <a:gd name="connsiteX32" fmla="*/ 1933303 w 11730445"/>
                <a:gd name="connsiteY32" fmla="*/ 653143 h 3857898"/>
                <a:gd name="connsiteX33" fmla="*/ 2002971 w 11730445"/>
                <a:gd name="connsiteY33" fmla="*/ 653143 h 3857898"/>
                <a:gd name="connsiteX34" fmla="*/ 2002971 w 11730445"/>
                <a:gd name="connsiteY34" fmla="*/ 740229 h 3857898"/>
                <a:gd name="connsiteX35" fmla="*/ 2055223 w 11730445"/>
                <a:gd name="connsiteY35" fmla="*/ 740229 h 3857898"/>
                <a:gd name="connsiteX36" fmla="*/ 2055223 w 11730445"/>
                <a:gd name="connsiteY36" fmla="*/ 818606 h 3857898"/>
                <a:gd name="connsiteX37" fmla="*/ 2124891 w 11730445"/>
                <a:gd name="connsiteY37" fmla="*/ 818606 h 3857898"/>
                <a:gd name="connsiteX38" fmla="*/ 2151017 w 11730445"/>
                <a:gd name="connsiteY38" fmla="*/ 844732 h 3857898"/>
                <a:gd name="connsiteX39" fmla="*/ 2360023 w 11730445"/>
                <a:gd name="connsiteY39" fmla="*/ 844732 h 3857898"/>
                <a:gd name="connsiteX40" fmla="*/ 2360023 w 11730445"/>
                <a:gd name="connsiteY40" fmla="*/ 888275 h 3857898"/>
                <a:gd name="connsiteX41" fmla="*/ 2542903 w 11730445"/>
                <a:gd name="connsiteY41" fmla="*/ 888275 h 3857898"/>
                <a:gd name="connsiteX42" fmla="*/ 2542903 w 11730445"/>
                <a:gd name="connsiteY42" fmla="*/ 940526 h 3857898"/>
                <a:gd name="connsiteX43" fmla="*/ 2612571 w 11730445"/>
                <a:gd name="connsiteY43" fmla="*/ 940526 h 3857898"/>
                <a:gd name="connsiteX44" fmla="*/ 2612571 w 11730445"/>
                <a:gd name="connsiteY44" fmla="*/ 975360 h 3857898"/>
                <a:gd name="connsiteX45" fmla="*/ 2690948 w 11730445"/>
                <a:gd name="connsiteY45" fmla="*/ 975360 h 3857898"/>
                <a:gd name="connsiteX46" fmla="*/ 2690948 w 11730445"/>
                <a:gd name="connsiteY46" fmla="*/ 1062446 h 3857898"/>
                <a:gd name="connsiteX47" fmla="*/ 2769325 w 11730445"/>
                <a:gd name="connsiteY47" fmla="*/ 1062446 h 3857898"/>
                <a:gd name="connsiteX48" fmla="*/ 2769325 w 11730445"/>
                <a:gd name="connsiteY48" fmla="*/ 1149532 h 3857898"/>
                <a:gd name="connsiteX49" fmla="*/ 3196045 w 11730445"/>
                <a:gd name="connsiteY49" fmla="*/ 1149532 h 3857898"/>
                <a:gd name="connsiteX50" fmla="*/ 3213463 w 11730445"/>
                <a:gd name="connsiteY50" fmla="*/ 1166950 h 3857898"/>
                <a:gd name="connsiteX51" fmla="*/ 3326674 w 11730445"/>
                <a:gd name="connsiteY51" fmla="*/ 1166950 h 3857898"/>
                <a:gd name="connsiteX52" fmla="*/ 3326674 w 11730445"/>
                <a:gd name="connsiteY52" fmla="*/ 1236618 h 3857898"/>
                <a:gd name="connsiteX53" fmla="*/ 3361508 w 11730445"/>
                <a:gd name="connsiteY53" fmla="*/ 1236618 h 3857898"/>
                <a:gd name="connsiteX54" fmla="*/ 3361508 w 11730445"/>
                <a:gd name="connsiteY54" fmla="*/ 1349829 h 3857898"/>
                <a:gd name="connsiteX55" fmla="*/ 3422468 w 11730445"/>
                <a:gd name="connsiteY55" fmla="*/ 1349829 h 3857898"/>
                <a:gd name="connsiteX56" fmla="*/ 3422468 w 11730445"/>
                <a:gd name="connsiteY56" fmla="*/ 1419498 h 3857898"/>
                <a:gd name="connsiteX57" fmla="*/ 3570514 w 11730445"/>
                <a:gd name="connsiteY57" fmla="*/ 1419498 h 3857898"/>
                <a:gd name="connsiteX58" fmla="*/ 3570514 w 11730445"/>
                <a:gd name="connsiteY58" fmla="*/ 1454332 h 3857898"/>
                <a:gd name="connsiteX59" fmla="*/ 3866605 w 11730445"/>
                <a:gd name="connsiteY59" fmla="*/ 1454332 h 3857898"/>
                <a:gd name="connsiteX60" fmla="*/ 3866605 w 11730445"/>
                <a:gd name="connsiteY60" fmla="*/ 1506583 h 3857898"/>
                <a:gd name="connsiteX61" fmla="*/ 3962400 w 11730445"/>
                <a:gd name="connsiteY61" fmla="*/ 1506583 h 3857898"/>
                <a:gd name="connsiteX62" fmla="*/ 3962400 w 11730445"/>
                <a:gd name="connsiteY62" fmla="*/ 1602378 h 3857898"/>
                <a:gd name="connsiteX63" fmla="*/ 4014651 w 11730445"/>
                <a:gd name="connsiteY63" fmla="*/ 1602378 h 3857898"/>
                <a:gd name="connsiteX64" fmla="*/ 4014651 w 11730445"/>
                <a:gd name="connsiteY64" fmla="*/ 1680755 h 3857898"/>
                <a:gd name="connsiteX65" fmla="*/ 4093028 w 11730445"/>
                <a:gd name="connsiteY65" fmla="*/ 1680755 h 3857898"/>
                <a:gd name="connsiteX66" fmla="*/ 4093028 w 11730445"/>
                <a:gd name="connsiteY66" fmla="*/ 1741715 h 3857898"/>
                <a:gd name="connsiteX67" fmla="*/ 4415245 w 11730445"/>
                <a:gd name="connsiteY67" fmla="*/ 1741715 h 3857898"/>
                <a:gd name="connsiteX68" fmla="*/ 4415245 w 11730445"/>
                <a:gd name="connsiteY68" fmla="*/ 1759132 h 3857898"/>
                <a:gd name="connsiteX69" fmla="*/ 4615543 w 11730445"/>
                <a:gd name="connsiteY69" fmla="*/ 1759132 h 3857898"/>
                <a:gd name="connsiteX70" fmla="*/ 4615543 w 11730445"/>
                <a:gd name="connsiteY70" fmla="*/ 1820092 h 3857898"/>
                <a:gd name="connsiteX71" fmla="*/ 4667794 w 11730445"/>
                <a:gd name="connsiteY71" fmla="*/ 1820092 h 3857898"/>
                <a:gd name="connsiteX72" fmla="*/ 4667794 w 11730445"/>
                <a:gd name="connsiteY72" fmla="*/ 1889760 h 3857898"/>
                <a:gd name="connsiteX73" fmla="*/ 4702628 w 11730445"/>
                <a:gd name="connsiteY73" fmla="*/ 1889760 h 3857898"/>
                <a:gd name="connsiteX74" fmla="*/ 4702628 w 11730445"/>
                <a:gd name="connsiteY74" fmla="*/ 1959429 h 3857898"/>
                <a:gd name="connsiteX75" fmla="*/ 4746171 w 11730445"/>
                <a:gd name="connsiteY75" fmla="*/ 1959429 h 3857898"/>
                <a:gd name="connsiteX76" fmla="*/ 4746171 w 11730445"/>
                <a:gd name="connsiteY76" fmla="*/ 1985555 h 3857898"/>
                <a:gd name="connsiteX77" fmla="*/ 5024845 w 11730445"/>
                <a:gd name="connsiteY77" fmla="*/ 1985555 h 3857898"/>
                <a:gd name="connsiteX78" fmla="*/ 5024845 w 11730445"/>
                <a:gd name="connsiteY78" fmla="*/ 2029098 h 3857898"/>
                <a:gd name="connsiteX79" fmla="*/ 5233851 w 11730445"/>
                <a:gd name="connsiteY79" fmla="*/ 2029098 h 3857898"/>
                <a:gd name="connsiteX80" fmla="*/ 5233851 w 11730445"/>
                <a:gd name="connsiteY80" fmla="*/ 2055223 h 3857898"/>
                <a:gd name="connsiteX81" fmla="*/ 5312228 w 11730445"/>
                <a:gd name="connsiteY81" fmla="*/ 2055223 h 3857898"/>
                <a:gd name="connsiteX82" fmla="*/ 5312228 w 11730445"/>
                <a:gd name="connsiteY82" fmla="*/ 2107475 h 3857898"/>
                <a:gd name="connsiteX83" fmla="*/ 5364480 w 11730445"/>
                <a:gd name="connsiteY83" fmla="*/ 2107475 h 3857898"/>
                <a:gd name="connsiteX84" fmla="*/ 5364480 w 11730445"/>
                <a:gd name="connsiteY84" fmla="*/ 2264229 h 3857898"/>
                <a:gd name="connsiteX85" fmla="*/ 5564777 w 11730445"/>
                <a:gd name="connsiteY85" fmla="*/ 2264229 h 3857898"/>
                <a:gd name="connsiteX86" fmla="*/ 5564777 w 11730445"/>
                <a:gd name="connsiteY86" fmla="*/ 2290355 h 3857898"/>
                <a:gd name="connsiteX87" fmla="*/ 5834743 w 11730445"/>
                <a:gd name="connsiteY87" fmla="*/ 2290355 h 3857898"/>
                <a:gd name="connsiteX88" fmla="*/ 5834743 w 11730445"/>
                <a:gd name="connsiteY88" fmla="*/ 2342606 h 3857898"/>
                <a:gd name="connsiteX89" fmla="*/ 5991497 w 11730445"/>
                <a:gd name="connsiteY89" fmla="*/ 2342606 h 3857898"/>
                <a:gd name="connsiteX90" fmla="*/ 5991497 w 11730445"/>
                <a:gd name="connsiteY90" fmla="*/ 2412275 h 3857898"/>
                <a:gd name="connsiteX91" fmla="*/ 6043748 w 11730445"/>
                <a:gd name="connsiteY91" fmla="*/ 2412275 h 3857898"/>
                <a:gd name="connsiteX92" fmla="*/ 6043748 w 11730445"/>
                <a:gd name="connsiteY92" fmla="*/ 2542903 h 3857898"/>
                <a:gd name="connsiteX93" fmla="*/ 6087291 w 11730445"/>
                <a:gd name="connsiteY93" fmla="*/ 2542903 h 3857898"/>
                <a:gd name="connsiteX94" fmla="*/ 6087291 w 11730445"/>
                <a:gd name="connsiteY94" fmla="*/ 2612572 h 3857898"/>
                <a:gd name="connsiteX95" fmla="*/ 6339840 w 11730445"/>
                <a:gd name="connsiteY95" fmla="*/ 2612572 h 3857898"/>
                <a:gd name="connsiteX96" fmla="*/ 6339840 w 11730445"/>
                <a:gd name="connsiteY96" fmla="*/ 2647406 h 3857898"/>
                <a:gd name="connsiteX97" fmla="*/ 6644640 w 11730445"/>
                <a:gd name="connsiteY97" fmla="*/ 2647406 h 3857898"/>
                <a:gd name="connsiteX98" fmla="*/ 6644640 w 11730445"/>
                <a:gd name="connsiteY98" fmla="*/ 2708366 h 3857898"/>
                <a:gd name="connsiteX99" fmla="*/ 6696891 w 11730445"/>
                <a:gd name="connsiteY99" fmla="*/ 2708366 h 3857898"/>
                <a:gd name="connsiteX100" fmla="*/ 6696891 w 11730445"/>
                <a:gd name="connsiteY100" fmla="*/ 2821578 h 3857898"/>
                <a:gd name="connsiteX101" fmla="*/ 6749143 w 11730445"/>
                <a:gd name="connsiteY101" fmla="*/ 2821578 h 3857898"/>
                <a:gd name="connsiteX102" fmla="*/ 6749143 w 11730445"/>
                <a:gd name="connsiteY102" fmla="*/ 2891246 h 3857898"/>
                <a:gd name="connsiteX103" fmla="*/ 6801394 w 11730445"/>
                <a:gd name="connsiteY103" fmla="*/ 2891246 h 3857898"/>
                <a:gd name="connsiteX104" fmla="*/ 6801394 w 11730445"/>
                <a:gd name="connsiteY104" fmla="*/ 2917372 h 3857898"/>
                <a:gd name="connsiteX105" fmla="*/ 6966857 w 11730445"/>
                <a:gd name="connsiteY105" fmla="*/ 2917372 h 3857898"/>
                <a:gd name="connsiteX106" fmla="*/ 6966857 w 11730445"/>
                <a:gd name="connsiteY106" fmla="*/ 2952206 h 3857898"/>
                <a:gd name="connsiteX107" fmla="*/ 7306491 w 11730445"/>
                <a:gd name="connsiteY107" fmla="*/ 2952206 h 3857898"/>
                <a:gd name="connsiteX108" fmla="*/ 7306491 w 11730445"/>
                <a:gd name="connsiteY108" fmla="*/ 2995749 h 3857898"/>
                <a:gd name="connsiteX109" fmla="*/ 7367451 w 11730445"/>
                <a:gd name="connsiteY109" fmla="*/ 2995749 h 3857898"/>
                <a:gd name="connsiteX110" fmla="*/ 7367451 w 11730445"/>
                <a:gd name="connsiteY110" fmla="*/ 3039292 h 3857898"/>
                <a:gd name="connsiteX111" fmla="*/ 7428411 w 11730445"/>
                <a:gd name="connsiteY111" fmla="*/ 3039292 h 3857898"/>
                <a:gd name="connsiteX112" fmla="*/ 7428411 w 11730445"/>
                <a:gd name="connsiteY112" fmla="*/ 3135086 h 3857898"/>
                <a:gd name="connsiteX113" fmla="*/ 7637417 w 11730445"/>
                <a:gd name="connsiteY113" fmla="*/ 3135086 h 3857898"/>
                <a:gd name="connsiteX114" fmla="*/ 7637417 w 11730445"/>
                <a:gd name="connsiteY114" fmla="*/ 3169920 h 3857898"/>
                <a:gd name="connsiteX115" fmla="*/ 8046720 w 11730445"/>
                <a:gd name="connsiteY115" fmla="*/ 3169920 h 3857898"/>
                <a:gd name="connsiteX116" fmla="*/ 8046720 w 11730445"/>
                <a:gd name="connsiteY116" fmla="*/ 3265715 h 3857898"/>
                <a:gd name="connsiteX117" fmla="*/ 8665028 w 11730445"/>
                <a:gd name="connsiteY117" fmla="*/ 3265715 h 3857898"/>
                <a:gd name="connsiteX118" fmla="*/ 8665028 w 11730445"/>
                <a:gd name="connsiteY118" fmla="*/ 3326675 h 3857898"/>
                <a:gd name="connsiteX119" fmla="*/ 8734697 w 11730445"/>
                <a:gd name="connsiteY119" fmla="*/ 3326675 h 3857898"/>
                <a:gd name="connsiteX120" fmla="*/ 8734697 w 11730445"/>
                <a:gd name="connsiteY120" fmla="*/ 3405052 h 3857898"/>
                <a:gd name="connsiteX121" fmla="*/ 8778240 w 11730445"/>
                <a:gd name="connsiteY121" fmla="*/ 3405052 h 3857898"/>
                <a:gd name="connsiteX122" fmla="*/ 8778240 w 11730445"/>
                <a:gd name="connsiteY122" fmla="*/ 3457303 h 3857898"/>
                <a:gd name="connsiteX123" fmla="*/ 9379131 w 11730445"/>
                <a:gd name="connsiteY123" fmla="*/ 3457303 h 3857898"/>
                <a:gd name="connsiteX124" fmla="*/ 9379131 w 11730445"/>
                <a:gd name="connsiteY124" fmla="*/ 3500846 h 3857898"/>
                <a:gd name="connsiteX125" fmla="*/ 9980023 w 11730445"/>
                <a:gd name="connsiteY125" fmla="*/ 3500846 h 3857898"/>
                <a:gd name="connsiteX126" fmla="*/ 9980023 w 11730445"/>
                <a:gd name="connsiteY126" fmla="*/ 3657600 h 3857898"/>
                <a:gd name="connsiteX127" fmla="*/ 10067108 w 11730445"/>
                <a:gd name="connsiteY127" fmla="*/ 3657600 h 3857898"/>
                <a:gd name="connsiteX128" fmla="*/ 10067108 w 11730445"/>
                <a:gd name="connsiteY128" fmla="*/ 3857898 h 3857898"/>
                <a:gd name="connsiteX129" fmla="*/ 11730445 w 11730445"/>
                <a:gd name="connsiteY129" fmla="*/ 3857898 h 385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1730445" h="3857898">
                  <a:moveTo>
                    <a:pt x="0" y="0"/>
                  </a:moveTo>
                  <a:lnTo>
                    <a:pt x="269965" y="0"/>
                  </a:lnTo>
                  <a:lnTo>
                    <a:pt x="269965" y="43543"/>
                  </a:lnTo>
                  <a:lnTo>
                    <a:pt x="365760" y="43543"/>
                  </a:lnTo>
                  <a:lnTo>
                    <a:pt x="365760" y="69669"/>
                  </a:lnTo>
                  <a:lnTo>
                    <a:pt x="452845" y="69669"/>
                  </a:lnTo>
                  <a:lnTo>
                    <a:pt x="452845" y="104503"/>
                  </a:lnTo>
                  <a:lnTo>
                    <a:pt x="513805" y="104503"/>
                  </a:lnTo>
                  <a:lnTo>
                    <a:pt x="513805" y="104503"/>
                  </a:lnTo>
                  <a:lnTo>
                    <a:pt x="574765" y="165463"/>
                  </a:lnTo>
                  <a:lnTo>
                    <a:pt x="574765" y="200298"/>
                  </a:lnTo>
                  <a:lnTo>
                    <a:pt x="705394" y="200298"/>
                  </a:lnTo>
                  <a:lnTo>
                    <a:pt x="705394" y="226423"/>
                  </a:lnTo>
                  <a:lnTo>
                    <a:pt x="853440" y="226423"/>
                  </a:lnTo>
                  <a:lnTo>
                    <a:pt x="853440" y="287383"/>
                  </a:lnTo>
                  <a:lnTo>
                    <a:pt x="949234" y="287383"/>
                  </a:lnTo>
                  <a:lnTo>
                    <a:pt x="949234" y="304800"/>
                  </a:lnTo>
                  <a:lnTo>
                    <a:pt x="1010194" y="304800"/>
                  </a:lnTo>
                  <a:lnTo>
                    <a:pt x="1010194" y="383178"/>
                  </a:lnTo>
                  <a:lnTo>
                    <a:pt x="1175657" y="383178"/>
                  </a:lnTo>
                  <a:lnTo>
                    <a:pt x="1175657" y="400595"/>
                  </a:lnTo>
                  <a:lnTo>
                    <a:pt x="1262743" y="400595"/>
                  </a:lnTo>
                  <a:lnTo>
                    <a:pt x="1262743" y="435429"/>
                  </a:lnTo>
                  <a:lnTo>
                    <a:pt x="1332411" y="435429"/>
                  </a:lnTo>
                  <a:lnTo>
                    <a:pt x="1332411" y="470263"/>
                  </a:lnTo>
                  <a:lnTo>
                    <a:pt x="1384663" y="470263"/>
                  </a:lnTo>
                  <a:lnTo>
                    <a:pt x="1384663" y="531223"/>
                  </a:lnTo>
                  <a:lnTo>
                    <a:pt x="1532708" y="531223"/>
                  </a:lnTo>
                  <a:lnTo>
                    <a:pt x="1532708" y="557349"/>
                  </a:lnTo>
                  <a:lnTo>
                    <a:pt x="1602377" y="557349"/>
                  </a:lnTo>
                  <a:lnTo>
                    <a:pt x="1602377" y="618309"/>
                  </a:lnTo>
                  <a:lnTo>
                    <a:pt x="1933303" y="618309"/>
                  </a:lnTo>
                  <a:lnTo>
                    <a:pt x="1933303" y="653143"/>
                  </a:lnTo>
                  <a:lnTo>
                    <a:pt x="2002971" y="653143"/>
                  </a:lnTo>
                  <a:lnTo>
                    <a:pt x="2002971" y="740229"/>
                  </a:lnTo>
                  <a:lnTo>
                    <a:pt x="2055223" y="740229"/>
                  </a:lnTo>
                  <a:lnTo>
                    <a:pt x="2055223" y="818606"/>
                  </a:lnTo>
                  <a:lnTo>
                    <a:pt x="2124891" y="818606"/>
                  </a:lnTo>
                  <a:lnTo>
                    <a:pt x="2151017" y="844732"/>
                  </a:lnTo>
                  <a:lnTo>
                    <a:pt x="2360023" y="844732"/>
                  </a:lnTo>
                  <a:lnTo>
                    <a:pt x="2360023" y="888275"/>
                  </a:lnTo>
                  <a:lnTo>
                    <a:pt x="2542903" y="888275"/>
                  </a:lnTo>
                  <a:lnTo>
                    <a:pt x="2542903" y="940526"/>
                  </a:lnTo>
                  <a:lnTo>
                    <a:pt x="2612571" y="940526"/>
                  </a:lnTo>
                  <a:lnTo>
                    <a:pt x="2612571" y="975360"/>
                  </a:lnTo>
                  <a:lnTo>
                    <a:pt x="2690948" y="975360"/>
                  </a:lnTo>
                  <a:lnTo>
                    <a:pt x="2690948" y="1062446"/>
                  </a:lnTo>
                  <a:lnTo>
                    <a:pt x="2769325" y="1062446"/>
                  </a:lnTo>
                  <a:lnTo>
                    <a:pt x="2769325" y="1149532"/>
                  </a:lnTo>
                  <a:lnTo>
                    <a:pt x="3196045" y="1149532"/>
                  </a:lnTo>
                  <a:lnTo>
                    <a:pt x="3213463" y="1166950"/>
                  </a:lnTo>
                  <a:lnTo>
                    <a:pt x="3326674" y="1166950"/>
                  </a:lnTo>
                  <a:lnTo>
                    <a:pt x="3326674" y="1236618"/>
                  </a:lnTo>
                  <a:lnTo>
                    <a:pt x="3361508" y="1236618"/>
                  </a:lnTo>
                  <a:lnTo>
                    <a:pt x="3361508" y="1349829"/>
                  </a:lnTo>
                  <a:lnTo>
                    <a:pt x="3422468" y="1349829"/>
                  </a:lnTo>
                  <a:lnTo>
                    <a:pt x="3422468" y="1419498"/>
                  </a:lnTo>
                  <a:lnTo>
                    <a:pt x="3570514" y="1419498"/>
                  </a:lnTo>
                  <a:lnTo>
                    <a:pt x="3570514" y="1454332"/>
                  </a:lnTo>
                  <a:lnTo>
                    <a:pt x="3866605" y="1454332"/>
                  </a:lnTo>
                  <a:lnTo>
                    <a:pt x="3866605" y="1506583"/>
                  </a:lnTo>
                  <a:lnTo>
                    <a:pt x="3962400" y="1506583"/>
                  </a:lnTo>
                  <a:lnTo>
                    <a:pt x="3962400" y="1602378"/>
                  </a:lnTo>
                  <a:lnTo>
                    <a:pt x="4014651" y="1602378"/>
                  </a:lnTo>
                  <a:lnTo>
                    <a:pt x="4014651" y="1680755"/>
                  </a:lnTo>
                  <a:lnTo>
                    <a:pt x="4093028" y="1680755"/>
                  </a:lnTo>
                  <a:lnTo>
                    <a:pt x="4093028" y="1741715"/>
                  </a:lnTo>
                  <a:lnTo>
                    <a:pt x="4415245" y="1741715"/>
                  </a:lnTo>
                  <a:lnTo>
                    <a:pt x="4415245" y="1759132"/>
                  </a:lnTo>
                  <a:lnTo>
                    <a:pt x="4615543" y="1759132"/>
                  </a:lnTo>
                  <a:lnTo>
                    <a:pt x="4615543" y="1820092"/>
                  </a:lnTo>
                  <a:lnTo>
                    <a:pt x="4667794" y="1820092"/>
                  </a:lnTo>
                  <a:lnTo>
                    <a:pt x="4667794" y="1889760"/>
                  </a:lnTo>
                  <a:lnTo>
                    <a:pt x="4702628" y="1889760"/>
                  </a:lnTo>
                  <a:lnTo>
                    <a:pt x="4702628" y="1959429"/>
                  </a:lnTo>
                  <a:lnTo>
                    <a:pt x="4746171" y="1959429"/>
                  </a:lnTo>
                  <a:lnTo>
                    <a:pt x="4746171" y="1985555"/>
                  </a:lnTo>
                  <a:lnTo>
                    <a:pt x="5024845" y="1985555"/>
                  </a:lnTo>
                  <a:lnTo>
                    <a:pt x="5024845" y="2029098"/>
                  </a:lnTo>
                  <a:lnTo>
                    <a:pt x="5233851" y="2029098"/>
                  </a:lnTo>
                  <a:lnTo>
                    <a:pt x="5233851" y="2055223"/>
                  </a:lnTo>
                  <a:lnTo>
                    <a:pt x="5312228" y="2055223"/>
                  </a:lnTo>
                  <a:lnTo>
                    <a:pt x="5312228" y="2107475"/>
                  </a:lnTo>
                  <a:lnTo>
                    <a:pt x="5364480" y="2107475"/>
                  </a:lnTo>
                  <a:lnTo>
                    <a:pt x="5364480" y="2264229"/>
                  </a:lnTo>
                  <a:lnTo>
                    <a:pt x="5564777" y="2264229"/>
                  </a:lnTo>
                  <a:lnTo>
                    <a:pt x="5564777" y="2290355"/>
                  </a:lnTo>
                  <a:lnTo>
                    <a:pt x="5834743" y="2290355"/>
                  </a:lnTo>
                  <a:lnTo>
                    <a:pt x="5834743" y="2342606"/>
                  </a:lnTo>
                  <a:lnTo>
                    <a:pt x="5991497" y="2342606"/>
                  </a:lnTo>
                  <a:lnTo>
                    <a:pt x="5991497" y="2412275"/>
                  </a:lnTo>
                  <a:lnTo>
                    <a:pt x="6043748" y="2412275"/>
                  </a:lnTo>
                  <a:lnTo>
                    <a:pt x="6043748" y="2542903"/>
                  </a:lnTo>
                  <a:lnTo>
                    <a:pt x="6087291" y="2542903"/>
                  </a:lnTo>
                  <a:lnTo>
                    <a:pt x="6087291" y="2612572"/>
                  </a:lnTo>
                  <a:lnTo>
                    <a:pt x="6339840" y="2612572"/>
                  </a:lnTo>
                  <a:lnTo>
                    <a:pt x="6339840" y="2647406"/>
                  </a:lnTo>
                  <a:lnTo>
                    <a:pt x="6644640" y="2647406"/>
                  </a:lnTo>
                  <a:lnTo>
                    <a:pt x="6644640" y="2708366"/>
                  </a:lnTo>
                  <a:lnTo>
                    <a:pt x="6696891" y="2708366"/>
                  </a:lnTo>
                  <a:lnTo>
                    <a:pt x="6696891" y="2821578"/>
                  </a:lnTo>
                  <a:lnTo>
                    <a:pt x="6749143" y="2821578"/>
                  </a:lnTo>
                  <a:lnTo>
                    <a:pt x="6749143" y="2891246"/>
                  </a:lnTo>
                  <a:lnTo>
                    <a:pt x="6801394" y="2891246"/>
                  </a:lnTo>
                  <a:lnTo>
                    <a:pt x="6801394" y="2917372"/>
                  </a:lnTo>
                  <a:lnTo>
                    <a:pt x="6966857" y="2917372"/>
                  </a:lnTo>
                  <a:lnTo>
                    <a:pt x="6966857" y="2952206"/>
                  </a:lnTo>
                  <a:lnTo>
                    <a:pt x="7306491" y="2952206"/>
                  </a:lnTo>
                  <a:lnTo>
                    <a:pt x="7306491" y="2995749"/>
                  </a:lnTo>
                  <a:lnTo>
                    <a:pt x="7367451" y="2995749"/>
                  </a:lnTo>
                  <a:lnTo>
                    <a:pt x="7367451" y="3039292"/>
                  </a:lnTo>
                  <a:lnTo>
                    <a:pt x="7428411" y="3039292"/>
                  </a:lnTo>
                  <a:lnTo>
                    <a:pt x="7428411" y="3135086"/>
                  </a:lnTo>
                  <a:lnTo>
                    <a:pt x="7637417" y="3135086"/>
                  </a:lnTo>
                  <a:lnTo>
                    <a:pt x="7637417" y="3169920"/>
                  </a:lnTo>
                  <a:lnTo>
                    <a:pt x="8046720" y="3169920"/>
                  </a:lnTo>
                  <a:lnTo>
                    <a:pt x="8046720" y="3265715"/>
                  </a:lnTo>
                  <a:lnTo>
                    <a:pt x="8665028" y="3265715"/>
                  </a:lnTo>
                  <a:lnTo>
                    <a:pt x="8665028" y="3326675"/>
                  </a:lnTo>
                  <a:lnTo>
                    <a:pt x="8734697" y="3326675"/>
                  </a:lnTo>
                  <a:lnTo>
                    <a:pt x="8734697" y="3405052"/>
                  </a:lnTo>
                  <a:lnTo>
                    <a:pt x="8778240" y="3405052"/>
                  </a:lnTo>
                  <a:lnTo>
                    <a:pt x="8778240" y="3457303"/>
                  </a:lnTo>
                  <a:lnTo>
                    <a:pt x="9379131" y="3457303"/>
                  </a:lnTo>
                  <a:lnTo>
                    <a:pt x="9379131" y="3500846"/>
                  </a:lnTo>
                  <a:lnTo>
                    <a:pt x="9980023" y="3500846"/>
                  </a:lnTo>
                  <a:lnTo>
                    <a:pt x="9980023" y="3657600"/>
                  </a:lnTo>
                  <a:lnTo>
                    <a:pt x="10067108" y="3657600"/>
                  </a:lnTo>
                  <a:lnTo>
                    <a:pt x="10067108" y="3857898"/>
                  </a:lnTo>
                  <a:lnTo>
                    <a:pt x="11730445" y="3857898"/>
                  </a:lnTo>
                </a:path>
              </a:pathLst>
            </a:custGeom>
            <a:noFill/>
            <a:ln w="19050" cap="rnd">
              <a:solidFill>
                <a:schemeClr val="accent5">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670" name="Group 669">
              <a:extLst>
                <a:ext uri="{FF2B5EF4-FFF2-40B4-BE49-F238E27FC236}">
                  <a16:creationId xmlns:a16="http://schemas.microsoft.com/office/drawing/2014/main" id="{53F0EDBD-09A1-1C83-C140-793F2D32D2DD}"/>
                </a:ext>
              </a:extLst>
            </p:cNvPr>
            <p:cNvGrpSpPr/>
            <p:nvPr/>
          </p:nvGrpSpPr>
          <p:grpSpPr>
            <a:xfrm>
              <a:off x="171996" y="-3265"/>
              <a:ext cx="11697791" cy="4099564"/>
              <a:chOff x="171996" y="-3265"/>
              <a:chExt cx="11697791" cy="4099564"/>
            </a:xfrm>
          </p:grpSpPr>
          <p:cxnSp>
            <p:nvCxnSpPr>
              <p:cNvPr id="671" name="Straight Connector 670">
                <a:extLst>
                  <a:ext uri="{FF2B5EF4-FFF2-40B4-BE49-F238E27FC236}">
                    <a16:creationId xmlns:a16="http://schemas.microsoft.com/office/drawing/2014/main" id="{8CB47280-15D4-14C3-67E5-DADB2E090CE8}"/>
                  </a:ext>
                </a:extLst>
              </p:cNvPr>
              <p:cNvCxnSpPr/>
              <p:nvPr/>
            </p:nvCxnSpPr>
            <p:spPr>
              <a:xfrm>
                <a:off x="171996" y="-3265"/>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2" name="Straight Connector 671">
                <a:extLst>
                  <a:ext uri="{FF2B5EF4-FFF2-40B4-BE49-F238E27FC236}">
                    <a16:creationId xmlns:a16="http://schemas.microsoft.com/office/drawing/2014/main" id="{347A7624-7D89-DA3F-F208-F48BB319CDE1}"/>
                  </a:ext>
                </a:extLst>
              </p:cNvPr>
              <p:cNvCxnSpPr/>
              <p:nvPr/>
            </p:nvCxnSpPr>
            <p:spPr>
              <a:xfrm>
                <a:off x="439785" y="22861"/>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D315C89A-6B9E-0238-5BCA-71A4F07156D6}"/>
                  </a:ext>
                </a:extLst>
              </p:cNvPr>
              <p:cNvCxnSpPr/>
              <p:nvPr/>
            </p:nvCxnSpPr>
            <p:spPr>
              <a:xfrm>
                <a:off x="622665" y="75112"/>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4" name="Straight Connector 673">
                <a:extLst>
                  <a:ext uri="{FF2B5EF4-FFF2-40B4-BE49-F238E27FC236}">
                    <a16:creationId xmlns:a16="http://schemas.microsoft.com/office/drawing/2014/main" id="{812DD7F8-16EB-5DFF-07C7-C85DD138E539}"/>
                  </a:ext>
                </a:extLst>
              </p:cNvPr>
              <p:cNvCxnSpPr/>
              <p:nvPr/>
            </p:nvCxnSpPr>
            <p:spPr>
              <a:xfrm>
                <a:off x="720637" y="16981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27DF8D41-30ED-F46D-7F30-34109512B770}"/>
                  </a:ext>
                </a:extLst>
              </p:cNvPr>
              <p:cNvCxnSpPr/>
              <p:nvPr/>
            </p:nvCxnSpPr>
            <p:spPr>
              <a:xfrm>
                <a:off x="753294" y="16981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6" name="Straight Connector 675">
                <a:extLst>
                  <a:ext uri="{FF2B5EF4-FFF2-40B4-BE49-F238E27FC236}">
                    <a16:creationId xmlns:a16="http://schemas.microsoft.com/office/drawing/2014/main" id="{6EE1D7A3-8C85-A4E3-5AFB-AC59E3BAB4A1}"/>
                  </a:ext>
                </a:extLst>
              </p:cNvPr>
              <p:cNvCxnSpPr/>
              <p:nvPr/>
            </p:nvCxnSpPr>
            <p:spPr>
              <a:xfrm>
                <a:off x="785951" y="16981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7" name="Straight Connector 676">
                <a:extLst>
                  <a:ext uri="{FF2B5EF4-FFF2-40B4-BE49-F238E27FC236}">
                    <a16:creationId xmlns:a16="http://schemas.microsoft.com/office/drawing/2014/main" id="{FDD453C2-A434-43F6-D1B9-6F291A975BC8}"/>
                  </a:ext>
                </a:extLst>
              </p:cNvPr>
              <p:cNvCxnSpPr/>
              <p:nvPr/>
            </p:nvCxnSpPr>
            <p:spPr>
              <a:xfrm>
                <a:off x="825140" y="16981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8" name="Straight Connector 677">
                <a:extLst>
                  <a:ext uri="{FF2B5EF4-FFF2-40B4-BE49-F238E27FC236}">
                    <a16:creationId xmlns:a16="http://schemas.microsoft.com/office/drawing/2014/main" id="{77FC5B44-14C0-BAC4-5CD5-61F28970199D}"/>
                  </a:ext>
                </a:extLst>
              </p:cNvPr>
              <p:cNvCxnSpPr/>
              <p:nvPr/>
            </p:nvCxnSpPr>
            <p:spPr>
              <a:xfrm>
                <a:off x="1461954" y="418013"/>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9" name="Straight Connector 678">
                <a:extLst>
                  <a:ext uri="{FF2B5EF4-FFF2-40B4-BE49-F238E27FC236}">
                    <a16:creationId xmlns:a16="http://schemas.microsoft.com/office/drawing/2014/main" id="{FE8A2C6F-911D-B2D0-9DA7-EE347C84B66A}"/>
                  </a:ext>
                </a:extLst>
              </p:cNvPr>
              <p:cNvCxnSpPr/>
              <p:nvPr/>
            </p:nvCxnSpPr>
            <p:spPr>
              <a:xfrm>
                <a:off x="2386151" y="83275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0" name="Straight Connector 679">
                <a:extLst>
                  <a:ext uri="{FF2B5EF4-FFF2-40B4-BE49-F238E27FC236}">
                    <a16:creationId xmlns:a16="http://schemas.microsoft.com/office/drawing/2014/main" id="{2FBD81CB-3214-8CAB-72C6-1AD5AAFFF973}"/>
                  </a:ext>
                </a:extLst>
              </p:cNvPr>
              <p:cNvCxnSpPr/>
              <p:nvPr/>
            </p:nvCxnSpPr>
            <p:spPr>
              <a:xfrm>
                <a:off x="2565766" y="858884"/>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1" name="Straight Connector 680">
                <a:extLst>
                  <a:ext uri="{FF2B5EF4-FFF2-40B4-BE49-F238E27FC236}">
                    <a16:creationId xmlns:a16="http://schemas.microsoft.com/office/drawing/2014/main" id="{EE02D291-2C8D-4456-3791-0F841E6183EE}"/>
                  </a:ext>
                </a:extLst>
              </p:cNvPr>
              <p:cNvCxnSpPr/>
              <p:nvPr/>
            </p:nvCxnSpPr>
            <p:spPr>
              <a:xfrm>
                <a:off x="2748646" y="927464"/>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2" name="Straight Connector 681">
                <a:extLst>
                  <a:ext uri="{FF2B5EF4-FFF2-40B4-BE49-F238E27FC236}">
                    <a16:creationId xmlns:a16="http://schemas.microsoft.com/office/drawing/2014/main" id="{130D9A51-C592-81F6-B89F-EA28CDF8F115}"/>
                  </a:ext>
                </a:extLst>
              </p:cNvPr>
              <p:cNvCxnSpPr/>
              <p:nvPr/>
            </p:nvCxnSpPr>
            <p:spPr>
              <a:xfrm>
                <a:off x="2768240" y="927464"/>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D3CAC8FA-ED22-D32A-3E0A-0CC4B232DA3D}"/>
                  </a:ext>
                </a:extLst>
              </p:cNvPr>
              <p:cNvCxnSpPr/>
              <p:nvPr/>
            </p:nvCxnSpPr>
            <p:spPr>
              <a:xfrm>
                <a:off x="2918463" y="1090749"/>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4" name="Straight Connector 683">
                <a:extLst>
                  <a:ext uri="{FF2B5EF4-FFF2-40B4-BE49-F238E27FC236}">
                    <a16:creationId xmlns:a16="http://schemas.microsoft.com/office/drawing/2014/main" id="{3C7DB39B-9386-6B81-654A-5321EAF95545}"/>
                  </a:ext>
                </a:extLst>
              </p:cNvPr>
              <p:cNvCxnSpPr/>
              <p:nvPr/>
            </p:nvCxnSpPr>
            <p:spPr>
              <a:xfrm>
                <a:off x="3071951" y="112993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5" name="Straight Connector 684">
                <a:extLst>
                  <a:ext uri="{FF2B5EF4-FFF2-40B4-BE49-F238E27FC236}">
                    <a16:creationId xmlns:a16="http://schemas.microsoft.com/office/drawing/2014/main" id="{7F0FB316-C226-DF83-587B-331C1ACC72ED}"/>
                  </a:ext>
                </a:extLst>
              </p:cNvPr>
              <p:cNvCxnSpPr/>
              <p:nvPr/>
            </p:nvCxnSpPr>
            <p:spPr>
              <a:xfrm>
                <a:off x="3434446" y="112993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6" name="Straight Connector 685">
                <a:extLst>
                  <a:ext uri="{FF2B5EF4-FFF2-40B4-BE49-F238E27FC236}">
                    <a16:creationId xmlns:a16="http://schemas.microsoft.com/office/drawing/2014/main" id="{4F74EAEA-FA71-1EEA-2422-C9BC09A3684B}"/>
                  </a:ext>
                </a:extLst>
              </p:cNvPr>
              <p:cNvCxnSpPr/>
              <p:nvPr/>
            </p:nvCxnSpPr>
            <p:spPr>
              <a:xfrm>
                <a:off x="4355378" y="1714500"/>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7" name="Straight Connector 686">
                <a:extLst>
                  <a:ext uri="{FF2B5EF4-FFF2-40B4-BE49-F238E27FC236}">
                    <a16:creationId xmlns:a16="http://schemas.microsoft.com/office/drawing/2014/main" id="{C1CF4FA6-BF42-66C4-B2B1-812EF78D70E7}"/>
                  </a:ext>
                </a:extLst>
              </p:cNvPr>
              <p:cNvCxnSpPr/>
              <p:nvPr/>
            </p:nvCxnSpPr>
            <p:spPr>
              <a:xfrm>
                <a:off x="4675418" y="1730829"/>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43B55AA6-C219-9659-249C-650626BB392A}"/>
                  </a:ext>
                </a:extLst>
              </p:cNvPr>
              <p:cNvCxnSpPr/>
              <p:nvPr/>
            </p:nvCxnSpPr>
            <p:spPr>
              <a:xfrm>
                <a:off x="5439595" y="2034541"/>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9" name="Straight Connector 688">
                <a:extLst>
                  <a:ext uri="{FF2B5EF4-FFF2-40B4-BE49-F238E27FC236}">
                    <a16:creationId xmlns:a16="http://schemas.microsoft.com/office/drawing/2014/main" id="{54B2039B-2512-D2C9-3044-7811C8F24FB9}"/>
                  </a:ext>
                </a:extLst>
              </p:cNvPr>
              <p:cNvCxnSpPr/>
              <p:nvPr/>
            </p:nvCxnSpPr>
            <p:spPr>
              <a:xfrm>
                <a:off x="5475518" y="2034541"/>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0" name="Straight Connector 689">
                <a:extLst>
                  <a:ext uri="{FF2B5EF4-FFF2-40B4-BE49-F238E27FC236}">
                    <a16:creationId xmlns:a16="http://schemas.microsoft.com/office/drawing/2014/main" id="{E5896227-3760-8A9F-101F-3BD3286B44F0}"/>
                  </a:ext>
                </a:extLst>
              </p:cNvPr>
              <p:cNvCxnSpPr/>
              <p:nvPr/>
            </p:nvCxnSpPr>
            <p:spPr>
              <a:xfrm>
                <a:off x="5854341" y="2259876"/>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1" name="Straight Connector 690">
                <a:extLst>
                  <a:ext uri="{FF2B5EF4-FFF2-40B4-BE49-F238E27FC236}">
                    <a16:creationId xmlns:a16="http://schemas.microsoft.com/office/drawing/2014/main" id="{6C1D214B-F082-736D-C683-1CD1063F4824}"/>
                  </a:ext>
                </a:extLst>
              </p:cNvPr>
              <p:cNvCxnSpPr/>
              <p:nvPr/>
            </p:nvCxnSpPr>
            <p:spPr>
              <a:xfrm>
                <a:off x="5978438" y="2259876"/>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2" name="Straight Connector 691">
                <a:extLst>
                  <a:ext uri="{FF2B5EF4-FFF2-40B4-BE49-F238E27FC236}">
                    <a16:creationId xmlns:a16="http://schemas.microsoft.com/office/drawing/2014/main" id="{DA1CE76B-5897-C076-676D-193700ACC283}"/>
                  </a:ext>
                </a:extLst>
              </p:cNvPr>
              <p:cNvCxnSpPr/>
              <p:nvPr/>
            </p:nvCxnSpPr>
            <p:spPr>
              <a:xfrm>
                <a:off x="6099270" y="2321925"/>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3" name="Straight Connector 692">
                <a:extLst>
                  <a:ext uri="{FF2B5EF4-FFF2-40B4-BE49-F238E27FC236}">
                    <a16:creationId xmlns:a16="http://schemas.microsoft.com/office/drawing/2014/main" id="{A3000E53-3374-5A44-A083-E6053CF7ABA4}"/>
                  </a:ext>
                </a:extLst>
              </p:cNvPr>
              <p:cNvCxnSpPr/>
              <p:nvPr/>
            </p:nvCxnSpPr>
            <p:spPr>
              <a:xfrm>
                <a:off x="6171116" y="2377442"/>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4" name="Straight Connector 693">
                <a:extLst>
                  <a:ext uri="{FF2B5EF4-FFF2-40B4-BE49-F238E27FC236}">
                    <a16:creationId xmlns:a16="http://schemas.microsoft.com/office/drawing/2014/main" id="{240167B8-1E8F-6C9E-1F13-B757A50FDD59}"/>
                  </a:ext>
                </a:extLst>
              </p:cNvPr>
              <p:cNvCxnSpPr/>
              <p:nvPr/>
            </p:nvCxnSpPr>
            <p:spPr>
              <a:xfrm>
                <a:off x="6213571" y="2517867"/>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5" name="Straight Connector 694">
                <a:extLst>
                  <a:ext uri="{FF2B5EF4-FFF2-40B4-BE49-F238E27FC236}">
                    <a16:creationId xmlns:a16="http://schemas.microsoft.com/office/drawing/2014/main" id="{7A3F44A4-7F8C-A5DC-D638-B2878F47107F}"/>
                  </a:ext>
                </a:extLst>
              </p:cNvPr>
              <p:cNvCxnSpPr/>
              <p:nvPr/>
            </p:nvCxnSpPr>
            <p:spPr>
              <a:xfrm>
                <a:off x="6327871" y="2583182"/>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6" name="Straight Connector 695">
                <a:extLst>
                  <a:ext uri="{FF2B5EF4-FFF2-40B4-BE49-F238E27FC236}">
                    <a16:creationId xmlns:a16="http://schemas.microsoft.com/office/drawing/2014/main" id="{0F32AEBB-2C6D-4B22-6FE2-4537B0363AA1}"/>
                  </a:ext>
                </a:extLst>
              </p:cNvPr>
              <p:cNvCxnSpPr/>
              <p:nvPr/>
            </p:nvCxnSpPr>
            <p:spPr>
              <a:xfrm>
                <a:off x="6367060" y="2583182"/>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7" name="Straight Connector 696">
                <a:extLst>
                  <a:ext uri="{FF2B5EF4-FFF2-40B4-BE49-F238E27FC236}">
                    <a16:creationId xmlns:a16="http://schemas.microsoft.com/office/drawing/2014/main" id="{E4C72FDA-C00B-CEB4-4706-5BA06BAEF249}"/>
                  </a:ext>
                </a:extLst>
              </p:cNvPr>
              <p:cNvCxnSpPr/>
              <p:nvPr/>
            </p:nvCxnSpPr>
            <p:spPr>
              <a:xfrm>
                <a:off x="6546674" y="2625636"/>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8" name="Straight Connector 697">
                <a:extLst>
                  <a:ext uri="{FF2B5EF4-FFF2-40B4-BE49-F238E27FC236}">
                    <a16:creationId xmlns:a16="http://schemas.microsoft.com/office/drawing/2014/main" id="{BCA43ACB-A262-11A8-A275-D54E92ACAFE1}"/>
                  </a:ext>
                </a:extLst>
              </p:cNvPr>
              <p:cNvCxnSpPr/>
              <p:nvPr/>
            </p:nvCxnSpPr>
            <p:spPr>
              <a:xfrm>
                <a:off x="6739351" y="2625636"/>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9" name="Straight Connector 698">
                <a:extLst>
                  <a:ext uri="{FF2B5EF4-FFF2-40B4-BE49-F238E27FC236}">
                    <a16:creationId xmlns:a16="http://schemas.microsoft.com/office/drawing/2014/main" id="{CE35526C-108F-4A33-F26D-B98737202F1F}"/>
                  </a:ext>
                </a:extLst>
              </p:cNvPr>
              <p:cNvCxnSpPr/>
              <p:nvPr/>
            </p:nvCxnSpPr>
            <p:spPr>
              <a:xfrm>
                <a:off x="6765477" y="2638699"/>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0" name="Straight Connector 699">
                <a:extLst>
                  <a:ext uri="{FF2B5EF4-FFF2-40B4-BE49-F238E27FC236}">
                    <a16:creationId xmlns:a16="http://schemas.microsoft.com/office/drawing/2014/main" id="{7CE74820-D6AD-94FD-27DE-CFECE68133F9}"/>
                  </a:ext>
                </a:extLst>
              </p:cNvPr>
              <p:cNvCxnSpPr/>
              <p:nvPr/>
            </p:nvCxnSpPr>
            <p:spPr>
              <a:xfrm>
                <a:off x="6814463" y="2671356"/>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1" name="Straight Connector 700">
                <a:extLst>
                  <a:ext uri="{FF2B5EF4-FFF2-40B4-BE49-F238E27FC236}">
                    <a16:creationId xmlns:a16="http://schemas.microsoft.com/office/drawing/2014/main" id="{D9523C6E-74C6-EE08-FD25-1DAD46EF1C73}"/>
                  </a:ext>
                </a:extLst>
              </p:cNvPr>
              <p:cNvCxnSpPr/>
              <p:nvPr/>
            </p:nvCxnSpPr>
            <p:spPr>
              <a:xfrm>
                <a:off x="6925497" y="2873831"/>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2" name="Straight Connector 701">
                <a:extLst>
                  <a:ext uri="{FF2B5EF4-FFF2-40B4-BE49-F238E27FC236}">
                    <a16:creationId xmlns:a16="http://schemas.microsoft.com/office/drawing/2014/main" id="{BC4A800A-70E4-6892-5C31-39C8BA741AC4}"/>
                  </a:ext>
                </a:extLst>
              </p:cNvPr>
              <p:cNvCxnSpPr/>
              <p:nvPr/>
            </p:nvCxnSpPr>
            <p:spPr>
              <a:xfrm>
                <a:off x="7441480" y="2945677"/>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3" name="Straight Connector 702">
                <a:extLst>
                  <a:ext uri="{FF2B5EF4-FFF2-40B4-BE49-F238E27FC236}">
                    <a16:creationId xmlns:a16="http://schemas.microsoft.com/office/drawing/2014/main" id="{A10F99C3-99F0-4060-BB3C-CB8DE2AEF7F3}"/>
                  </a:ext>
                </a:extLst>
              </p:cNvPr>
              <p:cNvCxnSpPr/>
              <p:nvPr/>
            </p:nvCxnSpPr>
            <p:spPr>
              <a:xfrm>
                <a:off x="7490466" y="2981600"/>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4" name="Straight Connector 703">
                <a:extLst>
                  <a:ext uri="{FF2B5EF4-FFF2-40B4-BE49-F238E27FC236}">
                    <a16:creationId xmlns:a16="http://schemas.microsoft.com/office/drawing/2014/main" id="{1D457F27-B400-F77F-3048-D313BF37BF85}"/>
                  </a:ext>
                </a:extLst>
              </p:cNvPr>
              <p:cNvCxnSpPr/>
              <p:nvPr/>
            </p:nvCxnSpPr>
            <p:spPr>
              <a:xfrm>
                <a:off x="7552514" y="3030585"/>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A72CC512-E737-99ED-87F5-0CB8075C6E6B}"/>
                  </a:ext>
                </a:extLst>
              </p:cNvPr>
              <p:cNvCxnSpPr/>
              <p:nvPr/>
            </p:nvCxnSpPr>
            <p:spPr>
              <a:xfrm>
                <a:off x="8042371" y="3151417"/>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6" name="Straight Connector 705">
                <a:extLst>
                  <a:ext uri="{FF2B5EF4-FFF2-40B4-BE49-F238E27FC236}">
                    <a16:creationId xmlns:a16="http://schemas.microsoft.com/office/drawing/2014/main" id="{33BD03BE-EBD8-6E00-981C-989A19C6C64B}"/>
                  </a:ext>
                </a:extLst>
              </p:cNvPr>
              <p:cNvCxnSpPr/>
              <p:nvPr/>
            </p:nvCxnSpPr>
            <p:spPr>
              <a:xfrm>
                <a:off x="8110951" y="3151417"/>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7" name="Straight Connector 706">
                <a:extLst>
                  <a:ext uri="{FF2B5EF4-FFF2-40B4-BE49-F238E27FC236}">
                    <a16:creationId xmlns:a16="http://schemas.microsoft.com/office/drawing/2014/main" id="{E1B1FBEA-4D05-3528-5233-4616EE9A5D63}"/>
                  </a:ext>
                </a:extLst>
              </p:cNvPr>
              <p:cNvCxnSpPr/>
              <p:nvPr/>
            </p:nvCxnSpPr>
            <p:spPr>
              <a:xfrm>
                <a:off x="8137076" y="3151417"/>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8" name="Straight Connector 707">
                <a:extLst>
                  <a:ext uri="{FF2B5EF4-FFF2-40B4-BE49-F238E27FC236}">
                    <a16:creationId xmlns:a16="http://schemas.microsoft.com/office/drawing/2014/main" id="{09811E17-BED3-FA44-BABC-83BFDBD2AEE7}"/>
                  </a:ext>
                </a:extLst>
              </p:cNvPr>
              <p:cNvCxnSpPr/>
              <p:nvPr/>
            </p:nvCxnSpPr>
            <p:spPr>
              <a:xfrm>
                <a:off x="8192593" y="3190606"/>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9" name="Straight Connector 708">
                <a:extLst>
                  <a:ext uri="{FF2B5EF4-FFF2-40B4-BE49-F238E27FC236}">
                    <a16:creationId xmlns:a16="http://schemas.microsoft.com/office/drawing/2014/main" id="{C5D8E3DB-B897-10D2-78D7-E8A016226865}"/>
                  </a:ext>
                </a:extLst>
              </p:cNvPr>
              <p:cNvCxnSpPr/>
              <p:nvPr/>
            </p:nvCxnSpPr>
            <p:spPr>
              <a:xfrm>
                <a:off x="8297096" y="3259186"/>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0" name="Straight Connector 709">
                <a:extLst>
                  <a:ext uri="{FF2B5EF4-FFF2-40B4-BE49-F238E27FC236}">
                    <a16:creationId xmlns:a16="http://schemas.microsoft.com/office/drawing/2014/main" id="{AD084019-8E7E-9B48-0868-5DED0045C565}"/>
                  </a:ext>
                </a:extLst>
              </p:cNvPr>
              <p:cNvCxnSpPr/>
              <p:nvPr/>
            </p:nvCxnSpPr>
            <p:spPr>
              <a:xfrm>
                <a:off x="8773890" y="3259186"/>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1" name="Straight Connector 710">
                <a:extLst>
                  <a:ext uri="{FF2B5EF4-FFF2-40B4-BE49-F238E27FC236}">
                    <a16:creationId xmlns:a16="http://schemas.microsoft.com/office/drawing/2014/main" id="{9AB5263E-ABD8-BF52-2674-E89DD4ACAEAC}"/>
                  </a:ext>
                </a:extLst>
              </p:cNvPr>
              <p:cNvCxnSpPr/>
              <p:nvPr/>
            </p:nvCxnSpPr>
            <p:spPr>
              <a:xfrm>
                <a:off x="8800015" y="3259186"/>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2" name="Straight Connector 711">
                <a:extLst>
                  <a:ext uri="{FF2B5EF4-FFF2-40B4-BE49-F238E27FC236}">
                    <a16:creationId xmlns:a16="http://schemas.microsoft.com/office/drawing/2014/main" id="{C1A83FB5-A301-515C-04B6-073B94705046}"/>
                  </a:ext>
                </a:extLst>
              </p:cNvPr>
              <p:cNvCxnSpPr/>
              <p:nvPr/>
            </p:nvCxnSpPr>
            <p:spPr>
              <a:xfrm>
                <a:off x="8835938" y="3301641"/>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3" name="Straight Connector 712">
                <a:extLst>
                  <a:ext uri="{FF2B5EF4-FFF2-40B4-BE49-F238E27FC236}">
                    <a16:creationId xmlns:a16="http://schemas.microsoft.com/office/drawing/2014/main" id="{CAA35219-4CD7-2741-19FF-E032A583589E}"/>
                  </a:ext>
                </a:extLst>
              </p:cNvPr>
              <p:cNvCxnSpPr/>
              <p:nvPr/>
            </p:nvCxnSpPr>
            <p:spPr>
              <a:xfrm>
                <a:off x="9129853" y="3438801"/>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4" name="Straight Connector 713">
                <a:extLst>
                  <a:ext uri="{FF2B5EF4-FFF2-40B4-BE49-F238E27FC236}">
                    <a16:creationId xmlns:a16="http://schemas.microsoft.com/office/drawing/2014/main" id="{92EEC2E8-5D7B-80D0-B434-346B7C251D71}"/>
                  </a:ext>
                </a:extLst>
              </p:cNvPr>
              <p:cNvCxnSpPr/>
              <p:nvPr/>
            </p:nvCxnSpPr>
            <p:spPr>
              <a:xfrm>
                <a:off x="9443361" y="3438801"/>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5" name="Straight Connector 714">
                <a:extLst>
                  <a:ext uri="{FF2B5EF4-FFF2-40B4-BE49-F238E27FC236}">
                    <a16:creationId xmlns:a16="http://schemas.microsoft.com/office/drawing/2014/main" id="{42D183D2-F050-D853-9175-4A8EA32DB876}"/>
                  </a:ext>
                </a:extLst>
              </p:cNvPr>
              <p:cNvCxnSpPr/>
              <p:nvPr/>
            </p:nvCxnSpPr>
            <p:spPr>
              <a:xfrm>
                <a:off x="9469487" y="3438801"/>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6" name="Straight Connector 715">
                <a:extLst>
                  <a:ext uri="{FF2B5EF4-FFF2-40B4-BE49-F238E27FC236}">
                    <a16:creationId xmlns:a16="http://schemas.microsoft.com/office/drawing/2014/main" id="{003E209D-A991-A94A-61A1-A7B4041C9C69}"/>
                  </a:ext>
                </a:extLst>
              </p:cNvPr>
              <p:cNvCxnSpPr/>
              <p:nvPr/>
            </p:nvCxnSpPr>
            <p:spPr>
              <a:xfrm>
                <a:off x="9492347" y="3438801"/>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7" name="Straight Connector 716">
                <a:extLst>
                  <a:ext uri="{FF2B5EF4-FFF2-40B4-BE49-F238E27FC236}">
                    <a16:creationId xmlns:a16="http://schemas.microsoft.com/office/drawing/2014/main" id="{5C1A66B0-EA5F-2785-E1F1-DEAA2CA8C5D1}"/>
                  </a:ext>
                </a:extLst>
              </p:cNvPr>
              <p:cNvCxnSpPr/>
              <p:nvPr/>
            </p:nvCxnSpPr>
            <p:spPr>
              <a:xfrm>
                <a:off x="9525005" y="3438801"/>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8" name="Straight Connector 717">
                <a:extLst>
                  <a:ext uri="{FF2B5EF4-FFF2-40B4-BE49-F238E27FC236}">
                    <a16:creationId xmlns:a16="http://schemas.microsoft.com/office/drawing/2014/main" id="{64B88139-0102-4A2A-1389-34019C36E141}"/>
                  </a:ext>
                </a:extLst>
              </p:cNvPr>
              <p:cNvCxnSpPr/>
              <p:nvPr/>
            </p:nvCxnSpPr>
            <p:spPr>
              <a:xfrm>
                <a:off x="9567459" y="349431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9" name="Straight Connector 718">
                <a:extLst>
                  <a:ext uri="{FF2B5EF4-FFF2-40B4-BE49-F238E27FC236}">
                    <a16:creationId xmlns:a16="http://schemas.microsoft.com/office/drawing/2014/main" id="{7B8C3CE9-CCFB-2CAE-9CD8-0F46CE878FAF}"/>
                  </a:ext>
                </a:extLst>
              </p:cNvPr>
              <p:cNvCxnSpPr/>
              <p:nvPr/>
            </p:nvCxnSpPr>
            <p:spPr>
              <a:xfrm>
                <a:off x="9603382" y="349431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0" name="Straight Connector 719">
                <a:extLst>
                  <a:ext uri="{FF2B5EF4-FFF2-40B4-BE49-F238E27FC236}">
                    <a16:creationId xmlns:a16="http://schemas.microsoft.com/office/drawing/2014/main" id="{D2EEF4B0-5908-2659-A887-B0323895FB52}"/>
                  </a:ext>
                </a:extLst>
              </p:cNvPr>
              <p:cNvCxnSpPr/>
              <p:nvPr/>
            </p:nvCxnSpPr>
            <p:spPr>
              <a:xfrm>
                <a:off x="9691557" y="349431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1" name="Straight Connector 720">
                <a:extLst>
                  <a:ext uri="{FF2B5EF4-FFF2-40B4-BE49-F238E27FC236}">
                    <a16:creationId xmlns:a16="http://schemas.microsoft.com/office/drawing/2014/main" id="{41427159-DEFF-90B0-227E-517669AA97C6}"/>
                  </a:ext>
                </a:extLst>
              </p:cNvPr>
              <p:cNvCxnSpPr/>
              <p:nvPr/>
            </p:nvCxnSpPr>
            <p:spPr>
              <a:xfrm>
                <a:off x="9737277" y="349431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2" name="Straight Connector 721">
                <a:extLst>
                  <a:ext uri="{FF2B5EF4-FFF2-40B4-BE49-F238E27FC236}">
                    <a16:creationId xmlns:a16="http://schemas.microsoft.com/office/drawing/2014/main" id="{254EF047-AD9F-7F78-AFF9-709636F509DC}"/>
                  </a:ext>
                </a:extLst>
              </p:cNvPr>
              <p:cNvCxnSpPr/>
              <p:nvPr/>
            </p:nvCxnSpPr>
            <p:spPr>
              <a:xfrm>
                <a:off x="10112834" y="3494318"/>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3" name="Straight Connector 722">
                <a:extLst>
                  <a:ext uri="{FF2B5EF4-FFF2-40B4-BE49-F238E27FC236}">
                    <a16:creationId xmlns:a16="http://schemas.microsoft.com/office/drawing/2014/main" id="{34778EBE-4DB9-D3CA-4876-0D73E4DB5701}"/>
                  </a:ext>
                </a:extLst>
              </p:cNvPr>
              <p:cNvCxnSpPr/>
              <p:nvPr/>
            </p:nvCxnSpPr>
            <p:spPr>
              <a:xfrm>
                <a:off x="10155288" y="3628212"/>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4" name="Straight Connector 723">
                <a:extLst>
                  <a:ext uri="{FF2B5EF4-FFF2-40B4-BE49-F238E27FC236}">
                    <a16:creationId xmlns:a16="http://schemas.microsoft.com/office/drawing/2014/main" id="{EFED977F-C8AC-F3D8-A993-DEDAEBF4A326}"/>
                  </a:ext>
                </a:extLst>
              </p:cNvPr>
              <p:cNvCxnSpPr/>
              <p:nvPr/>
            </p:nvCxnSpPr>
            <p:spPr>
              <a:xfrm>
                <a:off x="10184680" y="3628212"/>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5" name="Straight Connector 724">
                <a:extLst>
                  <a:ext uri="{FF2B5EF4-FFF2-40B4-BE49-F238E27FC236}">
                    <a16:creationId xmlns:a16="http://schemas.microsoft.com/office/drawing/2014/main" id="{475F974C-1764-263B-C6E3-F727C20F1467}"/>
                  </a:ext>
                </a:extLst>
              </p:cNvPr>
              <p:cNvCxnSpPr/>
              <p:nvPr/>
            </p:nvCxnSpPr>
            <p:spPr>
              <a:xfrm>
                <a:off x="10292448" y="3843750"/>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6" name="Straight Connector 725">
                <a:extLst>
                  <a:ext uri="{FF2B5EF4-FFF2-40B4-BE49-F238E27FC236}">
                    <a16:creationId xmlns:a16="http://schemas.microsoft.com/office/drawing/2014/main" id="{CF709E9A-7D6B-DBFA-CF65-E29D32611F3B}"/>
                  </a:ext>
                </a:extLst>
              </p:cNvPr>
              <p:cNvCxnSpPr/>
              <p:nvPr/>
            </p:nvCxnSpPr>
            <p:spPr>
              <a:xfrm>
                <a:off x="10850884" y="3843750"/>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7" name="Straight Connector 726">
                <a:extLst>
                  <a:ext uri="{FF2B5EF4-FFF2-40B4-BE49-F238E27FC236}">
                    <a16:creationId xmlns:a16="http://schemas.microsoft.com/office/drawing/2014/main" id="{44141A73-F69A-1847-1614-F58F5A6B3E3A}"/>
                  </a:ext>
                </a:extLst>
              </p:cNvPr>
              <p:cNvCxnSpPr/>
              <p:nvPr/>
            </p:nvCxnSpPr>
            <p:spPr>
              <a:xfrm>
                <a:off x="11128470" y="3843750"/>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3488D248-6636-20B1-87E7-DBE705DC6B83}"/>
                  </a:ext>
                </a:extLst>
              </p:cNvPr>
              <p:cNvCxnSpPr/>
              <p:nvPr/>
            </p:nvCxnSpPr>
            <p:spPr>
              <a:xfrm>
                <a:off x="11161127" y="3843750"/>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9" name="Straight Connector 728">
                <a:extLst>
                  <a:ext uri="{FF2B5EF4-FFF2-40B4-BE49-F238E27FC236}">
                    <a16:creationId xmlns:a16="http://schemas.microsoft.com/office/drawing/2014/main" id="{8D9D44A1-8056-849C-EF7A-08789BB72785}"/>
                  </a:ext>
                </a:extLst>
              </p:cNvPr>
              <p:cNvCxnSpPr/>
              <p:nvPr/>
            </p:nvCxnSpPr>
            <p:spPr>
              <a:xfrm>
                <a:off x="11216644" y="3843750"/>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730" name="Straight Connector 729">
                <a:extLst>
                  <a:ext uri="{FF2B5EF4-FFF2-40B4-BE49-F238E27FC236}">
                    <a16:creationId xmlns:a16="http://schemas.microsoft.com/office/drawing/2014/main" id="{FE8206D1-0A90-315B-8065-0FA70513EAAC}"/>
                  </a:ext>
                </a:extLst>
              </p:cNvPr>
              <p:cNvCxnSpPr/>
              <p:nvPr/>
            </p:nvCxnSpPr>
            <p:spPr>
              <a:xfrm>
                <a:off x="11869787" y="3843750"/>
                <a:ext cx="0" cy="252549"/>
              </a:xfrm>
              <a:prstGeom prst="line">
                <a:avLst/>
              </a:prstGeom>
              <a:ln w="127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731" name="Group 730">
            <a:extLst>
              <a:ext uri="{FF2B5EF4-FFF2-40B4-BE49-F238E27FC236}">
                <a16:creationId xmlns:a16="http://schemas.microsoft.com/office/drawing/2014/main" id="{0AF936CF-AB9F-FE87-82C0-1C5426E53575}"/>
              </a:ext>
            </a:extLst>
          </p:cNvPr>
          <p:cNvGrpSpPr/>
          <p:nvPr/>
        </p:nvGrpSpPr>
        <p:grpSpPr>
          <a:xfrm>
            <a:off x="1331364" y="1588372"/>
            <a:ext cx="5855499" cy="2014317"/>
            <a:chOff x="148046" y="-10885"/>
            <a:chExt cx="11660777" cy="4808222"/>
          </a:xfrm>
        </p:grpSpPr>
        <p:sp>
          <p:nvSpPr>
            <p:cNvPr id="732" name="Freeform: Shape 731">
              <a:extLst>
                <a:ext uri="{FF2B5EF4-FFF2-40B4-BE49-F238E27FC236}">
                  <a16:creationId xmlns:a16="http://schemas.microsoft.com/office/drawing/2014/main" id="{53A3363E-5497-9257-E1B8-4CD7E5235029}"/>
                </a:ext>
              </a:extLst>
            </p:cNvPr>
            <p:cNvSpPr/>
            <p:nvPr/>
          </p:nvSpPr>
          <p:spPr>
            <a:xfrm>
              <a:off x="148046" y="96925"/>
              <a:ext cx="11660777" cy="4589418"/>
            </a:xfrm>
            <a:custGeom>
              <a:avLst/>
              <a:gdLst>
                <a:gd name="connsiteX0" fmla="*/ 0 w 11660777"/>
                <a:gd name="connsiteY0" fmla="*/ 0 h 4589417"/>
                <a:gd name="connsiteX1" fmla="*/ 52251 w 11660777"/>
                <a:gd name="connsiteY1" fmla="*/ 0 h 4589417"/>
                <a:gd name="connsiteX2" fmla="*/ 17417 w 11660777"/>
                <a:gd name="connsiteY2" fmla="*/ 34834 h 4589417"/>
                <a:gd name="connsiteX3" fmla="*/ 130628 w 11660777"/>
                <a:gd name="connsiteY3" fmla="*/ 34834 h 4589417"/>
                <a:gd name="connsiteX4" fmla="*/ 130628 w 11660777"/>
                <a:gd name="connsiteY4" fmla="*/ 87086 h 4589417"/>
                <a:gd name="connsiteX5" fmla="*/ 278674 w 11660777"/>
                <a:gd name="connsiteY5" fmla="*/ 87086 h 4589417"/>
                <a:gd name="connsiteX6" fmla="*/ 278674 w 11660777"/>
                <a:gd name="connsiteY6" fmla="*/ 148046 h 4589417"/>
                <a:gd name="connsiteX7" fmla="*/ 374468 w 11660777"/>
                <a:gd name="connsiteY7" fmla="*/ 148046 h 4589417"/>
                <a:gd name="connsiteX8" fmla="*/ 374468 w 11660777"/>
                <a:gd name="connsiteY8" fmla="*/ 182880 h 4589417"/>
                <a:gd name="connsiteX9" fmla="*/ 426720 w 11660777"/>
                <a:gd name="connsiteY9" fmla="*/ 182880 h 4589417"/>
                <a:gd name="connsiteX10" fmla="*/ 426720 w 11660777"/>
                <a:gd name="connsiteY10" fmla="*/ 209006 h 4589417"/>
                <a:gd name="connsiteX11" fmla="*/ 635725 w 11660777"/>
                <a:gd name="connsiteY11" fmla="*/ 209006 h 4589417"/>
                <a:gd name="connsiteX12" fmla="*/ 653143 w 11660777"/>
                <a:gd name="connsiteY12" fmla="*/ 209006 h 4589417"/>
                <a:gd name="connsiteX13" fmla="*/ 705394 w 11660777"/>
                <a:gd name="connsiteY13" fmla="*/ 209006 h 4589417"/>
                <a:gd name="connsiteX14" fmla="*/ 705394 w 11660777"/>
                <a:gd name="connsiteY14" fmla="*/ 348343 h 4589417"/>
                <a:gd name="connsiteX15" fmla="*/ 809897 w 11660777"/>
                <a:gd name="connsiteY15" fmla="*/ 348343 h 4589417"/>
                <a:gd name="connsiteX16" fmla="*/ 809897 w 11660777"/>
                <a:gd name="connsiteY16" fmla="*/ 374468 h 4589417"/>
                <a:gd name="connsiteX17" fmla="*/ 1184365 w 11660777"/>
                <a:gd name="connsiteY17" fmla="*/ 374468 h 4589417"/>
                <a:gd name="connsiteX18" fmla="*/ 1184365 w 11660777"/>
                <a:gd name="connsiteY18" fmla="*/ 426720 h 4589417"/>
                <a:gd name="connsiteX19" fmla="*/ 1271451 w 11660777"/>
                <a:gd name="connsiteY19" fmla="*/ 426720 h 4589417"/>
                <a:gd name="connsiteX20" fmla="*/ 1271451 w 11660777"/>
                <a:gd name="connsiteY20" fmla="*/ 444137 h 4589417"/>
                <a:gd name="connsiteX21" fmla="*/ 1341120 w 11660777"/>
                <a:gd name="connsiteY21" fmla="*/ 444137 h 4589417"/>
                <a:gd name="connsiteX22" fmla="*/ 1341120 w 11660777"/>
                <a:gd name="connsiteY22" fmla="*/ 487680 h 4589417"/>
                <a:gd name="connsiteX23" fmla="*/ 1384663 w 11660777"/>
                <a:gd name="connsiteY23" fmla="*/ 487680 h 4589417"/>
                <a:gd name="connsiteX24" fmla="*/ 1384663 w 11660777"/>
                <a:gd name="connsiteY24" fmla="*/ 600891 h 4589417"/>
                <a:gd name="connsiteX25" fmla="*/ 1436914 w 11660777"/>
                <a:gd name="connsiteY25" fmla="*/ 600891 h 4589417"/>
                <a:gd name="connsiteX26" fmla="*/ 1436914 w 11660777"/>
                <a:gd name="connsiteY26" fmla="*/ 653143 h 4589417"/>
                <a:gd name="connsiteX27" fmla="*/ 1672045 w 11660777"/>
                <a:gd name="connsiteY27" fmla="*/ 653143 h 4589417"/>
                <a:gd name="connsiteX28" fmla="*/ 1672045 w 11660777"/>
                <a:gd name="connsiteY28" fmla="*/ 696686 h 4589417"/>
                <a:gd name="connsiteX29" fmla="*/ 1846217 w 11660777"/>
                <a:gd name="connsiteY29" fmla="*/ 696686 h 4589417"/>
                <a:gd name="connsiteX30" fmla="*/ 1846217 w 11660777"/>
                <a:gd name="connsiteY30" fmla="*/ 722811 h 4589417"/>
                <a:gd name="connsiteX31" fmla="*/ 1942011 w 11660777"/>
                <a:gd name="connsiteY31" fmla="*/ 722811 h 4589417"/>
                <a:gd name="connsiteX32" fmla="*/ 1942011 w 11660777"/>
                <a:gd name="connsiteY32" fmla="*/ 801188 h 4589417"/>
                <a:gd name="connsiteX33" fmla="*/ 1994263 w 11660777"/>
                <a:gd name="connsiteY33" fmla="*/ 801188 h 4589417"/>
                <a:gd name="connsiteX34" fmla="*/ 1994263 w 11660777"/>
                <a:gd name="connsiteY34" fmla="*/ 879566 h 4589417"/>
                <a:gd name="connsiteX35" fmla="*/ 2037805 w 11660777"/>
                <a:gd name="connsiteY35" fmla="*/ 879566 h 4589417"/>
                <a:gd name="connsiteX36" fmla="*/ 2037805 w 11660777"/>
                <a:gd name="connsiteY36" fmla="*/ 957943 h 4589417"/>
                <a:gd name="connsiteX37" fmla="*/ 2081348 w 11660777"/>
                <a:gd name="connsiteY37" fmla="*/ 957943 h 4589417"/>
                <a:gd name="connsiteX38" fmla="*/ 2081348 w 11660777"/>
                <a:gd name="connsiteY38" fmla="*/ 1045028 h 4589417"/>
                <a:gd name="connsiteX39" fmla="*/ 2534194 w 11660777"/>
                <a:gd name="connsiteY39" fmla="*/ 1045028 h 4589417"/>
                <a:gd name="connsiteX40" fmla="*/ 2534194 w 11660777"/>
                <a:gd name="connsiteY40" fmla="*/ 1088571 h 4589417"/>
                <a:gd name="connsiteX41" fmla="*/ 2612571 w 11660777"/>
                <a:gd name="connsiteY41" fmla="*/ 1088571 h 4589417"/>
                <a:gd name="connsiteX42" fmla="*/ 2612571 w 11660777"/>
                <a:gd name="connsiteY42" fmla="*/ 1149531 h 4589417"/>
                <a:gd name="connsiteX43" fmla="*/ 2664823 w 11660777"/>
                <a:gd name="connsiteY43" fmla="*/ 1149531 h 4589417"/>
                <a:gd name="connsiteX44" fmla="*/ 2664823 w 11660777"/>
                <a:gd name="connsiteY44" fmla="*/ 1306286 h 4589417"/>
                <a:gd name="connsiteX45" fmla="*/ 2717074 w 11660777"/>
                <a:gd name="connsiteY45" fmla="*/ 1306286 h 4589417"/>
                <a:gd name="connsiteX46" fmla="*/ 2717074 w 11660777"/>
                <a:gd name="connsiteY46" fmla="*/ 1419497 h 4589417"/>
                <a:gd name="connsiteX47" fmla="*/ 2760617 w 11660777"/>
                <a:gd name="connsiteY47" fmla="*/ 1419497 h 4589417"/>
                <a:gd name="connsiteX48" fmla="*/ 2760617 w 11660777"/>
                <a:gd name="connsiteY48" fmla="*/ 1497874 h 4589417"/>
                <a:gd name="connsiteX49" fmla="*/ 3309257 w 11660777"/>
                <a:gd name="connsiteY49" fmla="*/ 1497874 h 4589417"/>
                <a:gd name="connsiteX50" fmla="*/ 3309257 w 11660777"/>
                <a:gd name="connsiteY50" fmla="*/ 1558834 h 4589417"/>
                <a:gd name="connsiteX51" fmla="*/ 3352800 w 11660777"/>
                <a:gd name="connsiteY51" fmla="*/ 1558834 h 4589417"/>
                <a:gd name="connsiteX52" fmla="*/ 3352800 w 11660777"/>
                <a:gd name="connsiteY52" fmla="*/ 1645920 h 4589417"/>
                <a:gd name="connsiteX53" fmla="*/ 3387634 w 11660777"/>
                <a:gd name="connsiteY53" fmla="*/ 1645920 h 4589417"/>
                <a:gd name="connsiteX54" fmla="*/ 3387634 w 11660777"/>
                <a:gd name="connsiteY54" fmla="*/ 1767840 h 4589417"/>
                <a:gd name="connsiteX55" fmla="*/ 3744685 w 11660777"/>
                <a:gd name="connsiteY55" fmla="*/ 1767840 h 4589417"/>
                <a:gd name="connsiteX56" fmla="*/ 3744685 w 11660777"/>
                <a:gd name="connsiteY56" fmla="*/ 1828800 h 4589417"/>
                <a:gd name="connsiteX57" fmla="*/ 3823063 w 11660777"/>
                <a:gd name="connsiteY57" fmla="*/ 1828800 h 4589417"/>
                <a:gd name="connsiteX58" fmla="*/ 3823063 w 11660777"/>
                <a:gd name="connsiteY58" fmla="*/ 1872343 h 4589417"/>
                <a:gd name="connsiteX59" fmla="*/ 3971108 w 11660777"/>
                <a:gd name="connsiteY59" fmla="*/ 1872343 h 4589417"/>
                <a:gd name="connsiteX60" fmla="*/ 3971108 w 11660777"/>
                <a:gd name="connsiteY60" fmla="*/ 1942011 h 4589417"/>
                <a:gd name="connsiteX61" fmla="*/ 4014651 w 11660777"/>
                <a:gd name="connsiteY61" fmla="*/ 1942011 h 4589417"/>
                <a:gd name="connsiteX62" fmla="*/ 4014651 w 11660777"/>
                <a:gd name="connsiteY62" fmla="*/ 2072640 h 4589417"/>
                <a:gd name="connsiteX63" fmla="*/ 4040777 w 11660777"/>
                <a:gd name="connsiteY63" fmla="*/ 2072640 h 4589417"/>
                <a:gd name="connsiteX64" fmla="*/ 4040777 w 11660777"/>
                <a:gd name="connsiteY64" fmla="*/ 2229394 h 4589417"/>
                <a:gd name="connsiteX65" fmla="*/ 4093028 w 11660777"/>
                <a:gd name="connsiteY65" fmla="*/ 2229394 h 4589417"/>
                <a:gd name="connsiteX66" fmla="*/ 4093028 w 11660777"/>
                <a:gd name="connsiteY66" fmla="*/ 2342606 h 4589417"/>
                <a:gd name="connsiteX67" fmla="*/ 4258491 w 11660777"/>
                <a:gd name="connsiteY67" fmla="*/ 2342606 h 4589417"/>
                <a:gd name="connsiteX68" fmla="*/ 4258491 w 11660777"/>
                <a:gd name="connsiteY68" fmla="*/ 2368731 h 4589417"/>
                <a:gd name="connsiteX69" fmla="*/ 4423954 w 11660777"/>
                <a:gd name="connsiteY69" fmla="*/ 2368731 h 4589417"/>
                <a:gd name="connsiteX70" fmla="*/ 4423954 w 11660777"/>
                <a:gd name="connsiteY70" fmla="*/ 2403566 h 4589417"/>
                <a:gd name="connsiteX71" fmla="*/ 4641668 w 11660777"/>
                <a:gd name="connsiteY71" fmla="*/ 2403566 h 4589417"/>
                <a:gd name="connsiteX72" fmla="*/ 4641668 w 11660777"/>
                <a:gd name="connsiteY72" fmla="*/ 2429691 h 4589417"/>
                <a:gd name="connsiteX73" fmla="*/ 4702628 w 11660777"/>
                <a:gd name="connsiteY73" fmla="*/ 2429691 h 4589417"/>
                <a:gd name="connsiteX74" fmla="*/ 4702628 w 11660777"/>
                <a:gd name="connsiteY74" fmla="*/ 2516777 h 4589417"/>
                <a:gd name="connsiteX75" fmla="*/ 4728754 w 11660777"/>
                <a:gd name="connsiteY75" fmla="*/ 2516777 h 4589417"/>
                <a:gd name="connsiteX76" fmla="*/ 4728754 w 11660777"/>
                <a:gd name="connsiteY76" fmla="*/ 2708366 h 4589417"/>
                <a:gd name="connsiteX77" fmla="*/ 4876800 w 11660777"/>
                <a:gd name="connsiteY77" fmla="*/ 2708366 h 4589417"/>
                <a:gd name="connsiteX78" fmla="*/ 4876800 w 11660777"/>
                <a:gd name="connsiteY78" fmla="*/ 2760617 h 4589417"/>
                <a:gd name="connsiteX79" fmla="*/ 4981303 w 11660777"/>
                <a:gd name="connsiteY79" fmla="*/ 2760617 h 4589417"/>
                <a:gd name="connsiteX80" fmla="*/ 4981303 w 11660777"/>
                <a:gd name="connsiteY80" fmla="*/ 2812868 h 4589417"/>
                <a:gd name="connsiteX81" fmla="*/ 5146765 w 11660777"/>
                <a:gd name="connsiteY81" fmla="*/ 2812868 h 4589417"/>
                <a:gd name="connsiteX82" fmla="*/ 5146765 w 11660777"/>
                <a:gd name="connsiteY82" fmla="*/ 2838994 h 4589417"/>
                <a:gd name="connsiteX83" fmla="*/ 5320937 w 11660777"/>
                <a:gd name="connsiteY83" fmla="*/ 2838994 h 4589417"/>
                <a:gd name="connsiteX84" fmla="*/ 5320937 w 11660777"/>
                <a:gd name="connsiteY84" fmla="*/ 2891246 h 4589417"/>
                <a:gd name="connsiteX85" fmla="*/ 5399314 w 11660777"/>
                <a:gd name="connsiteY85" fmla="*/ 2891246 h 4589417"/>
                <a:gd name="connsiteX86" fmla="*/ 5399314 w 11660777"/>
                <a:gd name="connsiteY86" fmla="*/ 2987040 h 4589417"/>
                <a:gd name="connsiteX87" fmla="*/ 5486400 w 11660777"/>
                <a:gd name="connsiteY87" fmla="*/ 2987040 h 4589417"/>
                <a:gd name="connsiteX88" fmla="*/ 5486400 w 11660777"/>
                <a:gd name="connsiteY88" fmla="*/ 3039291 h 4589417"/>
                <a:gd name="connsiteX89" fmla="*/ 5695405 w 11660777"/>
                <a:gd name="connsiteY89" fmla="*/ 3039291 h 4589417"/>
                <a:gd name="connsiteX90" fmla="*/ 5695405 w 11660777"/>
                <a:gd name="connsiteY90" fmla="*/ 3074126 h 4589417"/>
                <a:gd name="connsiteX91" fmla="*/ 5773783 w 11660777"/>
                <a:gd name="connsiteY91" fmla="*/ 3074126 h 4589417"/>
                <a:gd name="connsiteX92" fmla="*/ 5773783 w 11660777"/>
                <a:gd name="connsiteY92" fmla="*/ 3135086 h 4589417"/>
                <a:gd name="connsiteX93" fmla="*/ 5965371 w 11660777"/>
                <a:gd name="connsiteY93" fmla="*/ 3135086 h 4589417"/>
                <a:gd name="connsiteX94" fmla="*/ 5965371 w 11660777"/>
                <a:gd name="connsiteY94" fmla="*/ 3196046 h 4589417"/>
                <a:gd name="connsiteX95" fmla="*/ 6026331 w 11660777"/>
                <a:gd name="connsiteY95" fmla="*/ 3196046 h 4589417"/>
                <a:gd name="connsiteX96" fmla="*/ 6026331 w 11660777"/>
                <a:gd name="connsiteY96" fmla="*/ 3326674 h 4589417"/>
                <a:gd name="connsiteX97" fmla="*/ 6087291 w 11660777"/>
                <a:gd name="connsiteY97" fmla="*/ 3326674 h 4589417"/>
                <a:gd name="connsiteX98" fmla="*/ 6087291 w 11660777"/>
                <a:gd name="connsiteY98" fmla="*/ 3396343 h 4589417"/>
                <a:gd name="connsiteX99" fmla="*/ 6278880 w 11660777"/>
                <a:gd name="connsiteY99" fmla="*/ 3396343 h 4589417"/>
                <a:gd name="connsiteX100" fmla="*/ 6278880 w 11660777"/>
                <a:gd name="connsiteY100" fmla="*/ 3448594 h 4589417"/>
                <a:gd name="connsiteX101" fmla="*/ 6662057 w 11660777"/>
                <a:gd name="connsiteY101" fmla="*/ 3448594 h 4589417"/>
                <a:gd name="connsiteX102" fmla="*/ 6662057 w 11660777"/>
                <a:gd name="connsiteY102" fmla="*/ 3509554 h 4589417"/>
                <a:gd name="connsiteX103" fmla="*/ 6740434 w 11660777"/>
                <a:gd name="connsiteY103" fmla="*/ 3509554 h 4589417"/>
                <a:gd name="connsiteX104" fmla="*/ 6740434 w 11660777"/>
                <a:gd name="connsiteY104" fmla="*/ 3648891 h 4589417"/>
                <a:gd name="connsiteX105" fmla="*/ 6844937 w 11660777"/>
                <a:gd name="connsiteY105" fmla="*/ 3648891 h 4589417"/>
                <a:gd name="connsiteX106" fmla="*/ 6844937 w 11660777"/>
                <a:gd name="connsiteY106" fmla="*/ 3675017 h 4589417"/>
                <a:gd name="connsiteX107" fmla="*/ 7027817 w 11660777"/>
                <a:gd name="connsiteY107" fmla="*/ 3675017 h 4589417"/>
                <a:gd name="connsiteX108" fmla="*/ 7027817 w 11660777"/>
                <a:gd name="connsiteY108" fmla="*/ 3692434 h 4589417"/>
                <a:gd name="connsiteX109" fmla="*/ 7219405 w 11660777"/>
                <a:gd name="connsiteY109" fmla="*/ 3692434 h 4589417"/>
                <a:gd name="connsiteX110" fmla="*/ 7219405 w 11660777"/>
                <a:gd name="connsiteY110" fmla="*/ 3727268 h 4589417"/>
                <a:gd name="connsiteX111" fmla="*/ 7306491 w 11660777"/>
                <a:gd name="connsiteY111" fmla="*/ 3727268 h 4589417"/>
                <a:gd name="connsiteX112" fmla="*/ 7306491 w 11660777"/>
                <a:gd name="connsiteY112" fmla="*/ 3796937 h 4589417"/>
                <a:gd name="connsiteX113" fmla="*/ 7376160 w 11660777"/>
                <a:gd name="connsiteY113" fmla="*/ 3796937 h 4589417"/>
                <a:gd name="connsiteX114" fmla="*/ 7376160 w 11660777"/>
                <a:gd name="connsiteY114" fmla="*/ 3884023 h 4589417"/>
                <a:gd name="connsiteX115" fmla="*/ 7428411 w 11660777"/>
                <a:gd name="connsiteY115" fmla="*/ 3884023 h 4589417"/>
                <a:gd name="connsiteX116" fmla="*/ 7428411 w 11660777"/>
                <a:gd name="connsiteY116" fmla="*/ 3979817 h 4589417"/>
                <a:gd name="connsiteX117" fmla="*/ 8003177 w 11660777"/>
                <a:gd name="connsiteY117" fmla="*/ 3979817 h 4589417"/>
                <a:gd name="connsiteX118" fmla="*/ 8003177 w 11660777"/>
                <a:gd name="connsiteY118" fmla="*/ 4040777 h 4589417"/>
                <a:gd name="connsiteX119" fmla="*/ 8107680 w 11660777"/>
                <a:gd name="connsiteY119" fmla="*/ 4040777 h 4589417"/>
                <a:gd name="connsiteX120" fmla="*/ 8107680 w 11660777"/>
                <a:gd name="connsiteY120" fmla="*/ 4110446 h 4589417"/>
                <a:gd name="connsiteX121" fmla="*/ 8212183 w 11660777"/>
                <a:gd name="connsiteY121" fmla="*/ 4110446 h 4589417"/>
                <a:gd name="connsiteX122" fmla="*/ 8212183 w 11660777"/>
                <a:gd name="connsiteY122" fmla="*/ 4153988 h 4589417"/>
                <a:gd name="connsiteX123" fmla="*/ 8351520 w 11660777"/>
                <a:gd name="connsiteY123" fmla="*/ 4153988 h 4589417"/>
                <a:gd name="connsiteX124" fmla="*/ 8351520 w 11660777"/>
                <a:gd name="connsiteY124" fmla="*/ 4197531 h 4589417"/>
                <a:gd name="connsiteX125" fmla="*/ 8647611 w 11660777"/>
                <a:gd name="connsiteY125" fmla="*/ 4197531 h 4589417"/>
                <a:gd name="connsiteX126" fmla="*/ 8647611 w 11660777"/>
                <a:gd name="connsiteY126" fmla="*/ 4241074 h 4589417"/>
                <a:gd name="connsiteX127" fmla="*/ 8725988 w 11660777"/>
                <a:gd name="connsiteY127" fmla="*/ 4241074 h 4589417"/>
                <a:gd name="connsiteX128" fmla="*/ 8725988 w 11660777"/>
                <a:gd name="connsiteY128" fmla="*/ 4336868 h 4589417"/>
                <a:gd name="connsiteX129" fmla="*/ 9335588 w 11660777"/>
                <a:gd name="connsiteY129" fmla="*/ 4336868 h 4589417"/>
                <a:gd name="connsiteX130" fmla="*/ 9335588 w 11660777"/>
                <a:gd name="connsiteY130" fmla="*/ 4415246 h 4589417"/>
                <a:gd name="connsiteX131" fmla="*/ 9440091 w 11660777"/>
                <a:gd name="connsiteY131" fmla="*/ 4415246 h 4589417"/>
                <a:gd name="connsiteX132" fmla="*/ 9440091 w 11660777"/>
                <a:gd name="connsiteY132" fmla="*/ 4502331 h 4589417"/>
                <a:gd name="connsiteX133" fmla="*/ 10014857 w 11660777"/>
                <a:gd name="connsiteY133" fmla="*/ 4502331 h 4589417"/>
                <a:gd name="connsiteX134" fmla="*/ 10014857 w 11660777"/>
                <a:gd name="connsiteY134" fmla="*/ 4589417 h 4589417"/>
                <a:gd name="connsiteX135" fmla="*/ 11660777 w 11660777"/>
                <a:gd name="connsiteY135" fmla="*/ 4589417 h 458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1660777" h="4589417">
                  <a:moveTo>
                    <a:pt x="0" y="0"/>
                  </a:moveTo>
                  <a:lnTo>
                    <a:pt x="52251" y="0"/>
                  </a:lnTo>
                  <a:lnTo>
                    <a:pt x="17417" y="34834"/>
                  </a:lnTo>
                  <a:lnTo>
                    <a:pt x="130628" y="34834"/>
                  </a:lnTo>
                  <a:lnTo>
                    <a:pt x="130628" y="87086"/>
                  </a:lnTo>
                  <a:lnTo>
                    <a:pt x="278674" y="87086"/>
                  </a:lnTo>
                  <a:lnTo>
                    <a:pt x="278674" y="148046"/>
                  </a:lnTo>
                  <a:lnTo>
                    <a:pt x="374468" y="148046"/>
                  </a:lnTo>
                  <a:lnTo>
                    <a:pt x="374468" y="182880"/>
                  </a:lnTo>
                  <a:lnTo>
                    <a:pt x="426720" y="182880"/>
                  </a:lnTo>
                  <a:lnTo>
                    <a:pt x="426720" y="209006"/>
                  </a:lnTo>
                  <a:lnTo>
                    <a:pt x="635725" y="209006"/>
                  </a:lnTo>
                  <a:lnTo>
                    <a:pt x="653143" y="209006"/>
                  </a:lnTo>
                  <a:lnTo>
                    <a:pt x="705394" y="209006"/>
                  </a:lnTo>
                  <a:lnTo>
                    <a:pt x="705394" y="348343"/>
                  </a:lnTo>
                  <a:lnTo>
                    <a:pt x="809897" y="348343"/>
                  </a:lnTo>
                  <a:lnTo>
                    <a:pt x="809897" y="374468"/>
                  </a:lnTo>
                  <a:lnTo>
                    <a:pt x="1184365" y="374468"/>
                  </a:lnTo>
                  <a:lnTo>
                    <a:pt x="1184365" y="426720"/>
                  </a:lnTo>
                  <a:lnTo>
                    <a:pt x="1271451" y="426720"/>
                  </a:lnTo>
                  <a:lnTo>
                    <a:pt x="1271451" y="444137"/>
                  </a:lnTo>
                  <a:lnTo>
                    <a:pt x="1341120" y="444137"/>
                  </a:lnTo>
                  <a:lnTo>
                    <a:pt x="1341120" y="487680"/>
                  </a:lnTo>
                  <a:lnTo>
                    <a:pt x="1384663" y="487680"/>
                  </a:lnTo>
                  <a:lnTo>
                    <a:pt x="1384663" y="600891"/>
                  </a:lnTo>
                  <a:lnTo>
                    <a:pt x="1436914" y="600891"/>
                  </a:lnTo>
                  <a:lnTo>
                    <a:pt x="1436914" y="653143"/>
                  </a:lnTo>
                  <a:lnTo>
                    <a:pt x="1672045" y="653143"/>
                  </a:lnTo>
                  <a:lnTo>
                    <a:pt x="1672045" y="696686"/>
                  </a:lnTo>
                  <a:lnTo>
                    <a:pt x="1846217" y="696686"/>
                  </a:lnTo>
                  <a:lnTo>
                    <a:pt x="1846217" y="722811"/>
                  </a:lnTo>
                  <a:lnTo>
                    <a:pt x="1942011" y="722811"/>
                  </a:lnTo>
                  <a:lnTo>
                    <a:pt x="1942011" y="801188"/>
                  </a:lnTo>
                  <a:lnTo>
                    <a:pt x="1994263" y="801188"/>
                  </a:lnTo>
                  <a:lnTo>
                    <a:pt x="1994263" y="879566"/>
                  </a:lnTo>
                  <a:lnTo>
                    <a:pt x="2037805" y="879566"/>
                  </a:lnTo>
                  <a:lnTo>
                    <a:pt x="2037805" y="957943"/>
                  </a:lnTo>
                  <a:lnTo>
                    <a:pt x="2081348" y="957943"/>
                  </a:lnTo>
                  <a:lnTo>
                    <a:pt x="2081348" y="1045028"/>
                  </a:lnTo>
                  <a:lnTo>
                    <a:pt x="2534194" y="1045028"/>
                  </a:lnTo>
                  <a:lnTo>
                    <a:pt x="2534194" y="1088571"/>
                  </a:lnTo>
                  <a:lnTo>
                    <a:pt x="2612571" y="1088571"/>
                  </a:lnTo>
                  <a:lnTo>
                    <a:pt x="2612571" y="1149531"/>
                  </a:lnTo>
                  <a:lnTo>
                    <a:pt x="2664823" y="1149531"/>
                  </a:lnTo>
                  <a:lnTo>
                    <a:pt x="2664823" y="1306286"/>
                  </a:lnTo>
                  <a:lnTo>
                    <a:pt x="2717074" y="1306286"/>
                  </a:lnTo>
                  <a:lnTo>
                    <a:pt x="2717074" y="1419497"/>
                  </a:lnTo>
                  <a:lnTo>
                    <a:pt x="2760617" y="1419497"/>
                  </a:lnTo>
                  <a:lnTo>
                    <a:pt x="2760617" y="1497874"/>
                  </a:lnTo>
                  <a:lnTo>
                    <a:pt x="3309257" y="1497874"/>
                  </a:lnTo>
                  <a:lnTo>
                    <a:pt x="3309257" y="1558834"/>
                  </a:lnTo>
                  <a:lnTo>
                    <a:pt x="3352800" y="1558834"/>
                  </a:lnTo>
                  <a:lnTo>
                    <a:pt x="3352800" y="1645920"/>
                  </a:lnTo>
                  <a:lnTo>
                    <a:pt x="3387634" y="1645920"/>
                  </a:lnTo>
                  <a:lnTo>
                    <a:pt x="3387634" y="1767840"/>
                  </a:lnTo>
                  <a:lnTo>
                    <a:pt x="3744685" y="1767840"/>
                  </a:lnTo>
                  <a:lnTo>
                    <a:pt x="3744685" y="1828800"/>
                  </a:lnTo>
                  <a:lnTo>
                    <a:pt x="3823063" y="1828800"/>
                  </a:lnTo>
                  <a:lnTo>
                    <a:pt x="3823063" y="1872343"/>
                  </a:lnTo>
                  <a:lnTo>
                    <a:pt x="3971108" y="1872343"/>
                  </a:lnTo>
                  <a:lnTo>
                    <a:pt x="3971108" y="1942011"/>
                  </a:lnTo>
                  <a:lnTo>
                    <a:pt x="4014651" y="1942011"/>
                  </a:lnTo>
                  <a:lnTo>
                    <a:pt x="4014651" y="2072640"/>
                  </a:lnTo>
                  <a:lnTo>
                    <a:pt x="4040777" y="2072640"/>
                  </a:lnTo>
                  <a:lnTo>
                    <a:pt x="4040777" y="2229394"/>
                  </a:lnTo>
                  <a:lnTo>
                    <a:pt x="4093028" y="2229394"/>
                  </a:lnTo>
                  <a:lnTo>
                    <a:pt x="4093028" y="2342606"/>
                  </a:lnTo>
                  <a:lnTo>
                    <a:pt x="4258491" y="2342606"/>
                  </a:lnTo>
                  <a:lnTo>
                    <a:pt x="4258491" y="2368731"/>
                  </a:lnTo>
                  <a:lnTo>
                    <a:pt x="4423954" y="2368731"/>
                  </a:lnTo>
                  <a:lnTo>
                    <a:pt x="4423954" y="2403566"/>
                  </a:lnTo>
                  <a:lnTo>
                    <a:pt x="4641668" y="2403566"/>
                  </a:lnTo>
                  <a:lnTo>
                    <a:pt x="4641668" y="2429691"/>
                  </a:lnTo>
                  <a:lnTo>
                    <a:pt x="4702628" y="2429691"/>
                  </a:lnTo>
                  <a:lnTo>
                    <a:pt x="4702628" y="2516777"/>
                  </a:lnTo>
                  <a:lnTo>
                    <a:pt x="4728754" y="2516777"/>
                  </a:lnTo>
                  <a:lnTo>
                    <a:pt x="4728754" y="2708366"/>
                  </a:lnTo>
                  <a:lnTo>
                    <a:pt x="4876800" y="2708366"/>
                  </a:lnTo>
                  <a:lnTo>
                    <a:pt x="4876800" y="2760617"/>
                  </a:lnTo>
                  <a:lnTo>
                    <a:pt x="4981303" y="2760617"/>
                  </a:lnTo>
                  <a:lnTo>
                    <a:pt x="4981303" y="2812868"/>
                  </a:lnTo>
                  <a:lnTo>
                    <a:pt x="5146765" y="2812868"/>
                  </a:lnTo>
                  <a:lnTo>
                    <a:pt x="5146765" y="2838994"/>
                  </a:lnTo>
                  <a:lnTo>
                    <a:pt x="5320937" y="2838994"/>
                  </a:lnTo>
                  <a:lnTo>
                    <a:pt x="5320937" y="2891246"/>
                  </a:lnTo>
                  <a:lnTo>
                    <a:pt x="5399314" y="2891246"/>
                  </a:lnTo>
                  <a:lnTo>
                    <a:pt x="5399314" y="2987040"/>
                  </a:lnTo>
                  <a:lnTo>
                    <a:pt x="5486400" y="2987040"/>
                  </a:lnTo>
                  <a:lnTo>
                    <a:pt x="5486400" y="3039291"/>
                  </a:lnTo>
                  <a:lnTo>
                    <a:pt x="5695405" y="3039291"/>
                  </a:lnTo>
                  <a:lnTo>
                    <a:pt x="5695405" y="3074126"/>
                  </a:lnTo>
                  <a:lnTo>
                    <a:pt x="5773783" y="3074126"/>
                  </a:lnTo>
                  <a:lnTo>
                    <a:pt x="5773783" y="3135086"/>
                  </a:lnTo>
                  <a:lnTo>
                    <a:pt x="5965371" y="3135086"/>
                  </a:lnTo>
                  <a:lnTo>
                    <a:pt x="5965371" y="3196046"/>
                  </a:lnTo>
                  <a:lnTo>
                    <a:pt x="6026331" y="3196046"/>
                  </a:lnTo>
                  <a:lnTo>
                    <a:pt x="6026331" y="3326674"/>
                  </a:lnTo>
                  <a:lnTo>
                    <a:pt x="6087291" y="3326674"/>
                  </a:lnTo>
                  <a:lnTo>
                    <a:pt x="6087291" y="3396343"/>
                  </a:lnTo>
                  <a:lnTo>
                    <a:pt x="6278880" y="3396343"/>
                  </a:lnTo>
                  <a:lnTo>
                    <a:pt x="6278880" y="3448594"/>
                  </a:lnTo>
                  <a:lnTo>
                    <a:pt x="6662057" y="3448594"/>
                  </a:lnTo>
                  <a:lnTo>
                    <a:pt x="6662057" y="3509554"/>
                  </a:lnTo>
                  <a:lnTo>
                    <a:pt x="6740434" y="3509554"/>
                  </a:lnTo>
                  <a:lnTo>
                    <a:pt x="6740434" y="3648891"/>
                  </a:lnTo>
                  <a:lnTo>
                    <a:pt x="6844937" y="3648891"/>
                  </a:lnTo>
                  <a:lnTo>
                    <a:pt x="6844937" y="3675017"/>
                  </a:lnTo>
                  <a:lnTo>
                    <a:pt x="7027817" y="3675017"/>
                  </a:lnTo>
                  <a:lnTo>
                    <a:pt x="7027817" y="3692434"/>
                  </a:lnTo>
                  <a:lnTo>
                    <a:pt x="7219405" y="3692434"/>
                  </a:lnTo>
                  <a:lnTo>
                    <a:pt x="7219405" y="3727268"/>
                  </a:lnTo>
                  <a:lnTo>
                    <a:pt x="7306491" y="3727268"/>
                  </a:lnTo>
                  <a:lnTo>
                    <a:pt x="7306491" y="3796937"/>
                  </a:lnTo>
                  <a:lnTo>
                    <a:pt x="7376160" y="3796937"/>
                  </a:lnTo>
                  <a:lnTo>
                    <a:pt x="7376160" y="3884023"/>
                  </a:lnTo>
                  <a:lnTo>
                    <a:pt x="7428411" y="3884023"/>
                  </a:lnTo>
                  <a:lnTo>
                    <a:pt x="7428411" y="3979817"/>
                  </a:lnTo>
                  <a:lnTo>
                    <a:pt x="8003177" y="3979817"/>
                  </a:lnTo>
                  <a:lnTo>
                    <a:pt x="8003177" y="4040777"/>
                  </a:lnTo>
                  <a:lnTo>
                    <a:pt x="8107680" y="4040777"/>
                  </a:lnTo>
                  <a:lnTo>
                    <a:pt x="8107680" y="4110446"/>
                  </a:lnTo>
                  <a:lnTo>
                    <a:pt x="8212183" y="4110446"/>
                  </a:lnTo>
                  <a:lnTo>
                    <a:pt x="8212183" y="4153988"/>
                  </a:lnTo>
                  <a:lnTo>
                    <a:pt x="8351520" y="4153988"/>
                  </a:lnTo>
                  <a:lnTo>
                    <a:pt x="8351520" y="4197531"/>
                  </a:lnTo>
                  <a:lnTo>
                    <a:pt x="8647611" y="4197531"/>
                  </a:lnTo>
                  <a:lnTo>
                    <a:pt x="8647611" y="4241074"/>
                  </a:lnTo>
                  <a:lnTo>
                    <a:pt x="8725988" y="4241074"/>
                  </a:lnTo>
                  <a:lnTo>
                    <a:pt x="8725988" y="4336868"/>
                  </a:lnTo>
                  <a:lnTo>
                    <a:pt x="9335588" y="4336868"/>
                  </a:lnTo>
                  <a:lnTo>
                    <a:pt x="9335588" y="4415246"/>
                  </a:lnTo>
                  <a:lnTo>
                    <a:pt x="9440091" y="4415246"/>
                  </a:lnTo>
                  <a:lnTo>
                    <a:pt x="9440091" y="4502331"/>
                  </a:lnTo>
                  <a:lnTo>
                    <a:pt x="10014857" y="4502331"/>
                  </a:lnTo>
                  <a:lnTo>
                    <a:pt x="10014857" y="4589417"/>
                  </a:lnTo>
                  <a:lnTo>
                    <a:pt x="11660777" y="4589417"/>
                  </a:lnTo>
                </a:path>
              </a:pathLst>
            </a:custGeom>
            <a:no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733" name="Group 732">
              <a:extLst>
                <a:ext uri="{FF2B5EF4-FFF2-40B4-BE49-F238E27FC236}">
                  <a16:creationId xmlns:a16="http://schemas.microsoft.com/office/drawing/2014/main" id="{B7BF759C-DF9D-A2EB-AF53-F5798190F048}"/>
                </a:ext>
              </a:extLst>
            </p:cNvPr>
            <p:cNvGrpSpPr/>
            <p:nvPr/>
          </p:nvGrpSpPr>
          <p:grpSpPr>
            <a:xfrm>
              <a:off x="173083" y="-10885"/>
              <a:ext cx="11625945" cy="4808222"/>
              <a:chOff x="173083" y="-10885"/>
              <a:chExt cx="11625945" cy="4808222"/>
            </a:xfrm>
          </p:grpSpPr>
          <p:cxnSp>
            <p:nvCxnSpPr>
              <p:cNvPr id="734" name="Straight Connector 733">
                <a:extLst>
                  <a:ext uri="{FF2B5EF4-FFF2-40B4-BE49-F238E27FC236}">
                    <a16:creationId xmlns:a16="http://schemas.microsoft.com/office/drawing/2014/main" id="{33EC7551-9E90-3647-14C3-C64AA636DB72}"/>
                  </a:ext>
                </a:extLst>
              </p:cNvPr>
              <p:cNvCxnSpPr/>
              <p:nvPr/>
            </p:nvCxnSpPr>
            <p:spPr>
              <a:xfrm>
                <a:off x="173083" y="-10885"/>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5" name="Straight Connector 734">
                <a:extLst>
                  <a:ext uri="{FF2B5EF4-FFF2-40B4-BE49-F238E27FC236}">
                    <a16:creationId xmlns:a16="http://schemas.microsoft.com/office/drawing/2014/main" id="{EECCA5D7-87C2-768B-6BC2-3A207DCB6E24}"/>
                  </a:ext>
                </a:extLst>
              </p:cNvPr>
              <p:cNvCxnSpPr/>
              <p:nvPr/>
            </p:nvCxnSpPr>
            <p:spPr>
              <a:xfrm>
                <a:off x="783771" y="198121"/>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6" name="Straight Connector 735">
                <a:extLst>
                  <a:ext uri="{FF2B5EF4-FFF2-40B4-BE49-F238E27FC236}">
                    <a16:creationId xmlns:a16="http://schemas.microsoft.com/office/drawing/2014/main" id="{2FE565D1-AC55-16D7-BCE9-083E5344B640}"/>
                  </a:ext>
                </a:extLst>
              </p:cNvPr>
              <p:cNvCxnSpPr/>
              <p:nvPr/>
            </p:nvCxnSpPr>
            <p:spPr>
              <a:xfrm>
                <a:off x="813163" y="198121"/>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74EF75F8-18D0-068D-9ECD-634B53EB02E4}"/>
                  </a:ext>
                </a:extLst>
              </p:cNvPr>
              <p:cNvCxnSpPr/>
              <p:nvPr/>
            </p:nvCxnSpPr>
            <p:spPr>
              <a:xfrm>
                <a:off x="842554" y="198121"/>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8" name="Straight Connector 737">
                <a:extLst>
                  <a:ext uri="{FF2B5EF4-FFF2-40B4-BE49-F238E27FC236}">
                    <a16:creationId xmlns:a16="http://schemas.microsoft.com/office/drawing/2014/main" id="{9AE2261A-6B27-0E1D-B2EB-4DF17694DA99}"/>
                  </a:ext>
                </a:extLst>
              </p:cNvPr>
              <p:cNvCxnSpPr/>
              <p:nvPr/>
            </p:nvCxnSpPr>
            <p:spPr>
              <a:xfrm>
                <a:off x="1459774" y="413658"/>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9" name="Straight Connector 738">
                <a:extLst>
                  <a:ext uri="{FF2B5EF4-FFF2-40B4-BE49-F238E27FC236}">
                    <a16:creationId xmlns:a16="http://schemas.microsoft.com/office/drawing/2014/main" id="{3CC4A94D-E961-D89E-B33D-55D99EC16EA3}"/>
                  </a:ext>
                </a:extLst>
              </p:cNvPr>
              <p:cNvCxnSpPr/>
              <p:nvPr/>
            </p:nvCxnSpPr>
            <p:spPr>
              <a:xfrm>
                <a:off x="3598817" y="1749335"/>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0" name="Straight Connector 739">
                <a:extLst>
                  <a:ext uri="{FF2B5EF4-FFF2-40B4-BE49-F238E27FC236}">
                    <a16:creationId xmlns:a16="http://schemas.microsoft.com/office/drawing/2014/main" id="{755696F6-3BAE-3C55-B970-772AE2EA39AA}"/>
                  </a:ext>
                </a:extLst>
              </p:cNvPr>
              <p:cNvCxnSpPr/>
              <p:nvPr/>
            </p:nvCxnSpPr>
            <p:spPr>
              <a:xfrm>
                <a:off x="4983480" y="2676798"/>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5E5E4B6E-FD67-1BD5-89BB-E6344CD85197}"/>
                  </a:ext>
                </a:extLst>
              </p:cNvPr>
              <p:cNvCxnSpPr/>
              <p:nvPr/>
            </p:nvCxnSpPr>
            <p:spPr>
              <a:xfrm>
                <a:off x="5505995" y="2862944"/>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2" name="Straight Connector 741">
                <a:extLst>
                  <a:ext uri="{FF2B5EF4-FFF2-40B4-BE49-F238E27FC236}">
                    <a16:creationId xmlns:a16="http://schemas.microsoft.com/office/drawing/2014/main" id="{B4B13276-A3DA-C3BA-5C51-C16554FA9569}"/>
                  </a:ext>
                </a:extLst>
              </p:cNvPr>
              <p:cNvCxnSpPr/>
              <p:nvPr/>
            </p:nvCxnSpPr>
            <p:spPr>
              <a:xfrm>
                <a:off x="6149341" y="3173186"/>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3" name="Straight Connector 742">
                <a:extLst>
                  <a:ext uri="{FF2B5EF4-FFF2-40B4-BE49-F238E27FC236}">
                    <a16:creationId xmlns:a16="http://schemas.microsoft.com/office/drawing/2014/main" id="{8466F14A-81AB-8ED0-5B13-96F749BE944C}"/>
                  </a:ext>
                </a:extLst>
              </p:cNvPr>
              <p:cNvCxnSpPr/>
              <p:nvPr/>
            </p:nvCxnSpPr>
            <p:spPr>
              <a:xfrm>
                <a:off x="6208124" y="3284220"/>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4" name="Straight Connector 743">
                <a:extLst>
                  <a:ext uri="{FF2B5EF4-FFF2-40B4-BE49-F238E27FC236}">
                    <a16:creationId xmlns:a16="http://schemas.microsoft.com/office/drawing/2014/main" id="{093D8D02-2133-B574-1536-FFAF5666581A}"/>
                  </a:ext>
                </a:extLst>
              </p:cNvPr>
              <p:cNvCxnSpPr/>
              <p:nvPr/>
            </p:nvCxnSpPr>
            <p:spPr>
              <a:xfrm>
                <a:off x="6279970" y="3362598"/>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5" name="Straight Connector 744">
                <a:extLst>
                  <a:ext uri="{FF2B5EF4-FFF2-40B4-BE49-F238E27FC236}">
                    <a16:creationId xmlns:a16="http://schemas.microsoft.com/office/drawing/2014/main" id="{4FA483CF-51C6-7CF6-A66A-DF9961074FE3}"/>
                  </a:ext>
                </a:extLst>
              </p:cNvPr>
              <p:cNvCxnSpPr/>
              <p:nvPr/>
            </p:nvCxnSpPr>
            <p:spPr>
              <a:xfrm>
                <a:off x="6306096" y="3362598"/>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6" name="Straight Connector 745">
                <a:extLst>
                  <a:ext uri="{FF2B5EF4-FFF2-40B4-BE49-F238E27FC236}">
                    <a16:creationId xmlns:a16="http://schemas.microsoft.com/office/drawing/2014/main" id="{FDAAEE2D-C6FA-9FE5-F7D2-C4F0246A4908}"/>
                  </a:ext>
                </a:extLst>
              </p:cNvPr>
              <p:cNvCxnSpPr/>
              <p:nvPr/>
            </p:nvCxnSpPr>
            <p:spPr>
              <a:xfrm>
                <a:off x="6841673" y="3483429"/>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7" name="Straight Connector 746">
                <a:extLst>
                  <a:ext uri="{FF2B5EF4-FFF2-40B4-BE49-F238E27FC236}">
                    <a16:creationId xmlns:a16="http://schemas.microsoft.com/office/drawing/2014/main" id="{73C53558-BD15-D151-3DD5-ED062784FACE}"/>
                  </a:ext>
                </a:extLst>
              </p:cNvPr>
              <p:cNvCxnSpPr/>
              <p:nvPr/>
            </p:nvCxnSpPr>
            <p:spPr>
              <a:xfrm>
                <a:off x="6969036" y="3617323"/>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8" name="Straight Connector 747">
                <a:extLst>
                  <a:ext uri="{FF2B5EF4-FFF2-40B4-BE49-F238E27FC236}">
                    <a16:creationId xmlns:a16="http://schemas.microsoft.com/office/drawing/2014/main" id="{5E90D187-6575-CBE6-626E-8CF1FBB85BC6}"/>
                  </a:ext>
                </a:extLst>
              </p:cNvPr>
              <p:cNvCxnSpPr/>
              <p:nvPr/>
            </p:nvCxnSpPr>
            <p:spPr>
              <a:xfrm>
                <a:off x="7102930" y="3640183"/>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9" name="Straight Connector 748">
                <a:extLst>
                  <a:ext uri="{FF2B5EF4-FFF2-40B4-BE49-F238E27FC236}">
                    <a16:creationId xmlns:a16="http://schemas.microsoft.com/office/drawing/2014/main" id="{04EE9056-D673-9AAB-2530-64D5BC955340}"/>
                  </a:ext>
                </a:extLst>
              </p:cNvPr>
              <p:cNvCxnSpPr/>
              <p:nvPr/>
            </p:nvCxnSpPr>
            <p:spPr>
              <a:xfrm>
                <a:off x="7631976" y="3947160"/>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0" name="Straight Connector 749">
                <a:extLst>
                  <a:ext uri="{FF2B5EF4-FFF2-40B4-BE49-F238E27FC236}">
                    <a16:creationId xmlns:a16="http://schemas.microsoft.com/office/drawing/2014/main" id="{C4E9BB84-4ED5-63E7-FC3F-5472B4450EF2}"/>
                  </a:ext>
                </a:extLst>
              </p:cNvPr>
              <p:cNvCxnSpPr/>
              <p:nvPr/>
            </p:nvCxnSpPr>
            <p:spPr>
              <a:xfrm>
                <a:off x="7485019" y="3767546"/>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1" name="Straight Connector 750">
                <a:extLst>
                  <a:ext uri="{FF2B5EF4-FFF2-40B4-BE49-F238E27FC236}">
                    <a16:creationId xmlns:a16="http://schemas.microsoft.com/office/drawing/2014/main" id="{941CD70B-2F43-21E3-9D4B-9BEC8230A7D3}"/>
                  </a:ext>
                </a:extLst>
              </p:cNvPr>
              <p:cNvCxnSpPr/>
              <p:nvPr/>
            </p:nvCxnSpPr>
            <p:spPr>
              <a:xfrm>
                <a:off x="7733214" y="3950426"/>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2" name="Straight Connector 751">
                <a:extLst>
                  <a:ext uri="{FF2B5EF4-FFF2-40B4-BE49-F238E27FC236}">
                    <a16:creationId xmlns:a16="http://schemas.microsoft.com/office/drawing/2014/main" id="{0877EA45-514D-8829-5A92-F84C07189F0D}"/>
                  </a:ext>
                </a:extLst>
              </p:cNvPr>
              <p:cNvCxnSpPr/>
              <p:nvPr/>
            </p:nvCxnSpPr>
            <p:spPr>
              <a:xfrm>
                <a:off x="8151226" y="3950426"/>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3" name="Straight Connector 752">
                <a:extLst>
                  <a:ext uri="{FF2B5EF4-FFF2-40B4-BE49-F238E27FC236}">
                    <a16:creationId xmlns:a16="http://schemas.microsoft.com/office/drawing/2014/main" id="{5F2B1ECE-AE15-9CD3-BFF3-37DACC832BAD}"/>
                  </a:ext>
                </a:extLst>
              </p:cNvPr>
              <p:cNvCxnSpPr/>
              <p:nvPr/>
            </p:nvCxnSpPr>
            <p:spPr>
              <a:xfrm>
                <a:off x="8206743" y="4019006"/>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4" name="Straight Connector 753">
                <a:extLst>
                  <a:ext uri="{FF2B5EF4-FFF2-40B4-BE49-F238E27FC236}">
                    <a16:creationId xmlns:a16="http://schemas.microsoft.com/office/drawing/2014/main" id="{F00FAAED-D1B9-9066-0853-E9CF3977F41E}"/>
                  </a:ext>
                </a:extLst>
              </p:cNvPr>
              <p:cNvCxnSpPr/>
              <p:nvPr/>
            </p:nvCxnSpPr>
            <p:spPr>
              <a:xfrm>
                <a:off x="8229603" y="4019006"/>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5" name="Straight Connector 754">
                <a:extLst>
                  <a:ext uri="{FF2B5EF4-FFF2-40B4-BE49-F238E27FC236}">
                    <a16:creationId xmlns:a16="http://schemas.microsoft.com/office/drawing/2014/main" id="{BA9F38BB-F079-A57C-7A7E-E8D0F0C5B19A}"/>
                  </a:ext>
                </a:extLst>
              </p:cNvPr>
              <p:cNvCxnSpPr/>
              <p:nvPr/>
            </p:nvCxnSpPr>
            <p:spPr>
              <a:xfrm>
                <a:off x="8321043" y="4090852"/>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6" name="Straight Connector 755">
                <a:extLst>
                  <a:ext uri="{FF2B5EF4-FFF2-40B4-BE49-F238E27FC236}">
                    <a16:creationId xmlns:a16="http://schemas.microsoft.com/office/drawing/2014/main" id="{ED5BCDF6-BD92-70AE-5B0F-9E0B9E1B45F1}"/>
                  </a:ext>
                </a:extLst>
              </p:cNvPr>
              <p:cNvCxnSpPr/>
              <p:nvPr/>
            </p:nvCxnSpPr>
            <p:spPr>
              <a:xfrm>
                <a:off x="8833760" y="4211684"/>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7" name="Straight Connector 756">
                <a:extLst>
                  <a:ext uri="{FF2B5EF4-FFF2-40B4-BE49-F238E27FC236}">
                    <a16:creationId xmlns:a16="http://schemas.microsoft.com/office/drawing/2014/main" id="{0492D6CF-8C1B-B2A3-D411-E63DCF85AED5}"/>
                  </a:ext>
                </a:extLst>
              </p:cNvPr>
              <p:cNvCxnSpPr/>
              <p:nvPr/>
            </p:nvCxnSpPr>
            <p:spPr>
              <a:xfrm>
                <a:off x="8970920" y="4309656"/>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8" name="Straight Connector 757">
                <a:extLst>
                  <a:ext uri="{FF2B5EF4-FFF2-40B4-BE49-F238E27FC236}">
                    <a16:creationId xmlns:a16="http://schemas.microsoft.com/office/drawing/2014/main" id="{2E5E7819-66DD-4307-F084-C8B60633D9EC}"/>
                  </a:ext>
                </a:extLst>
              </p:cNvPr>
              <p:cNvCxnSpPr/>
              <p:nvPr/>
            </p:nvCxnSpPr>
            <p:spPr>
              <a:xfrm>
                <a:off x="9460777" y="4309656"/>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9" name="Straight Connector 758">
                <a:extLst>
                  <a:ext uri="{FF2B5EF4-FFF2-40B4-BE49-F238E27FC236}">
                    <a16:creationId xmlns:a16="http://schemas.microsoft.com/office/drawing/2014/main" id="{3011F6D8-DEA8-8664-A688-87AD5EC88BF8}"/>
                  </a:ext>
                </a:extLst>
              </p:cNvPr>
              <p:cNvCxnSpPr/>
              <p:nvPr/>
            </p:nvCxnSpPr>
            <p:spPr>
              <a:xfrm>
                <a:off x="9558748" y="4388033"/>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0961BB5B-60F4-80EE-C3B1-F8E751722BBF}"/>
                  </a:ext>
                </a:extLst>
              </p:cNvPr>
              <p:cNvCxnSpPr/>
              <p:nvPr/>
            </p:nvCxnSpPr>
            <p:spPr>
              <a:xfrm>
                <a:off x="9627328" y="4450082"/>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1" name="Straight Connector 760">
                <a:extLst>
                  <a:ext uri="{FF2B5EF4-FFF2-40B4-BE49-F238E27FC236}">
                    <a16:creationId xmlns:a16="http://schemas.microsoft.com/office/drawing/2014/main" id="{8B970A04-535E-D1FA-BDD1-74464982CE88}"/>
                  </a:ext>
                </a:extLst>
              </p:cNvPr>
              <p:cNvCxnSpPr/>
              <p:nvPr/>
            </p:nvCxnSpPr>
            <p:spPr>
              <a:xfrm>
                <a:off x="10159639" y="4450082"/>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2" name="Straight Connector 761">
                <a:extLst>
                  <a:ext uri="{FF2B5EF4-FFF2-40B4-BE49-F238E27FC236}">
                    <a16:creationId xmlns:a16="http://schemas.microsoft.com/office/drawing/2014/main" id="{0ABB7A48-D4D9-5842-1C4A-40B50AB55476}"/>
                  </a:ext>
                </a:extLst>
              </p:cNvPr>
              <p:cNvCxnSpPr/>
              <p:nvPr/>
            </p:nvCxnSpPr>
            <p:spPr>
              <a:xfrm>
                <a:off x="10238016" y="4544788"/>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3" name="Straight Connector 762">
                <a:extLst>
                  <a:ext uri="{FF2B5EF4-FFF2-40B4-BE49-F238E27FC236}">
                    <a16:creationId xmlns:a16="http://schemas.microsoft.com/office/drawing/2014/main" id="{5B1ECE2D-A321-252F-E5CE-7DE65ECE9F05}"/>
                  </a:ext>
                </a:extLst>
              </p:cNvPr>
              <p:cNvCxnSpPr/>
              <p:nvPr/>
            </p:nvCxnSpPr>
            <p:spPr>
              <a:xfrm>
                <a:off x="10270673" y="4544788"/>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4" name="Straight Connector 763">
                <a:extLst>
                  <a:ext uri="{FF2B5EF4-FFF2-40B4-BE49-F238E27FC236}">
                    <a16:creationId xmlns:a16="http://schemas.microsoft.com/office/drawing/2014/main" id="{815824CA-747C-0CB9-064F-8B0F7682167A}"/>
                  </a:ext>
                </a:extLst>
              </p:cNvPr>
              <p:cNvCxnSpPr/>
              <p:nvPr/>
            </p:nvCxnSpPr>
            <p:spPr>
              <a:xfrm>
                <a:off x="11188339" y="4544788"/>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5" name="Straight Connector 764">
                <a:extLst>
                  <a:ext uri="{FF2B5EF4-FFF2-40B4-BE49-F238E27FC236}">
                    <a16:creationId xmlns:a16="http://schemas.microsoft.com/office/drawing/2014/main" id="{C63109C7-E7C2-0046-398A-E80F463BB45D}"/>
                  </a:ext>
                </a:extLst>
              </p:cNvPr>
              <p:cNvCxnSpPr/>
              <p:nvPr/>
            </p:nvCxnSpPr>
            <p:spPr>
              <a:xfrm>
                <a:off x="11253654" y="4544788"/>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6" name="Straight Connector 765">
                <a:extLst>
                  <a:ext uri="{FF2B5EF4-FFF2-40B4-BE49-F238E27FC236}">
                    <a16:creationId xmlns:a16="http://schemas.microsoft.com/office/drawing/2014/main" id="{CBAB3B2E-1284-3BD6-3EB1-A1BD64AA3639}"/>
                  </a:ext>
                </a:extLst>
              </p:cNvPr>
              <p:cNvCxnSpPr/>
              <p:nvPr/>
            </p:nvCxnSpPr>
            <p:spPr>
              <a:xfrm>
                <a:off x="11799028" y="4544788"/>
                <a:ext cx="0" cy="25254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cxnSp>
        <p:nvCxnSpPr>
          <p:cNvPr id="767" name="Straight Connector 766">
            <a:extLst>
              <a:ext uri="{FF2B5EF4-FFF2-40B4-BE49-F238E27FC236}">
                <a16:creationId xmlns:a16="http://schemas.microsoft.com/office/drawing/2014/main" id="{34EDF251-02D7-C38E-D522-D3622ED8C844}"/>
              </a:ext>
            </a:extLst>
          </p:cNvPr>
          <p:cNvCxnSpPr>
            <a:cxnSpLocks/>
          </p:cNvCxnSpPr>
          <p:nvPr/>
        </p:nvCxnSpPr>
        <p:spPr>
          <a:xfrm>
            <a:off x="5707482" y="2819130"/>
            <a:ext cx="0" cy="1567513"/>
          </a:xfrm>
          <a:prstGeom prst="line">
            <a:avLst/>
          </a:prstGeom>
          <a:noFill/>
          <a:ln w="12700" cap="rnd" cmpd="sng" algn="ctr">
            <a:solidFill>
              <a:schemeClr val="tx1"/>
            </a:solidFill>
            <a:prstDash val="dash"/>
            <a:miter lim="800000"/>
          </a:ln>
          <a:effectLst/>
        </p:spPr>
      </p:cxnSp>
      <p:cxnSp>
        <p:nvCxnSpPr>
          <p:cNvPr id="768" name="Straight Connector 767">
            <a:extLst>
              <a:ext uri="{FF2B5EF4-FFF2-40B4-BE49-F238E27FC236}">
                <a16:creationId xmlns:a16="http://schemas.microsoft.com/office/drawing/2014/main" id="{03E936D1-7910-5A72-F615-843E8504749B}"/>
              </a:ext>
            </a:extLst>
          </p:cNvPr>
          <p:cNvCxnSpPr>
            <a:cxnSpLocks/>
          </p:cNvCxnSpPr>
          <p:nvPr/>
        </p:nvCxnSpPr>
        <p:spPr>
          <a:xfrm>
            <a:off x="3521723" y="2205689"/>
            <a:ext cx="0" cy="2229681"/>
          </a:xfrm>
          <a:prstGeom prst="line">
            <a:avLst/>
          </a:prstGeom>
          <a:noFill/>
          <a:ln w="12700" cap="rnd" cmpd="sng" algn="ctr">
            <a:solidFill>
              <a:schemeClr val="tx1"/>
            </a:solidFill>
            <a:prstDash val="dash"/>
            <a:miter lim="800000"/>
          </a:ln>
          <a:effectLst/>
        </p:spPr>
      </p:cxnSp>
      <p:grpSp>
        <p:nvGrpSpPr>
          <p:cNvPr id="12" name="Group 11">
            <a:extLst>
              <a:ext uri="{FF2B5EF4-FFF2-40B4-BE49-F238E27FC236}">
                <a16:creationId xmlns:a16="http://schemas.microsoft.com/office/drawing/2014/main" id="{1AED1C66-975E-6E0B-884A-002BD6B1D807}"/>
              </a:ext>
            </a:extLst>
          </p:cNvPr>
          <p:cNvGrpSpPr/>
          <p:nvPr/>
        </p:nvGrpSpPr>
        <p:grpSpPr>
          <a:xfrm>
            <a:off x="3047892" y="2685817"/>
            <a:ext cx="553357" cy="307777"/>
            <a:chOff x="2276341" y="2305644"/>
            <a:chExt cx="553357" cy="307777"/>
          </a:xfrm>
        </p:grpSpPr>
        <p:sp>
          <p:nvSpPr>
            <p:cNvPr id="14" name="Freeform: Shape 13">
              <a:extLst>
                <a:ext uri="{FF2B5EF4-FFF2-40B4-BE49-F238E27FC236}">
                  <a16:creationId xmlns:a16="http://schemas.microsoft.com/office/drawing/2014/main" id="{EEEB5E22-85B9-3C44-27C2-608E55E41521}"/>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6F5684B5-9330-D189-C528-D3D87A16FA8C}"/>
                </a:ext>
              </a:extLst>
            </p:cNvPr>
            <p:cNvSpPr txBox="1"/>
            <p:nvPr/>
          </p:nvSpPr>
          <p:spPr>
            <a:xfrm flipH="1">
              <a:off x="2276341" y="2305644"/>
              <a:ext cx="553357"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65%</a:t>
              </a:r>
            </a:p>
          </p:txBody>
        </p:sp>
      </p:grpSp>
      <p:grpSp>
        <p:nvGrpSpPr>
          <p:cNvPr id="16" name="Group 15">
            <a:extLst>
              <a:ext uri="{FF2B5EF4-FFF2-40B4-BE49-F238E27FC236}">
                <a16:creationId xmlns:a16="http://schemas.microsoft.com/office/drawing/2014/main" id="{93C073BB-E090-94AC-8C76-FFFA9C943981}"/>
              </a:ext>
            </a:extLst>
          </p:cNvPr>
          <p:cNvGrpSpPr/>
          <p:nvPr/>
        </p:nvGrpSpPr>
        <p:grpSpPr>
          <a:xfrm>
            <a:off x="5232313" y="3473163"/>
            <a:ext cx="558166" cy="307777"/>
            <a:chOff x="2276341" y="2300882"/>
            <a:chExt cx="558166" cy="307777"/>
          </a:xfrm>
        </p:grpSpPr>
        <p:sp>
          <p:nvSpPr>
            <p:cNvPr id="17" name="Freeform: Shape 16">
              <a:extLst>
                <a:ext uri="{FF2B5EF4-FFF2-40B4-BE49-F238E27FC236}">
                  <a16:creationId xmlns:a16="http://schemas.microsoft.com/office/drawing/2014/main" id="{0312F8E6-526A-4E1C-4056-92B9BD3B8C4D}"/>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FFB1EC86-14CC-8FE5-DA98-5C7705836B05}"/>
                </a:ext>
              </a:extLst>
            </p:cNvPr>
            <p:cNvSpPr txBox="1"/>
            <p:nvPr/>
          </p:nvSpPr>
          <p:spPr>
            <a:xfrm flipH="1">
              <a:off x="2276341" y="2300882"/>
              <a:ext cx="558166"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4%</a:t>
              </a:r>
            </a:p>
          </p:txBody>
        </p:sp>
      </p:grpSp>
      <p:grpSp>
        <p:nvGrpSpPr>
          <p:cNvPr id="19" name="Group 18">
            <a:extLst>
              <a:ext uri="{FF2B5EF4-FFF2-40B4-BE49-F238E27FC236}">
                <a16:creationId xmlns:a16="http://schemas.microsoft.com/office/drawing/2014/main" id="{32CAF981-F4F7-5CD0-D904-4F7861D9C292}"/>
              </a:ext>
            </a:extLst>
          </p:cNvPr>
          <p:cNvGrpSpPr/>
          <p:nvPr/>
        </p:nvGrpSpPr>
        <p:grpSpPr>
          <a:xfrm>
            <a:off x="3456221" y="2004221"/>
            <a:ext cx="542136" cy="307777"/>
            <a:chOff x="2269991" y="2315169"/>
            <a:chExt cx="542136" cy="307777"/>
          </a:xfrm>
        </p:grpSpPr>
        <p:sp>
          <p:nvSpPr>
            <p:cNvPr id="20" name="Freeform: Shape 19">
              <a:extLst>
                <a:ext uri="{FF2B5EF4-FFF2-40B4-BE49-F238E27FC236}">
                  <a16:creationId xmlns:a16="http://schemas.microsoft.com/office/drawing/2014/main" id="{D8ECDECF-C0F1-5A08-B694-44C5F3602FDA}"/>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007CB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19D82B83-CBE9-5E5C-1457-3D865DC88856}"/>
                </a:ext>
              </a:extLst>
            </p:cNvPr>
            <p:cNvSpPr txBox="1"/>
            <p:nvPr/>
          </p:nvSpPr>
          <p:spPr>
            <a:xfrm flipH="1">
              <a:off x="2269991" y="2315169"/>
              <a:ext cx="542136"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3%</a:t>
              </a:r>
            </a:p>
          </p:txBody>
        </p:sp>
      </p:grpSp>
      <p:grpSp>
        <p:nvGrpSpPr>
          <p:cNvPr id="22" name="Group 21">
            <a:extLst>
              <a:ext uri="{FF2B5EF4-FFF2-40B4-BE49-F238E27FC236}">
                <a16:creationId xmlns:a16="http://schemas.microsoft.com/office/drawing/2014/main" id="{2F22867C-D97B-7C66-EE46-84734BC53BCA}"/>
              </a:ext>
            </a:extLst>
          </p:cNvPr>
          <p:cNvGrpSpPr/>
          <p:nvPr/>
        </p:nvGrpSpPr>
        <p:grpSpPr>
          <a:xfrm>
            <a:off x="5642871" y="2619986"/>
            <a:ext cx="559769" cy="307777"/>
            <a:chOff x="2269991" y="2315169"/>
            <a:chExt cx="559769" cy="307777"/>
          </a:xfrm>
        </p:grpSpPr>
        <p:sp>
          <p:nvSpPr>
            <p:cNvPr id="23" name="Freeform: Shape 22">
              <a:extLst>
                <a:ext uri="{FF2B5EF4-FFF2-40B4-BE49-F238E27FC236}">
                  <a16:creationId xmlns:a16="http://schemas.microsoft.com/office/drawing/2014/main" id="{D0E1B5E1-C3B2-4E58-13AE-303C3DECE05E}"/>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007CB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333FBDF6-FBF3-B964-5183-78DC37EF9C61}"/>
                </a:ext>
              </a:extLst>
            </p:cNvPr>
            <p:cNvSpPr txBox="1"/>
            <p:nvPr/>
          </p:nvSpPr>
          <p:spPr>
            <a:xfrm flipH="1">
              <a:off x="2269991" y="2315169"/>
              <a:ext cx="559769"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8%</a:t>
              </a:r>
            </a:p>
          </p:txBody>
        </p:sp>
      </p:grpSp>
      <p:sp>
        <p:nvSpPr>
          <p:cNvPr id="25" name="TextBox 24">
            <a:extLst>
              <a:ext uri="{FF2B5EF4-FFF2-40B4-BE49-F238E27FC236}">
                <a16:creationId xmlns:a16="http://schemas.microsoft.com/office/drawing/2014/main" id="{00889E21-45FC-9A6A-AF47-7A835F5D7A65}"/>
              </a:ext>
            </a:extLst>
          </p:cNvPr>
          <p:cNvSpPr txBox="1"/>
          <p:nvPr/>
        </p:nvSpPr>
        <p:spPr>
          <a:xfrm>
            <a:off x="1445992" y="4114129"/>
            <a:ext cx="1912866"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n follow-up: 22.0 months</a:t>
            </a:r>
          </a:p>
        </p:txBody>
      </p:sp>
      <p:grpSp>
        <p:nvGrpSpPr>
          <p:cNvPr id="26" name="Group 25">
            <a:extLst>
              <a:ext uri="{FF2B5EF4-FFF2-40B4-BE49-F238E27FC236}">
                <a16:creationId xmlns:a16="http://schemas.microsoft.com/office/drawing/2014/main" id="{1CFB17DB-2D79-F15B-68E7-B22A1DCA4A09}"/>
              </a:ext>
            </a:extLst>
          </p:cNvPr>
          <p:cNvGrpSpPr/>
          <p:nvPr/>
        </p:nvGrpSpPr>
        <p:grpSpPr>
          <a:xfrm>
            <a:off x="5255286" y="1619106"/>
            <a:ext cx="2019659" cy="478674"/>
            <a:chOff x="7266356" y="3398730"/>
            <a:chExt cx="2019659" cy="478674"/>
          </a:xfrm>
        </p:grpSpPr>
        <p:sp>
          <p:nvSpPr>
            <p:cNvPr id="27" name="Rectangle 26">
              <a:extLst>
                <a:ext uri="{FF2B5EF4-FFF2-40B4-BE49-F238E27FC236}">
                  <a16:creationId xmlns:a16="http://schemas.microsoft.com/office/drawing/2014/main" id="{361119DF-EDE5-ED2B-4964-B4DC0EBF6070}"/>
                </a:ext>
              </a:extLst>
            </p:cNvPr>
            <p:cNvSpPr/>
            <p:nvPr/>
          </p:nvSpPr>
          <p:spPr>
            <a:xfrm>
              <a:off x="7266356" y="3479681"/>
              <a:ext cx="108000" cy="108000"/>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20FF1D35-5425-4EE8-5322-23461AB1E8C1}"/>
                </a:ext>
              </a:extLst>
            </p:cNvPr>
            <p:cNvSpPr/>
            <p:nvPr/>
          </p:nvSpPr>
          <p:spPr>
            <a:xfrm>
              <a:off x="7266356" y="3681356"/>
              <a:ext cx="108000" cy="108000"/>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34FAAFDB-0D33-4023-BE46-E16827564F96}"/>
                </a:ext>
              </a:extLst>
            </p:cNvPr>
            <p:cNvSpPr txBox="1"/>
            <p:nvPr/>
          </p:nvSpPr>
          <p:spPr>
            <a:xfrm>
              <a:off x="7467247" y="3398730"/>
              <a:ext cx="1818768" cy="276999"/>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mivantamab</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azertinib</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68A7924F-6B13-BED1-9A71-E4E26097684F}"/>
                </a:ext>
              </a:extLst>
            </p:cNvPr>
            <p:cNvSpPr txBox="1"/>
            <p:nvPr/>
          </p:nvSpPr>
          <p:spPr>
            <a:xfrm>
              <a:off x="7467247" y="3600405"/>
              <a:ext cx="869790" cy="276999"/>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31" name="Rectangle 30">
            <a:extLst>
              <a:ext uri="{FF2B5EF4-FFF2-40B4-BE49-F238E27FC236}">
                <a16:creationId xmlns:a16="http://schemas.microsoft.com/office/drawing/2014/main" id="{9AD9CBD4-483A-2DF2-D187-E3B990977EF1}"/>
              </a:ext>
            </a:extLst>
          </p:cNvPr>
          <p:cNvSpPr/>
          <p:nvPr/>
        </p:nvSpPr>
        <p:spPr>
          <a:xfrm>
            <a:off x="1062684" y="5058273"/>
            <a:ext cx="108000" cy="108000"/>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Rectangle 31">
            <a:extLst>
              <a:ext uri="{FF2B5EF4-FFF2-40B4-BE49-F238E27FC236}">
                <a16:creationId xmlns:a16="http://schemas.microsoft.com/office/drawing/2014/main" id="{AFD6E080-C185-CDBB-773C-895E771E8F5B}"/>
              </a:ext>
            </a:extLst>
          </p:cNvPr>
          <p:cNvSpPr/>
          <p:nvPr/>
        </p:nvSpPr>
        <p:spPr>
          <a:xfrm>
            <a:off x="1062684" y="5216142"/>
            <a:ext cx="108000" cy="108000"/>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70891858-9049-2FCB-35F8-51E119DF5CD6}"/>
              </a:ext>
            </a:extLst>
          </p:cNvPr>
          <p:cNvSpPr txBox="1"/>
          <p:nvPr/>
        </p:nvSpPr>
        <p:spPr>
          <a:xfrm>
            <a:off x="965147" y="4813485"/>
            <a:ext cx="12260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at risk:</a:t>
            </a:r>
          </a:p>
        </p:txBody>
      </p:sp>
      <p:sp>
        <p:nvSpPr>
          <p:cNvPr id="10" name="Rectangle: Rounded Corners 9">
            <a:extLst>
              <a:ext uri="{FF2B5EF4-FFF2-40B4-BE49-F238E27FC236}">
                <a16:creationId xmlns:a16="http://schemas.microsoft.com/office/drawing/2014/main" id="{19CE12F0-B90C-AC74-93CD-E4A848FD8DE2}"/>
              </a:ext>
            </a:extLst>
          </p:cNvPr>
          <p:cNvSpPr/>
          <p:nvPr/>
        </p:nvSpPr>
        <p:spPr>
          <a:xfrm>
            <a:off x="9972136" y="203659"/>
            <a:ext cx="1698075"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RIPOSA</a:t>
            </a:r>
          </a:p>
        </p:txBody>
      </p:sp>
      <p:grpSp>
        <p:nvGrpSpPr>
          <p:cNvPr id="34" name="Group 33">
            <a:extLst>
              <a:ext uri="{FF2B5EF4-FFF2-40B4-BE49-F238E27FC236}">
                <a16:creationId xmlns:a16="http://schemas.microsoft.com/office/drawing/2014/main" id="{EEF99931-B1EC-EE10-7C6F-E32822201B28}"/>
              </a:ext>
            </a:extLst>
          </p:cNvPr>
          <p:cNvGrpSpPr/>
          <p:nvPr/>
        </p:nvGrpSpPr>
        <p:grpSpPr>
          <a:xfrm>
            <a:off x="11442807" y="48345"/>
            <a:ext cx="645342" cy="645342"/>
            <a:chOff x="11442807" y="48345"/>
            <a:chExt cx="645342" cy="645342"/>
          </a:xfrm>
        </p:grpSpPr>
        <p:sp>
          <p:nvSpPr>
            <p:cNvPr id="35" name="Oval 34">
              <a:extLst>
                <a:ext uri="{FF2B5EF4-FFF2-40B4-BE49-F238E27FC236}">
                  <a16:creationId xmlns:a16="http://schemas.microsoft.com/office/drawing/2014/main" id="{C174C600-4022-2A26-D825-2B58893C293A}"/>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36" name="Graphic 35" descr="Signal outline">
              <a:extLst>
                <a:ext uri="{FF2B5EF4-FFF2-40B4-BE49-F238E27FC236}">
                  <a16:creationId xmlns:a16="http://schemas.microsoft.com/office/drawing/2014/main" id="{D53C438F-FAE1-E080-AF4F-8F1AA53D12C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492045" y="96048"/>
              <a:ext cx="506740" cy="506740"/>
            </a:xfrm>
            <a:prstGeom prst="rect">
              <a:avLst/>
            </a:prstGeom>
          </p:spPr>
        </p:pic>
      </p:grpSp>
    </p:spTree>
    <p:extLst>
      <p:ext uri="{BB962C8B-B14F-4D97-AF65-F5344CB8AC3E}">
        <p14:creationId xmlns:p14="http://schemas.microsoft.com/office/powerpoint/2010/main" val="871095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0E818-BBCE-00B6-EECC-5F719F5C66EF}"/>
            </a:ext>
          </a:extLst>
        </p:cNvPr>
        <p:cNvGrpSpPr/>
        <p:nvPr/>
      </p:nvGrpSpPr>
      <p:grpSpPr>
        <a:xfrm>
          <a:off x="0" y="0"/>
          <a:ext cx="0" cy="0"/>
          <a:chOff x="0" y="0"/>
          <a:chExt cx="0" cy="0"/>
        </a:xfrm>
      </p:grpSpPr>
      <p:grpSp>
        <p:nvGrpSpPr>
          <p:cNvPr id="177" name="Group 176">
            <a:extLst>
              <a:ext uri="{FF2B5EF4-FFF2-40B4-BE49-F238E27FC236}">
                <a16:creationId xmlns:a16="http://schemas.microsoft.com/office/drawing/2014/main" id="{E2838F22-4846-0105-AA1D-F054495C9DA0}"/>
              </a:ext>
            </a:extLst>
          </p:cNvPr>
          <p:cNvGrpSpPr/>
          <p:nvPr/>
        </p:nvGrpSpPr>
        <p:grpSpPr>
          <a:xfrm>
            <a:off x="0" y="5181600"/>
            <a:ext cx="11758910" cy="1332264"/>
            <a:chOff x="-1" y="4878083"/>
            <a:chExt cx="11758910" cy="1332264"/>
          </a:xfrm>
        </p:grpSpPr>
        <p:sp>
          <p:nvSpPr>
            <p:cNvPr id="178" name="Rectangle 177">
              <a:extLst>
                <a:ext uri="{FF2B5EF4-FFF2-40B4-BE49-F238E27FC236}">
                  <a16:creationId xmlns:a16="http://schemas.microsoft.com/office/drawing/2014/main" id="{3D1615C7-76F9-68B1-DA80-B4679F7A0568}"/>
                </a:ext>
              </a:extLst>
            </p:cNvPr>
            <p:cNvSpPr/>
            <p:nvPr/>
          </p:nvSpPr>
          <p:spPr>
            <a:xfrm>
              <a:off x="296883" y="5325052"/>
              <a:ext cx="11462026" cy="720000"/>
            </a:xfrm>
            <a:prstGeom prst="rect">
              <a:avLst/>
            </a:prstGeom>
            <a:gradFill flip="none" rotWithShape="1">
              <a:gsLst>
                <a:gs pos="8000">
                  <a:schemeClr val="bg1"/>
                </a:gs>
                <a:gs pos="0">
                  <a:schemeClr val="accent1"/>
                </a:gs>
                <a:gs pos="90000">
                  <a:schemeClr val="bg1"/>
                </a:gs>
                <a:gs pos="99000">
                  <a:schemeClr val="accent1"/>
                </a:gs>
              </a:gsLst>
              <a:lin ang="0" scaled="1"/>
              <a:tileRect/>
            </a:gra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79" name="Group 178">
              <a:extLst>
                <a:ext uri="{FF2B5EF4-FFF2-40B4-BE49-F238E27FC236}">
                  <a16:creationId xmlns:a16="http://schemas.microsoft.com/office/drawing/2014/main" id="{D43375DD-0DE4-B52A-BB90-B1B9192CCA4C}"/>
                </a:ext>
              </a:extLst>
            </p:cNvPr>
            <p:cNvGrpSpPr/>
            <p:nvPr/>
          </p:nvGrpSpPr>
          <p:grpSpPr>
            <a:xfrm>
              <a:off x="-1" y="4878083"/>
              <a:ext cx="425473" cy="1332264"/>
              <a:chOff x="0" y="4913157"/>
              <a:chExt cx="436762" cy="1611467"/>
            </a:xfrm>
          </p:grpSpPr>
          <p:sp>
            <p:nvSpPr>
              <p:cNvPr id="182" name="Freeform 14">
                <a:extLst>
                  <a:ext uri="{FF2B5EF4-FFF2-40B4-BE49-F238E27FC236}">
                    <a16:creationId xmlns:a16="http://schemas.microsoft.com/office/drawing/2014/main" id="{8BFE1957-AF5F-04A0-9A7E-A5990234267F}"/>
                  </a:ext>
                </a:extLst>
              </p:cNvPr>
              <p:cNvSpPr>
                <a:spLocks/>
              </p:cNvSpPr>
              <p:nvPr/>
            </p:nvSpPr>
            <p:spPr bwMode="auto">
              <a:xfrm>
                <a:off x="17982" y="5313808"/>
                <a:ext cx="393085" cy="1197236"/>
              </a:xfrm>
              <a:custGeom>
                <a:avLst/>
                <a:gdLst>
                  <a:gd name="T0" fmla="*/ 153 w 153"/>
                  <a:gd name="T1" fmla="*/ 0 h 1032"/>
                  <a:gd name="T2" fmla="*/ 150 w 153"/>
                  <a:gd name="T3" fmla="*/ 1032 h 1032"/>
                  <a:gd name="T4" fmla="*/ 0 w 153"/>
                  <a:gd name="T5" fmla="*/ 1032 h 1032"/>
                  <a:gd name="T6" fmla="*/ 0 w 153"/>
                  <a:gd name="T7" fmla="*/ 0 h 1032"/>
                  <a:gd name="T8" fmla="*/ 153 w 153"/>
                  <a:gd name="T9" fmla="*/ 0 h 1032"/>
                </a:gdLst>
                <a:ahLst/>
                <a:cxnLst>
                  <a:cxn ang="0">
                    <a:pos x="T0" y="T1"/>
                  </a:cxn>
                  <a:cxn ang="0">
                    <a:pos x="T2" y="T3"/>
                  </a:cxn>
                  <a:cxn ang="0">
                    <a:pos x="T4" y="T5"/>
                  </a:cxn>
                  <a:cxn ang="0">
                    <a:pos x="T6" y="T7"/>
                  </a:cxn>
                  <a:cxn ang="0">
                    <a:pos x="T8" y="T9"/>
                  </a:cxn>
                </a:cxnLst>
                <a:rect l="0" t="0" r="r" b="b"/>
                <a:pathLst>
                  <a:path w="153" h="1032">
                    <a:moveTo>
                      <a:pt x="153" y="0"/>
                    </a:moveTo>
                    <a:lnTo>
                      <a:pt x="150" y="1032"/>
                    </a:lnTo>
                    <a:lnTo>
                      <a:pt x="0" y="1032"/>
                    </a:lnTo>
                    <a:lnTo>
                      <a:pt x="0" y="0"/>
                    </a:lnTo>
                    <a:lnTo>
                      <a:pt x="153" y="0"/>
                    </a:lnTo>
                    <a:close/>
                  </a:path>
                </a:pathLst>
              </a:custGeom>
              <a:gradFill flip="none" rotWithShape="1">
                <a:gsLst>
                  <a:gs pos="0">
                    <a:sysClr val="window" lastClr="FFFFFF">
                      <a:alpha val="0"/>
                    </a:sysClr>
                  </a:gs>
                  <a:gs pos="50000">
                    <a:sysClr val="window" lastClr="FFFFFF"/>
                  </a:gs>
                  <a:gs pos="100000">
                    <a:sysClr val="window" lastClr="FFFFFF">
                      <a:alpha val="0"/>
                    </a:sysClr>
                  </a:gs>
                </a:gsLst>
                <a:lin ang="5400000" scaled="0"/>
                <a:tileRect/>
              </a:gradFill>
              <a:ln w="12700" cap="flat" cmpd="sng" algn="ctr">
                <a:noFill/>
                <a:prstDash val="solid"/>
                <a:miter lim="800000"/>
              </a:ln>
              <a:effectLst>
                <a:outerShdw blurRad="101600" dist="88900" sx="95000" sy="95000" algn="tl" rotWithShape="0">
                  <a:prstClr val="black">
                    <a:alpha val="5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3" name="Rectangle 182">
                <a:extLst>
                  <a:ext uri="{FF2B5EF4-FFF2-40B4-BE49-F238E27FC236}">
                    <a16:creationId xmlns:a16="http://schemas.microsoft.com/office/drawing/2014/main" id="{B4F9681D-7032-36F7-E0C6-72D9B54BCBCE}"/>
                  </a:ext>
                </a:extLst>
              </p:cNvPr>
              <p:cNvSpPr/>
              <p:nvPr/>
            </p:nvSpPr>
            <p:spPr>
              <a:xfrm>
                <a:off x="0" y="4913157"/>
                <a:ext cx="436762" cy="1611467"/>
              </a:xfrm>
              <a:prstGeom prst="rect">
                <a:avLst/>
              </a:prstGeom>
              <a:solidFill>
                <a:srgbClr val="F6F5F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180" name="Picture 2" descr="Data Icon 2500462">
              <a:extLst>
                <a:ext uri="{FF2B5EF4-FFF2-40B4-BE49-F238E27FC236}">
                  <a16:creationId xmlns:a16="http://schemas.microsoft.com/office/drawing/2014/main" id="{44C60A91-CDE8-0BAF-11A2-0CEEA1A3FE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03282" y="5239419"/>
              <a:ext cx="891266" cy="891266"/>
            </a:xfrm>
            <a:prstGeom prst="rect">
              <a:avLst/>
            </a:prstGeom>
            <a:noFill/>
            <a:extLst>
              <a:ext uri="{909E8E84-426E-40DD-AFC4-6F175D3DCCD1}">
                <a14:hiddenFill xmlns:a14="http://schemas.microsoft.com/office/drawing/2010/main">
                  <a:solidFill>
                    <a:srgbClr val="FFFFFF"/>
                  </a:solidFill>
                </a14:hiddenFill>
              </a:ext>
            </a:extLst>
          </p:spPr>
        </p:pic>
        <p:sp>
          <p:nvSpPr>
            <p:cNvPr id="181" name="TextBox 180">
              <a:extLst>
                <a:ext uri="{FF2B5EF4-FFF2-40B4-BE49-F238E27FC236}">
                  <a16:creationId xmlns:a16="http://schemas.microsoft.com/office/drawing/2014/main" id="{53B4D6CB-4F09-41BC-011E-42E6C1D31002}"/>
                </a:ext>
              </a:extLst>
            </p:cNvPr>
            <p:cNvSpPr txBox="1"/>
            <p:nvPr/>
          </p:nvSpPr>
          <p:spPr>
            <a:xfrm>
              <a:off x="1108927" y="5364778"/>
              <a:ext cx="963006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L amivantamab + lazertinib showed a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numerical PFS benefit </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s osimertinib in </a:t>
              </a:r>
              <a:b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w-risk subgroups, and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significantly improved mPFS </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high-risk subgroups</a:t>
              </a:r>
              <a:endPar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 name="Title 1">
            <a:extLst>
              <a:ext uri="{FF2B5EF4-FFF2-40B4-BE49-F238E27FC236}">
                <a16:creationId xmlns:a16="http://schemas.microsoft.com/office/drawing/2014/main" id="{5DEC8697-55B6-CDD2-FFF3-4EC67403BE65}"/>
              </a:ext>
            </a:extLst>
          </p:cNvPr>
          <p:cNvSpPr>
            <a:spLocks noGrp="1"/>
          </p:cNvSpPr>
          <p:nvPr>
            <p:ph type="title"/>
          </p:nvPr>
        </p:nvSpPr>
        <p:spPr/>
        <p:txBody>
          <a:bodyPr/>
          <a:lstStyle/>
          <a:p>
            <a:r>
              <a:rPr lang="en-GB" dirty="0"/>
              <a:t>Amivantamab + lazertinib: PFS across subgroups</a:t>
            </a:r>
            <a:r>
              <a:rPr lang="en-GB" baseline="30000" dirty="0"/>
              <a:t>1,2</a:t>
            </a:r>
          </a:p>
        </p:txBody>
      </p:sp>
      <p:sp>
        <p:nvSpPr>
          <p:cNvPr id="4" name="Text Placeholder 3">
            <a:extLst>
              <a:ext uri="{FF2B5EF4-FFF2-40B4-BE49-F238E27FC236}">
                <a16:creationId xmlns:a16="http://schemas.microsoft.com/office/drawing/2014/main" id="{2D080282-C15A-406A-8F76-51D8EBB1E4A3}"/>
              </a:ext>
            </a:extLst>
          </p:cNvPr>
          <p:cNvSpPr>
            <a:spLocks noGrp="1"/>
          </p:cNvSpPr>
          <p:nvPr>
            <p:ph type="body" sz="quarter" idx="13"/>
          </p:nvPr>
        </p:nvSpPr>
        <p:spPr>
          <a:xfrm>
            <a:off x="3179233" y="6423128"/>
            <a:ext cx="8579677" cy="332329"/>
          </a:xfrm>
        </p:spPr>
        <p:txBody>
          <a:bodyPr/>
          <a:lstStyle/>
          <a:p>
            <a:r>
              <a:rPr lang="en-GB" dirty="0"/>
              <a:t>*Nominal p-values; </a:t>
            </a:r>
            <a:r>
              <a:rPr lang="en-GB" baseline="30000" dirty="0"/>
              <a:t>†</a:t>
            </a:r>
            <a:r>
              <a:rPr lang="en-GB" dirty="0"/>
              <a:t>Pathogenic mutations were detected with the Guardant Health G360</a:t>
            </a:r>
            <a:r>
              <a:rPr lang="en-GB" baseline="30000" dirty="0"/>
              <a:t>®</a:t>
            </a:r>
            <a:r>
              <a:rPr lang="en-GB" dirty="0"/>
              <a:t> panel; </a:t>
            </a:r>
            <a:r>
              <a:rPr lang="en-GB" baseline="30000" dirty="0"/>
              <a:t>‡</a:t>
            </a:r>
            <a:r>
              <a:rPr lang="en-GB" dirty="0"/>
              <a:t>Detection of EGFR exon19del and L858R by </a:t>
            </a:r>
            <a:r>
              <a:rPr lang="en-GB" dirty="0" err="1"/>
              <a:t>Biodesix</a:t>
            </a:r>
            <a:r>
              <a:rPr lang="en-GB" dirty="0"/>
              <a:t> </a:t>
            </a:r>
            <a:r>
              <a:rPr lang="en-GB" dirty="0" err="1"/>
              <a:t>ddPCR</a:t>
            </a:r>
            <a:r>
              <a:rPr lang="en-GB" dirty="0"/>
              <a:t>.</a:t>
            </a:r>
          </a:p>
          <a:p>
            <a:r>
              <a:rPr lang="en-GB" dirty="0"/>
              <a:t>1L, first-line; ctDNA, circulating tumour DNA; </a:t>
            </a:r>
            <a:r>
              <a:rPr lang="en-GB" dirty="0" err="1"/>
              <a:t>ddPCR</a:t>
            </a:r>
            <a:r>
              <a:rPr lang="en-GB" dirty="0"/>
              <a:t>, droplet digital polymerase chain reaction; EGFRm, EGFR-mutant; exon19del, exon 19 deletion; HR, hazard ratio; mPFS, median PFS; TP53, tumour protein 53.</a:t>
            </a:r>
          </a:p>
        </p:txBody>
      </p:sp>
      <p:sp>
        <p:nvSpPr>
          <p:cNvPr id="5" name="Text Placeholder 4">
            <a:extLst>
              <a:ext uri="{FF2B5EF4-FFF2-40B4-BE49-F238E27FC236}">
                <a16:creationId xmlns:a16="http://schemas.microsoft.com/office/drawing/2014/main" id="{894A6DCE-EC10-C7DC-6C9C-3D59E387FB88}"/>
              </a:ext>
            </a:extLst>
          </p:cNvPr>
          <p:cNvSpPr>
            <a:spLocks noGrp="1"/>
          </p:cNvSpPr>
          <p:nvPr>
            <p:ph type="body" sz="quarter" idx="15"/>
          </p:nvPr>
        </p:nvSpPr>
        <p:spPr/>
        <p:txBody>
          <a:bodyPr/>
          <a:lstStyle/>
          <a:p>
            <a:r>
              <a:rPr lang="en-GB" dirty="0"/>
              <a:t>1. Felip E, et al. Presented at ASCO 2024: 8504;</a:t>
            </a:r>
            <a:br>
              <a:rPr lang="en-GB" dirty="0"/>
            </a:br>
            <a:r>
              <a:rPr lang="en-GB" dirty="0"/>
              <a:t>2. Felip E, et al. </a:t>
            </a:r>
            <a:r>
              <a:rPr lang="en-GB" i="1" dirty="0"/>
              <a:t>Ann Oncol</a:t>
            </a:r>
            <a:r>
              <a:rPr lang="en-GB" dirty="0"/>
              <a:t>. 2024;35:805</a:t>
            </a:r>
            <a:r>
              <a:rPr lang="en-GB" dirty="0">
                <a:ea typeface="Calibri" panose="020F0502020204030204" pitchFamily="34" charset="0"/>
              </a:rPr>
              <a:t>–</a:t>
            </a:r>
            <a:r>
              <a:rPr lang="en-GB" dirty="0"/>
              <a:t>16.</a:t>
            </a:r>
          </a:p>
        </p:txBody>
      </p:sp>
      <p:sp>
        <p:nvSpPr>
          <p:cNvPr id="3" name="Rectangle 2">
            <a:extLst>
              <a:ext uri="{FF2B5EF4-FFF2-40B4-BE49-F238E27FC236}">
                <a16:creationId xmlns:a16="http://schemas.microsoft.com/office/drawing/2014/main" id="{3235AA64-5257-3A9B-E712-D486A9DCE7FC}"/>
              </a:ext>
            </a:extLst>
          </p:cNvPr>
          <p:cNvSpPr/>
          <p:nvPr/>
        </p:nvSpPr>
        <p:spPr>
          <a:xfrm>
            <a:off x="447511" y="1019869"/>
            <a:ext cx="11311398" cy="4458361"/>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C02DA5F-1102-E799-29DB-5A088F70F216}"/>
              </a:ext>
            </a:extLst>
          </p:cNvPr>
          <p:cNvSpPr txBox="1"/>
          <p:nvPr/>
        </p:nvSpPr>
        <p:spPr>
          <a:xfrm>
            <a:off x="447510" y="1019870"/>
            <a:ext cx="11313713" cy="355276"/>
          </a:xfrm>
          <a:prstGeom prst="rect">
            <a:avLst/>
          </a:prstGeom>
          <a:gradFill>
            <a:gsLst>
              <a:gs pos="0">
                <a:schemeClr val="accent6"/>
              </a:gs>
              <a:gs pos="100000">
                <a:schemeClr val="accent6"/>
              </a:gs>
              <a:gs pos="93000">
                <a:schemeClr val="accent5">
                  <a:lumMod val="50000"/>
                </a:schemeClr>
              </a:gs>
              <a:gs pos="7000">
                <a:schemeClr val="accent5">
                  <a:lumMod val="50000"/>
                </a:schemeClr>
              </a:gs>
            </a:gsLst>
            <a:lin ang="0" scaled="1"/>
          </a:gradFill>
        </p:spPr>
        <p:txBody>
          <a:bodyPr wrap="square" lIns="108000" tIns="54000" rIns="108000" bIns="54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PFS </a:t>
            </a: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nths)</a:t>
            </a: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cross subgroups at baseline </a:t>
            </a: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condary analysis)</a:t>
            </a:r>
            <a:endParaRPr kumimoji="0" lang="en-GB" sz="16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4E627598-D5E4-9955-D3F9-3681B61746A8}"/>
              </a:ext>
            </a:extLst>
          </p:cNvPr>
          <p:cNvSpPr txBox="1"/>
          <p:nvPr/>
        </p:nvSpPr>
        <p:spPr>
          <a:xfrm>
            <a:off x="1948194" y="4269702"/>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With</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story</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brain metastases (n=350)</a:t>
            </a:r>
          </a:p>
        </p:txBody>
      </p:sp>
      <p:sp>
        <p:nvSpPr>
          <p:cNvPr id="24" name="TextBox 23">
            <a:extLst>
              <a:ext uri="{FF2B5EF4-FFF2-40B4-BE49-F238E27FC236}">
                <a16:creationId xmlns:a16="http://schemas.microsoft.com/office/drawing/2014/main" id="{FF331E08-238E-10DF-0675-2C9CDF8551FC}"/>
              </a:ext>
            </a:extLst>
          </p:cNvPr>
          <p:cNvSpPr txBox="1"/>
          <p:nvPr/>
        </p:nvSpPr>
        <p:spPr>
          <a:xfrm>
            <a:off x="4703353" y="4269702"/>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With</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ver</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etastases </a:t>
            </a:r>
            <a:b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136)</a:t>
            </a:r>
          </a:p>
        </p:txBody>
      </p:sp>
      <p:sp>
        <p:nvSpPr>
          <p:cNvPr id="25" name="TextBox 24">
            <a:extLst>
              <a:ext uri="{FF2B5EF4-FFF2-40B4-BE49-F238E27FC236}">
                <a16:creationId xmlns:a16="http://schemas.microsoft.com/office/drawing/2014/main" id="{06D4C994-A392-6DF0-BCFE-A6BD8CE79F79}"/>
              </a:ext>
            </a:extLst>
          </p:cNvPr>
          <p:cNvSpPr txBox="1"/>
          <p:nvPr/>
        </p:nvSpPr>
        <p:spPr>
          <a:xfrm>
            <a:off x="6098283" y="4269702"/>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6CB643"/>
                </a:solidFill>
                <a:effectLst/>
                <a:uLnTx/>
                <a:uFillTx/>
                <a:latin typeface="Arial" panose="020B0604020202020204" pitchFamily="34" charset="0"/>
                <a:ea typeface="+mn-ea"/>
                <a:cs typeface="Arial" panose="020B0604020202020204" pitchFamily="34" charset="0"/>
              </a:rPr>
              <a:t>Without</a:t>
            </a:r>
            <a:r>
              <a:rPr kumimoji="0" lang="en-GB"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P53</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utations (n=247)</a:t>
            </a:r>
          </a:p>
        </p:txBody>
      </p:sp>
      <p:sp>
        <p:nvSpPr>
          <p:cNvPr id="26" name="TextBox 25">
            <a:extLst>
              <a:ext uri="{FF2B5EF4-FFF2-40B4-BE49-F238E27FC236}">
                <a16:creationId xmlns:a16="http://schemas.microsoft.com/office/drawing/2014/main" id="{4F84EF6C-5347-F320-CDD8-21CBFD952FFD}"/>
              </a:ext>
            </a:extLst>
          </p:cNvPr>
          <p:cNvSpPr txBox="1"/>
          <p:nvPr/>
        </p:nvSpPr>
        <p:spPr>
          <a:xfrm>
            <a:off x="10219727" y="4269702"/>
            <a:ext cx="1468463"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With</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etectable</a:t>
            </a:r>
            <a:b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 ctDNA</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471)</a:t>
            </a:r>
          </a:p>
        </p:txBody>
      </p:sp>
      <p:graphicFrame>
        <p:nvGraphicFramePr>
          <p:cNvPr id="28" name="Chart 27">
            <a:extLst>
              <a:ext uri="{FF2B5EF4-FFF2-40B4-BE49-F238E27FC236}">
                <a16:creationId xmlns:a16="http://schemas.microsoft.com/office/drawing/2014/main" id="{5BBA31EE-F8DD-74C1-60D3-BFB8C273807A}"/>
              </a:ext>
            </a:extLst>
          </p:cNvPr>
          <p:cNvGraphicFramePr/>
          <p:nvPr/>
        </p:nvGraphicFramePr>
        <p:xfrm>
          <a:off x="388188" y="2020234"/>
          <a:ext cx="11387973" cy="2325028"/>
        </p:xfrm>
        <a:graphic>
          <a:graphicData uri="http://schemas.openxmlformats.org/drawingml/2006/chart">
            <c:chart xmlns:c="http://schemas.openxmlformats.org/drawingml/2006/chart" xmlns:r="http://schemas.openxmlformats.org/officeDocument/2006/relationships" r:id="rId3"/>
          </a:graphicData>
        </a:graphic>
      </p:graphicFrame>
      <p:cxnSp>
        <p:nvCxnSpPr>
          <p:cNvPr id="47" name="Straight Connector 46">
            <a:extLst>
              <a:ext uri="{FF2B5EF4-FFF2-40B4-BE49-F238E27FC236}">
                <a16:creationId xmlns:a16="http://schemas.microsoft.com/office/drawing/2014/main" id="{56D58D58-B239-304D-2168-7DCFC77FF971}"/>
              </a:ext>
            </a:extLst>
          </p:cNvPr>
          <p:cNvCxnSpPr>
            <a:cxnSpLocks/>
          </p:cNvCxnSpPr>
          <p:nvPr/>
        </p:nvCxnSpPr>
        <p:spPr>
          <a:xfrm>
            <a:off x="707373" y="4207250"/>
            <a:ext cx="10692000"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A78BF07F-9A6F-5D0C-0DB7-AE2E64A0159A}"/>
              </a:ext>
            </a:extLst>
          </p:cNvPr>
          <p:cNvSpPr txBox="1"/>
          <p:nvPr/>
        </p:nvSpPr>
        <p:spPr>
          <a:xfrm>
            <a:off x="559667" y="4269702"/>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6CB643"/>
                </a:solidFill>
                <a:effectLst/>
                <a:uLnTx/>
                <a:uFillTx/>
                <a:latin typeface="Arial" panose="020B0604020202020204" pitchFamily="34" charset="0"/>
                <a:ea typeface="+mn-ea"/>
                <a:cs typeface="Arial" panose="020B0604020202020204" pitchFamily="34" charset="0"/>
              </a:rPr>
              <a:t>W</a:t>
            </a:r>
            <a:r>
              <a:rPr kumimoji="0" lang="en-GB" sz="1200" b="1" i="0" u="none" strike="noStrike" kern="1200" cap="none" spc="0" normalizeH="0" baseline="0" noProof="0" dirty="0" err="1">
                <a:ln>
                  <a:noFill/>
                </a:ln>
                <a:solidFill>
                  <a:srgbClr val="6CB643"/>
                </a:solidFill>
                <a:effectLst/>
                <a:uLnTx/>
                <a:uFillTx/>
                <a:latin typeface="Arial" panose="020B0604020202020204" pitchFamily="34" charset="0"/>
                <a:ea typeface="+mn-ea"/>
                <a:cs typeface="Arial" panose="020B0604020202020204" pitchFamily="34" charset="0"/>
              </a:rPr>
              <a:t>ithout</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istory of brain metastases (n=508)</a:t>
            </a:r>
          </a:p>
        </p:txBody>
      </p:sp>
      <p:sp>
        <p:nvSpPr>
          <p:cNvPr id="67" name="TextBox 66">
            <a:extLst>
              <a:ext uri="{FF2B5EF4-FFF2-40B4-BE49-F238E27FC236}">
                <a16:creationId xmlns:a16="http://schemas.microsoft.com/office/drawing/2014/main" id="{BEDF1748-A8D8-CA7F-92F1-E8D75D168232}"/>
              </a:ext>
            </a:extLst>
          </p:cNvPr>
          <p:cNvSpPr txBox="1"/>
          <p:nvPr/>
        </p:nvSpPr>
        <p:spPr>
          <a:xfrm>
            <a:off x="3318734" y="4269702"/>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6CB643"/>
                </a:solidFill>
                <a:effectLst/>
                <a:uLnTx/>
                <a:uFillTx/>
                <a:latin typeface="Arial" panose="020B0604020202020204" pitchFamily="34" charset="0"/>
                <a:ea typeface="+mn-ea"/>
                <a:cs typeface="Arial" panose="020B0604020202020204" pitchFamily="34" charset="0"/>
              </a:rPr>
              <a:t>Without</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ver</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etastases </a:t>
            </a:r>
            <a:b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722)</a:t>
            </a:r>
          </a:p>
        </p:txBody>
      </p:sp>
      <p:sp>
        <p:nvSpPr>
          <p:cNvPr id="68" name="TextBox 67">
            <a:extLst>
              <a:ext uri="{FF2B5EF4-FFF2-40B4-BE49-F238E27FC236}">
                <a16:creationId xmlns:a16="http://schemas.microsoft.com/office/drawing/2014/main" id="{7E5A2BF2-AC33-F711-4B71-CC812F2E83B5}"/>
              </a:ext>
            </a:extLst>
          </p:cNvPr>
          <p:cNvSpPr txBox="1"/>
          <p:nvPr/>
        </p:nvSpPr>
        <p:spPr>
          <a:xfrm>
            <a:off x="7466697" y="4269702"/>
            <a:ext cx="135164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With</a:t>
            </a:r>
            <a:r>
              <a:rPr kumimoji="0" lang="en-GB"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P53</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b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utations</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293)</a:t>
            </a:r>
          </a:p>
        </p:txBody>
      </p:sp>
      <p:sp>
        <p:nvSpPr>
          <p:cNvPr id="70" name="TextBox 69">
            <a:extLst>
              <a:ext uri="{FF2B5EF4-FFF2-40B4-BE49-F238E27FC236}">
                <a16:creationId xmlns:a16="http://schemas.microsoft.com/office/drawing/2014/main" id="{F7BEC083-DEC1-9B4B-3A92-1B0921B0295F}"/>
              </a:ext>
            </a:extLst>
          </p:cNvPr>
          <p:cNvSpPr txBox="1"/>
          <p:nvPr/>
        </p:nvSpPr>
        <p:spPr>
          <a:xfrm>
            <a:off x="8821276" y="4269702"/>
            <a:ext cx="1468463"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6CB643"/>
                </a:solidFill>
                <a:effectLst/>
                <a:uLnTx/>
                <a:uFillTx/>
                <a:latin typeface="Arial" panose="020B0604020202020204" pitchFamily="34" charset="0"/>
                <a:ea typeface="+mn-ea"/>
                <a:cs typeface="Arial" panose="020B0604020202020204" pitchFamily="34" charset="0"/>
              </a:rPr>
              <a:t>Without</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etectable</a:t>
            </a:r>
            <a:b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 ctDNA</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201)</a:t>
            </a:r>
          </a:p>
        </p:txBody>
      </p:sp>
      <p:pic>
        <p:nvPicPr>
          <p:cNvPr id="85" name="Graphic 84">
            <a:extLst>
              <a:ext uri="{FF2B5EF4-FFF2-40B4-BE49-F238E27FC236}">
                <a16:creationId xmlns:a16="http://schemas.microsoft.com/office/drawing/2014/main" id="{5FCC0C52-D2B9-5D72-6240-3C79ABAAB183}"/>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1050884" y="4944298"/>
            <a:ext cx="345790" cy="355496"/>
          </a:xfrm>
          <a:prstGeom prst="rect">
            <a:avLst/>
          </a:prstGeom>
        </p:spPr>
      </p:pic>
      <p:pic>
        <p:nvPicPr>
          <p:cNvPr id="86" name="Graphic 85">
            <a:extLst>
              <a:ext uri="{FF2B5EF4-FFF2-40B4-BE49-F238E27FC236}">
                <a16:creationId xmlns:a16="http://schemas.microsoft.com/office/drawing/2014/main" id="{8A7EAC26-667A-C684-FDD3-3C350ACBA931}"/>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971779" y="4874859"/>
            <a:ext cx="504000" cy="504000"/>
          </a:xfrm>
          <a:prstGeom prst="rect">
            <a:avLst/>
          </a:prstGeom>
        </p:spPr>
      </p:pic>
      <p:pic>
        <p:nvPicPr>
          <p:cNvPr id="87" name="Graphic 86">
            <a:extLst>
              <a:ext uri="{FF2B5EF4-FFF2-40B4-BE49-F238E27FC236}">
                <a16:creationId xmlns:a16="http://schemas.microsoft.com/office/drawing/2014/main" id="{1B813232-B291-BAC7-520A-1E1A926ECABE}"/>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2417511" y="4938454"/>
            <a:ext cx="345790" cy="355496"/>
          </a:xfrm>
          <a:prstGeom prst="rect">
            <a:avLst/>
          </a:prstGeom>
        </p:spPr>
      </p:pic>
      <p:pic>
        <p:nvPicPr>
          <p:cNvPr id="88" name="Graphic 87">
            <a:extLst>
              <a:ext uri="{FF2B5EF4-FFF2-40B4-BE49-F238E27FC236}">
                <a16:creationId xmlns:a16="http://schemas.microsoft.com/office/drawing/2014/main" id="{A49AC618-88F6-5895-8A0A-F85C0D9C69ED}"/>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2219501" y="4751902"/>
            <a:ext cx="756000" cy="756000"/>
          </a:xfrm>
          <a:prstGeom prst="rect">
            <a:avLst/>
          </a:prstGeom>
        </p:spPr>
      </p:pic>
      <p:pic>
        <p:nvPicPr>
          <p:cNvPr id="89" name="Graphic 88">
            <a:extLst>
              <a:ext uri="{FF2B5EF4-FFF2-40B4-BE49-F238E27FC236}">
                <a16:creationId xmlns:a16="http://schemas.microsoft.com/office/drawing/2014/main" id="{757173A2-B4CE-6DD8-3BB3-5A808E206743}"/>
              </a:ext>
            </a:extLst>
          </p:cNvPr>
          <p:cNvPicPr>
            <a:picLocks/>
          </p:cNvPicPr>
          <p:nvPr/>
        </p:nvPicPr>
        <p:blipFill>
          <a:blip>
            <a:extLst>
              <a:ext uri="{96DAC541-7B7A-43D3-8B79-37D633B846F1}">
                <asvg:svgBlip xmlns:asvg="http://schemas.microsoft.com/office/drawing/2016/SVG/main" r:embed="rId7"/>
              </a:ext>
            </a:extLst>
          </a:blip>
          <a:stretch>
            <a:fillRect/>
          </a:stretch>
        </p:blipFill>
        <p:spPr>
          <a:xfrm>
            <a:off x="3824953" y="4948318"/>
            <a:ext cx="360000" cy="360000"/>
          </a:xfrm>
          <a:prstGeom prst="rect">
            <a:avLst/>
          </a:prstGeom>
        </p:spPr>
      </p:pic>
      <p:pic>
        <p:nvPicPr>
          <p:cNvPr id="90" name="Graphic 89">
            <a:extLst>
              <a:ext uri="{FF2B5EF4-FFF2-40B4-BE49-F238E27FC236}">
                <a16:creationId xmlns:a16="http://schemas.microsoft.com/office/drawing/2014/main" id="{60BFB8E2-73A5-04A6-FB72-12DD900CBBE4}"/>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3740019" y="4874859"/>
            <a:ext cx="504000" cy="504000"/>
          </a:xfrm>
          <a:prstGeom prst="rect">
            <a:avLst/>
          </a:prstGeom>
        </p:spPr>
      </p:pic>
      <p:pic>
        <p:nvPicPr>
          <p:cNvPr id="91" name="Graphic 90">
            <a:extLst>
              <a:ext uri="{FF2B5EF4-FFF2-40B4-BE49-F238E27FC236}">
                <a16:creationId xmlns:a16="http://schemas.microsoft.com/office/drawing/2014/main" id="{B6869AFE-5B0A-B65C-C5DA-D4CF0FF66297}"/>
              </a:ext>
            </a:extLst>
          </p:cNvPr>
          <p:cNvPicPr>
            <a:picLocks/>
          </p:cNvPicPr>
          <p:nvPr/>
        </p:nvPicPr>
        <p:blipFill>
          <a:blip>
            <a:extLst>
              <a:ext uri="{96DAC541-7B7A-43D3-8B79-37D633B846F1}">
                <asvg:svgBlip xmlns:asvg="http://schemas.microsoft.com/office/drawing/2016/SVG/main" r:embed="rId7"/>
              </a:ext>
            </a:extLst>
          </a:blip>
          <a:stretch>
            <a:fillRect/>
          </a:stretch>
        </p:blipFill>
        <p:spPr>
          <a:xfrm>
            <a:off x="5209340" y="4955632"/>
            <a:ext cx="360000" cy="360000"/>
          </a:xfrm>
          <a:prstGeom prst="rect">
            <a:avLst/>
          </a:prstGeom>
        </p:spPr>
      </p:pic>
      <p:pic>
        <p:nvPicPr>
          <p:cNvPr id="92" name="Graphic 91">
            <a:extLst>
              <a:ext uri="{FF2B5EF4-FFF2-40B4-BE49-F238E27FC236}">
                <a16:creationId xmlns:a16="http://schemas.microsoft.com/office/drawing/2014/main" id="{42D0E302-525A-C5DB-8306-413646B4CD49}"/>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5006686" y="4751902"/>
            <a:ext cx="756000" cy="756000"/>
          </a:xfrm>
          <a:prstGeom prst="rect">
            <a:avLst/>
          </a:prstGeom>
        </p:spPr>
      </p:pic>
      <p:pic>
        <p:nvPicPr>
          <p:cNvPr id="93" name="Graphic 92">
            <a:extLst>
              <a:ext uri="{FF2B5EF4-FFF2-40B4-BE49-F238E27FC236}">
                <a16:creationId xmlns:a16="http://schemas.microsoft.com/office/drawing/2014/main" id="{08A188CA-42E4-D06D-0D48-68B94247CE5D}"/>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6621351" y="4955204"/>
            <a:ext cx="303859" cy="341020"/>
          </a:xfrm>
          <a:prstGeom prst="rect">
            <a:avLst/>
          </a:prstGeom>
        </p:spPr>
      </p:pic>
      <p:pic>
        <p:nvPicPr>
          <p:cNvPr id="94" name="Graphic 93">
            <a:extLst>
              <a:ext uri="{FF2B5EF4-FFF2-40B4-BE49-F238E27FC236}">
                <a16:creationId xmlns:a16="http://schemas.microsoft.com/office/drawing/2014/main" id="{E7C30C23-8A33-F56A-FB49-AC4216B9C1A6}"/>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6521246" y="4874859"/>
            <a:ext cx="504000" cy="504000"/>
          </a:xfrm>
          <a:prstGeom prst="rect">
            <a:avLst/>
          </a:prstGeom>
        </p:spPr>
      </p:pic>
      <p:pic>
        <p:nvPicPr>
          <p:cNvPr id="95" name="Graphic 94">
            <a:extLst>
              <a:ext uri="{FF2B5EF4-FFF2-40B4-BE49-F238E27FC236}">
                <a16:creationId xmlns:a16="http://schemas.microsoft.com/office/drawing/2014/main" id="{0B4D3526-FE34-EAB1-7DA8-B0832C3A9BE2}"/>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7994566" y="4950441"/>
            <a:ext cx="303859" cy="341020"/>
          </a:xfrm>
          <a:prstGeom prst="rect">
            <a:avLst/>
          </a:prstGeom>
        </p:spPr>
      </p:pic>
      <p:pic>
        <p:nvPicPr>
          <p:cNvPr id="96" name="Graphic 95">
            <a:extLst>
              <a:ext uri="{FF2B5EF4-FFF2-40B4-BE49-F238E27FC236}">
                <a16:creationId xmlns:a16="http://schemas.microsoft.com/office/drawing/2014/main" id="{F876FADD-3EB7-EFC3-1F61-6C89928935ED}"/>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7768495" y="4751902"/>
            <a:ext cx="756000" cy="756000"/>
          </a:xfrm>
          <a:prstGeom prst="rect">
            <a:avLst/>
          </a:prstGeom>
        </p:spPr>
      </p:pic>
      <p:pic>
        <p:nvPicPr>
          <p:cNvPr id="97" name="Graphic 96">
            <a:extLst>
              <a:ext uri="{FF2B5EF4-FFF2-40B4-BE49-F238E27FC236}">
                <a16:creationId xmlns:a16="http://schemas.microsoft.com/office/drawing/2014/main" id="{37DEFAB8-06AC-89A2-EAD9-C4A2F4E20A02}"/>
              </a:ext>
            </a:extLst>
          </p:cNvPr>
          <p:cNvPicPr>
            <a:picLocks/>
          </p:cNvPicPr>
          <p:nvPr/>
        </p:nvPicPr>
        <p:blipFill>
          <a:blip>
            <a:extLst>
              <a:ext uri="{96DAC541-7B7A-43D3-8B79-37D633B846F1}">
                <asvg:svgBlip xmlns:asvg="http://schemas.microsoft.com/office/drawing/2016/SVG/main" r:embed="rId9"/>
              </a:ext>
            </a:extLst>
          </a:blip>
          <a:stretch>
            <a:fillRect/>
          </a:stretch>
        </p:blipFill>
        <p:spPr>
          <a:xfrm>
            <a:off x="9401767" y="4966372"/>
            <a:ext cx="324000" cy="324000"/>
          </a:xfrm>
          <a:prstGeom prst="rect">
            <a:avLst/>
          </a:prstGeom>
        </p:spPr>
      </p:pic>
      <p:pic>
        <p:nvPicPr>
          <p:cNvPr id="98" name="Graphic 97">
            <a:extLst>
              <a:ext uri="{FF2B5EF4-FFF2-40B4-BE49-F238E27FC236}">
                <a16:creationId xmlns:a16="http://schemas.microsoft.com/office/drawing/2014/main" id="{641E40E4-112E-4429-7F97-A5847A1DDB1F}"/>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9302248" y="4874859"/>
            <a:ext cx="504000" cy="504000"/>
          </a:xfrm>
          <a:prstGeom prst="rect">
            <a:avLst/>
          </a:prstGeom>
        </p:spPr>
      </p:pic>
      <p:pic>
        <p:nvPicPr>
          <p:cNvPr id="99" name="Graphic 98">
            <a:extLst>
              <a:ext uri="{FF2B5EF4-FFF2-40B4-BE49-F238E27FC236}">
                <a16:creationId xmlns:a16="http://schemas.microsoft.com/office/drawing/2014/main" id="{82CE5967-C7CF-95B5-CF43-5631CBF823BD}"/>
              </a:ext>
            </a:extLst>
          </p:cNvPr>
          <p:cNvPicPr>
            <a:picLocks/>
          </p:cNvPicPr>
          <p:nvPr/>
        </p:nvPicPr>
        <p:blipFill>
          <a:blip>
            <a:extLst>
              <a:ext uri="{96DAC541-7B7A-43D3-8B79-37D633B846F1}">
                <asvg:svgBlip xmlns:asvg="http://schemas.microsoft.com/office/drawing/2016/SVG/main" r:embed="rId9"/>
              </a:ext>
            </a:extLst>
          </a:blip>
          <a:stretch>
            <a:fillRect/>
          </a:stretch>
        </p:blipFill>
        <p:spPr>
          <a:xfrm>
            <a:off x="10806495" y="4955793"/>
            <a:ext cx="324000" cy="324000"/>
          </a:xfrm>
          <a:prstGeom prst="rect">
            <a:avLst/>
          </a:prstGeom>
        </p:spPr>
      </p:pic>
      <p:pic>
        <p:nvPicPr>
          <p:cNvPr id="100" name="Graphic 99">
            <a:extLst>
              <a:ext uri="{FF2B5EF4-FFF2-40B4-BE49-F238E27FC236}">
                <a16:creationId xmlns:a16="http://schemas.microsoft.com/office/drawing/2014/main" id="{966D0A04-CC31-0954-790F-9CA72457DA4B}"/>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10581405" y="4751902"/>
            <a:ext cx="756000" cy="756000"/>
          </a:xfrm>
          <a:prstGeom prst="rect">
            <a:avLst/>
          </a:prstGeom>
        </p:spPr>
      </p:pic>
      <p:cxnSp>
        <p:nvCxnSpPr>
          <p:cNvPr id="101" name="Connector: Elbow 100">
            <a:extLst>
              <a:ext uri="{FF2B5EF4-FFF2-40B4-BE49-F238E27FC236}">
                <a16:creationId xmlns:a16="http://schemas.microsoft.com/office/drawing/2014/main" id="{3E13CEAC-B606-EAA5-B519-2E5B2F6DD820}"/>
              </a:ext>
            </a:extLst>
          </p:cNvPr>
          <p:cNvCxnSpPr>
            <a:cxnSpLocks/>
          </p:cNvCxnSpPr>
          <p:nvPr/>
        </p:nvCxnSpPr>
        <p:spPr>
          <a:xfrm rot="16200000" flipH="1">
            <a:off x="955118" y="2116632"/>
            <a:ext cx="529955" cy="426414"/>
          </a:xfrm>
          <a:prstGeom prst="bentConnector3">
            <a:avLst>
              <a:gd name="adj1" fmla="val -12906"/>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A21B556A-945E-9D01-E0C8-CF9458411800}"/>
              </a:ext>
            </a:extLst>
          </p:cNvPr>
          <p:cNvSpPr txBox="1"/>
          <p:nvPr/>
        </p:nvSpPr>
        <p:spPr>
          <a:xfrm>
            <a:off x="478704" y="1729986"/>
            <a:ext cx="1513565" cy="253916"/>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69; p=0.005*</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 name="TextBox 104">
            <a:extLst>
              <a:ext uri="{FF2B5EF4-FFF2-40B4-BE49-F238E27FC236}">
                <a16:creationId xmlns:a16="http://schemas.microsoft.com/office/drawing/2014/main" id="{6DDB19D4-73DE-7ECA-77AE-9DC280C5265D}"/>
              </a:ext>
            </a:extLst>
          </p:cNvPr>
          <p:cNvSpPr txBox="1"/>
          <p:nvPr/>
        </p:nvSpPr>
        <p:spPr>
          <a:xfrm>
            <a:off x="1911308" y="2359449"/>
            <a:ext cx="1383328" cy="253916"/>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69; p=0.01*</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39" name="Straight Connector 138">
            <a:extLst>
              <a:ext uri="{FF2B5EF4-FFF2-40B4-BE49-F238E27FC236}">
                <a16:creationId xmlns:a16="http://schemas.microsoft.com/office/drawing/2014/main" id="{6CC41EDD-10A1-0E02-F2B6-FDF45FFF4162}"/>
              </a:ext>
            </a:extLst>
          </p:cNvPr>
          <p:cNvCxnSpPr>
            <a:cxnSpLocks/>
          </p:cNvCxnSpPr>
          <p:nvPr/>
        </p:nvCxnSpPr>
        <p:spPr>
          <a:xfrm>
            <a:off x="2813635" y="2626126"/>
            <a:ext cx="0" cy="432000"/>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40" name="Right Bracket 139">
            <a:extLst>
              <a:ext uri="{FF2B5EF4-FFF2-40B4-BE49-F238E27FC236}">
                <a16:creationId xmlns:a16="http://schemas.microsoft.com/office/drawing/2014/main" id="{E7602919-1792-8893-0837-282EDC6CCD47}"/>
              </a:ext>
            </a:extLst>
          </p:cNvPr>
          <p:cNvSpPr/>
          <p:nvPr/>
        </p:nvSpPr>
        <p:spPr>
          <a:xfrm rot="16200000">
            <a:off x="2582310" y="2461327"/>
            <a:ext cx="66525" cy="396124"/>
          </a:xfrm>
          <a:prstGeom prst="rightBracket">
            <a:avLst>
              <a:gd name="adj" fmla="val 0"/>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46" name="Connector: Elbow 145">
            <a:extLst>
              <a:ext uri="{FF2B5EF4-FFF2-40B4-BE49-F238E27FC236}">
                <a16:creationId xmlns:a16="http://schemas.microsoft.com/office/drawing/2014/main" id="{18A47555-F31B-1C6B-FD60-7AA1E9D7BDD1}"/>
              </a:ext>
            </a:extLst>
          </p:cNvPr>
          <p:cNvCxnSpPr>
            <a:cxnSpLocks/>
          </p:cNvCxnSpPr>
          <p:nvPr/>
        </p:nvCxnSpPr>
        <p:spPr>
          <a:xfrm rot="16200000" flipH="1">
            <a:off x="3811892" y="2293920"/>
            <a:ext cx="424520" cy="382488"/>
          </a:xfrm>
          <a:prstGeom prst="bentConnector3">
            <a:avLst>
              <a:gd name="adj1" fmla="val -13385"/>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AA826B1A-4160-9866-C234-98ABBD59B4BA}"/>
              </a:ext>
            </a:extLst>
          </p:cNvPr>
          <p:cNvSpPr txBox="1"/>
          <p:nvPr/>
        </p:nvSpPr>
        <p:spPr>
          <a:xfrm>
            <a:off x="3332488" y="1957008"/>
            <a:ext cx="1383328" cy="253916"/>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74; p=0.004*</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0" name="TextBox 149">
            <a:extLst>
              <a:ext uri="{FF2B5EF4-FFF2-40B4-BE49-F238E27FC236}">
                <a16:creationId xmlns:a16="http://schemas.microsoft.com/office/drawing/2014/main" id="{CC1C4A0F-4CFA-4632-77D7-AC369B7DFED4}"/>
              </a:ext>
            </a:extLst>
          </p:cNvPr>
          <p:cNvSpPr txBox="1"/>
          <p:nvPr/>
        </p:nvSpPr>
        <p:spPr>
          <a:xfrm>
            <a:off x="4745157" y="2368465"/>
            <a:ext cx="1350050"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58; p=0.017*</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51" name="Connector: Elbow 150">
            <a:extLst>
              <a:ext uri="{FF2B5EF4-FFF2-40B4-BE49-F238E27FC236}">
                <a16:creationId xmlns:a16="http://schemas.microsoft.com/office/drawing/2014/main" id="{8DFC7499-BDDB-8252-52D6-D2364D7B27C8}"/>
              </a:ext>
            </a:extLst>
          </p:cNvPr>
          <p:cNvCxnSpPr>
            <a:cxnSpLocks/>
          </p:cNvCxnSpPr>
          <p:nvPr/>
        </p:nvCxnSpPr>
        <p:spPr>
          <a:xfrm rot="16200000" flipH="1">
            <a:off x="5149662" y="2751711"/>
            <a:ext cx="499393" cy="380037"/>
          </a:xfrm>
          <a:prstGeom prst="bentConnector3">
            <a:avLst>
              <a:gd name="adj1" fmla="val -11511"/>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35998FEF-A0E9-5295-28A9-5DA62C132DA6}"/>
              </a:ext>
            </a:extLst>
          </p:cNvPr>
          <p:cNvCxnSpPr>
            <a:cxnSpLocks/>
          </p:cNvCxnSpPr>
          <p:nvPr/>
        </p:nvCxnSpPr>
        <p:spPr>
          <a:xfrm>
            <a:off x="6987175" y="2368075"/>
            <a:ext cx="0" cy="216000"/>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55" name="Right Bracket 154">
            <a:extLst>
              <a:ext uri="{FF2B5EF4-FFF2-40B4-BE49-F238E27FC236}">
                <a16:creationId xmlns:a16="http://schemas.microsoft.com/office/drawing/2014/main" id="{FD271004-8046-6476-BD8F-A46C1F8E638A}"/>
              </a:ext>
            </a:extLst>
          </p:cNvPr>
          <p:cNvSpPr/>
          <p:nvPr/>
        </p:nvSpPr>
        <p:spPr>
          <a:xfrm rot="16200000">
            <a:off x="6752742" y="2204032"/>
            <a:ext cx="66525" cy="402340"/>
          </a:xfrm>
          <a:prstGeom prst="rightBracket">
            <a:avLst>
              <a:gd name="adj" fmla="val 0"/>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6" name="TextBox 155">
            <a:extLst>
              <a:ext uri="{FF2B5EF4-FFF2-40B4-BE49-F238E27FC236}">
                <a16:creationId xmlns:a16="http://schemas.microsoft.com/office/drawing/2014/main" id="{2EAD00D5-DF16-BCAF-3DA1-60CC881A546F}"/>
              </a:ext>
            </a:extLst>
          </p:cNvPr>
          <p:cNvSpPr txBox="1"/>
          <p:nvPr/>
        </p:nvSpPr>
        <p:spPr>
          <a:xfrm>
            <a:off x="6109444" y="2113680"/>
            <a:ext cx="1353120" cy="253916"/>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75; p=0.114*</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7" name="TextBox 156">
            <a:extLst>
              <a:ext uri="{FF2B5EF4-FFF2-40B4-BE49-F238E27FC236}">
                <a16:creationId xmlns:a16="http://schemas.microsoft.com/office/drawing/2014/main" id="{D166BD6B-CE24-2035-F9BE-911EB60B5895}"/>
              </a:ext>
            </a:extLst>
          </p:cNvPr>
          <p:cNvSpPr txBox="1"/>
          <p:nvPr/>
        </p:nvSpPr>
        <p:spPr>
          <a:xfrm>
            <a:off x="7511225" y="2364816"/>
            <a:ext cx="1350050"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65; p=0.003*</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61" name="Straight Connector 160">
            <a:extLst>
              <a:ext uri="{FF2B5EF4-FFF2-40B4-BE49-F238E27FC236}">
                <a16:creationId xmlns:a16="http://schemas.microsoft.com/office/drawing/2014/main" id="{B6B99371-F17F-60DB-ECAD-7AF46BD43CA3}"/>
              </a:ext>
            </a:extLst>
          </p:cNvPr>
          <p:cNvCxnSpPr>
            <a:cxnSpLocks/>
          </p:cNvCxnSpPr>
          <p:nvPr/>
        </p:nvCxnSpPr>
        <p:spPr>
          <a:xfrm>
            <a:off x="8387421" y="2621898"/>
            <a:ext cx="0" cy="432000"/>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62" name="Right Bracket 161">
            <a:extLst>
              <a:ext uri="{FF2B5EF4-FFF2-40B4-BE49-F238E27FC236}">
                <a16:creationId xmlns:a16="http://schemas.microsoft.com/office/drawing/2014/main" id="{17929C7C-FC89-4B4A-6163-EB53F4130E42}"/>
              </a:ext>
            </a:extLst>
          </p:cNvPr>
          <p:cNvSpPr/>
          <p:nvPr/>
        </p:nvSpPr>
        <p:spPr>
          <a:xfrm rot="16200000">
            <a:off x="8152988" y="2457855"/>
            <a:ext cx="66525" cy="402340"/>
          </a:xfrm>
          <a:prstGeom prst="rightBracket">
            <a:avLst>
              <a:gd name="adj" fmla="val 0"/>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63" name="Connector: Elbow 162">
            <a:extLst>
              <a:ext uri="{FF2B5EF4-FFF2-40B4-BE49-F238E27FC236}">
                <a16:creationId xmlns:a16="http://schemas.microsoft.com/office/drawing/2014/main" id="{8327E302-7B3A-D6BE-E3D4-CE116BCEB7F4}"/>
              </a:ext>
            </a:extLst>
          </p:cNvPr>
          <p:cNvCxnSpPr>
            <a:cxnSpLocks/>
          </p:cNvCxnSpPr>
          <p:nvPr/>
        </p:nvCxnSpPr>
        <p:spPr>
          <a:xfrm rot="16200000" flipH="1">
            <a:off x="9359458" y="2058910"/>
            <a:ext cx="424520" cy="360000"/>
          </a:xfrm>
          <a:prstGeom prst="bentConnector3">
            <a:avLst>
              <a:gd name="adj1" fmla="val -13385"/>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724EEB89-13FA-0870-7D7C-829F6C9BAE96}"/>
              </a:ext>
            </a:extLst>
          </p:cNvPr>
          <p:cNvSpPr txBox="1"/>
          <p:nvPr/>
        </p:nvSpPr>
        <p:spPr>
          <a:xfrm>
            <a:off x="8814935" y="1711194"/>
            <a:ext cx="1513565" cy="253916"/>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72; p=0.132*</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5" name="TextBox 164">
            <a:extLst>
              <a:ext uri="{FF2B5EF4-FFF2-40B4-BE49-F238E27FC236}">
                <a16:creationId xmlns:a16="http://schemas.microsoft.com/office/drawing/2014/main" id="{F6AACC74-773A-770E-7601-03C5CFCEFF6B}"/>
              </a:ext>
            </a:extLst>
          </p:cNvPr>
          <p:cNvSpPr txBox="1"/>
          <p:nvPr/>
        </p:nvSpPr>
        <p:spPr>
          <a:xfrm>
            <a:off x="10293470" y="2221859"/>
            <a:ext cx="1350050" cy="253916"/>
          </a:xfrm>
          <a:prstGeom prst="rect">
            <a:avLst/>
          </a:prstGeom>
          <a:noFill/>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0.68; p=0.002*</a:t>
            </a:r>
            <a:endPar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69" name="Straight Connector 168">
            <a:extLst>
              <a:ext uri="{FF2B5EF4-FFF2-40B4-BE49-F238E27FC236}">
                <a16:creationId xmlns:a16="http://schemas.microsoft.com/office/drawing/2014/main" id="{AB3F39FD-0E2B-4562-622A-91FAAAE98897}"/>
              </a:ext>
            </a:extLst>
          </p:cNvPr>
          <p:cNvCxnSpPr>
            <a:cxnSpLocks/>
          </p:cNvCxnSpPr>
          <p:nvPr/>
        </p:nvCxnSpPr>
        <p:spPr>
          <a:xfrm>
            <a:off x="11158337" y="2476032"/>
            <a:ext cx="0" cy="432000"/>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70" name="Right Bracket 169">
            <a:extLst>
              <a:ext uri="{FF2B5EF4-FFF2-40B4-BE49-F238E27FC236}">
                <a16:creationId xmlns:a16="http://schemas.microsoft.com/office/drawing/2014/main" id="{B6212C3F-3D46-B5E4-E1EE-E0B1813E9139}"/>
              </a:ext>
            </a:extLst>
          </p:cNvPr>
          <p:cNvSpPr/>
          <p:nvPr/>
        </p:nvSpPr>
        <p:spPr>
          <a:xfrm rot="16200000">
            <a:off x="10923904" y="2311989"/>
            <a:ext cx="66525" cy="402340"/>
          </a:xfrm>
          <a:prstGeom prst="rightBracket">
            <a:avLst>
              <a:gd name="adj" fmla="val 0"/>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76" name="Group 175">
            <a:extLst>
              <a:ext uri="{FF2B5EF4-FFF2-40B4-BE49-F238E27FC236}">
                <a16:creationId xmlns:a16="http://schemas.microsoft.com/office/drawing/2014/main" id="{20723EE0-1CBB-F03F-8AA1-349BA3EF7212}"/>
              </a:ext>
            </a:extLst>
          </p:cNvPr>
          <p:cNvGrpSpPr/>
          <p:nvPr/>
        </p:nvGrpSpPr>
        <p:grpSpPr>
          <a:xfrm>
            <a:off x="631472" y="1410272"/>
            <a:ext cx="3085661" cy="278901"/>
            <a:chOff x="8100764" y="1359429"/>
            <a:chExt cx="3085661" cy="278901"/>
          </a:xfrm>
        </p:grpSpPr>
        <p:sp>
          <p:nvSpPr>
            <p:cNvPr id="172" name="Rectangle 171">
              <a:extLst>
                <a:ext uri="{FF2B5EF4-FFF2-40B4-BE49-F238E27FC236}">
                  <a16:creationId xmlns:a16="http://schemas.microsoft.com/office/drawing/2014/main" id="{87FC4E75-D745-F904-9DD5-0EC75186EB54}"/>
                </a:ext>
              </a:extLst>
            </p:cNvPr>
            <p:cNvSpPr/>
            <p:nvPr/>
          </p:nvSpPr>
          <p:spPr>
            <a:xfrm>
              <a:off x="8100764" y="1440380"/>
              <a:ext cx="108000" cy="108000"/>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3" name="Rectangle 172">
              <a:extLst>
                <a:ext uri="{FF2B5EF4-FFF2-40B4-BE49-F238E27FC236}">
                  <a16:creationId xmlns:a16="http://schemas.microsoft.com/office/drawing/2014/main" id="{F1FC3236-7EEE-D9F7-F6D1-FE162E610975}"/>
                </a:ext>
              </a:extLst>
            </p:cNvPr>
            <p:cNvSpPr/>
            <p:nvPr/>
          </p:nvSpPr>
          <p:spPr>
            <a:xfrm>
              <a:off x="10115744" y="1442282"/>
              <a:ext cx="108000" cy="108000"/>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4" name="TextBox 173">
              <a:extLst>
                <a:ext uri="{FF2B5EF4-FFF2-40B4-BE49-F238E27FC236}">
                  <a16:creationId xmlns:a16="http://schemas.microsoft.com/office/drawing/2014/main" id="{59FE032E-7CEE-6652-6BF6-06B468C2AE9B}"/>
                </a:ext>
              </a:extLst>
            </p:cNvPr>
            <p:cNvSpPr txBox="1"/>
            <p:nvPr/>
          </p:nvSpPr>
          <p:spPr>
            <a:xfrm>
              <a:off x="8301655" y="1359429"/>
              <a:ext cx="1818768" cy="276999"/>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mivantamab</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azertinib</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 name="TextBox 174">
              <a:extLst>
                <a:ext uri="{FF2B5EF4-FFF2-40B4-BE49-F238E27FC236}">
                  <a16:creationId xmlns:a16="http://schemas.microsoft.com/office/drawing/2014/main" id="{2CBC29D4-37B6-F1A7-BEAA-E626EC3E2733}"/>
                </a:ext>
              </a:extLst>
            </p:cNvPr>
            <p:cNvSpPr txBox="1"/>
            <p:nvPr/>
          </p:nvSpPr>
          <p:spPr>
            <a:xfrm>
              <a:off x="10316635" y="1361331"/>
              <a:ext cx="869790" cy="276999"/>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0" name="Rectangle: Rounded Corners 9">
            <a:extLst>
              <a:ext uri="{FF2B5EF4-FFF2-40B4-BE49-F238E27FC236}">
                <a16:creationId xmlns:a16="http://schemas.microsoft.com/office/drawing/2014/main" id="{241B91CA-1F6D-6E06-2D5E-084D3D60B591}"/>
              </a:ext>
            </a:extLst>
          </p:cNvPr>
          <p:cNvSpPr/>
          <p:nvPr/>
        </p:nvSpPr>
        <p:spPr>
          <a:xfrm>
            <a:off x="9972136" y="203659"/>
            <a:ext cx="1698075"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RIPOSA</a:t>
            </a:r>
          </a:p>
        </p:txBody>
      </p:sp>
      <p:grpSp>
        <p:nvGrpSpPr>
          <p:cNvPr id="11" name="Group 10">
            <a:extLst>
              <a:ext uri="{FF2B5EF4-FFF2-40B4-BE49-F238E27FC236}">
                <a16:creationId xmlns:a16="http://schemas.microsoft.com/office/drawing/2014/main" id="{2DA84DDC-90CA-4E00-4A4B-88CDC79D7A83}"/>
              </a:ext>
            </a:extLst>
          </p:cNvPr>
          <p:cNvGrpSpPr/>
          <p:nvPr/>
        </p:nvGrpSpPr>
        <p:grpSpPr>
          <a:xfrm>
            <a:off x="11442807" y="48345"/>
            <a:ext cx="645342" cy="645342"/>
            <a:chOff x="11442807" y="48345"/>
            <a:chExt cx="645342" cy="645342"/>
          </a:xfrm>
        </p:grpSpPr>
        <p:sp>
          <p:nvSpPr>
            <p:cNvPr id="12" name="Oval 11">
              <a:extLst>
                <a:ext uri="{FF2B5EF4-FFF2-40B4-BE49-F238E27FC236}">
                  <a16:creationId xmlns:a16="http://schemas.microsoft.com/office/drawing/2014/main" id="{753B96D5-7BF9-8632-9921-6A031F4277EB}"/>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13" name="Graphic 12" descr="Signal outline">
              <a:extLst>
                <a:ext uri="{FF2B5EF4-FFF2-40B4-BE49-F238E27FC236}">
                  <a16:creationId xmlns:a16="http://schemas.microsoft.com/office/drawing/2014/main" id="{A075EC10-3B89-26D0-18F2-88F0E4D46AB2}"/>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1492045" y="96048"/>
              <a:ext cx="506740" cy="506740"/>
            </a:xfrm>
            <a:prstGeom prst="rect">
              <a:avLst/>
            </a:prstGeom>
          </p:spPr>
        </p:pic>
      </p:grpSp>
    </p:spTree>
    <p:extLst>
      <p:ext uri="{BB962C8B-B14F-4D97-AF65-F5344CB8AC3E}">
        <p14:creationId xmlns:p14="http://schemas.microsoft.com/office/powerpoint/2010/main" val="7572464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04595-D4EB-C885-9AA4-BEAE743CCB88}"/>
            </a:ext>
          </a:extLst>
        </p:cNvPr>
        <p:cNvGrpSpPr/>
        <p:nvPr/>
      </p:nvGrpSpPr>
      <p:grpSpPr>
        <a:xfrm>
          <a:off x="0" y="0"/>
          <a:ext cx="0" cy="0"/>
          <a:chOff x="0" y="0"/>
          <a:chExt cx="0" cy="0"/>
        </a:xfrm>
      </p:grpSpPr>
      <p:grpSp>
        <p:nvGrpSpPr>
          <p:cNvPr id="14" name="Group 13">
            <a:extLst>
              <a:ext uri="{FF2B5EF4-FFF2-40B4-BE49-F238E27FC236}">
                <a16:creationId xmlns:a16="http://schemas.microsoft.com/office/drawing/2014/main" id="{5AEA3687-CA48-A86E-D824-B4E850ADEE9F}"/>
              </a:ext>
            </a:extLst>
          </p:cNvPr>
          <p:cNvGrpSpPr/>
          <p:nvPr/>
        </p:nvGrpSpPr>
        <p:grpSpPr>
          <a:xfrm>
            <a:off x="0" y="5412822"/>
            <a:ext cx="11758906" cy="1026586"/>
            <a:chOff x="-1" y="5183761"/>
            <a:chExt cx="11758906" cy="1026586"/>
          </a:xfrm>
        </p:grpSpPr>
        <p:sp>
          <p:nvSpPr>
            <p:cNvPr id="15" name="Rectangle 14">
              <a:extLst>
                <a:ext uri="{FF2B5EF4-FFF2-40B4-BE49-F238E27FC236}">
                  <a16:creationId xmlns:a16="http://schemas.microsoft.com/office/drawing/2014/main" id="{1137653E-FA39-43E3-3D0C-16ABFF54FC8C}"/>
                </a:ext>
              </a:extLst>
            </p:cNvPr>
            <p:cNvSpPr/>
            <p:nvPr/>
          </p:nvSpPr>
          <p:spPr>
            <a:xfrm>
              <a:off x="296883" y="5325052"/>
              <a:ext cx="11462022" cy="720000"/>
            </a:xfrm>
            <a:prstGeom prst="rect">
              <a:avLst/>
            </a:prstGeom>
            <a:gradFill flip="none" rotWithShape="1">
              <a:gsLst>
                <a:gs pos="8000">
                  <a:schemeClr val="bg1"/>
                </a:gs>
                <a:gs pos="0">
                  <a:schemeClr val="accent1"/>
                </a:gs>
                <a:gs pos="90000">
                  <a:schemeClr val="bg1"/>
                </a:gs>
                <a:gs pos="99000">
                  <a:schemeClr val="accent1"/>
                </a:gs>
              </a:gsLst>
              <a:lin ang="0" scaled="1"/>
              <a:tileRect/>
            </a:gra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6" name="Group 15">
              <a:extLst>
                <a:ext uri="{FF2B5EF4-FFF2-40B4-BE49-F238E27FC236}">
                  <a16:creationId xmlns:a16="http://schemas.microsoft.com/office/drawing/2014/main" id="{85DE7912-15E4-32DC-200F-49562965D4C9}"/>
                </a:ext>
              </a:extLst>
            </p:cNvPr>
            <p:cNvGrpSpPr/>
            <p:nvPr/>
          </p:nvGrpSpPr>
          <p:grpSpPr>
            <a:xfrm>
              <a:off x="-1" y="5183761"/>
              <a:ext cx="425473" cy="1026586"/>
              <a:chOff x="0" y="5282896"/>
              <a:chExt cx="436762" cy="1241728"/>
            </a:xfrm>
          </p:grpSpPr>
          <p:sp>
            <p:nvSpPr>
              <p:cNvPr id="960" name="Freeform 14">
                <a:extLst>
                  <a:ext uri="{FF2B5EF4-FFF2-40B4-BE49-F238E27FC236}">
                    <a16:creationId xmlns:a16="http://schemas.microsoft.com/office/drawing/2014/main" id="{7BDEF3CB-FAF4-3515-441B-B6E1DF119114}"/>
                  </a:ext>
                </a:extLst>
              </p:cNvPr>
              <p:cNvSpPr>
                <a:spLocks/>
              </p:cNvSpPr>
              <p:nvPr/>
            </p:nvSpPr>
            <p:spPr bwMode="auto">
              <a:xfrm>
                <a:off x="17982" y="5313808"/>
                <a:ext cx="393085" cy="1197236"/>
              </a:xfrm>
              <a:custGeom>
                <a:avLst/>
                <a:gdLst>
                  <a:gd name="T0" fmla="*/ 153 w 153"/>
                  <a:gd name="T1" fmla="*/ 0 h 1032"/>
                  <a:gd name="T2" fmla="*/ 150 w 153"/>
                  <a:gd name="T3" fmla="*/ 1032 h 1032"/>
                  <a:gd name="T4" fmla="*/ 0 w 153"/>
                  <a:gd name="T5" fmla="*/ 1032 h 1032"/>
                  <a:gd name="T6" fmla="*/ 0 w 153"/>
                  <a:gd name="T7" fmla="*/ 0 h 1032"/>
                  <a:gd name="T8" fmla="*/ 153 w 153"/>
                  <a:gd name="T9" fmla="*/ 0 h 1032"/>
                </a:gdLst>
                <a:ahLst/>
                <a:cxnLst>
                  <a:cxn ang="0">
                    <a:pos x="T0" y="T1"/>
                  </a:cxn>
                  <a:cxn ang="0">
                    <a:pos x="T2" y="T3"/>
                  </a:cxn>
                  <a:cxn ang="0">
                    <a:pos x="T4" y="T5"/>
                  </a:cxn>
                  <a:cxn ang="0">
                    <a:pos x="T6" y="T7"/>
                  </a:cxn>
                  <a:cxn ang="0">
                    <a:pos x="T8" y="T9"/>
                  </a:cxn>
                </a:cxnLst>
                <a:rect l="0" t="0" r="r" b="b"/>
                <a:pathLst>
                  <a:path w="153" h="1032">
                    <a:moveTo>
                      <a:pt x="153" y="0"/>
                    </a:moveTo>
                    <a:lnTo>
                      <a:pt x="150" y="1032"/>
                    </a:lnTo>
                    <a:lnTo>
                      <a:pt x="0" y="1032"/>
                    </a:lnTo>
                    <a:lnTo>
                      <a:pt x="0" y="0"/>
                    </a:lnTo>
                    <a:lnTo>
                      <a:pt x="153" y="0"/>
                    </a:lnTo>
                    <a:close/>
                  </a:path>
                </a:pathLst>
              </a:custGeom>
              <a:gradFill flip="none" rotWithShape="1">
                <a:gsLst>
                  <a:gs pos="0">
                    <a:sysClr val="window" lastClr="FFFFFF">
                      <a:alpha val="0"/>
                    </a:sysClr>
                  </a:gs>
                  <a:gs pos="50000">
                    <a:sysClr val="window" lastClr="FFFFFF"/>
                  </a:gs>
                  <a:gs pos="100000">
                    <a:sysClr val="window" lastClr="FFFFFF">
                      <a:alpha val="0"/>
                    </a:sysClr>
                  </a:gs>
                </a:gsLst>
                <a:lin ang="5400000" scaled="0"/>
                <a:tileRect/>
              </a:gradFill>
              <a:ln w="12700" cap="flat" cmpd="sng" algn="ctr">
                <a:noFill/>
                <a:prstDash val="solid"/>
                <a:miter lim="800000"/>
              </a:ln>
              <a:effectLst>
                <a:outerShdw blurRad="101600" dist="88900" sx="95000" sy="95000" algn="tl" rotWithShape="0">
                  <a:prstClr val="black">
                    <a:alpha val="5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61" name="Rectangle 960">
                <a:extLst>
                  <a:ext uri="{FF2B5EF4-FFF2-40B4-BE49-F238E27FC236}">
                    <a16:creationId xmlns:a16="http://schemas.microsoft.com/office/drawing/2014/main" id="{206BD651-EC78-8993-CA76-2F2A74DA56A3}"/>
                  </a:ext>
                </a:extLst>
              </p:cNvPr>
              <p:cNvSpPr/>
              <p:nvPr/>
            </p:nvSpPr>
            <p:spPr>
              <a:xfrm>
                <a:off x="0" y="5282896"/>
                <a:ext cx="436762" cy="1241728"/>
              </a:xfrm>
              <a:prstGeom prst="rect">
                <a:avLst/>
              </a:prstGeom>
              <a:solidFill>
                <a:srgbClr val="F6F5F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17" name="Picture 2" descr="Data Icon 2500462">
              <a:extLst>
                <a:ext uri="{FF2B5EF4-FFF2-40B4-BE49-F238E27FC236}">
                  <a16:creationId xmlns:a16="http://schemas.microsoft.com/office/drawing/2014/main" id="{B3AA3AAE-9D7C-50AF-9976-AA2D2EE890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3757" y="5239419"/>
              <a:ext cx="891266" cy="891266"/>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DD332ED7-8224-9198-0130-F3AE0E2DA135}"/>
                </a:ext>
              </a:extLst>
            </p:cNvPr>
            <p:cNvSpPr txBox="1"/>
            <p:nvPr/>
          </p:nvSpPr>
          <p:spPr>
            <a:xfrm>
              <a:off x="1212962" y="5368791"/>
              <a:ext cx="936250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 was significantly longer with 1L amivantamab + lazertinib vs osimertinib, and </a:t>
              </a:r>
              <a:b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curves continue to widen over time</a:t>
              </a:r>
              <a:endPar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005" name="Rectangle 1004">
            <a:extLst>
              <a:ext uri="{FF2B5EF4-FFF2-40B4-BE49-F238E27FC236}">
                <a16:creationId xmlns:a16="http://schemas.microsoft.com/office/drawing/2014/main" id="{4465723A-9936-6562-753B-59C85F409C16}"/>
              </a:ext>
            </a:extLst>
          </p:cNvPr>
          <p:cNvSpPr/>
          <p:nvPr/>
        </p:nvSpPr>
        <p:spPr>
          <a:xfrm>
            <a:off x="435210" y="964357"/>
            <a:ext cx="11323699" cy="4464000"/>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56779DDD-1587-CB00-0F4B-C8DD36523B11}"/>
              </a:ext>
            </a:extLst>
          </p:cNvPr>
          <p:cNvSpPr>
            <a:spLocks noGrp="1"/>
          </p:cNvSpPr>
          <p:nvPr>
            <p:ph type="title"/>
          </p:nvPr>
        </p:nvSpPr>
        <p:spPr/>
        <p:txBody>
          <a:bodyPr/>
          <a:lstStyle/>
          <a:p>
            <a:r>
              <a:rPr lang="en-GB" noProof="0" dirty="0"/>
              <a:t>Amivantamab + lazertinib: Overall </a:t>
            </a:r>
            <a:r>
              <a:rPr lang="en-GB" dirty="0"/>
              <a:t>survival</a:t>
            </a:r>
            <a:r>
              <a:rPr lang="en-GB" baseline="30000" noProof="0" dirty="0"/>
              <a:t>1,2</a:t>
            </a:r>
          </a:p>
        </p:txBody>
      </p:sp>
      <p:sp>
        <p:nvSpPr>
          <p:cNvPr id="5" name="Text Placeholder 4">
            <a:extLst>
              <a:ext uri="{FF2B5EF4-FFF2-40B4-BE49-F238E27FC236}">
                <a16:creationId xmlns:a16="http://schemas.microsoft.com/office/drawing/2014/main" id="{03A2A9BB-5FDE-43FF-E395-799CB476FAE2}"/>
              </a:ext>
            </a:extLst>
          </p:cNvPr>
          <p:cNvSpPr>
            <a:spLocks noGrp="1"/>
          </p:cNvSpPr>
          <p:nvPr>
            <p:ph type="body" sz="quarter" idx="15"/>
          </p:nvPr>
        </p:nvSpPr>
        <p:spPr>
          <a:xfrm>
            <a:off x="442912" y="6524625"/>
            <a:ext cx="2518727" cy="230832"/>
          </a:xfrm>
        </p:spPr>
        <p:txBody>
          <a:bodyPr/>
          <a:lstStyle/>
          <a:p>
            <a:r>
              <a:rPr lang="en-GB" noProof="0" dirty="0"/>
              <a:t>1. Yang JCH, et al. Presented at ELCC 2025: 4O; </a:t>
            </a:r>
            <a:br>
              <a:rPr lang="en-GB" noProof="0" dirty="0"/>
            </a:br>
            <a:r>
              <a:rPr lang="en-GB" noProof="0" dirty="0"/>
              <a:t>2. Yang JCH, et al. </a:t>
            </a:r>
            <a:r>
              <a:rPr lang="en-GB" i="1" noProof="0" dirty="0"/>
              <a:t>N Engl J Med</a:t>
            </a:r>
            <a:r>
              <a:rPr lang="en-GB" noProof="0" dirty="0"/>
              <a:t>. 2025 (</a:t>
            </a:r>
            <a:r>
              <a:rPr lang="en-GB" noProof="0" dirty="0" err="1"/>
              <a:t>Epu</a:t>
            </a:r>
            <a:r>
              <a:rPr lang="en-GB" dirty="0"/>
              <a:t>b ahead of print)</a:t>
            </a:r>
            <a:r>
              <a:rPr lang="en-GB" noProof="0" dirty="0"/>
              <a:t>.</a:t>
            </a:r>
          </a:p>
        </p:txBody>
      </p:sp>
      <p:sp>
        <p:nvSpPr>
          <p:cNvPr id="12" name="TextBox 11">
            <a:extLst>
              <a:ext uri="{FF2B5EF4-FFF2-40B4-BE49-F238E27FC236}">
                <a16:creationId xmlns:a16="http://schemas.microsoft.com/office/drawing/2014/main" id="{A9677338-9075-AD41-2F2C-111A3870B374}"/>
              </a:ext>
            </a:extLst>
          </p:cNvPr>
          <p:cNvSpPr txBox="1"/>
          <p:nvPr/>
        </p:nvSpPr>
        <p:spPr>
          <a:xfrm>
            <a:off x="435210" y="964357"/>
            <a:ext cx="11323696" cy="355276"/>
          </a:xfrm>
          <a:prstGeom prst="rect">
            <a:avLst/>
          </a:prstGeom>
          <a:gradFill>
            <a:gsLst>
              <a:gs pos="0">
                <a:schemeClr val="accent6"/>
              </a:gs>
              <a:gs pos="100000">
                <a:schemeClr val="accent6"/>
              </a:gs>
              <a:gs pos="93000">
                <a:schemeClr val="accent5">
                  <a:lumMod val="50000"/>
                </a:schemeClr>
              </a:gs>
              <a:gs pos="7000">
                <a:schemeClr val="accent5">
                  <a:lumMod val="50000"/>
                </a:schemeClr>
              </a:gs>
            </a:gsLst>
            <a:lin ang="0" scaled="1"/>
          </a:gradFill>
        </p:spPr>
        <p:txBody>
          <a:bodyPr wrap="square" lIns="108000" tIns="54000" rIns="108000" bIns="5400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tocol-specified final OS</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graphicFrame>
        <p:nvGraphicFramePr>
          <p:cNvPr id="962" name="Chart 961">
            <a:extLst>
              <a:ext uri="{FF2B5EF4-FFF2-40B4-BE49-F238E27FC236}">
                <a16:creationId xmlns:a16="http://schemas.microsoft.com/office/drawing/2014/main" id="{995B5A70-0EBD-61C1-47F7-3A30020334D1}"/>
              </a:ext>
            </a:extLst>
          </p:cNvPr>
          <p:cNvGraphicFramePr/>
          <p:nvPr/>
        </p:nvGraphicFramePr>
        <p:xfrm>
          <a:off x="592789" y="1240215"/>
          <a:ext cx="7053089" cy="3848056"/>
        </p:xfrm>
        <a:graphic>
          <a:graphicData uri="http://schemas.openxmlformats.org/drawingml/2006/chart">
            <c:chart xmlns:c="http://schemas.openxmlformats.org/drawingml/2006/chart" xmlns:r="http://schemas.openxmlformats.org/officeDocument/2006/relationships" r:id="rId3"/>
          </a:graphicData>
        </a:graphic>
      </p:graphicFrame>
      <p:sp>
        <p:nvSpPr>
          <p:cNvPr id="963" name="Graphic 608">
            <a:extLst>
              <a:ext uri="{FF2B5EF4-FFF2-40B4-BE49-F238E27FC236}">
                <a16:creationId xmlns:a16="http://schemas.microsoft.com/office/drawing/2014/main" id="{53232E47-B7A0-3349-38FF-43988A321D87}"/>
              </a:ext>
            </a:extLst>
          </p:cNvPr>
          <p:cNvSpPr/>
          <p:nvPr/>
        </p:nvSpPr>
        <p:spPr>
          <a:xfrm>
            <a:off x="1166270" y="1474169"/>
            <a:ext cx="5911359" cy="1813972"/>
          </a:xfrm>
          <a:custGeom>
            <a:avLst/>
            <a:gdLst>
              <a:gd name="connsiteX0" fmla="*/ 0 w 3774376"/>
              <a:gd name="connsiteY0" fmla="*/ 0 h 1334166"/>
              <a:gd name="connsiteX1" fmla="*/ 63341 w 3774376"/>
              <a:gd name="connsiteY1" fmla="*/ 21812 h 1334166"/>
              <a:gd name="connsiteX2" fmla="*/ 128873 w 3774376"/>
              <a:gd name="connsiteY2" fmla="*/ 39243 h 1334166"/>
              <a:gd name="connsiteX3" fmla="*/ 174784 w 3774376"/>
              <a:gd name="connsiteY3" fmla="*/ 69818 h 1334166"/>
              <a:gd name="connsiteX4" fmla="*/ 264319 w 3774376"/>
              <a:gd name="connsiteY4" fmla="*/ 69818 h 1334166"/>
              <a:gd name="connsiteX5" fmla="*/ 290513 w 3774376"/>
              <a:gd name="connsiteY5" fmla="*/ 89440 h 1334166"/>
              <a:gd name="connsiteX6" fmla="*/ 417195 w 3774376"/>
              <a:gd name="connsiteY6" fmla="*/ 98203 h 1334166"/>
              <a:gd name="connsiteX7" fmla="*/ 428149 w 3774376"/>
              <a:gd name="connsiteY7" fmla="*/ 120015 h 1334166"/>
              <a:gd name="connsiteX8" fmla="*/ 535210 w 3774376"/>
              <a:gd name="connsiteY8" fmla="*/ 120015 h 1334166"/>
              <a:gd name="connsiteX9" fmla="*/ 535210 w 3774376"/>
              <a:gd name="connsiteY9" fmla="*/ 141827 h 1334166"/>
              <a:gd name="connsiteX10" fmla="*/ 622554 w 3774376"/>
              <a:gd name="connsiteY10" fmla="*/ 130874 h 1334166"/>
              <a:gd name="connsiteX11" fmla="*/ 622554 w 3774376"/>
              <a:gd name="connsiteY11" fmla="*/ 165830 h 1334166"/>
              <a:gd name="connsiteX12" fmla="*/ 753618 w 3774376"/>
              <a:gd name="connsiteY12" fmla="*/ 165830 h 1334166"/>
              <a:gd name="connsiteX13" fmla="*/ 753618 w 3774376"/>
              <a:gd name="connsiteY13" fmla="*/ 189833 h 1334166"/>
              <a:gd name="connsiteX14" fmla="*/ 801624 w 3774376"/>
              <a:gd name="connsiteY14" fmla="*/ 189833 h 1334166"/>
              <a:gd name="connsiteX15" fmla="*/ 801624 w 3774376"/>
              <a:gd name="connsiteY15" fmla="*/ 220409 h 1334166"/>
              <a:gd name="connsiteX16" fmla="*/ 934879 w 3774376"/>
              <a:gd name="connsiteY16" fmla="*/ 233553 h 1334166"/>
              <a:gd name="connsiteX17" fmla="*/ 934879 w 3774376"/>
              <a:gd name="connsiteY17" fmla="*/ 253175 h 1334166"/>
              <a:gd name="connsiteX18" fmla="*/ 1085564 w 3774376"/>
              <a:gd name="connsiteY18" fmla="*/ 264128 h 1334166"/>
              <a:gd name="connsiteX19" fmla="*/ 1085564 w 3774376"/>
              <a:gd name="connsiteY19" fmla="*/ 296894 h 1334166"/>
              <a:gd name="connsiteX20" fmla="*/ 1212247 w 3774376"/>
              <a:gd name="connsiteY20" fmla="*/ 296894 h 1334166"/>
              <a:gd name="connsiteX21" fmla="*/ 1223201 w 3774376"/>
              <a:gd name="connsiteY21" fmla="*/ 314325 h 1334166"/>
              <a:gd name="connsiteX22" fmla="*/ 1264730 w 3774376"/>
              <a:gd name="connsiteY22" fmla="*/ 331756 h 1334166"/>
              <a:gd name="connsiteX23" fmla="*/ 1275683 w 3774376"/>
              <a:gd name="connsiteY23" fmla="*/ 357950 h 1334166"/>
              <a:gd name="connsiteX24" fmla="*/ 1312831 w 3774376"/>
              <a:gd name="connsiteY24" fmla="*/ 357950 h 1334166"/>
              <a:gd name="connsiteX25" fmla="*/ 1312831 w 3774376"/>
              <a:gd name="connsiteY25" fmla="*/ 381953 h 1334166"/>
              <a:gd name="connsiteX26" fmla="*/ 1367409 w 3774376"/>
              <a:gd name="connsiteY26" fmla="*/ 405956 h 1334166"/>
              <a:gd name="connsiteX27" fmla="*/ 1439513 w 3774376"/>
              <a:gd name="connsiteY27" fmla="*/ 405956 h 1334166"/>
              <a:gd name="connsiteX28" fmla="*/ 1487519 w 3774376"/>
              <a:gd name="connsiteY28" fmla="*/ 421291 h 1334166"/>
              <a:gd name="connsiteX29" fmla="*/ 1500664 w 3774376"/>
              <a:gd name="connsiteY29" fmla="*/ 432245 h 1334166"/>
              <a:gd name="connsiteX30" fmla="*/ 1540002 w 3774376"/>
              <a:gd name="connsiteY30" fmla="*/ 432245 h 1334166"/>
              <a:gd name="connsiteX31" fmla="*/ 1581531 w 3774376"/>
              <a:gd name="connsiteY31" fmla="*/ 443198 h 1334166"/>
              <a:gd name="connsiteX32" fmla="*/ 1612106 w 3774376"/>
              <a:gd name="connsiteY32" fmla="*/ 458534 h 1334166"/>
              <a:gd name="connsiteX33" fmla="*/ 1658017 w 3774376"/>
              <a:gd name="connsiteY33" fmla="*/ 475964 h 1334166"/>
              <a:gd name="connsiteX34" fmla="*/ 1699546 w 3774376"/>
              <a:gd name="connsiteY34" fmla="*/ 475964 h 1334166"/>
              <a:gd name="connsiteX35" fmla="*/ 1732312 w 3774376"/>
              <a:gd name="connsiteY35" fmla="*/ 489109 h 1334166"/>
              <a:gd name="connsiteX36" fmla="*/ 1786890 w 3774376"/>
              <a:gd name="connsiteY36" fmla="*/ 508730 h 1334166"/>
              <a:gd name="connsiteX37" fmla="*/ 1845850 w 3774376"/>
              <a:gd name="connsiteY37" fmla="*/ 532733 h 1334166"/>
              <a:gd name="connsiteX38" fmla="*/ 1948529 w 3774376"/>
              <a:gd name="connsiteY38" fmla="*/ 576453 h 1334166"/>
              <a:gd name="connsiteX39" fmla="*/ 2020634 w 3774376"/>
              <a:gd name="connsiteY39" fmla="*/ 626650 h 1334166"/>
              <a:gd name="connsiteX40" fmla="*/ 2123313 w 3774376"/>
              <a:gd name="connsiteY40" fmla="*/ 683419 h 1334166"/>
              <a:gd name="connsiteX41" fmla="*/ 2215039 w 3774376"/>
              <a:gd name="connsiteY41" fmla="*/ 683419 h 1334166"/>
              <a:gd name="connsiteX42" fmla="*/ 2239042 w 3774376"/>
              <a:gd name="connsiteY42" fmla="*/ 705231 h 1334166"/>
              <a:gd name="connsiteX43" fmla="*/ 2308955 w 3774376"/>
              <a:gd name="connsiteY43" fmla="*/ 705231 h 1334166"/>
              <a:gd name="connsiteX44" fmla="*/ 2324291 w 3774376"/>
              <a:gd name="connsiteY44" fmla="*/ 729234 h 1334166"/>
              <a:gd name="connsiteX45" fmla="*/ 2444401 w 3774376"/>
              <a:gd name="connsiteY45" fmla="*/ 729234 h 1334166"/>
              <a:gd name="connsiteX46" fmla="*/ 2464022 w 3774376"/>
              <a:gd name="connsiteY46" fmla="*/ 772954 h 1334166"/>
              <a:gd name="connsiteX47" fmla="*/ 2485835 w 3774376"/>
              <a:gd name="connsiteY47" fmla="*/ 790385 h 1334166"/>
              <a:gd name="connsiteX48" fmla="*/ 2533841 w 3774376"/>
              <a:gd name="connsiteY48" fmla="*/ 790385 h 1334166"/>
              <a:gd name="connsiteX49" fmla="*/ 2566607 w 3774376"/>
              <a:gd name="connsiteY49" fmla="*/ 803529 h 1334166"/>
              <a:gd name="connsiteX50" fmla="*/ 2588419 w 3774376"/>
              <a:gd name="connsiteY50" fmla="*/ 820960 h 1334166"/>
              <a:gd name="connsiteX51" fmla="*/ 2664905 w 3774376"/>
              <a:gd name="connsiteY51" fmla="*/ 842772 h 1334166"/>
              <a:gd name="connsiteX52" fmla="*/ 2717292 w 3774376"/>
              <a:gd name="connsiteY52" fmla="*/ 853726 h 1334166"/>
              <a:gd name="connsiteX53" fmla="*/ 2756630 w 3774376"/>
              <a:gd name="connsiteY53" fmla="*/ 866870 h 1334166"/>
              <a:gd name="connsiteX54" fmla="*/ 2826544 w 3774376"/>
              <a:gd name="connsiteY54" fmla="*/ 888683 h 1334166"/>
              <a:gd name="connsiteX55" fmla="*/ 2907316 w 3774376"/>
              <a:gd name="connsiteY55" fmla="*/ 888683 h 1334166"/>
              <a:gd name="connsiteX56" fmla="*/ 2981611 w 3774376"/>
              <a:gd name="connsiteY56" fmla="*/ 919258 h 1334166"/>
              <a:gd name="connsiteX57" fmla="*/ 3042761 w 3774376"/>
              <a:gd name="connsiteY57" fmla="*/ 919258 h 1334166"/>
              <a:gd name="connsiteX58" fmla="*/ 3143250 w 3774376"/>
              <a:gd name="connsiteY58" fmla="*/ 936688 h 1334166"/>
              <a:gd name="connsiteX59" fmla="*/ 3234976 w 3774376"/>
              <a:gd name="connsiteY59" fmla="*/ 947642 h 1334166"/>
              <a:gd name="connsiteX60" fmla="*/ 3285173 w 3774376"/>
              <a:gd name="connsiteY60" fmla="*/ 967264 h 1334166"/>
              <a:gd name="connsiteX61" fmla="*/ 3361658 w 3774376"/>
              <a:gd name="connsiteY61" fmla="*/ 967264 h 1334166"/>
              <a:gd name="connsiteX62" fmla="*/ 3385661 w 3774376"/>
              <a:gd name="connsiteY62" fmla="*/ 993458 h 1334166"/>
              <a:gd name="connsiteX63" fmla="*/ 3407474 w 3774376"/>
              <a:gd name="connsiteY63" fmla="*/ 993458 h 1334166"/>
              <a:gd name="connsiteX64" fmla="*/ 3424904 w 3774376"/>
              <a:gd name="connsiteY64" fmla="*/ 1037177 h 1334166"/>
              <a:gd name="connsiteX65" fmla="*/ 3774377 w 3774376"/>
              <a:gd name="connsiteY65" fmla="*/ 1037177 h 1334166"/>
              <a:gd name="connsiteX66" fmla="*/ 3756946 w 3774376"/>
              <a:gd name="connsiteY66" fmla="*/ 1334167 h 1334166"/>
              <a:gd name="connsiteX67" fmla="*/ 3555968 w 3774376"/>
              <a:gd name="connsiteY67" fmla="*/ 1334167 h 1334166"/>
              <a:gd name="connsiteX68" fmla="*/ 3542824 w 3774376"/>
              <a:gd name="connsiteY68" fmla="*/ 1259872 h 1334166"/>
              <a:gd name="connsiteX69" fmla="*/ 3341846 w 3774376"/>
              <a:gd name="connsiteY69" fmla="*/ 1266444 h 1334166"/>
              <a:gd name="connsiteX70" fmla="*/ 3326511 w 3774376"/>
              <a:gd name="connsiteY70" fmla="*/ 1224915 h 1334166"/>
              <a:gd name="connsiteX71" fmla="*/ 3226022 w 3774376"/>
              <a:gd name="connsiteY71" fmla="*/ 1233678 h 1334166"/>
              <a:gd name="connsiteX72" fmla="*/ 3215069 w 3774376"/>
              <a:gd name="connsiteY72" fmla="*/ 1204722 h 1334166"/>
              <a:gd name="connsiteX73" fmla="*/ 3127724 w 3774376"/>
              <a:gd name="connsiteY73" fmla="*/ 1204722 h 1334166"/>
              <a:gd name="connsiteX74" fmla="*/ 3123343 w 3774376"/>
              <a:gd name="connsiteY74" fmla="*/ 1179100 h 1334166"/>
              <a:gd name="connsiteX75" fmla="*/ 3049048 w 3774376"/>
              <a:gd name="connsiteY75" fmla="*/ 1179100 h 1334166"/>
              <a:gd name="connsiteX76" fmla="*/ 3046857 w 3774376"/>
              <a:gd name="connsiteY76" fmla="*/ 1161669 h 1334166"/>
              <a:gd name="connsiteX77" fmla="*/ 2983516 w 3774376"/>
              <a:gd name="connsiteY77" fmla="*/ 1148525 h 1334166"/>
              <a:gd name="connsiteX78" fmla="*/ 2939796 w 3774376"/>
              <a:gd name="connsiteY78" fmla="*/ 1139762 h 1334166"/>
              <a:gd name="connsiteX79" fmla="*/ 2893886 w 3774376"/>
              <a:gd name="connsiteY79" fmla="*/ 1113568 h 1334166"/>
              <a:gd name="connsiteX80" fmla="*/ 2867692 w 3774376"/>
              <a:gd name="connsiteY80" fmla="*/ 1100423 h 1334166"/>
              <a:gd name="connsiteX81" fmla="*/ 2828354 w 3774376"/>
              <a:gd name="connsiteY81" fmla="*/ 1091660 h 1334166"/>
              <a:gd name="connsiteX82" fmla="*/ 2793397 w 3774376"/>
              <a:gd name="connsiteY82" fmla="*/ 1078516 h 1334166"/>
              <a:gd name="connsiteX83" fmla="*/ 2738819 w 3774376"/>
              <a:gd name="connsiteY83" fmla="*/ 1021747 h 1334166"/>
              <a:gd name="connsiteX84" fmla="*/ 2679859 w 3774376"/>
              <a:gd name="connsiteY84" fmla="*/ 1006412 h 1334166"/>
              <a:gd name="connsiteX85" fmla="*/ 2625281 w 3774376"/>
              <a:gd name="connsiteY85" fmla="*/ 997649 h 1334166"/>
              <a:gd name="connsiteX86" fmla="*/ 2553176 w 3774376"/>
              <a:gd name="connsiteY86" fmla="*/ 986695 h 1334166"/>
              <a:gd name="connsiteX87" fmla="*/ 2387156 w 3774376"/>
              <a:gd name="connsiteY87" fmla="*/ 897160 h 1334166"/>
              <a:gd name="connsiteX88" fmla="*/ 2275808 w 3774376"/>
              <a:gd name="connsiteY88" fmla="*/ 853440 h 1334166"/>
              <a:gd name="connsiteX89" fmla="*/ 2258378 w 3774376"/>
              <a:gd name="connsiteY89" fmla="*/ 825056 h 1334166"/>
              <a:gd name="connsiteX90" fmla="*/ 2155698 w 3774376"/>
              <a:gd name="connsiteY90" fmla="*/ 816293 h 1334166"/>
              <a:gd name="connsiteX91" fmla="*/ 2042160 w 3774376"/>
              <a:gd name="connsiteY91" fmla="*/ 741998 h 1334166"/>
              <a:gd name="connsiteX92" fmla="*/ 1989773 w 3774376"/>
              <a:gd name="connsiteY92" fmla="*/ 741998 h 1334166"/>
              <a:gd name="connsiteX93" fmla="*/ 1860899 w 3774376"/>
              <a:gd name="connsiteY93" fmla="*/ 666655 h 1334166"/>
              <a:gd name="connsiteX94" fmla="*/ 1830324 w 3774376"/>
              <a:gd name="connsiteY94" fmla="*/ 656844 h 1334166"/>
              <a:gd name="connsiteX95" fmla="*/ 1793177 w 3774376"/>
              <a:gd name="connsiteY95" fmla="*/ 656844 h 1334166"/>
              <a:gd name="connsiteX96" fmla="*/ 1727645 w 3774376"/>
              <a:gd name="connsiteY96" fmla="*/ 600075 h 1334166"/>
              <a:gd name="connsiteX97" fmla="*/ 1651159 w 3774376"/>
              <a:gd name="connsiteY97" fmla="*/ 589121 h 1334166"/>
              <a:gd name="connsiteX98" fmla="*/ 1594390 w 3774376"/>
              <a:gd name="connsiteY98" fmla="*/ 573786 h 1334166"/>
              <a:gd name="connsiteX99" fmla="*/ 1539812 w 3774376"/>
              <a:gd name="connsiteY99" fmla="*/ 517017 h 1334166"/>
              <a:gd name="connsiteX100" fmla="*/ 1443704 w 3774376"/>
              <a:gd name="connsiteY100" fmla="*/ 506063 h 1334166"/>
              <a:gd name="connsiteX101" fmla="*/ 1393508 w 3774376"/>
              <a:gd name="connsiteY101" fmla="*/ 453676 h 1334166"/>
              <a:gd name="connsiteX102" fmla="*/ 1351979 w 3774376"/>
              <a:gd name="connsiteY102" fmla="*/ 438341 h 1334166"/>
              <a:gd name="connsiteX103" fmla="*/ 1314831 w 3774376"/>
              <a:gd name="connsiteY103" fmla="*/ 414338 h 1334166"/>
              <a:gd name="connsiteX104" fmla="*/ 1271111 w 3774376"/>
              <a:gd name="connsiteY104" fmla="*/ 412147 h 1334166"/>
              <a:gd name="connsiteX105" fmla="*/ 1183767 w 3774376"/>
              <a:gd name="connsiteY105" fmla="*/ 361950 h 1334166"/>
              <a:gd name="connsiteX106" fmla="*/ 1006888 w 3774376"/>
              <a:gd name="connsiteY106" fmla="*/ 298609 h 1334166"/>
              <a:gd name="connsiteX107" fmla="*/ 954500 w 3774376"/>
              <a:gd name="connsiteY107" fmla="*/ 285464 h 1334166"/>
              <a:gd name="connsiteX108" fmla="*/ 856202 w 3774376"/>
              <a:gd name="connsiteY108" fmla="*/ 239554 h 1334166"/>
              <a:gd name="connsiteX109" fmla="*/ 722948 w 3774376"/>
              <a:gd name="connsiteY109" fmla="*/ 208979 h 1334166"/>
              <a:gd name="connsiteX110" fmla="*/ 460820 w 3774376"/>
              <a:gd name="connsiteY110" fmla="*/ 169640 h 1334166"/>
              <a:gd name="connsiteX111" fmla="*/ 351663 w 3774376"/>
              <a:gd name="connsiteY111" fmla="*/ 136874 h 1334166"/>
              <a:gd name="connsiteX112" fmla="*/ 227171 w 3774376"/>
              <a:gd name="connsiteY112" fmla="*/ 106299 h 1334166"/>
              <a:gd name="connsiteX113" fmla="*/ 87344 w 3774376"/>
              <a:gd name="connsiteY113" fmla="*/ 53912 h 1334166"/>
              <a:gd name="connsiteX114" fmla="*/ 0 w 3774376"/>
              <a:gd name="connsiteY114" fmla="*/ 0 h 1334166"/>
              <a:gd name="connsiteX0" fmla="*/ 0 w 3761221"/>
              <a:gd name="connsiteY0" fmla="*/ 0 h 1334167"/>
              <a:gd name="connsiteX1" fmla="*/ 63341 w 3761221"/>
              <a:gd name="connsiteY1" fmla="*/ 21812 h 1334167"/>
              <a:gd name="connsiteX2" fmla="*/ 128873 w 3761221"/>
              <a:gd name="connsiteY2" fmla="*/ 39243 h 1334167"/>
              <a:gd name="connsiteX3" fmla="*/ 174784 w 3761221"/>
              <a:gd name="connsiteY3" fmla="*/ 69818 h 1334167"/>
              <a:gd name="connsiteX4" fmla="*/ 264319 w 3761221"/>
              <a:gd name="connsiteY4" fmla="*/ 69818 h 1334167"/>
              <a:gd name="connsiteX5" fmla="*/ 290513 w 3761221"/>
              <a:gd name="connsiteY5" fmla="*/ 89440 h 1334167"/>
              <a:gd name="connsiteX6" fmla="*/ 417195 w 3761221"/>
              <a:gd name="connsiteY6" fmla="*/ 98203 h 1334167"/>
              <a:gd name="connsiteX7" fmla="*/ 428149 w 3761221"/>
              <a:gd name="connsiteY7" fmla="*/ 120015 h 1334167"/>
              <a:gd name="connsiteX8" fmla="*/ 535210 w 3761221"/>
              <a:gd name="connsiteY8" fmla="*/ 120015 h 1334167"/>
              <a:gd name="connsiteX9" fmla="*/ 535210 w 3761221"/>
              <a:gd name="connsiteY9" fmla="*/ 141827 h 1334167"/>
              <a:gd name="connsiteX10" fmla="*/ 622554 w 3761221"/>
              <a:gd name="connsiteY10" fmla="*/ 130874 h 1334167"/>
              <a:gd name="connsiteX11" fmla="*/ 622554 w 3761221"/>
              <a:gd name="connsiteY11" fmla="*/ 165830 h 1334167"/>
              <a:gd name="connsiteX12" fmla="*/ 753618 w 3761221"/>
              <a:gd name="connsiteY12" fmla="*/ 165830 h 1334167"/>
              <a:gd name="connsiteX13" fmla="*/ 753618 w 3761221"/>
              <a:gd name="connsiteY13" fmla="*/ 189833 h 1334167"/>
              <a:gd name="connsiteX14" fmla="*/ 801624 w 3761221"/>
              <a:gd name="connsiteY14" fmla="*/ 189833 h 1334167"/>
              <a:gd name="connsiteX15" fmla="*/ 801624 w 3761221"/>
              <a:gd name="connsiteY15" fmla="*/ 220409 h 1334167"/>
              <a:gd name="connsiteX16" fmla="*/ 934879 w 3761221"/>
              <a:gd name="connsiteY16" fmla="*/ 233553 h 1334167"/>
              <a:gd name="connsiteX17" fmla="*/ 934879 w 3761221"/>
              <a:gd name="connsiteY17" fmla="*/ 253175 h 1334167"/>
              <a:gd name="connsiteX18" fmla="*/ 1085564 w 3761221"/>
              <a:gd name="connsiteY18" fmla="*/ 264128 h 1334167"/>
              <a:gd name="connsiteX19" fmla="*/ 1085564 w 3761221"/>
              <a:gd name="connsiteY19" fmla="*/ 296894 h 1334167"/>
              <a:gd name="connsiteX20" fmla="*/ 1212247 w 3761221"/>
              <a:gd name="connsiteY20" fmla="*/ 296894 h 1334167"/>
              <a:gd name="connsiteX21" fmla="*/ 1223201 w 3761221"/>
              <a:gd name="connsiteY21" fmla="*/ 314325 h 1334167"/>
              <a:gd name="connsiteX22" fmla="*/ 1264730 w 3761221"/>
              <a:gd name="connsiteY22" fmla="*/ 331756 h 1334167"/>
              <a:gd name="connsiteX23" fmla="*/ 1275683 w 3761221"/>
              <a:gd name="connsiteY23" fmla="*/ 357950 h 1334167"/>
              <a:gd name="connsiteX24" fmla="*/ 1312831 w 3761221"/>
              <a:gd name="connsiteY24" fmla="*/ 357950 h 1334167"/>
              <a:gd name="connsiteX25" fmla="*/ 1312831 w 3761221"/>
              <a:gd name="connsiteY25" fmla="*/ 381953 h 1334167"/>
              <a:gd name="connsiteX26" fmla="*/ 1367409 w 3761221"/>
              <a:gd name="connsiteY26" fmla="*/ 405956 h 1334167"/>
              <a:gd name="connsiteX27" fmla="*/ 1439513 w 3761221"/>
              <a:gd name="connsiteY27" fmla="*/ 405956 h 1334167"/>
              <a:gd name="connsiteX28" fmla="*/ 1487519 w 3761221"/>
              <a:gd name="connsiteY28" fmla="*/ 421291 h 1334167"/>
              <a:gd name="connsiteX29" fmla="*/ 1500664 w 3761221"/>
              <a:gd name="connsiteY29" fmla="*/ 432245 h 1334167"/>
              <a:gd name="connsiteX30" fmla="*/ 1540002 w 3761221"/>
              <a:gd name="connsiteY30" fmla="*/ 432245 h 1334167"/>
              <a:gd name="connsiteX31" fmla="*/ 1581531 w 3761221"/>
              <a:gd name="connsiteY31" fmla="*/ 443198 h 1334167"/>
              <a:gd name="connsiteX32" fmla="*/ 1612106 w 3761221"/>
              <a:gd name="connsiteY32" fmla="*/ 458534 h 1334167"/>
              <a:gd name="connsiteX33" fmla="*/ 1658017 w 3761221"/>
              <a:gd name="connsiteY33" fmla="*/ 475964 h 1334167"/>
              <a:gd name="connsiteX34" fmla="*/ 1699546 w 3761221"/>
              <a:gd name="connsiteY34" fmla="*/ 475964 h 1334167"/>
              <a:gd name="connsiteX35" fmla="*/ 1732312 w 3761221"/>
              <a:gd name="connsiteY35" fmla="*/ 489109 h 1334167"/>
              <a:gd name="connsiteX36" fmla="*/ 1786890 w 3761221"/>
              <a:gd name="connsiteY36" fmla="*/ 508730 h 1334167"/>
              <a:gd name="connsiteX37" fmla="*/ 1845850 w 3761221"/>
              <a:gd name="connsiteY37" fmla="*/ 532733 h 1334167"/>
              <a:gd name="connsiteX38" fmla="*/ 1948529 w 3761221"/>
              <a:gd name="connsiteY38" fmla="*/ 576453 h 1334167"/>
              <a:gd name="connsiteX39" fmla="*/ 2020634 w 3761221"/>
              <a:gd name="connsiteY39" fmla="*/ 626650 h 1334167"/>
              <a:gd name="connsiteX40" fmla="*/ 2123313 w 3761221"/>
              <a:gd name="connsiteY40" fmla="*/ 683419 h 1334167"/>
              <a:gd name="connsiteX41" fmla="*/ 2215039 w 3761221"/>
              <a:gd name="connsiteY41" fmla="*/ 683419 h 1334167"/>
              <a:gd name="connsiteX42" fmla="*/ 2239042 w 3761221"/>
              <a:gd name="connsiteY42" fmla="*/ 705231 h 1334167"/>
              <a:gd name="connsiteX43" fmla="*/ 2308955 w 3761221"/>
              <a:gd name="connsiteY43" fmla="*/ 705231 h 1334167"/>
              <a:gd name="connsiteX44" fmla="*/ 2324291 w 3761221"/>
              <a:gd name="connsiteY44" fmla="*/ 729234 h 1334167"/>
              <a:gd name="connsiteX45" fmla="*/ 2444401 w 3761221"/>
              <a:gd name="connsiteY45" fmla="*/ 729234 h 1334167"/>
              <a:gd name="connsiteX46" fmla="*/ 2464022 w 3761221"/>
              <a:gd name="connsiteY46" fmla="*/ 772954 h 1334167"/>
              <a:gd name="connsiteX47" fmla="*/ 2485835 w 3761221"/>
              <a:gd name="connsiteY47" fmla="*/ 790385 h 1334167"/>
              <a:gd name="connsiteX48" fmla="*/ 2533841 w 3761221"/>
              <a:gd name="connsiteY48" fmla="*/ 790385 h 1334167"/>
              <a:gd name="connsiteX49" fmla="*/ 2566607 w 3761221"/>
              <a:gd name="connsiteY49" fmla="*/ 803529 h 1334167"/>
              <a:gd name="connsiteX50" fmla="*/ 2588419 w 3761221"/>
              <a:gd name="connsiteY50" fmla="*/ 820960 h 1334167"/>
              <a:gd name="connsiteX51" fmla="*/ 2664905 w 3761221"/>
              <a:gd name="connsiteY51" fmla="*/ 842772 h 1334167"/>
              <a:gd name="connsiteX52" fmla="*/ 2717292 w 3761221"/>
              <a:gd name="connsiteY52" fmla="*/ 853726 h 1334167"/>
              <a:gd name="connsiteX53" fmla="*/ 2756630 w 3761221"/>
              <a:gd name="connsiteY53" fmla="*/ 866870 h 1334167"/>
              <a:gd name="connsiteX54" fmla="*/ 2826544 w 3761221"/>
              <a:gd name="connsiteY54" fmla="*/ 888683 h 1334167"/>
              <a:gd name="connsiteX55" fmla="*/ 2907316 w 3761221"/>
              <a:gd name="connsiteY55" fmla="*/ 888683 h 1334167"/>
              <a:gd name="connsiteX56" fmla="*/ 2981611 w 3761221"/>
              <a:gd name="connsiteY56" fmla="*/ 919258 h 1334167"/>
              <a:gd name="connsiteX57" fmla="*/ 3042761 w 3761221"/>
              <a:gd name="connsiteY57" fmla="*/ 919258 h 1334167"/>
              <a:gd name="connsiteX58" fmla="*/ 3143250 w 3761221"/>
              <a:gd name="connsiteY58" fmla="*/ 936688 h 1334167"/>
              <a:gd name="connsiteX59" fmla="*/ 3234976 w 3761221"/>
              <a:gd name="connsiteY59" fmla="*/ 947642 h 1334167"/>
              <a:gd name="connsiteX60" fmla="*/ 3285173 w 3761221"/>
              <a:gd name="connsiteY60" fmla="*/ 967264 h 1334167"/>
              <a:gd name="connsiteX61" fmla="*/ 3361658 w 3761221"/>
              <a:gd name="connsiteY61" fmla="*/ 967264 h 1334167"/>
              <a:gd name="connsiteX62" fmla="*/ 3385661 w 3761221"/>
              <a:gd name="connsiteY62" fmla="*/ 993458 h 1334167"/>
              <a:gd name="connsiteX63" fmla="*/ 3407474 w 3761221"/>
              <a:gd name="connsiteY63" fmla="*/ 993458 h 1334167"/>
              <a:gd name="connsiteX64" fmla="*/ 3424904 w 3761221"/>
              <a:gd name="connsiteY64" fmla="*/ 1037177 h 1334167"/>
              <a:gd name="connsiteX65" fmla="*/ 3761221 w 3761221"/>
              <a:gd name="connsiteY65" fmla="*/ 1037177 h 1334167"/>
              <a:gd name="connsiteX66" fmla="*/ 3756946 w 3761221"/>
              <a:gd name="connsiteY66" fmla="*/ 1334167 h 1334167"/>
              <a:gd name="connsiteX67" fmla="*/ 3555968 w 3761221"/>
              <a:gd name="connsiteY67" fmla="*/ 1334167 h 1334167"/>
              <a:gd name="connsiteX68" fmla="*/ 3542824 w 3761221"/>
              <a:gd name="connsiteY68" fmla="*/ 1259872 h 1334167"/>
              <a:gd name="connsiteX69" fmla="*/ 3341846 w 3761221"/>
              <a:gd name="connsiteY69" fmla="*/ 1266444 h 1334167"/>
              <a:gd name="connsiteX70" fmla="*/ 3326511 w 3761221"/>
              <a:gd name="connsiteY70" fmla="*/ 1224915 h 1334167"/>
              <a:gd name="connsiteX71" fmla="*/ 3226022 w 3761221"/>
              <a:gd name="connsiteY71" fmla="*/ 1233678 h 1334167"/>
              <a:gd name="connsiteX72" fmla="*/ 3215069 w 3761221"/>
              <a:gd name="connsiteY72" fmla="*/ 1204722 h 1334167"/>
              <a:gd name="connsiteX73" fmla="*/ 3127724 w 3761221"/>
              <a:gd name="connsiteY73" fmla="*/ 1204722 h 1334167"/>
              <a:gd name="connsiteX74" fmla="*/ 3123343 w 3761221"/>
              <a:gd name="connsiteY74" fmla="*/ 1179100 h 1334167"/>
              <a:gd name="connsiteX75" fmla="*/ 3049048 w 3761221"/>
              <a:gd name="connsiteY75" fmla="*/ 1179100 h 1334167"/>
              <a:gd name="connsiteX76" fmla="*/ 3046857 w 3761221"/>
              <a:gd name="connsiteY76" fmla="*/ 1161669 h 1334167"/>
              <a:gd name="connsiteX77" fmla="*/ 2983516 w 3761221"/>
              <a:gd name="connsiteY77" fmla="*/ 1148525 h 1334167"/>
              <a:gd name="connsiteX78" fmla="*/ 2939796 w 3761221"/>
              <a:gd name="connsiteY78" fmla="*/ 1139762 h 1334167"/>
              <a:gd name="connsiteX79" fmla="*/ 2893886 w 3761221"/>
              <a:gd name="connsiteY79" fmla="*/ 1113568 h 1334167"/>
              <a:gd name="connsiteX80" fmla="*/ 2867692 w 3761221"/>
              <a:gd name="connsiteY80" fmla="*/ 1100423 h 1334167"/>
              <a:gd name="connsiteX81" fmla="*/ 2828354 w 3761221"/>
              <a:gd name="connsiteY81" fmla="*/ 1091660 h 1334167"/>
              <a:gd name="connsiteX82" fmla="*/ 2793397 w 3761221"/>
              <a:gd name="connsiteY82" fmla="*/ 1078516 h 1334167"/>
              <a:gd name="connsiteX83" fmla="*/ 2738819 w 3761221"/>
              <a:gd name="connsiteY83" fmla="*/ 1021747 h 1334167"/>
              <a:gd name="connsiteX84" fmla="*/ 2679859 w 3761221"/>
              <a:gd name="connsiteY84" fmla="*/ 1006412 h 1334167"/>
              <a:gd name="connsiteX85" fmla="*/ 2625281 w 3761221"/>
              <a:gd name="connsiteY85" fmla="*/ 997649 h 1334167"/>
              <a:gd name="connsiteX86" fmla="*/ 2553176 w 3761221"/>
              <a:gd name="connsiteY86" fmla="*/ 986695 h 1334167"/>
              <a:gd name="connsiteX87" fmla="*/ 2387156 w 3761221"/>
              <a:gd name="connsiteY87" fmla="*/ 897160 h 1334167"/>
              <a:gd name="connsiteX88" fmla="*/ 2275808 w 3761221"/>
              <a:gd name="connsiteY88" fmla="*/ 853440 h 1334167"/>
              <a:gd name="connsiteX89" fmla="*/ 2258378 w 3761221"/>
              <a:gd name="connsiteY89" fmla="*/ 825056 h 1334167"/>
              <a:gd name="connsiteX90" fmla="*/ 2155698 w 3761221"/>
              <a:gd name="connsiteY90" fmla="*/ 816293 h 1334167"/>
              <a:gd name="connsiteX91" fmla="*/ 2042160 w 3761221"/>
              <a:gd name="connsiteY91" fmla="*/ 741998 h 1334167"/>
              <a:gd name="connsiteX92" fmla="*/ 1989773 w 3761221"/>
              <a:gd name="connsiteY92" fmla="*/ 741998 h 1334167"/>
              <a:gd name="connsiteX93" fmla="*/ 1860899 w 3761221"/>
              <a:gd name="connsiteY93" fmla="*/ 666655 h 1334167"/>
              <a:gd name="connsiteX94" fmla="*/ 1830324 w 3761221"/>
              <a:gd name="connsiteY94" fmla="*/ 656844 h 1334167"/>
              <a:gd name="connsiteX95" fmla="*/ 1793177 w 3761221"/>
              <a:gd name="connsiteY95" fmla="*/ 656844 h 1334167"/>
              <a:gd name="connsiteX96" fmla="*/ 1727645 w 3761221"/>
              <a:gd name="connsiteY96" fmla="*/ 600075 h 1334167"/>
              <a:gd name="connsiteX97" fmla="*/ 1651159 w 3761221"/>
              <a:gd name="connsiteY97" fmla="*/ 589121 h 1334167"/>
              <a:gd name="connsiteX98" fmla="*/ 1594390 w 3761221"/>
              <a:gd name="connsiteY98" fmla="*/ 573786 h 1334167"/>
              <a:gd name="connsiteX99" fmla="*/ 1539812 w 3761221"/>
              <a:gd name="connsiteY99" fmla="*/ 517017 h 1334167"/>
              <a:gd name="connsiteX100" fmla="*/ 1443704 w 3761221"/>
              <a:gd name="connsiteY100" fmla="*/ 506063 h 1334167"/>
              <a:gd name="connsiteX101" fmla="*/ 1393508 w 3761221"/>
              <a:gd name="connsiteY101" fmla="*/ 453676 h 1334167"/>
              <a:gd name="connsiteX102" fmla="*/ 1351979 w 3761221"/>
              <a:gd name="connsiteY102" fmla="*/ 438341 h 1334167"/>
              <a:gd name="connsiteX103" fmla="*/ 1314831 w 3761221"/>
              <a:gd name="connsiteY103" fmla="*/ 414338 h 1334167"/>
              <a:gd name="connsiteX104" fmla="*/ 1271111 w 3761221"/>
              <a:gd name="connsiteY104" fmla="*/ 412147 h 1334167"/>
              <a:gd name="connsiteX105" fmla="*/ 1183767 w 3761221"/>
              <a:gd name="connsiteY105" fmla="*/ 361950 h 1334167"/>
              <a:gd name="connsiteX106" fmla="*/ 1006888 w 3761221"/>
              <a:gd name="connsiteY106" fmla="*/ 298609 h 1334167"/>
              <a:gd name="connsiteX107" fmla="*/ 954500 w 3761221"/>
              <a:gd name="connsiteY107" fmla="*/ 285464 h 1334167"/>
              <a:gd name="connsiteX108" fmla="*/ 856202 w 3761221"/>
              <a:gd name="connsiteY108" fmla="*/ 239554 h 1334167"/>
              <a:gd name="connsiteX109" fmla="*/ 722948 w 3761221"/>
              <a:gd name="connsiteY109" fmla="*/ 208979 h 1334167"/>
              <a:gd name="connsiteX110" fmla="*/ 460820 w 3761221"/>
              <a:gd name="connsiteY110" fmla="*/ 169640 h 1334167"/>
              <a:gd name="connsiteX111" fmla="*/ 351663 w 3761221"/>
              <a:gd name="connsiteY111" fmla="*/ 136874 h 1334167"/>
              <a:gd name="connsiteX112" fmla="*/ 227171 w 3761221"/>
              <a:gd name="connsiteY112" fmla="*/ 106299 h 1334167"/>
              <a:gd name="connsiteX113" fmla="*/ 87344 w 3761221"/>
              <a:gd name="connsiteY113" fmla="*/ 53912 h 1334167"/>
              <a:gd name="connsiteX114" fmla="*/ 0 w 3761221"/>
              <a:gd name="connsiteY114" fmla="*/ 0 h 133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3761221" h="1334167">
                <a:moveTo>
                  <a:pt x="0" y="0"/>
                </a:moveTo>
                <a:lnTo>
                  <a:pt x="63341" y="21812"/>
                </a:lnTo>
                <a:cubicBezTo>
                  <a:pt x="63341" y="21812"/>
                  <a:pt x="122301" y="39243"/>
                  <a:pt x="128873" y="39243"/>
                </a:cubicBezTo>
                <a:cubicBezTo>
                  <a:pt x="135446" y="39243"/>
                  <a:pt x="174784" y="69818"/>
                  <a:pt x="174784" y="69818"/>
                </a:cubicBezTo>
                <a:lnTo>
                  <a:pt x="264319" y="69818"/>
                </a:lnTo>
                <a:lnTo>
                  <a:pt x="290513" y="89440"/>
                </a:lnTo>
                <a:lnTo>
                  <a:pt x="417195" y="98203"/>
                </a:lnTo>
                <a:lnTo>
                  <a:pt x="428149" y="120015"/>
                </a:lnTo>
                <a:lnTo>
                  <a:pt x="535210" y="120015"/>
                </a:lnTo>
                <a:lnTo>
                  <a:pt x="535210" y="141827"/>
                </a:lnTo>
                <a:lnTo>
                  <a:pt x="622554" y="130874"/>
                </a:lnTo>
                <a:lnTo>
                  <a:pt x="622554" y="165830"/>
                </a:lnTo>
                <a:lnTo>
                  <a:pt x="753618" y="165830"/>
                </a:lnTo>
                <a:lnTo>
                  <a:pt x="753618" y="189833"/>
                </a:lnTo>
                <a:lnTo>
                  <a:pt x="801624" y="189833"/>
                </a:lnTo>
                <a:lnTo>
                  <a:pt x="801624" y="220409"/>
                </a:lnTo>
                <a:lnTo>
                  <a:pt x="934879" y="233553"/>
                </a:lnTo>
                <a:lnTo>
                  <a:pt x="934879" y="253175"/>
                </a:lnTo>
                <a:lnTo>
                  <a:pt x="1085564" y="264128"/>
                </a:lnTo>
                <a:lnTo>
                  <a:pt x="1085564" y="296894"/>
                </a:lnTo>
                <a:lnTo>
                  <a:pt x="1212247" y="296894"/>
                </a:lnTo>
                <a:lnTo>
                  <a:pt x="1223201" y="314325"/>
                </a:lnTo>
                <a:lnTo>
                  <a:pt x="1264730" y="331756"/>
                </a:lnTo>
                <a:lnTo>
                  <a:pt x="1275683" y="357950"/>
                </a:lnTo>
                <a:lnTo>
                  <a:pt x="1312831" y="357950"/>
                </a:lnTo>
                <a:lnTo>
                  <a:pt x="1312831" y="381953"/>
                </a:lnTo>
                <a:lnTo>
                  <a:pt x="1367409" y="405956"/>
                </a:lnTo>
                <a:lnTo>
                  <a:pt x="1439513" y="405956"/>
                </a:lnTo>
                <a:lnTo>
                  <a:pt x="1487519" y="421291"/>
                </a:lnTo>
                <a:lnTo>
                  <a:pt x="1500664" y="432245"/>
                </a:lnTo>
                <a:lnTo>
                  <a:pt x="1540002" y="432245"/>
                </a:lnTo>
                <a:lnTo>
                  <a:pt x="1581531" y="443198"/>
                </a:lnTo>
                <a:lnTo>
                  <a:pt x="1612106" y="458534"/>
                </a:lnTo>
                <a:lnTo>
                  <a:pt x="1658017" y="475964"/>
                </a:lnTo>
                <a:lnTo>
                  <a:pt x="1699546" y="475964"/>
                </a:lnTo>
                <a:lnTo>
                  <a:pt x="1732312" y="489109"/>
                </a:lnTo>
                <a:lnTo>
                  <a:pt x="1786890" y="508730"/>
                </a:lnTo>
                <a:lnTo>
                  <a:pt x="1845850" y="532733"/>
                </a:lnTo>
                <a:lnTo>
                  <a:pt x="1948529" y="576453"/>
                </a:lnTo>
                <a:lnTo>
                  <a:pt x="2020634" y="626650"/>
                </a:lnTo>
                <a:lnTo>
                  <a:pt x="2123313" y="683419"/>
                </a:lnTo>
                <a:lnTo>
                  <a:pt x="2215039" y="683419"/>
                </a:lnTo>
                <a:lnTo>
                  <a:pt x="2239042" y="705231"/>
                </a:lnTo>
                <a:lnTo>
                  <a:pt x="2308955" y="705231"/>
                </a:lnTo>
                <a:lnTo>
                  <a:pt x="2324291" y="729234"/>
                </a:lnTo>
                <a:lnTo>
                  <a:pt x="2444401" y="729234"/>
                </a:lnTo>
                <a:lnTo>
                  <a:pt x="2464022" y="772954"/>
                </a:lnTo>
                <a:lnTo>
                  <a:pt x="2485835" y="790385"/>
                </a:lnTo>
                <a:lnTo>
                  <a:pt x="2533841" y="790385"/>
                </a:lnTo>
                <a:lnTo>
                  <a:pt x="2566607" y="803529"/>
                </a:lnTo>
                <a:lnTo>
                  <a:pt x="2588419" y="820960"/>
                </a:lnTo>
                <a:lnTo>
                  <a:pt x="2664905" y="842772"/>
                </a:lnTo>
                <a:lnTo>
                  <a:pt x="2717292" y="853726"/>
                </a:lnTo>
                <a:lnTo>
                  <a:pt x="2756630" y="866870"/>
                </a:lnTo>
                <a:lnTo>
                  <a:pt x="2826544" y="888683"/>
                </a:lnTo>
                <a:cubicBezTo>
                  <a:pt x="2826544" y="888683"/>
                  <a:pt x="2896457" y="882110"/>
                  <a:pt x="2907316" y="888683"/>
                </a:cubicBezTo>
                <a:cubicBezTo>
                  <a:pt x="2918174" y="895255"/>
                  <a:pt x="2981611" y="919258"/>
                  <a:pt x="2981611" y="919258"/>
                </a:cubicBezTo>
                <a:lnTo>
                  <a:pt x="3042761" y="919258"/>
                </a:lnTo>
                <a:lnTo>
                  <a:pt x="3143250" y="936688"/>
                </a:lnTo>
                <a:lnTo>
                  <a:pt x="3234976" y="947642"/>
                </a:lnTo>
                <a:lnTo>
                  <a:pt x="3285173" y="967264"/>
                </a:lnTo>
                <a:lnTo>
                  <a:pt x="3361658" y="967264"/>
                </a:lnTo>
                <a:lnTo>
                  <a:pt x="3385661" y="993458"/>
                </a:lnTo>
                <a:lnTo>
                  <a:pt x="3407474" y="993458"/>
                </a:lnTo>
                <a:lnTo>
                  <a:pt x="3424904" y="1037177"/>
                </a:lnTo>
                <a:lnTo>
                  <a:pt x="3761221" y="1037177"/>
                </a:lnTo>
                <a:lnTo>
                  <a:pt x="3756946" y="1334167"/>
                </a:lnTo>
                <a:lnTo>
                  <a:pt x="3555968" y="1334167"/>
                </a:lnTo>
                <a:lnTo>
                  <a:pt x="3542824" y="1259872"/>
                </a:lnTo>
                <a:lnTo>
                  <a:pt x="3341846" y="1266444"/>
                </a:lnTo>
                <a:lnTo>
                  <a:pt x="3326511" y="1224915"/>
                </a:lnTo>
                <a:lnTo>
                  <a:pt x="3226022" y="1233678"/>
                </a:lnTo>
                <a:lnTo>
                  <a:pt x="3215069" y="1204722"/>
                </a:lnTo>
                <a:lnTo>
                  <a:pt x="3127724" y="1204722"/>
                </a:lnTo>
                <a:lnTo>
                  <a:pt x="3123343" y="1179100"/>
                </a:lnTo>
                <a:lnTo>
                  <a:pt x="3049048" y="1179100"/>
                </a:lnTo>
                <a:lnTo>
                  <a:pt x="3046857" y="1161669"/>
                </a:lnTo>
                <a:lnTo>
                  <a:pt x="2983516" y="1148525"/>
                </a:lnTo>
                <a:lnTo>
                  <a:pt x="2939796" y="1139762"/>
                </a:lnTo>
                <a:lnTo>
                  <a:pt x="2893886" y="1113568"/>
                </a:lnTo>
                <a:lnTo>
                  <a:pt x="2867692" y="1100423"/>
                </a:lnTo>
                <a:lnTo>
                  <a:pt x="2828354" y="1091660"/>
                </a:lnTo>
                <a:lnTo>
                  <a:pt x="2793397" y="1078516"/>
                </a:lnTo>
                <a:lnTo>
                  <a:pt x="2738819" y="1021747"/>
                </a:lnTo>
                <a:lnTo>
                  <a:pt x="2679859" y="1006412"/>
                </a:lnTo>
                <a:lnTo>
                  <a:pt x="2625281" y="997649"/>
                </a:lnTo>
                <a:lnTo>
                  <a:pt x="2553176" y="986695"/>
                </a:lnTo>
                <a:lnTo>
                  <a:pt x="2387156" y="897160"/>
                </a:lnTo>
                <a:lnTo>
                  <a:pt x="2275808" y="853440"/>
                </a:lnTo>
                <a:lnTo>
                  <a:pt x="2258378" y="825056"/>
                </a:lnTo>
                <a:lnTo>
                  <a:pt x="2155698" y="816293"/>
                </a:lnTo>
                <a:lnTo>
                  <a:pt x="2042160" y="741998"/>
                </a:lnTo>
                <a:lnTo>
                  <a:pt x="1989773" y="741998"/>
                </a:lnTo>
                <a:lnTo>
                  <a:pt x="1860899" y="666655"/>
                </a:lnTo>
                <a:lnTo>
                  <a:pt x="1830324" y="656844"/>
                </a:lnTo>
                <a:lnTo>
                  <a:pt x="1793177" y="656844"/>
                </a:lnTo>
                <a:lnTo>
                  <a:pt x="1727645" y="600075"/>
                </a:lnTo>
                <a:lnTo>
                  <a:pt x="1651159" y="589121"/>
                </a:lnTo>
                <a:lnTo>
                  <a:pt x="1594390" y="573786"/>
                </a:lnTo>
                <a:lnTo>
                  <a:pt x="1539812" y="517017"/>
                </a:lnTo>
                <a:lnTo>
                  <a:pt x="1443704" y="506063"/>
                </a:lnTo>
                <a:lnTo>
                  <a:pt x="1393508" y="453676"/>
                </a:lnTo>
                <a:lnTo>
                  <a:pt x="1351979" y="438341"/>
                </a:lnTo>
                <a:lnTo>
                  <a:pt x="1314831" y="414338"/>
                </a:lnTo>
                <a:lnTo>
                  <a:pt x="1271111" y="412147"/>
                </a:lnTo>
                <a:lnTo>
                  <a:pt x="1183767" y="361950"/>
                </a:lnTo>
                <a:lnTo>
                  <a:pt x="1006888" y="298609"/>
                </a:lnTo>
                <a:lnTo>
                  <a:pt x="954500" y="285464"/>
                </a:lnTo>
                <a:lnTo>
                  <a:pt x="856202" y="239554"/>
                </a:lnTo>
                <a:lnTo>
                  <a:pt x="722948" y="208979"/>
                </a:lnTo>
                <a:lnTo>
                  <a:pt x="460820" y="169640"/>
                </a:lnTo>
                <a:lnTo>
                  <a:pt x="351663" y="136874"/>
                </a:lnTo>
                <a:lnTo>
                  <a:pt x="227171" y="106299"/>
                </a:lnTo>
                <a:lnTo>
                  <a:pt x="87344" y="53912"/>
                </a:lnTo>
                <a:lnTo>
                  <a:pt x="0" y="0"/>
                </a:lnTo>
                <a:close/>
              </a:path>
            </a:pathLst>
          </a:custGeom>
          <a:gradFill flip="none" rotWithShape="1">
            <a:gsLst>
              <a:gs pos="0">
                <a:srgbClr val="007CB4">
                  <a:alpha val="64000"/>
                </a:srgbClr>
              </a:gs>
              <a:gs pos="50000">
                <a:srgbClr val="007CB4">
                  <a:alpha val="39000"/>
                </a:srgbClr>
              </a:gs>
              <a:gs pos="100000">
                <a:srgbClr val="9271AE"/>
              </a:gs>
            </a:gsLst>
            <a:lin ang="0" scaled="1"/>
            <a:tileRect/>
          </a:gradFill>
          <a:ln w="69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4" name="TextBox 963">
            <a:extLst>
              <a:ext uri="{FF2B5EF4-FFF2-40B4-BE49-F238E27FC236}">
                <a16:creationId xmlns:a16="http://schemas.microsoft.com/office/drawing/2014/main" id="{87BD23AB-3184-1959-5E9E-0F74FB2FBAC6}"/>
              </a:ext>
            </a:extLst>
          </p:cNvPr>
          <p:cNvSpPr txBox="1"/>
          <p:nvPr/>
        </p:nvSpPr>
        <p:spPr>
          <a:xfrm rot="16200000">
            <a:off x="-609729" y="2751762"/>
            <a:ext cx="2507585"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Patients who are surviving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a:t>
            </a:r>
          </a:p>
        </p:txBody>
      </p:sp>
      <p:grpSp>
        <p:nvGrpSpPr>
          <p:cNvPr id="965" name="Group 964">
            <a:extLst>
              <a:ext uri="{FF2B5EF4-FFF2-40B4-BE49-F238E27FC236}">
                <a16:creationId xmlns:a16="http://schemas.microsoft.com/office/drawing/2014/main" id="{54960048-5A03-B842-16F1-1B421F031AFD}"/>
              </a:ext>
            </a:extLst>
          </p:cNvPr>
          <p:cNvGrpSpPr/>
          <p:nvPr/>
        </p:nvGrpSpPr>
        <p:grpSpPr>
          <a:xfrm>
            <a:off x="1147649" y="1488625"/>
            <a:ext cx="5933160" cy="1789255"/>
            <a:chOff x="6935277" y="1244860"/>
            <a:chExt cx="3767638" cy="1315988"/>
          </a:xfrm>
        </p:grpSpPr>
        <p:sp>
          <p:nvSpPr>
            <p:cNvPr id="966" name="Freeform 6">
              <a:extLst>
                <a:ext uri="{FF2B5EF4-FFF2-40B4-BE49-F238E27FC236}">
                  <a16:creationId xmlns:a16="http://schemas.microsoft.com/office/drawing/2014/main" id="{D254B8B2-0B41-FA8F-CBE6-46F7073AEC3A}"/>
                </a:ext>
              </a:extLst>
            </p:cNvPr>
            <p:cNvSpPr>
              <a:spLocks/>
            </p:cNvSpPr>
            <p:nvPr/>
          </p:nvSpPr>
          <p:spPr bwMode="auto">
            <a:xfrm>
              <a:off x="6935277" y="1244860"/>
              <a:ext cx="3767638" cy="1315986"/>
            </a:xfrm>
            <a:custGeom>
              <a:avLst/>
              <a:gdLst>
                <a:gd name="T0" fmla="*/ 74 w 3836"/>
                <a:gd name="T1" fmla="*/ 24 h 1200"/>
                <a:gd name="T2" fmla="*/ 128 w 3836"/>
                <a:gd name="T3" fmla="*/ 42 h 1200"/>
                <a:gd name="T4" fmla="*/ 304 w 3836"/>
                <a:gd name="T5" fmla="*/ 60 h 1200"/>
                <a:gd name="T6" fmla="*/ 418 w 3836"/>
                <a:gd name="T7" fmla="*/ 84 h 1200"/>
                <a:gd name="T8" fmla="*/ 568 w 3836"/>
                <a:gd name="T9" fmla="*/ 102 h 1200"/>
                <a:gd name="T10" fmla="*/ 638 w 3836"/>
                <a:gd name="T11" fmla="*/ 126 h 1200"/>
                <a:gd name="T12" fmla="*/ 766 w 3836"/>
                <a:gd name="T13" fmla="*/ 144 h 1200"/>
                <a:gd name="T14" fmla="*/ 816 w 3836"/>
                <a:gd name="T15" fmla="*/ 172 h 1200"/>
                <a:gd name="T16" fmla="*/ 882 w 3836"/>
                <a:gd name="T17" fmla="*/ 192 h 1200"/>
                <a:gd name="T18" fmla="*/ 912 w 3836"/>
                <a:gd name="T19" fmla="*/ 216 h 1200"/>
                <a:gd name="T20" fmla="*/ 977 w 3836"/>
                <a:gd name="T21" fmla="*/ 248 h 1200"/>
                <a:gd name="T22" fmla="*/ 1041 w 3836"/>
                <a:gd name="T23" fmla="*/ 266 h 1200"/>
                <a:gd name="T24" fmla="*/ 1127 w 3836"/>
                <a:gd name="T25" fmla="*/ 286 h 1200"/>
                <a:gd name="T26" fmla="*/ 1183 w 3836"/>
                <a:gd name="T27" fmla="*/ 304 h 1200"/>
                <a:gd name="T28" fmla="*/ 1267 w 3836"/>
                <a:gd name="T29" fmla="*/ 334 h 1200"/>
                <a:gd name="T30" fmla="*/ 1297 w 3836"/>
                <a:gd name="T31" fmla="*/ 358 h 1200"/>
                <a:gd name="T32" fmla="*/ 1373 w 3836"/>
                <a:gd name="T33" fmla="*/ 376 h 1200"/>
                <a:gd name="T34" fmla="*/ 1421 w 3836"/>
                <a:gd name="T35" fmla="*/ 400 h 1200"/>
                <a:gd name="T36" fmla="*/ 1453 w 3836"/>
                <a:gd name="T37" fmla="*/ 428 h 1200"/>
                <a:gd name="T38" fmla="*/ 1531 w 3836"/>
                <a:gd name="T39" fmla="*/ 452 h 1200"/>
                <a:gd name="T40" fmla="*/ 1595 w 3836"/>
                <a:gd name="T41" fmla="*/ 472 h 1200"/>
                <a:gd name="T42" fmla="*/ 1621 w 3836"/>
                <a:gd name="T43" fmla="*/ 504 h 1200"/>
                <a:gd name="T44" fmla="*/ 1699 w 3836"/>
                <a:gd name="T45" fmla="*/ 524 h 1200"/>
                <a:gd name="T46" fmla="*/ 1779 w 3836"/>
                <a:gd name="T47" fmla="*/ 552 h 1200"/>
                <a:gd name="T48" fmla="*/ 1819 w 3836"/>
                <a:gd name="T49" fmla="*/ 572 h 1200"/>
                <a:gd name="T50" fmla="*/ 1903 w 3836"/>
                <a:gd name="T51" fmla="*/ 600 h 1200"/>
                <a:gd name="T52" fmla="*/ 1945 w 3836"/>
                <a:gd name="T53" fmla="*/ 620 h 1200"/>
                <a:gd name="T54" fmla="*/ 2001 w 3836"/>
                <a:gd name="T55" fmla="*/ 638 h 1200"/>
                <a:gd name="T56" fmla="*/ 2077 w 3836"/>
                <a:gd name="T57" fmla="*/ 662 h 1200"/>
                <a:gd name="T58" fmla="*/ 2135 w 3836"/>
                <a:gd name="T59" fmla="*/ 686 h 1200"/>
                <a:gd name="T60" fmla="*/ 2179 w 3836"/>
                <a:gd name="T61" fmla="*/ 720 h 1200"/>
                <a:gd name="T62" fmla="*/ 2299 w 3836"/>
                <a:gd name="T63" fmla="*/ 738 h 1200"/>
                <a:gd name="T64" fmla="*/ 2319 w 3836"/>
                <a:gd name="T65" fmla="*/ 768 h 1200"/>
                <a:gd name="T66" fmla="*/ 2393 w 3836"/>
                <a:gd name="T67" fmla="*/ 792 h 1200"/>
                <a:gd name="T68" fmla="*/ 2443 w 3836"/>
                <a:gd name="T69" fmla="*/ 810 h 1200"/>
                <a:gd name="T70" fmla="*/ 2473 w 3836"/>
                <a:gd name="T71" fmla="*/ 830 h 1200"/>
                <a:gd name="T72" fmla="*/ 2509 w 3836"/>
                <a:gd name="T73" fmla="*/ 844 h 1200"/>
                <a:gd name="T74" fmla="*/ 2549 w 3836"/>
                <a:gd name="T75" fmla="*/ 860 h 1200"/>
                <a:gd name="T76" fmla="*/ 2599 w 3836"/>
                <a:gd name="T77" fmla="*/ 876 h 1200"/>
                <a:gd name="T78" fmla="*/ 2643 w 3836"/>
                <a:gd name="T79" fmla="*/ 896 h 1200"/>
                <a:gd name="T80" fmla="*/ 2683 w 3836"/>
                <a:gd name="T81" fmla="*/ 908 h 1200"/>
                <a:gd name="T82" fmla="*/ 2735 w 3836"/>
                <a:gd name="T83" fmla="*/ 908 h 1200"/>
                <a:gd name="T84" fmla="*/ 2757 w 3836"/>
                <a:gd name="T85" fmla="*/ 928 h 1200"/>
                <a:gd name="T86" fmla="*/ 2809 w 3836"/>
                <a:gd name="T87" fmla="*/ 940 h 1200"/>
                <a:gd name="T88" fmla="*/ 2841 w 3836"/>
                <a:gd name="T89" fmla="*/ 968 h 1200"/>
                <a:gd name="T90" fmla="*/ 2871 w 3836"/>
                <a:gd name="T91" fmla="*/ 988 h 1200"/>
                <a:gd name="T92" fmla="*/ 2909 w 3836"/>
                <a:gd name="T93" fmla="*/ 988 h 1200"/>
                <a:gd name="T94" fmla="*/ 2958 w 3836"/>
                <a:gd name="T95" fmla="*/ 1012 h 1200"/>
                <a:gd name="T96" fmla="*/ 2990 w 3836"/>
                <a:gd name="T97" fmla="*/ 1020 h 1200"/>
                <a:gd name="T98" fmla="*/ 3028 w 3836"/>
                <a:gd name="T99" fmla="*/ 1038 h 1200"/>
                <a:gd name="T100" fmla="*/ 3098 w 3836"/>
                <a:gd name="T101" fmla="*/ 1058 h 1200"/>
                <a:gd name="T102" fmla="*/ 3154 w 3836"/>
                <a:gd name="T103" fmla="*/ 1068 h 1200"/>
                <a:gd name="T104" fmla="*/ 3190 w 3836"/>
                <a:gd name="T105" fmla="*/ 1080 h 1200"/>
                <a:gd name="T106" fmla="*/ 3256 w 3836"/>
                <a:gd name="T107" fmla="*/ 1092 h 1200"/>
                <a:gd name="T108" fmla="*/ 3326 w 3836"/>
                <a:gd name="T109" fmla="*/ 1120 h 1200"/>
                <a:gd name="T110" fmla="*/ 3394 w 3836"/>
                <a:gd name="T111" fmla="*/ 1120 h 1200"/>
                <a:gd name="T112" fmla="*/ 3470 w 3836"/>
                <a:gd name="T113" fmla="*/ 1142 h 1200"/>
                <a:gd name="T114" fmla="*/ 3552 w 3836"/>
                <a:gd name="T115" fmla="*/ 1142 h 1200"/>
                <a:gd name="T116" fmla="*/ 3698 w 3836"/>
                <a:gd name="T117" fmla="*/ 1200 h 1200"/>
                <a:gd name="T118" fmla="*/ 3836 w 3836"/>
                <a:gd name="T119"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6" h="1200">
                  <a:moveTo>
                    <a:pt x="0" y="0"/>
                  </a:moveTo>
                  <a:lnTo>
                    <a:pt x="24" y="0"/>
                  </a:lnTo>
                  <a:lnTo>
                    <a:pt x="24" y="10"/>
                  </a:lnTo>
                  <a:lnTo>
                    <a:pt x="48" y="10"/>
                  </a:lnTo>
                  <a:lnTo>
                    <a:pt x="48" y="14"/>
                  </a:lnTo>
                  <a:lnTo>
                    <a:pt x="62" y="14"/>
                  </a:lnTo>
                  <a:lnTo>
                    <a:pt x="62" y="18"/>
                  </a:lnTo>
                  <a:lnTo>
                    <a:pt x="74" y="18"/>
                  </a:lnTo>
                  <a:lnTo>
                    <a:pt x="74" y="24"/>
                  </a:lnTo>
                  <a:lnTo>
                    <a:pt x="78" y="24"/>
                  </a:lnTo>
                  <a:lnTo>
                    <a:pt x="78" y="28"/>
                  </a:lnTo>
                  <a:lnTo>
                    <a:pt x="82" y="28"/>
                  </a:lnTo>
                  <a:lnTo>
                    <a:pt x="82" y="32"/>
                  </a:lnTo>
                  <a:lnTo>
                    <a:pt x="88" y="32"/>
                  </a:lnTo>
                  <a:lnTo>
                    <a:pt x="88" y="38"/>
                  </a:lnTo>
                  <a:lnTo>
                    <a:pt x="106" y="38"/>
                  </a:lnTo>
                  <a:lnTo>
                    <a:pt x="106" y="42"/>
                  </a:lnTo>
                  <a:lnTo>
                    <a:pt x="128" y="42"/>
                  </a:lnTo>
                  <a:lnTo>
                    <a:pt x="128" y="46"/>
                  </a:lnTo>
                  <a:lnTo>
                    <a:pt x="148" y="46"/>
                  </a:lnTo>
                  <a:lnTo>
                    <a:pt x="154" y="46"/>
                  </a:lnTo>
                  <a:lnTo>
                    <a:pt x="154" y="52"/>
                  </a:lnTo>
                  <a:lnTo>
                    <a:pt x="170" y="52"/>
                  </a:lnTo>
                  <a:lnTo>
                    <a:pt x="170" y="56"/>
                  </a:lnTo>
                  <a:lnTo>
                    <a:pt x="248" y="56"/>
                  </a:lnTo>
                  <a:lnTo>
                    <a:pt x="248" y="60"/>
                  </a:lnTo>
                  <a:lnTo>
                    <a:pt x="304" y="60"/>
                  </a:lnTo>
                  <a:lnTo>
                    <a:pt x="304" y="66"/>
                  </a:lnTo>
                  <a:lnTo>
                    <a:pt x="354" y="66"/>
                  </a:lnTo>
                  <a:lnTo>
                    <a:pt x="354" y="70"/>
                  </a:lnTo>
                  <a:lnTo>
                    <a:pt x="356" y="70"/>
                  </a:lnTo>
                  <a:lnTo>
                    <a:pt x="356" y="74"/>
                  </a:lnTo>
                  <a:lnTo>
                    <a:pt x="402" y="74"/>
                  </a:lnTo>
                  <a:lnTo>
                    <a:pt x="402" y="80"/>
                  </a:lnTo>
                  <a:lnTo>
                    <a:pt x="418" y="80"/>
                  </a:lnTo>
                  <a:lnTo>
                    <a:pt x="418" y="84"/>
                  </a:lnTo>
                  <a:lnTo>
                    <a:pt x="440" y="84"/>
                  </a:lnTo>
                  <a:lnTo>
                    <a:pt x="440" y="88"/>
                  </a:lnTo>
                  <a:lnTo>
                    <a:pt x="540" y="88"/>
                  </a:lnTo>
                  <a:lnTo>
                    <a:pt x="540" y="94"/>
                  </a:lnTo>
                  <a:lnTo>
                    <a:pt x="544" y="94"/>
                  </a:lnTo>
                  <a:lnTo>
                    <a:pt x="544" y="98"/>
                  </a:lnTo>
                  <a:lnTo>
                    <a:pt x="556" y="98"/>
                  </a:lnTo>
                  <a:lnTo>
                    <a:pt x="556" y="102"/>
                  </a:lnTo>
                  <a:lnTo>
                    <a:pt x="568" y="102"/>
                  </a:lnTo>
                  <a:lnTo>
                    <a:pt x="568" y="108"/>
                  </a:lnTo>
                  <a:lnTo>
                    <a:pt x="626" y="108"/>
                  </a:lnTo>
                  <a:lnTo>
                    <a:pt x="626" y="112"/>
                  </a:lnTo>
                  <a:lnTo>
                    <a:pt x="628" y="112"/>
                  </a:lnTo>
                  <a:lnTo>
                    <a:pt x="628" y="116"/>
                  </a:lnTo>
                  <a:lnTo>
                    <a:pt x="634" y="116"/>
                  </a:lnTo>
                  <a:lnTo>
                    <a:pt x="634" y="122"/>
                  </a:lnTo>
                  <a:lnTo>
                    <a:pt x="638" y="122"/>
                  </a:lnTo>
                  <a:lnTo>
                    <a:pt x="638" y="126"/>
                  </a:lnTo>
                  <a:lnTo>
                    <a:pt x="642" y="126"/>
                  </a:lnTo>
                  <a:lnTo>
                    <a:pt x="642" y="130"/>
                  </a:lnTo>
                  <a:lnTo>
                    <a:pt x="644" y="130"/>
                  </a:lnTo>
                  <a:lnTo>
                    <a:pt x="644" y="136"/>
                  </a:lnTo>
                  <a:lnTo>
                    <a:pt x="692" y="136"/>
                  </a:lnTo>
                  <a:lnTo>
                    <a:pt x="692" y="140"/>
                  </a:lnTo>
                  <a:lnTo>
                    <a:pt x="708" y="140"/>
                  </a:lnTo>
                  <a:lnTo>
                    <a:pt x="708" y="144"/>
                  </a:lnTo>
                  <a:lnTo>
                    <a:pt x="766" y="144"/>
                  </a:lnTo>
                  <a:lnTo>
                    <a:pt x="766" y="154"/>
                  </a:lnTo>
                  <a:lnTo>
                    <a:pt x="768" y="154"/>
                  </a:lnTo>
                  <a:lnTo>
                    <a:pt x="768" y="158"/>
                  </a:lnTo>
                  <a:lnTo>
                    <a:pt x="776" y="158"/>
                  </a:lnTo>
                  <a:lnTo>
                    <a:pt x="776" y="164"/>
                  </a:lnTo>
                  <a:lnTo>
                    <a:pt x="800" y="164"/>
                  </a:lnTo>
                  <a:lnTo>
                    <a:pt x="800" y="168"/>
                  </a:lnTo>
                  <a:lnTo>
                    <a:pt x="816" y="168"/>
                  </a:lnTo>
                  <a:lnTo>
                    <a:pt x="816" y="172"/>
                  </a:lnTo>
                  <a:lnTo>
                    <a:pt x="820" y="172"/>
                  </a:lnTo>
                  <a:lnTo>
                    <a:pt x="820" y="178"/>
                  </a:lnTo>
                  <a:lnTo>
                    <a:pt x="828" y="178"/>
                  </a:lnTo>
                  <a:lnTo>
                    <a:pt x="828" y="182"/>
                  </a:lnTo>
                  <a:lnTo>
                    <a:pt x="838" y="182"/>
                  </a:lnTo>
                  <a:lnTo>
                    <a:pt x="838" y="186"/>
                  </a:lnTo>
                  <a:lnTo>
                    <a:pt x="842" y="186"/>
                  </a:lnTo>
                  <a:lnTo>
                    <a:pt x="842" y="192"/>
                  </a:lnTo>
                  <a:lnTo>
                    <a:pt x="882" y="192"/>
                  </a:lnTo>
                  <a:lnTo>
                    <a:pt x="882" y="196"/>
                  </a:lnTo>
                  <a:lnTo>
                    <a:pt x="884" y="196"/>
                  </a:lnTo>
                  <a:lnTo>
                    <a:pt x="884" y="202"/>
                  </a:lnTo>
                  <a:lnTo>
                    <a:pt x="894" y="202"/>
                  </a:lnTo>
                  <a:lnTo>
                    <a:pt x="894" y="206"/>
                  </a:lnTo>
                  <a:lnTo>
                    <a:pt x="902" y="206"/>
                  </a:lnTo>
                  <a:lnTo>
                    <a:pt x="902" y="210"/>
                  </a:lnTo>
                  <a:lnTo>
                    <a:pt x="912" y="210"/>
                  </a:lnTo>
                  <a:lnTo>
                    <a:pt x="912" y="216"/>
                  </a:lnTo>
                  <a:lnTo>
                    <a:pt x="916" y="216"/>
                  </a:lnTo>
                  <a:lnTo>
                    <a:pt x="916" y="220"/>
                  </a:lnTo>
                  <a:lnTo>
                    <a:pt x="936" y="220"/>
                  </a:lnTo>
                  <a:lnTo>
                    <a:pt x="936" y="224"/>
                  </a:lnTo>
                  <a:lnTo>
                    <a:pt x="954" y="224"/>
                  </a:lnTo>
                  <a:lnTo>
                    <a:pt x="954" y="244"/>
                  </a:lnTo>
                  <a:lnTo>
                    <a:pt x="975" y="244"/>
                  </a:lnTo>
                  <a:lnTo>
                    <a:pt x="975" y="248"/>
                  </a:lnTo>
                  <a:lnTo>
                    <a:pt x="977" y="248"/>
                  </a:lnTo>
                  <a:lnTo>
                    <a:pt x="977" y="252"/>
                  </a:lnTo>
                  <a:lnTo>
                    <a:pt x="997" y="252"/>
                  </a:lnTo>
                  <a:lnTo>
                    <a:pt x="997" y="258"/>
                  </a:lnTo>
                  <a:lnTo>
                    <a:pt x="1019" y="258"/>
                  </a:lnTo>
                  <a:lnTo>
                    <a:pt x="1025" y="258"/>
                  </a:lnTo>
                  <a:lnTo>
                    <a:pt x="1025" y="262"/>
                  </a:lnTo>
                  <a:lnTo>
                    <a:pt x="1039" y="262"/>
                  </a:lnTo>
                  <a:lnTo>
                    <a:pt x="1039" y="266"/>
                  </a:lnTo>
                  <a:lnTo>
                    <a:pt x="1041" y="266"/>
                  </a:lnTo>
                  <a:lnTo>
                    <a:pt x="1085" y="266"/>
                  </a:lnTo>
                  <a:lnTo>
                    <a:pt x="1085" y="272"/>
                  </a:lnTo>
                  <a:lnTo>
                    <a:pt x="1091" y="272"/>
                  </a:lnTo>
                  <a:lnTo>
                    <a:pt x="1091" y="276"/>
                  </a:lnTo>
                  <a:lnTo>
                    <a:pt x="1115" y="276"/>
                  </a:lnTo>
                  <a:lnTo>
                    <a:pt x="1115" y="282"/>
                  </a:lnTo>
                  <a:lnTo>
                    <a:pt x="1117" y="282"/>
                  </a:lnTo>
                  <a:lnTo>
                    <a:pt x="1117" y="286"/>
                  </a:lnTo>
                  <a:lnTo>
                    <a:pt x="1127" y="286"/>
                  </a:lnTo>
                  <a:lnTo>
                    <a:pt x="1131" y="286"/>
                  </a:lnTo>
                  <a:lnTo>
                    <a:pt x="1131" y="290"/>
                  </a:lnTo>
                  <a:lnTo>
                    <a:pt x="1151" y="290"/>
                  </a:lnTo>
                  <a:lnTo>
                    <a:pt x="1151" y="296"/>
                  </a:lnTo>
                  <a:lnTo>
                    <a:pt x="1159" y="296"/>
                  </a:lnTo>
                  <a:lnTo>
                    <a:pt x="1159" y="300"/>
                  </a:lnTo>
                  <a:lnTo>
                    <a:pt x="1163" y="300"/>
                  </a:lnTo>
                  <a:lnTo>
                    <a:pt x="1163" y="304"/>
                  </a:lnTo>
                  <a:lnTo>
                    <a:pt x="1183" y="304"/>
                  </a:lnTo>
                  <a:lnTo>
                    <a:pt x="1199" y="304"/>
                  </a:lnTo>
                  <a:lnTo>
                    <a:pt x="1199" y="320"/>
                  </a:lnTo>
                  <a:lnTo>
                    <a:pt x="1223" y="320"/>
                  </a:lnTo>
                  <a:lnTo>
                    <a:pt x="1223" y="324"/>
                  </a:lnTo>
                  <a:lnTo>
                    <a:pt x="1249" y="324"/>
                  </a:lnTo>
                  <a:lnTo>
                    <a:pt x="1249" y="328"/>
                  </a:lnTo>
                  <a:lnTo>
                    <a:pt x="1255" y="328"/>
                  </a:lnTo>
                  <a:lnTo>
                    <a:pt x="1255" y="334"/>
                  </a:lnTo>
                  <a:lnTo>
                    <a:pt x="1267" y="334"/>
                  </a:lnTo>
                  <a:lnTo>
                    <a:pt x="1267" y="338"/>
                  </a:lnTo>
                  <a:lnTo>
                    <a:pt x="1273" y="338"/>
                  </a:lnTo>
                  <a:lnTo>
                    <a:pt x="1273" y="342"/>
                  </a:lnTo>
                  <a:lnTo>
                    <a:pt x="1279" y="342"/>
                  </a:lnTo>
                  <a:lnTo>
                    <a:pt x="1279" y="348"/>
                  </a:lnTo>
                  <a:lnTo>
                    <a:pt x="1291" y="348"/>
                  </a:lnTo>
                  <a:lnTo>
                    <a:pt x="1291" y="352"/>
                  </a:lnTo>
                  <a:lnTo>
                    <a:pt x="1297" y="352"/>
                  </a:lnTo>
                  <a:lnTo>
                    <a:pt x="1297" y="358"/>
                  </a:lnTo>
                  <a:lnTo>
                    <a:pt x="1307" y="358"/>
                  </a:lnTo>
                  <a:lnTo>
                    <a:pt x="1307" y="362"/>
                  </a:lnTo>
                  <a:lnTo>
                    <a:pt x="1341" y="362"/>
                  </a:lnTo>
                  <a:lnTo>
                    <a:pt x="1341" y="366"/>
                  </a:lnTo>
                  <a:lnTo>
                    <a:pt x="1365" y="366"/>
                  </a:lnTo>
                  <a:lnTo>
                    <a:pt x="1365" y="372"/>
                  </a:lnTo>
                  <a:lnTo>
                    <a:pt x="1371" y="372"/>
                  </a:lnTo>
                  <a:lnTo>
                    <a:pt x="1371" y="376"/>
                  </a:lnTo>
                  <a:lnTo>
                    <a:pt x="1373" y="376"/>
                  </a:lnTo>
                  <a:lnTo>
                    <a:pt x="1373" y="380"/>
                  </a:lnTo>
                  <a:lnTo>
                    <a:pt x="1381" y="380"/>
                  </a:lnTo>
                  <a:lnTo>
                    <a:pt x="1381" y="386"/>
                  </a:lnTo>
                  <a:lnTo>
                    <a:pt x="1387" y="386"/>
                  </a:lnTo>
                  <a:lnTo>
                    <a:pt x="1387" y="390"/>
                  </a:lnTo>
                  <a:lnTo>
                    <a:pt x="1391" y="390"/>
                  </a:lnTo>
                  <a:lnTo>
                    <a:pt x="1391" y="396"/>
                  </a:lnTo>
                  <a:lnTo>
                    <a:pt x="1421" y="396"/>
                  </a:lnTo>
                  <a:lnTo>
                    <a:pt x="1421" y="400"/>
                  </a:lnTo>
                  <a:lnTo>
                    <a:pt x="1425" y="400"/>
                  </a:lnTo>
                  <a:lnTo>
                    <a:pt x="1425" y="410"/>
                  </a:lnTo>
                  <a:lnTo>
                    <a:pt x="1431" y="410"/>
                  </a:lnTo>
                  <a:lnTo>
                    <a:pt x="1431" y="414"/>
                  </a:lnTo>
                  <a:lnTo>
                    <a:pt x="1445" y="414"/>
                  </a:lnTo>
                  <a:lnTo>
                    <a:pt x="1445" y="424"/>
                  </a:lnTo>
                  <a:lnTo>
                    <a:pt x="1449" y="424"/>
                  </a:lnTo>
                  <a:lnTo>
                    <a:pt x="1449" y="428"/>
                  </a:lnTo>
                  <a:lnTo>
                    <a:pt x="1453" y="428"/>
                  </a:lnTo>
                  <a:lnTo>
                    <a:pt x="1453" y="434"/>
                  </a:lnTo>
                  <a:lnTo>
                    <a:pt x="1457" y="434"/>
                  </a:lnTo>
                  <a:lnTo>
                    <a:pt x="1457" y="438"/>
                  </a:lnTo>
                  <a:lnTo>
                    <a:pt x="1467" y="438"/>
                  </a:lnTo>
                  <a:lnTo>
                    <a:pt x="1467" y="442"/>
                  </a:lnTo>
                  <a:lnTo>
                    <a:pt x="1483" y="442"/>
                  </a:lnTo>
                  <a:lnTo>
                    <a:pt x="1483" y="448"/>
                  </a:lnTo>
                  <a:lnTo>
                    <a:pt x="1531" y="448"/>
                  </a:lnTo>
                  <a:lnTo>
                    <a:pt x="1531" y="452"/>
                  </a:lnTo>
                  <a:lnTo>
                    <a:pt x="1553" y="452"/>
                  </a:lnTo>
                  <a:lnTo>
                    <a:pt x="1553" y="458"/>
                  </a:lnTo>
                  <a:lnTo>
                    <a:pt x="1565" y="458"/>
                  </a:lnTo>
                  <a:lnTo>
                    <a:pt x="1565" y="462"/>
                  </a:lnTo>
                  <a:lnTo>
                    <a:pt x="1573" y="462"/>
                  </a:lnTo>
                  <a:lnTo>
                    <a:pt x="1573" y="466"/>
                  </a:lnTo>
                  <a:lnTo>
                    <a:pt x="1581" y="466"/>
                  </a:lnTo>
                  <a:lnTo>
                    <a:pt x="1581" y="472"/>
                  </a:lnTo>
                  <a:lnTo>
                    <a:pt x="1595" y="472"/>
                  </a:lnTo>
                  <a:lnTo>
                    <a:pt x="1595" y="476"/>
                  </a:lnTo>
                  <a:lnTo>
                    <a:pt x="1599" y="476"/>
                  </a:lnTo>
                  <a:lnTo>
                    <a:pt x="1599" y="482"/>
                  </a:lnTo>
                  <a:lnTo>
                    <a:pt x="1605" y="482"/>
                  </a:lnTo>
                  <a:lnTo>
                    <a:pt x="1605" y="490"/>
                  </a:lnTo>
                  <a:lnTo>
                    <a:pt x="1611" y="490"/>
                  </a:lnTo>
                  <a:lnTo>
                    <a:pt x="1611" y="500"/>
                  </a:lnTo>
                  <a:lnTo>
                    <a:pt x="1621" y="500"/>
                  </a:lnTo>
                  <a:lnTo>
                    <a:pt x="1621" y="504"/>
                  </a:lnTo>
                  <a:lnTo>
                    <a:pt x="1629" y="504"/>
                  </a:lnTo>
                  <a:lnTo>
                    <a:pt x="1629" y="510"/>
                  </a:lnTo>
                  <a:lnTo>
                    <a:pt x="1645" y="510"/>
                  </a:lnTo>
                  <a:lnTo>
                    <a:pt x="1645" y="514"/>
                  </a:lnTo>
                  <a:lnTo>
                    <a:pt x="1663" y="514"/>
                  </a:lnTo>
                  <a:lnTo>
                    <a:pt x="1663" y="520"/>
                  </a:lnTo>
                  <a:lnTo>
                    <a:pt x="1691" y="520"/>
                  </a:lnTo>
                  <a:lnTo>
                    <a:pt x="1691" y="524"/>
                  </a:lnTo>
                  <a:lnTo>
                    <a:pt x="1699" y="524"/>
                  </a:lnTo>
                  <a:lnTo>
                    <a:pt x="1699" y="528"/>
                  </a:lnTo>
                  <a:lnTo>
                    <a:pt x="1731" y="528"/>
                  </a:lnTo>
                  <a:lnTo>
                    <a:pt x="1731" y="534"/>
                  </a:lnTo>
                  <a:lnTo>
                    <a:pt x="1763" y="534"/>
                  </a:lnTo>
                  <a:lnTo>
                    <a:pt x="1763" y="538"/>
                  </a:lnTo>
                  <a:lnTo>
                    <a:pt x="1765" y="538"/>
                  </a:lnTo>
                  <a:lnTo>
                    <a:pt x="1765" y="548"/>
                  </a:lnTo>
                  <a:lnTo>
                    <a:pt x="1779" y="548"/>
                  </a:lnTo>
                  <a:lnTo>
                    <a:pt x="1779" y="552"/>
                  </a:lnTo>
                  <a:lnTo>
                    <a:pt x="1781" y="552"/>
                  </a:lnTo>
                  <a:lnTo>
                    <a:pt x="1781" y="558"/>
                  </a:lnTo>
                  <a:lnTo>
                    <a:pt x="1793" y="558"/>
                  </a:lnTo>
                  <a:lnTo>
                    <a:pt x="1793" y="562"/>
                  </a:lnTo>
                  <a:lnTo>
                    <a:pt x="1795" y="562"/>
                  </a:lnTo>
                  <a:lnTo>
                    <a:pt x="1795" y="566"/>
                  </a:lnTo>
                  <a:lnTo>
                    <a:pt x="1811" y="566"/>
                  </a:lnTo>
                  <a:lnTo>
                    <a:pt x="1811" y="572"/>
                  </a:lnTo>
                  <a:lnTo>
                    <a:pt x="1819" y="572"/>
                  </a:lnTo>
                  <a:lnTo>
                    <a:pt x="1819" y="576"/>
                  </a:lnTo>
                  <a:lnTo>
                    <a:pt x="1823" y="576"/>
                  </a:lnTo>
                  <a:lnTo>
                    <a:pt x="1823" y="582"/>
                  </a:lnTo>
                  <a:lnTo>
                    <a:pt x="1873" y="582"/>
                  </a:lnTo>
                  <a:lnTo>
                    <a:pt x="1873" y="590"/>
                  </a:lnTo>
                  <a:lnTo>
                    <a:pt x="1893" y="590"/>
                  </a:lnTo>
                  <a:lnTo>
                    <a:pt x="1893" y="596"/>
                  </a:lnTo>
                  <a:lnTo>
                    <a:pt x="1903" y="596"/>
                  </a:lnTo>
                  <a:lnTo>
                    <a:pt x="1903" y="600"/>
                  </a:lnTo>
                  <a:lnTo>
                    <a:pt x="1911" y="600"/>
                  </a:lnTo>
                  <a:lnTo>
                    <a:pt x="1911" y="604"/>
                  </a:lnTo>
                  <a:lnTo>
                    <a:pt x="1919" y="604"/>
                  </a:lnTo>
                  <a:lnTo>
                    <a:pt x="1919" y="610"/>
                  </a:lnTo>
                  <a:lnTo>
                    <a:pt x="1923" y="610"/>
                  </a:lnTo>
                  <a:lnTo>
                    <a:pt x="1931" y="610"/>
                  </a:lnTo>
                  <a:lnTo>
                    <a:pt x="1931" y="614"/>
                  </a:lnTo>
                  <a:lnTo>
                    <a:pt x="1945" y="614"/>
                  </a:lnTo>
                  <a:lnTo>
                    <a:pt x="1945" y="620"/>
                  </a:lnTo>
                  <a:lnTo>
                    <a:pt x="1955" y="620"/>
                  </a:lnTo>
                  <a:lnTo>
                    <a:pt x="1955" y="624"/>
                  </a:lnTo>
                  <a:lnTo>
                    <a:pt x="1969" y="624"/>
                  </a:lnTo>
                  <a:lnTo>
                    <a:pt x="1969" y="628"/>
                  </a:lnTo>
                  <a:lnTo>
                    <a:pt x="1977" y="628"/>
                  </a:lnTo>
                  <a:lnTo>
                    <a:pt x="1977" y="634"/>
                  </a:lnTo>
                  <a:lnTo>
                    <a:pt x="1995" y="634"/>
                  </a:lnTo>
                  <a:lnTo>
                    <a:pt x="1995" y="638"/>
                  </a:lnTo>
                  <a:lnTo>
                    <a:pt x="2001" y="638"/>
                  </a:lnTo>
                  <a:lnTo>
                    <a:pt x="2001" y="644"/>
                  </a:lnTo>
                  <a:lnTo>
                    <a:pt x="2019" y="644"/>
                  </a:lnTo>
                  <a:lnTo>
                    <a:pt x="2019" y="648"/>
                  </a:lnTo>
                  <a:lnTo>
                    <a:pt x="2021" y="648"/>
                  </a:lnTo>
                  <a:lnTo>
                    <a:pt x="2021" y="652"/>
                  </a:lnTo>
                  <a:lnTo>
                    <a:pt x="2029" y="652"/>
                  </a:lnTo>
                  <a:lnTo>
                    <a:pt x="2029" y="658"/>
                  </a:lnTo>
                  <a:lnTo>
                    <a:pt x="2077" y="658"/>
                  </a:lnTo>
                  <a:lnTo>
                    <a:pt x="2077" y="662"/>
                  </a:lnTo>
                  <a:lnTo>
                    <a:pt x="2085" y="662"/>
                  </a:lnTo>
                  <a:lnTo>
                    <a:pt x="2085" y="668"/>
                  </a:lnTo>
                  <a:lnTo>
                    <a:pt x="2091" y="668"/>
                  </a:lnTo>
                  <a:lnTo>
                    <a:pt x="2091" y="676"/>
                  </a:lnTo>
                  <a:lnTo>
                    <a:pt x="2111" y="676"/>
                  </a:lnTo>
                  <a:lnTo>
                    <a:pt x="2111" y="682"/>
                  </a:lnTo>
                  <a:lnTo>
                    <a:pt x="2117" y="682"/>
                  </a:lnTo>
                  <a:lnTo>
                    <a:pt x="2117" y="686"/>
                  </a:lnTo>
                  <a:lnTo>
                    <a:pt x="2135" y="686"/>
                  </a:lnTo>
                  <a:lnTo>
                    <a:pt x="2135" y="692"/>
                  </a:lnTo>
                  <a:lnTo>
                    <a:pt x="2143" y="692"/>
                  </a:lnTo>
                  <a:lnTo>
                    <a:pt x="2143" y="696"/>
                  </a:lnTo>
                  <a:lnTo>
                    <a:pt x="2145" y="696"/>
                  </a:lnTo>
                  <a:lnTo>
                    <a:pt x="2145" y="700"/>
                  </a:lnTo>
                  <a:lnTo>
                    <a:pt x="2155" y="700"/>
                  </a:lnTo>
                  <a:lnTo>
                    <a:pt x="2155" y="710"/>
                  </a:lnTo>
                  <a:lnTo>
                    <a:pt x="2179" y="710"/>
                  </a:lnTo>
                  <a:lnTo>
                    <a:pt x="2179" y="720"/>
                  </a:lnTo>
                  <a:lnTo>
                    <a:pt x="2185" y="720"/>
                  </a:lnTo>
                  <a:lnTo>
                    <a:pt x="2185" y="724"/>
                  </a:lnTo>
                  <a:lnTo>
                    <a:pt x="2191" y="724"/>
                  </a:lnTo>
                  <a:lnTo>
                    <a:pt x="2191" y="730"/>
                  </a:lnTo>
                  <a:lnTo>
                    <a:pt x="2221" y="730"/>
                  </a:lnTo>
                  <a:lnTo>
                    <a:pt x="2221" y="734"/>
                  </a:lnTo>
                  <a:lnTo>
                    <a:pt x="2257" y="734"/>
                  </a:lnTo>
                  <a:lnTo>
                    <a:pt x="2257" y="738"/>
                  </a:lnTo>
                  <a:lnTo>
                    <a:pt x="2299" y="738"/>
                  </a:lnTo>
                  <a:lnTo>
                    <a:pt x="2299" y="748"/>
                  </a:lnTo>
                  <a:lnTo>
                    <a:pt x="2301" y="748"/>
                  </a:lnTo>
                  <a:lnTo>
                    <a:pt x="2301" y="754"/>
                  </a:lnTo>
                  <a:lnTo>
                    <a:pt x="2311" y="754"/>
                  </a:lnTo>
                  <a:lnTo>
                    <a:pt x="2311" y="758"/>
                  </a:lnTo>
                  <a:lnTo>
                    <a:pt x="2317" y="758"/>
                  </a:lnTo>
                  <a:lnTo>
                    <a:pt x="2317" y="762"/>
                  </a:lnTo>
                  <a:lnTo>
                    <a:pt x="2319" y="762"/>
                  </a:lnTo>
                  <a:lnTo>
                    <a:pt x="2319" y="768"/>
                  </a:lnTo>
                  <a:lnTo>
                    <a:pt x="2343" y="768"/>
                  </a:lnTo>
                  <a:lnTo>
                    <a:pt x="2343" y="772"/>
                  </a:lnTo>
                  <a:lnTo>
                    <a:pt x="2351" y="772"/>
                  </a:lnTo>
                  <a:lnTo>
                    <a:pt x="2351" y="782"/>
                  </a:lnTo>
                  <a:lnTo>
                    <a:pt x="2365" y="782"/>
                  </a:lnTo>
                  <a:lnTo>
                    <a:pt x="2365" y="786"/>
                  </a:lnTo>
                  <a:lnTo>
                    <a:pt x="2387" y="786"/>
                  </a:lnTo>
                  <a:lnTo>
                    <a:pt x="2387" y="792"/>
                  </a:lnTo>
                  <a:lnTo>
                    <a:pt x="2393" y="792"/>
                  </a:lnTo>
                  <a:lnTo>
                    <a:pt x="2393" y="796"/>
                  </a:lnTo>
                  <a:lnTo>
                    <a:pt x="2401" y="796"/>
                  </a:lnTo>
                  <a:lnTo>
                    <a:pt x="2401" y="802"/>
                  </a:lnTo>
                  <a:lnTo>
                    <a:pt x="2411" y="802"/>
                  </a:lnTo>
                  <a:lnTo>
                    <a:pt x="2411" y="806"/>
                  </a:lnTo>
                  <a:lnTo>
                    <a:pt x="2417" y="806"/>
                  </a:lnTo>
                  <a:lnTo>
                    <a:pt x="2417" y="810"/>
                  </a:lnTo>
                  <a:lnTo>
                    <a:pt x="2425" y="810"/>
                  </a:lnTo>
                  <a:lnTo>
                    <a:pt x="2443" y="810"/>
                  </a:lnTo>
                  <a:lnTo>
                    <a:pt x="2445" y="810"/>
                  </a:lnTo>
                  <a:lnTo>
                    <a:pt x="2457" y="810"/>
                  </a:lnTo>
                  <a:lnTo>
                    <a:pt x="2457" y="820"/>
                  </a:lnTo>
                  <a:lnTo>
                    <a:pt x="2459" y="820"/>
                  </a:lnTo>
                  <a:lnTo>
                    <a:pt x="2459" y="826"/>
                  </a:lnTo>
                  <a:lnTo>
                    <a:pt x="2461" y="826"/>
                  </a:lnTo>
                  <a:lnTo>
                    <a:pt x="2469" y="826"/>
                  </a:lnTo>
                  <a:lnTo>
                    <a:pt x="2469" y="830"/>
                  </a:lnTo>
                  <a:lnTo>
                    <a:pt x="2473" y="830"/>
                  </a:lnTo>
                  <a:lnTo>
                    <a:pt x="2473" y="836"/>
                  </a:lnTo>
                  <a:lnTo>
                    <a:pt x="2481" y="836"/>
                  </a:lnTo>
                  <a:lnTo>
                    <a:pt x="2481" y="840"/>
                  </a:lnTo>
                  <a:lnTo>
                    <a:pt x="2491" y="840"/>
                  </a:lnTo>
                  <a:lnTo>
                    <a:pt x="2491" y="844"/>
                  </a:lnTo>
                  <a:lnTo>
                    <a:pt x="2495" y="844"/>
                  </a:lnTo>
                  <a:lnTo>
                    <a:pt x="2501" y="844"/>
                  </a:lnTo>
                  <a:lnTo>
                    <a:pt x="2507" y="844"/>
                  </a:lnTo>
                  <a:lnTo>
                    <a:pt x="2509" y="844"/>
                  </a:lnTo>
                  <a:lnTo>
                    <a:pt x="2511" y="844"/>
                  </a:lnTo>
                  <a:lnTo>
                    <a:pt x="2511" y="850"/>
                  </a:lnTo>
                  <a:lnTo>
                    <a:pt x="2517" y="850"/>
                  </a:lnTo>
                  <a:lnTo>
                    <a:pt x="2523" y="850"/>
                  </a:lnTo>
                  <a:lnTo>
                    <a:pt x="2523" y="854"/>
                  </a:lnTo>
                  <a:lnTo>
                    <a:pt x="2533" y="854"/>
                  </a:lnTo>
                  <a:lnTo>
                    <a:pt x="2535" y="854"/>
                  </a:lnTo>
                  <a:lnTo>
                    <a:pt x="2535" y="860"/>
                  </a:lnTo>
                  <a:lnTo>
                    <a:pt x="2549" y="860"/>
                  </a:lnTo>
                  <a:lnTo>
                    <a:pt x="2549" y="866"/>
                  </a:lnTo>
                  <a:lnTo>
                    <a:pt x="2565" y="866"/>
                  </a:lnTo>
                  <a:lnTo>
                    <a:pt x="2565" y="870"/>
                  </a:lnTo>
                  <a:lnTo>
                    <a:pt x="2581" y="870"/>
                  </a:lnTo>
                  <a:lnTo>
                    <a:pt x="2581" y="876"/>
                  </a:lnTo>
                  <a:lnTo>
                    <a:pt x="2585" y="876"/>
                  </a:lnTo>
                  <a:lnTo>
                    <a:pt x="2589" y="876"/>
                  </a:lnTo>
                  <a:lnTo>
                    <a:pt x="2593" y="876"/>
                  </a:lnTo>
                  <a:lnTo>
                    <a:pt x="2599" y="876"/>
                  </a:lnTo>
                  <a:lnTo>
                    <a:pt x="2601" y="876"/>
                  </a:lnTo>
                  <a:lnTo>
                    <a:pt x="2601" y="880"/>
                  </a:lnTo>
                  <a:lnTo>
                    <a:pt x="2609" y="880"/>
                  </a:lnTo>
                  <a:lnTo>
                    <a:pt x="2609" y="886"/>
                  </a:lnTo>
                  <a:lnTo>
                    <a:pt x="2617" y="886"/>
                  </a:lnTo>
                  <a:lnTo>
                    <a:pt x="2627" y="886"/>
                  </a:lnTo>
                  <a:lnTo>
                    <a:pt x="2627" y="892"/>
                  </a:lnTo>
                  <a:lnTo>
                    <a:pt x="2643" y="892"/>
                  </a:lnTo>
                  <a:lnTo>
                    <a:pt x="2643" y="896"/>
                  </a:lnTo>
                  <a:lnTo>
                    <a:pt x="2657" y="896"/>
                  </a:lnTo>
                  <a:lnTo>
                    <a:pt x="2659" y="896"/>
                  </a:lnTo>
                  <a:lnTo>
                    <a:pt x="2663" y="896"/>
                  </a:lnTo>
                  <a:lnTo>
                    <a:pt x="2673" y="896"/>
                  </a:lnTo>
                  <a:lnTo>
                    <a:pt x="2677" y="896"/>
                  </a:lnTo>
                  <a:lnTo>
                    <a:pt x="2681" y="896"/>
                  </a:lnTo>
                  <a:lnTo>
                    <a:pt x="2681" y="902"/>
                  </a:lnTo>
                  <a:lnTo>
                    <a:pt x="2683" y="902"/>
                  </a:lnTo>
                  <a:lnTo>
                    <a:pt x="2683" y="908"/>
                  </a:lnTo>
                  <a:lnTo>
                    <a:pt x="2701" y="908"/>
                  </a:lnTo>
                  <a:lnTo>
                    <a:pt x="2705" y="908"/>
                  </a:lnTo>
                  <a:lnTo>
                    <a:pt x="2713" y="908"/>
                  </a:lnTo>
                  <a:lnTo>
                    <a:pt x="2715" y="908"/>
                  </a:lnTo>
                  <a:lnTo>
                    <a:pt x="2717" y="908"/>
                  </a:lnTo>
                  <a:lnTo>
                    <a:pt x="2727" y="908"/>
                  </a:lnTo>
                  <a:lnTo>
                    <a:pt x="2731" y="908"/>
                  </a:lnTo>
                  <a:lnTo>
                    <a:pt x="2733" y="908"/>
                  </a:lnTo>
                  <a:lnTo>
                    <a:pt x="2735" y="908"/>
                  </a:lnTo>
                  <a:lnTo>
                    <a:pt x="2739" y="908"/>
                  </a:lnTo>
                  <a:lnTo>
                    <a:pt x="2743" y="908"/>
                  </a:lnTo>
                  <a:lnTo>
                    <a:pt x="2747" y="908"/>
                  </a:lnTo>
                  <a:lnTo>
                    <a:pt x="2747" y="914"/>
                  </a:lnTo>
                  <a:lnTo>
                    <a:pt x="2751" y="914"/>
                  </a:lnTo>
                  <a:lnTo>
                    <a:pt x="2755" y="914"/>
                  </a:lnTo>
                  <a:lnTo>
                    <a:pt x="2755" y="920"/>
                  </a:lnTo>
                  <a:lnTo>
                    <a:pt x="2757" y="920"/>
                  </a:lnTo>
                  <a:lnTo>
                    <a:pt x="2757" y="928"/>
                  </a:lnTo>
                  <a:lnTo>
                    <a:pt x="2767" y="928"/>
                  </a:lnTo>
                  <a:lnTo>
                    <a:pt x="2779" y="928"/>
                  </a:lnTo>
                  <a:lnTo>
                    <a:pt x="2779" y="934"/>
                  </a:lnTo>
                  <a:lnTo>
                    <a:pt x="2785" y="934"/>
                  </a:lnTo>
                  <a:lnTo>
                    <a:pt x="2799" y="934"/>
                  </a:lnTo>
                  <a:lnTo>
                    <a:pt x="2805" y="934"/>
                  </a:lnTo>
                  <a:lnTo>
                    <a:pt x="2807" y="934"/>
                  </a:lnTo>
                  <a:lnTo>
                    <a:pt x="2809" y="934"/>
                  </a:lnTo>
                  <a:lnTo>
                    <a:pt x="2809" y="940"/>
                  </a:lnTo>
                  <a:lnTo>
                    <a:pt x="2813" y="940"/>
                  </a:lnTo>
                  <a:lnTo>
                    <a:pt x="2813" y="946"/>
                  </a:lnTo>
                  <a:lnTo>
                    <a:pt x="2821" y="946"/>
                  </a:lnTo>
                  <a:lnTo>
                    <a:pt x="2831" y="946"/>
                  </a:lnTo>
                  <a:lnTo>
                    <a:pt x="2831" y="960"/>
                  </a:lnTo>
                  <a:lnTo>
                    <a:pt x="2833" y="960"/>
                  </a:lnTo>
                  <a:lnTo>
                    <a:pt x="2837" y="960"/>
                  </a:lnTo>
                  <a:lnTo>
                    <a:pt x="2837" y="968"/>
                  </a:lnTo>
                  <a:lnTo>
                    <a:pt x="2841" y="968"/>
                  </a:lnTo>
                  <a:lnTo>
                    <a:pt x="2843" y="968"/>
                  </a:lnTo>
                  <a:lnTo>
                    <a:pt x="2847" y="968"/>
                  </a:lnTo>
                  <a:lnTo>
                    <a:pt x="2857" y="968"/>
                  </a:lnTo>
                  <a:lnTo>
                    <a:pt x="2857" y="974"/>
                  </a:lnTo>
                  <a:lnTo>
                    <a:pt x="2859" y="974"/>
                  </a:lnTo>
                  <a:lnTo>
                    <a:pt x="2859" y="980"/>
                  </a:lnTo>
                  <a:lnTo>
                    <a:pt x="2865" y="980"/>
                  </a:lnTo>
                  <a:lnTo>
                    <a:pt x="2865" y="988"/>
                  </a:lnTo>
                  <a:lnTo>
                    <a:pt x="2871" y="988"/>
                  </a:lnTo>
                  <a:lnTo>
                    <a:pt x="2873" y="988"/>
                  </a:lnTo>
                  <a:lnTo>
                    <a:pt x="2875" y="988"/>
                  </a:lnTo>
                  <a:lnTo>
                    <a:pt x="2881" y="988"/>
                  </a:lnTo>
                  <a:lnTo>
                    <a:pt x="2883" y="988"/>
                  </a:lnTo>
                  <a:lnTo>
                    <a:pt x="2887" y="988"/>
                  </a:lnTo>
                  <a:lnTo>
                    <a:pt x="2889" y="988"/>
                  </a:lnTo>
                  <a:lnTo>
                    <a:pt x="2891" y="988"/>
                  </a:lnTo>
                  <a:lnTo>
                    <a:pt x="2897" y="988"/>
                  </a:lnTo>
                  <a:lnTo>
                    <a:pt x="2909" y="988"/>
                  </a:lnTo>
                  <a:lnTo>
                    <a:pt x="2909" y="996"/>
                  </a:lnTo>
                  <a:lnTo>
                    <a:pt x="2936" y="996"/>
                  </a:lnTo>
                  <a:lnTo>
                    <a:pt x="2946" y="996"/>
                  </a:lnTo>
                  <a:lnTo>
                    <a:pt x="2946" y="1004"/>
                  </a:lnTo>
                  <a:lnTo>
                    <a:pt x="2952" y="1004"/>
                  </a:lnTo>
                  <a:lnTo>
                    <a:pt x="2954" y="1004"/>
                  </a:lnTo>
                  <a:lnTo>
                    <a:pt x="2956" y="1004"/>
                  </a:lnTo>
                  <a:lnTo>
                    <a:pt x="2956" y="1012"/>
                  </a:lnTo>
                  <a:lnTo>
                    <a:pt x="2958" y="1012"/>
                  </a:lnTo>
                  <a:lnTo>
                    <a:pt x="2962" y="1012"/>
                  </a:lnTo>
                  <a:lnTo>
                    <a:pt x="2964" y="1012"/>
                  </a:lnTo>
                  <a:lnTo>
                    <a:pt x="2970" y="1012"/>
                  </a:lnTo>
                  <a:lnTo>
                    <a:pt x="2974" y="1012"/>
                  </a:lnTo>
                  <a:lnTo>
                    <a:pt x="2980" y="1012"/>
                  </a:lnTo>
                  <a:lnTo>
                    <a:pt x="2982" y="1012"/>
                  </a:lnTo>
                  <a:lnTo>
                    <a:pt x="2986" y="1012"/>
                  </a:lnTo>
                  <a:lnTo>
                    <a:pt x="2986" y="1020"/>
                  </a:lnTo>
                  <a:lnTo>
                    <a:pt x="2990" y="1020"/>
                  </a:lnTo>
                  <a:lnTo>
                    <a:pt x="2994" y="1020"/>
                  </a:lnTo>
                  <a:lnTo>
                    <a:pt x="2994" y="1030"/>
                  </a:lnTo>
                  <a:lnTo>
                    <a:pt x="2996" y="1030"/>
                  </a:lnTo>
                  <a:lnTo>
                    <a:pt x="3012" y="1030"/>
                  </a:lnTo>
                  <a:lnTo>
                    <a:pt x="3014" y="1030"/>
                  </a:lnTo>
                  <a:lnTo>
                    <a:pt x="3022" y="1030"/>
                  </a:lnTo>
                  <a:lnTo>
                    <a:pt x="3024" y="1030"/>
                  </a:lnTo>
                  <a:lnTo>
                    <a:pt x="3024" y="1038"/>
                  </a:lnTo>
                  <a:lnTo>
                    <a:pt x="3028" y="1038"/>
                  </a:lnTo>
                  <a:lnTo>
                    <a:pt x="3032" y="1038"/>
                  </a:lnTo>
                  <a:lnTo>
                    <a:pt x="3038" y="1038"/>
                  </a:lnTo>
                  <a:lnTo>
                    <a:pt x="3052" y="1038"/>
                  </a:lnTo>
                  <a:lnTo>
                    <a:pt x="3080" y="1038"/>
                  </a:lnTo>
                  <a:lnTo>
                    <a:pt x="3082" y="1038"/>
                  </a:lnTo>
                  <a:lnTo>
                    <a:pt x="3082" y="1048"/>
                  </a:lnTo>
                  <a:lnTo>
                    <a:pt x="3096" y="1048"/>
                  </a:lnTo>
                  <a:lnTo>
                    <a:pt x="3096" y="1058"/>
                  </a:lnTo>
                  <a:lnTo>
                    <a:pt x="3098" y="1058"/>
                  </a:lnTo>
                  <a:lnTo>
                    <a:pt x="3102" y="1058"/>
                  </a:lnTo>
                  <a:lnTo>
                    <a:pt x="3104" y="1058"/>
                  </a:lnTo>
                  <a:lnTo>
                    <a:pt x="3106" y="1058"/>
                  </a:lnTo>
                  <a:lnTo>
                    <a:pt x="3110" y="1058"/>
                  </a:lnTo>
                  <a:lnTo>
                    <a:pt x="3110" y="1068"/>
                  </a:lnTo>
                  <a:lnTo>
                    <a:pt x="3120" y="1068"/>
                  </a:lnTo>
                  <a:lnTo>
                    <a:pt x="3124" y="1068"/>
                  </a:lnTo>
                  <a:lnTo>
                    <a:pt x="3148" y="1068"/>
                  </a:lnTo>
                  <a:lnTo>
                    <a:pt x="3154" y="1068"/>
                  </a:lnTo>
                  <a:lnTo>
                    <a:pt x="3154" y="1080"/>
                  </a:lnTo>
                  <a:lnTo>
                    <a:pt x="3164" y="1080"/>
                  </a:lnTo>
                  <a:lnTo>
                    <a:pt x="3168" y="1080"/>
                  </a:lnTo>
                  <a:lnTo>
                    <a:pt x="3176" y="1080"/>
                  </a:lnTo>
                  <a:lnTo>
                    <a:pt x="3178" y="1080"/>
                  </a:lnTo>
                  <a:lnTo>
                    <a:pt x="3180" y="1080"/>
                  </a:lnTo>
                  <a:lnTo>
                    <a:pt x="3182" y="1080"/>
                  </a:lnTo>
                  <a:lnTo>
                    <a:pt x="3188" y="1080"/>
                  </a:lnTo>
                  <a:lnTo>
                    <a:pt x="3190" y="1080"/>
                  </a:lnTo>
                  <a:lnTo>
                    <a:pt x="3190" y="1092"/>
                  </a:lnTo>
                  <a:lnTo>
                    <a:pt x="3210" y="1092"/>
                  </a:lnTo>
                  <a:lnTo>
                    <a:pt x="3214" y="1092"/>
                  </a:lnTo>
                  <a:lnTo>
                    <a:pt x="3226" y="1092"/>
                  </a:lnTo>
                  <a:lnTo>
                    <a:pt x="3234" y="1092"/>
                  </a:lnTo>
                  <a:lnTo>
                    <a:pt x="3236" y="1092"/>
                  </a:lnTo>
                  <a:lnTo>
                    <a:pt x="3248" y="1092"/>
                  </a:lnTo>
                  <a:lnTo>
                    <a:pt x="3252" y="1092"/>
                  </a:lnTo>
                  <a:lnTo>
                    <a:pt x="3256" y="1092"/>
                  </a:lnTo>
                  <a:lnTo>
                    <a:pt x="3260" y="1092"/>
                  </a:lnTo>
                  <a:lnTo>
                    <a:pt x="3286" y="1092"/>
                  </a:lnTo>
                  <a:lnTo>
                    <a:pt x="3286" y="1106"/>
                  </a:lnTo>
                  <a:lnTo>
                    <a:pt x="3292" y="1106"/>
                  </a:lnTo>
                  <a:lnTo>
                    <a:pt x="3292" y="1120"/>
                  </a:lnTo>
                  <a:lnTo>
                    <a:pt x="3298" y="1120"/>
                  </a:lnTo>
                  <a:lnTo>
                    <a:pt x="3302" y="1120"/>
                  </a:lnTo>
                  <a:lnTo>
                    <a:pt x="3306" y="1120"/>
                  </a:lnTo>
                  <a:lnTo>
                    <a:pt x="3326" y="1120"/>
                  </a:lnTo>
                  <a:lnTo>
                    <a:pt x="3328" y="1120"/>
                  </a:lnTo>
                  <a:lnTo>
                    <a:pt x="3344" y="1120"/>
                  </a:lnTo>
                  <a:lnTo>
                    <a:pt x="3352" y="1120"/>
                  </a:lnTo>
                  <a:lnTo>
                    <a:pt x="3354" y="1120"/>
                  </a:lnTo>
                  <a:lnTo>
                    <a:pt x="3356" y="1120"/>
                  </a:lnTo>
                  <a:lnTo>
                    <a:pt x="3364" y="1120"/>
                  </a:lnTo>
                  <a:lnTo>
                    <a:pt x="3378" y="1120"/>
                  </a:lnTo>
                  <a:lnTo>
                    <a:pt x="3384" y="1120"/>
                  </a:lnTo>
                  <a:lnTo>
                    <a:pt x="3394" y="1120"/>
                  </a:lnTo>
                  <a:lnTo>
                    <a:pt x="3396" y="1120"/>
                  </a:lnTo>
                  <a:lnTo>
                    <a:pt x="3400" y="1120"/>
                  </a:lnTo>
                  <a:lnTo>
                    <a:pt x="3402" y="1120"/>
                  </a:lnTo>
                  <a:lnTo>
                    <a:pt x="3402" y="1142"/>
                  </a:lnTo>
                  <a:lnTo>
                    <a:pt x="3404" y="1142"/>
                  </a:lnTo>
                  <a:lnTo>
                    <a:pt x="3414" y="1142"/>
                  </a:lnTo>
                  <a:lnTo>
                    <a:pt x="3446" y="1142"/>
                  </a:lnTo>
                  <a:lnTo>
                    <a:pt x="3468" y="1142"/>
                  </a:lnTo>
                  <a:lnTo>
                    <a:pt x="3470" y="1142"/>
                  </a:lnTo>
                  <a:lnTo>
                    <a:pt x="3472" y="1142"/>
                  </a:lnTo>
                  <a:lnTo>
                    <a:pt x="3476" y="1142"/>
                  </a:lnTo>
                  <a:lnTo>
                    <a:pt x="3486" y="1142"/>
                  </a:lnTo>
                  <a:lnTo>
                    <a:pt x="3522" y="1142"/>
                  </a:lnTo>
                  <a:lnTo>
                    <a:pt x="3528" y="1142"/>
                  </a:lnTo>
                  <a:lnTo>
                    <a:pt x="3530" y="1142"/>
                  </a:lnTo>
                  <a:lnTo>
                    <a:pt x="3544" y="1142"/>
                  </a:lnTo>
                  <a:lnTo>
                    <a:pt x="3550" y="1142"/>
                  </a:lnTo>
                  <a:lnTo>
                    <a:pt x="3552" y="1142"/>
                  </a:lnTo>
                  <a:lnTo>
                    <a:pt x="3566" y="1142"/>
                  </a:lnTo>
                  <a:lnTo>
                    <a:pt x="3586" y="1142"/>
                  </a:lnTo>
                  <a:lnTo>
                    <a:pt x="3604" y="1142"/>
                  </a:lnTo>
                  <a:lnTo>
                    <a:pt x="3618" y="1142"/>
                  </a:lnTo>
                  <a:lnTo>
                    <a:pt x="3618" y="1200"/>
                  </a:lnTo>
                  <a:lnTo>
                    <a:pt x="3628" y="1200"/>
                  </a:lnTo>
                  <a:lnTo>
                    <a:pt x="3678" y="1200"/>
                  </a:lnTo>
                  <a:lnTo>
                    <a:pt x="3694" y="1200"/>
                  </a:lnTo>
                  <a:lnTo>
                    <a:pt x="3698" y="1200"/>
                  </a:lnTo>
                  <a:lnTo>
                    <a:pt x="3726" y="1200"/>
                  </a:lnTo>
                  <a:lnTo>
                    <a:pt x="3728" y="1200"/>
                  </a:lnTo>
                  <a:lnTo>
                    <a:pt x="3744" y="1200"/>
                  </a:lnTo>
                  <a:lnTo>
                    <a:pt x="3750" y="1200"/>
                  </a:lnTo>
                  <a:lnTo>
                    <a:pt x="3752" y="1200"/>
                  </a:lnTo>
                  <a:lnTo>
                    <a:pt x="3762" y="1200"/>
                  </a:lnTo>
                  <a:lnTo>
                    <a:pt x="3774" y="1200"/>
                  </a:lnTo>
                  <a:lnTo>
                    <a:pt x="3834" y="1200"/>
                  </a:lnTo>
                  <a:lnTo>
                    <a:pt x="3836" y="1200"/>
                  </a:lnTo>
                </a:path>
              </a:pathLst>
            </a:custGeom>
            <a:noFill/>
            <a:ln w="254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grpSp>
          <p:nvGrpSpPr>
            <p:cNvPr id="967" name="Group 966">
              <a:extLst>
                <a:ext uri="{FF2B5EF4-FFF2-40B4-BE49-F238E27FC236}">
                  <a16:creationId xmlns:a16="http://schemas.microsoft.com/office/drawing/2014/main" id="{327D0131-6D23-79FA-25F0-2AC20ADF3EED}"/>
                </a:ext>
              </a:extLst>
            </p:cNvPr>
            <p:cNvGrpSpPr/>
            <p:nvPr/>
          </p:nvGrpSpPr>
          <p:grpSpPr>
            <a:xfrm>
              <a:off x="7481368" y="1332593"/>
              <a:ext cx="3219582" cy="1228255"/>
              <a:chOff x="7481368" y="1332593"/>
              <a:chExt cx="3219582" cy="1228255"/>
            </a:xfrm>
          </p:grpSpPr>
          <p:sp>
            <p:nvSpPr>
              <p:cNvPr id="968" name="Line 7">
                <a:extLst>
                  <a:ext uri="{FF2B5EF4-FFF2-40B4-BE49-F238E27FC236}">
                    <a16:creationId xmlns:a16="http://schemas.microsoft.com/office/drawing/2014/main" id="{402B1BCC-F20A-1758-89D6-7D043B8F1FDD}"/>
                  </a:ext>
                </a:extLst>
              </p:cNvPr>
              <p:cNvSpPr>
                <a:spLocks noChangeShapeType="1"/>
              </p:cNvSpPr>
              <p:nvPr/>
            </p:nvSpPr>
            <p:spPr bwMode="auto">
              <a:xfrm>
                <a:off x="10700950"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69" name="Line 8">
                <a:extLst>
                  <a:ext uri="{FF2B5EF4-FFF2-40B4-BE49-F238E27FC236}">
                    <a16:creationId xmlns:a16="http://schemas.microsoft.com/office/drawing/2014/main" id="{D7E00491-DD61-B626-7659-27291A77E691}"/>
                  </a:ext>
                </a:extLst>
              </p:cNvPr>
              <p:cNvSpPr>
                <a:spLocks noChangeShapeType="1"/>
              </p:cNvSpPr>
              <p:nvPr/>
            </p:nvSpPr>
            <p:spPr bwMode="auto">
              <a:xfrm>
                <a:off x="10700950"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70" name="Line 9">
                <a:extLst>
                  <a:ext uri="{FF2B5EF4-FFF2-40B4-BE49-F238E27FC236}">
                    <a16:creationId xmlns:a16="http://schemas.microsoft.com/office/drawing/2014/main" id="{93A00A0F-53AA-D844-F256-F631C1CBA195}"/>
                  </a:ext>
                </a:extLst>
              </p:cNvPr>
              <p:cNvSpPr>
                <a:spLocks noChangeShapeType="1"/>
              </p:cNvSpPr>
              <p:nvPr/>
            </p:nvSpPr>
            <p:spPr bwMode="auto">
              <a:xfrm>
                <a:off x="10642020"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71" name="Line 10">
                <a:extLst>
                  <a:ext uri="{FF2B5EF4-FFF2-40B4-BE49-F238E27FC236}">
                    <a16:creationId xmlns:a16="http://schemas.microsoft.com/office/drawing/2014/main" id="{579C11F9-9992-50D9-FB62-FF8D9710908A}"/>
                  </a:ext>
                </a:extLst>
              </p:cNvPr>
              <p:cNvSpPr>
                <a:spLocks noChangeShapeType="1"/>
              </p:cNvSpPr>
              <p:nvPr/>
            </p:nvSpPr>
            <p:spPr bwMode="auto">
              <a:xfrm>
                <a:off x="10632198"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72" name="Line 11">
                <a:extLst>
                  <a:ext uri="{FF2B5EF4-FFF2-40B4-BE49-F238E27FC236}">
                    <a16:creationId xmlns:a16="http://schemas.microsoft.com/office/drawing/2014/main" id="{75B14C10-93F8-B273-7CFF-782C036D75CB}"/>
                  </a:ext>
                </a:extLst>
              </p:cNvPr>
              <p:cNvSpPr>
                <a:spLocks noChangeShapeType="1"/>
              </p:cNvSpPr>
              <p:nvPr/>
            </p:nvSpPr>
            <p:spPr bwMode="auto">
              <a:xfrm>
                <a:off x="10620412"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73" name="Line 12">
                <a:extLst>
                  <a:ext uri="{FF2B5EF4-FFF2-40B4-BE49-F238E27FC236}">
                    <a16:creationId xmlns:a16="http://schemas.microsoft.com/office/drawing/2014/main" id="{A09C05CF-1D93-0BE6-C596-BAC80C3AEE38}"/>
                  </a:ext>
                </a:extLst>
              </p:cNvPr>
              <p:cNvSpPr>
                <a:spLocks noChangeShapeType="1"/>
              </p:cNvSpPr>
              <p:nvPr/>
            </p:nvSpPr>
            <p:spPr bwMode="auto">
              <a:xfrm>
                <a:off x="10618447"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74" name="Line 13">
                <a:extLst>
                  <a:ext uri="{FF2B5EF4-FFF2-40B4-BE49-F238E27FC236}">
                    <a16:creationId xmlns:a16="http://schemas.microsoft.com/office/drawing/2014/main" id="{AD81F9D8-9DBD-163C-C06A-AA6D82AE2680}"/>
                  </a:ext>
                </a:extLst>
              </p:cNvPr>
              <p:cNvSpPr>
                <a:spLocks noChangeShapeType="1"/>
              </p:cNvSpPr>
              <p:nvPr/>
            </p:nvSpPr>
            <p:spPr bwMode="auto">
              <a:xfrm>
                <a:off x="10612554"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75" name="Line 14">
                <a:extLst>
                  <a:ext uri="{FF2B5EF4-FFF2-40B4-BE49-F238E27FC236}">
                    <a16:creationId xmlns:a16="http://schemas.microsoft.com/office/drawing/2014/main" id="{407B3161-222E-E707-DD68-49180C07CBE1}"/>
                  </a:ext>
                </a:extLst>
              </p:cNvPr>
              <p:cNvSpPr>
                <a:spLocks noChangeShapeType="1"/>
              </p:cNvSpPr>
              <p:nvPr/>
            </p:nvSpPr>
            <p:spPr bwMode="auto">
              <a:xfrm>
                <a:off x="10598804"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76" name="Line 15">
                <a:extLst>
                  <a:ext uri="{FF2B5EF4-FFF2-40B4-BE49-F238E27FC236}">
                    <a16:creationId xmlns:a16="http://schemas.microsoft.com/office/drawing/2014/main" id="{F0436803-383D-51AD-A5CA-7BD40CDB9A5C}"/>
                  </a:ext>
                </a:extLst>
              </p:cNvPr>
              <p:cNvSpPr>
                <a:spLocks noChangeShapeType="1"/>
              </p:cNvSpPr>
              <p:nvPr/>
            </p:nvSpPr>
            <p:spPr bwMode="auto">
              <a:xfrm>
                <a:off x="10594875"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77" name="Line 16">
                <a:extLst>
                  <a:ext uri="{FF2B5EF4-FFF2-40B4-BE49-F238E27FC236}">
                    <a16:creationId xmlns:a16="http://schemas.microsoft.com/office/drawing/2014/main" id="{5A5B410E-32BA-BFF5-8961-36BBE5F86A80}"/>
                  </a:ext>
                </a:extLst>
              </p:cNvPr>
              <p:cNvSpPr>
                <a:spLocks noChangeShapeType="1"/>
              </p:cNvSpPr>
              <p:nvPr/>
            </p:nvSpPr>
            <p:spPr bwMode="auto">
              <a:xfrm>
                <a:off x="10567374"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78" name="Line 17">
                <a:extLst>
                  <a:ext uri="{FF2B5EF4-FFF2-40B4-BE49-F238E27FC236}">
                    <a16:creationId xmlns:a16="http://schemas.microsoft.com/office/drawing/2014/main" id="{40B4DF6A-1D7B-5533-33BA-C92BB7E0BE9D}"/>
                  </a:ext>
                </a:extLst>
              </p:cNvPr>
              <p:cNvSpPr>
                <a:spLocks noChangeShapeType="1"/>
              </p:cNvSpPr>
              <p:nvPr/>
            </p:nvSpPr>
            <p:spPr bwMode="auto">
              <a:xfrm>
                <a:off x="10563445"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79" name="Line 18">
                <a:extLst>
                  <a:ext uri="{FF2B5EF4-FFF2-40B4-BE49-F238E27FC236}">
                    <a16:creationId xmlns:a16="http://schemas.microsoft.com/office/drawing/2014/main" id="{7F697D30-B74B-30C8-58FB-0742AFE4292C}"/>
                  </a:ext>
                </a:extLst>
              </p:cNvPr>
              <p:cNvSpPr>
                <a:spLocks noChangeShapeType="1"/>
              </p:cNvSpPr>
              <p:nvPr/>
            </p:nvSpPr>
            <p:spPr bwMode="auto">
              <a:xfrm>
                <a:off x="10547731"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80" name="Line 19">
                <a:extLst>
                  <a:ext uri="{FF2B5EF4-FFF2-40B4-BE49-F238E27FC236}">
                    <a16:creationId xmlns:a16="http://schemas.microsoft.com/office/drawing/2014/main" id="{C86DBB12-B95C-FD6C-3A03-935A4480DD3F}"/>
                  </a:ext>
                </a:extLst>
              </p:cNvPr>
              <p:cNvSpPr>
                <a:spLocks noChangeShapeType="1"/>
              </p:cNvSpPr>
              <p:nvPr/>
            </p:nvSpPr>
            <p:spPr bwMode="auto">
              <a:xfrm>
                <a:off x="10498621"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81" name="Line 20">
                <a:extLst>
                  <a:ext uri="{FF2B5EF4-FFF2-40B4-BE49-F238E27FC236}">
                    <a16:creationId xmlns:a16="http://schemas.microsoft.com/office/drawing/2014/main" id="{DD339118-ADCE-43C3-2541-724298ABCA07}"/>
                  </a:ext>
                </a:extLst>
              </p:cNvPr>
              <p:cNvSpPr>
                <a:spLocks noChangeShapeType="1"/>
              </p:cNvSpPr>
              <p:nvPr/>
            </p:nvSpPr>
            <p:spPr bwMode="auto">
              <a:xfrm>
                <a:off x="10475049"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82" name="Line 21">
                <a:extLst>
                  <a:ext uri="{FF2B5EF4-FFF2-40B4-BE49-F238E27FC236}">
                    <a16:creationId xmlns:a16="http://schemas.microsoft.com/office/drawing/2014/main" id="{967999F2-2DD5-680C-CC9B-D78E01AE5719}"/>
                  </a:ext>
                </a:extLst>
              </p:cNvPr>
              <p:cNvSpPr>
                <a:spLocks noChangeShapeType="1"/>
              </p:cNvSpPr>
              <p:nvPr/>
            </p:nvSpPr>
            <p:spPr bwMode="auto">
              <a:xfrm>
                <a:off x="10457370"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83" name="Line 22">
                <a:extLst>
                  <a:ext uri="{FF2B5EF4-FFF2-40B4-BE49-F238E27FC236}">
                    <a16:creationId xmlns:a16="http://schemas.microsoft.com/office/drawing/2014/main" id="{494D6C2D-44E1-35D6-C449-95B9C09F453C}"/>
                  </a:ext>
                </a:extLst>
              </p:cNvPr>
              <p:cNvSpPr>
                <a:spLocks noChangeShapeType="1"/>
              </p:cNvSpPr>
              <p:nvPr/>
            </p:nvSpPr>
            <p:spPr bwMode="auto">
              <a:xfrm>
                <a:off x="10437727"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84" name="Line 23">
                <a:extLst>
                  <a:ext uri="{FF2B5EF4-FFF2-40B4-BE49-F238E27FC236}">
                    <a16:creationId xmlns:a16="http://schemas.microsoft.com/office/drawing/2014/main" id="{888A3F25-C808-1C70-1378-BECE2706EEF9}"/>
                  </a:ext>
                </a:extLst>
              </p:cNvPr>
              <p:cNvSpPr>
                <a:spLocks noChangeShapeType="1"/>
              </p:cNvSpPr>
              <p:nvPr/>
            </p:nvSpPr>
            <p:spPr bwMode="auto">
              <a:xfrm>
                <a:off x="10423977"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85" name="Line 24">
                <a:extLst>
                  <a:ext uri="{FF2B5EF4-FFF2-40B4-BE49-F238E27FC236}">
                    <a16:creationId xmlns:a16="http://schemas.microsoft.com/office/drawing/2014/main" id="{B2BB3BDF-617D-FD69-CEF1-2950380B1901}"/>
                  </a:ext>
                </a:extLst>
              </p:cNvPr>
              <p:cNvSpPr>
                <a:spLocks noChangeShapeType="1"/>
              </p:cNvSpPr>
              <p:nvPr/>
            </p:nvSpPr>
            <p:spPr bwMode="auto">
              <a:xfrm>
                <a:off x="10422011"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86" name="Line 25">
                <a:extLst>
                  <a:ext uri="{FF2B5EF4-FFF2-40B4-BE49-F238E27FC236}">
                    <a16:creationId xmlns:a16="http://schemas.microsoft.com/office/drawing/2014/main" id="{CBBF1CE8-847D-DD54-2D6B-0CD241BB309A}"/>
                  </a:ext>
                </a:extLst>
              </p:cNvPr>
              <p:cNvSpPr>
                <a:spLocks noChangeShapeType="1"/>
              </p:cNvSpPr>
              <p:nvPr/>
            </p:nvSpPr>
            <p:spPr bwMode="auto">
              <a:xfrm>
                <a:off x="10416118"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87" name="Line 26">
                <a:extLst>
                  <a:ext uri="{FF2B5EF4-FFF2-40B4-BE49-F238E27FC236}">
                    <a16:creationId xmlns:a16="http://schemas.microsoft.com/office/drawing/2014/main" id="{D3A86F25-50E8-0A9B-9359-7C288B544CA1}"/>
                  </a:ext>
                </a:extLst>
              </p:cNvPr>
              <p:cNvSpPr>
                <a:spLocks noChangeShapeType="1"/>
              </p:cNvSpPr>
              <p:nvPr/>
            </p:nvSpPr>
            <p:spPr bwMode="auto">
              <a:xfrm>
                <a:off x="10404333"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88" name="Line 27">
                <a:extLst>
                  <a:ext uri="{FF2B5EF4-FFF2-40B4-BE49-F238E27FC236}">
                    <a16:creationId xmlns:a16="http://schemas.microsoft.com/office/drawing/2014/main" id="{0945A332-7E2F-AD22-5486-9D2E83A7481E}"/>
                  </a:ext>
                </a:extLst>
              </p:cNvPr>
              <p:cNvSpPr>
                <a:spLocks noChangeShapeType="1"/>
              </p:cNvSpPr>
              <p:nvPr/>
            </p:nvSpPr>
            <p:spPr bwMode="auto">
              <a:xfrm>
                <a:off x="10400403"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89" name="Line 28">
                <a:extLst>
                  <a:ext uri="{FF2B5EF4-FFF2-40B4-BE49-F238E27FC236}">
                    <a16:creationId xmlns:a16="http://schemas.microsoft.com/office/drawing/2014/main" id="{27A4F054-3D02-0AA5-C26F-2EAF9A69EF73}"/>
                  </a:ext>
                </a:extLst>
              </p:cNvPr>
              <p:cNvSpPr>
                <a:spLocks noChangeShapeType="1"/>
              </p:cNvSpPr>
              <p:nvPr/>
            </p:nvSpPr>
            <p:spPr bwMode="auto">
              <a:xfrm>
                <a:off x="10396476"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90" name="Line 29">
                <a:extLst>
                  <a:ext uri="{FF2B5EF4-FFF2-40B4-BE49-F238E27FC236}">
                    <a16:creationId xmlns:a16="http://schemas.microsoft.com/office/drawing/2014/main" id="{15A7AA55-5CBC-CF3E-1DDB-1209CFB3B4DA}"/>
                  </a:ext>
                </a:extLst>
              </p:cNvPr>
              <p:cNvSpPr>
                <a:spLocks noChangeShapeType="1"/>
              </p:cNvSpPr>
              <p:nvPr/>
            </p:nvSpPr>
            <p:spPr bwMode="auto">
              <a:xfrm>
                <a:off x="10359152"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91" name="Line 30">
                <a:extLst>
                  <a:ext uri="{FF2B5EF4-FFF2-40B4-BE49-F238E27FC236}">
                    <a16:creationId xmlns:a16="http://schemas.microsoft.com/office/drawing/2014/main" id="{E5114B4E-9167-515F-F8A3-2EE9EFDB8273}"/>
                  </a:ext>
                </a:extLst>
              </p:cNvPr>
              <p:cNvSpPr>
                <a:spLocks noChangeShapeType="1"/>
              </p:cNvSpPr>
              <p:nvPr/>
            </p:nvSpPr>
            <p:spPr bwMode="auto">
              <a:xfrm>
                <a:off x="10349331"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92" name="Line 31">
                <a:extLst>
                  <a:ext uri="{FF2B5EF4-FFF2-40B4-BE49-F238E27FC236}">
                    <a16:creationId xmlns:a16="http://schemas.microsoft.com/office/drawing/2014/main" id="{2DEE75CA-58BA-6720-E2A5-E272436D8A13}"/>
                  </a:ext>
                </a:extLst>
              </p:cNvPr>
              <p:cNvSpPr>
                <a:spLocks noChangeShapeType="1"/>
              </p:cNvSpPr>
              <p:nvPr/>
            </p:nvSpPr>
            <p:spPr bwMode="auto">
              <a:xfrm>
                <a:off x="10347366"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93" name="Line 32">
                <a:extLst>
                  <a:ext uri="{FF2B5EF4-FFF2-40B4-BE49-F238E27FC236}">
                    <a16:creationId xmlns:a16="http://schemas.microsoft.com/office/drawing/2014/main" id="{939054FA-9479-4ADF-6927-DDB04EB6D63B}"/>
                  </a:ext>
                </a:extLst>
              </p:cNvPr>
              <p:cNvSpPr>
                <a:spLocks noChangeShapeType="1"/>
              </p:cNvSpPr>
              <p:nvPr/>
            </p:nvSpPr>
            <p:spPr bwMode="auto">
              <a:xfrm>
                <a:off x="10343438"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94" name="Line 33">
                <a:extLst>
                  <a:ext uri="{FF2B5EF4-FFF2-40B4-BE49-F238E27FC236}">
                    <a16:creationId xmlns:a16="http://schemas.microsoft.com/office/drawing/2014/main" id="{287875AE-9FC9-4623-EAF2-E7ABF0180C01}"/>
                  </a:ext>
                </a:extLst>
              </p:cNvPr>
              <p:cNvSpPr>
                <a:spLocks noChangeShapeType="1"/>
              </p:cNvSpPr>
              <p:nvPr/>
            </p:nvSpPr>
            <p:spPr bwMode="auto">
              <a:xfrm>
                <a:off x="10341473"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95" name="Line 34">
                <a:extLst>
                  <a:ext uri="{FF2B5EF4-FFF2-40B4-BE49-F238E27FC236}">
                    <a16:creationId xmlns:a16="http://schemas.microsoft.com/office/drawing/2014/main" id="{7A39067A-EB22-2F6C-658D-15D1B0B2E4F9}"/>
                  </a:ext>
                </a:extLst>
              </p:cNvPr>
              <p:cNvSpPr>
                <a:spLocks noChangeShapeType="1"/>
              </p:cNvSpPr>
              <p:nvPr/>
            </p:nvSpPr>
            <p:spPr bwMode="auto">
              <a:xfrm>
                <a:off x="10319865"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96" name="Line 35">
                <a:extLst>
                  <a:ext uri="{FF2B5EF4-FFF2-40B4-BE49-F238E27FC236}">
                    <a16:creationId xmlns:a16="http://schemas.microsoft.com/office/drawing/2014/main" id="{F23F8885-33F0-3E7D-D815-3FE3615F67E1}"/>
                  </a:ext>
                </a:extLst>
              </p:cNvPr>
              <p:cNvSpPr>
                <a:spLocks noChangeShapeType="1"/>
              </p:cNvSpPr>
              <p:nvPr/>
            </p:nvSpPr>
            <p:spPr bwMode="auto">
              <a:xfrm>
                <a:off x="10288436"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97" name="Line 36">
                <a:extLst>
                  <a:ext uri="{FF2B5EF4-FFF2-40B4-BE49-F238E27FC236}">
                    <a16:creationId xmlns:a16="http://schemas.microsoft.com/office/drawing/2014/main" id="{C581ED24-90A4-420D-9A66-D2184B6D426D}"/>
                  </a:ext>
                </a:extLst>
              </p:cNvPr>
              <p:cNvSpPr>
                <a:spLocks noChangeShapeType="1"/>
              </p:cNvSpPr>
              <p:nvPr/>
            </p:nvSpPr>
            <p:spPr bwMode="auto">
              <a:xfrm>
                <a:off x="10274685"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98" name="Line 37">
                <a:extLst>
                  <a:ext uri="{FF2B5EF4-FFF2-40B4-BE49-F238E27FC236}">
                    <a16:creationId xmlns:a16="http://schemas.microsoft.com/office/drawing/2014/main" id="{C0E3220E-A612-C0E1-D8A6-57F7535EE760}"/>
                  </a:ext>
                </a:extLst>
              </p:cNvPr>
              <p:cNvSpPr>
                <a:spLocks noChangeShapeType="1"/>
              </p:cNvSpPr>
              <p:nvPr/>
            </p:nvSpPr>
            <p:spPr bwMode="auto">
              <a:xfrm>
                <a:off x="10270756"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002" name="Line 38">
                <a:extLst>
                  <a:ext uri="{FF2B5EF4-FFF2-40B4-BE49-F238E27FC236}">
                    <a16:creationId xmlns:a16="http://schemas.microsoft.com/office/drawing/2014/main" id="{02417D2E-F61A-7B8F-2AE8-07AA999CE1E4}"/>
                  </a:ext>
                </a:extLst>
              </p:cNvPr>
              <p:cNvSpPr>
                <a:spLocks noChangeShapeType="1"/>
              </p:cNvSpPr>
              <p:nvPr/>
            </p:nvSpPr>
            <p:spPr bwMode="auto">
              <a:xfrm>
                <a:off x="10268791"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003" name="Line 39">
                <a:extLst>
                  <a:ext uri="{FF2B5EF4-FFF2-40B4-BE49-F238E27FC236}">
                    <a16:creationId xmlns:a16="http://schemas.microsoft.com/office/drawing/2014/main" id="{7E07486C-7E6D-6241-B99B-1364E79FA556}"/>
                  </a:ext>
                </a:extLst>
              </p:cNvPr>
              <p:cNvSpPr>
                <a:spLocks noChangeShapeType="1"/>
              </p:cNvSpPr>
              <p:nvPr/>
            </p:nvSpPr>
            <p:spPr bwMode="auto">
              <a:xfrm>
                <a:off x="10258970"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004" name="Line 40">
                <a:extLst>
                  <a:ext uri="{FF2B5EF4-FFF2-40B4-BE49-F238E27FC236}">
                    <a16:creationId xmlns:a16="http://schemas.microsoft.com/office/drawing/2014/main" id="{F0212BC8-9386-1469-9176-4FCB91A548EA}"/>
                  </a:ext>
                </a:extLst>
              </p:cNvPr>
              <p:cNvSpPr>
                <a:spLocks noChangeShapeType="1"/>
              </p:cNvSpPr>
              <p:nvPr/>
            </p:nvSpPr>
            <p:spPr bwMode="auto">
              <a:xfrm>
                <a:off x="10253077"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007" name="Line 41">
                <a:extLst>
                  <a:ext uri="{FF2B5EF4-FFF2-40B4-BE49-F238E27FC236}">
                    <a16:creationId xmlns:a16="http://schemas.microsoft.com/office/drawing/2014/main" id="{9B62C151-C537-BB9C-CC28-5A9A29807825}"/>
                  </a:ext>
                </a:extLst>
              </p:cNvPr>
              <p:cNvSpPr>
                <a:spLocks noChangeShapeType="1"/>
              </p:cNvSpPr>
              <p:nvPr/>
            </p:nvSpPr>
            <p:spPr bwMode="auto">
              <a:xfrm>
                <a:off x="10239327"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008" name="Line 42">
                <a:extLst>
                  <a:ext uri="{FF2B5EF4-FFF2-40B4-BE49-F238E27FC236}">
                    <a16:creationId xmlns:a16="http://schemas.microsoft.com/office/drawing/2014/main" id="{99D1FAB1-6983-F04D-5A8A-D0200C47483B}"/>
                  </a:ext>
                </a:extLst>
              </p:cNvPr>
              <p:cNvSpPr>
                <a:spLocks noChangeShapeType="1"/>
              </p:cNvSpPr>
              <p:nvPr/>
            </p:nvSpPr>
            <p:spPr bwMode="auto">
              <a:xfrm>
                <a:off x="10231469"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010" name="Line 43">
                <a:extLst>
                  <a:ext uri="{FF2B5EF4-FFF2-40B4-BE49-F238E27FC236}">
                    <a16:creationId xmlns:a16="http://schemas.microsoft.com/office/drawing/2014/main" id="{1951952E-51D9-FD18-D7CF-0ED6E6B0FDD3}"/>
                  </a:ext>
                </a:extLst>
              </p:cNvPr>
              <p:cNvSpPr>
                <a:spLocks noChangeShapeType="1"/>
              </p:cNvSpPr>
              <p:nvPr/>
            </p:nvSpPr>
            <p:spPr bwMode="auto">
              <a:xfrm>
                <a:off x="10229504"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012" name="Line 44">
                <a:extLst>
                  <a:ext uri="{FF2B5EF4-FFF2-40B4-BE49-F238E27FC236}">
                    <a16:creationId xmlns:a16="http://schemas.microsoft.com/office/drawing/2014/main" id="{ADF7658F-70EA-892C-D95D-CE65E40F531C}"/>
                  </a:ext>
                </a:extLst>
              </p:cNvPr>
              <p:cNvSpPr>
                <a:spLocks noChangeShapeType="1"/>
              </p:cNvSpPr>
              <p:nvPr/>
            </p:nvSpPr>
            <p:spPr bwMode="auto">
              <a:xfrm>
                <a:off x="10227541"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33" name="Line 45">
                <a:extLst>
                  <a:ext uri="{FF2B5EF4-FFF2-40B4-BE49-F238E27FC236}">
                    <a16:creationId xmlns:a16="http://schemas.microsoft.com/office/drawing/2014/main" id="{E62BBB9F-0800-5DA8-3D60-6FD97544C0EC}"/>
                  </a:ext>
                </a:extLst>
              </p:cNvPr>
              <p:cNvSpPr>
                <a:spLocks noChangeShapeType="1"/>
              </p:cNvSpPr>
              <p:nvPr/>
            </p:nvSpPr>
            <p:spPr bwMode="auto">
              <a:xfrm>
                <a:off x="10219683"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34" name="Line 46">
                <a:extLst>
                  <a:ext uri="{FF2B5EF4-FFF2-40B4-BE49-F238E27FC236}">
                    <a16:creationId xmlns:a16="http://schemas.microsoft.com/office/drawing/2014/main" id="{508B614B-E4AF-5CE5-DE6A-4F1586C75E0E}"/>
                  </a:ext>
                </a:extLst>
              </p:cNvPr>
              <p:cNvSpPr>
                <a:spLocks noChangeShapeType="1"/>
              </p:cNvSpPr>
              <p:nvPr/>
            </p:nvSpPr>
            <p:spPr bwMode="auto">
              <a:xfrm>
                <a:off x="10203968"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35" name="Line 47">
                <a:extLst>
                  <a:ext uri="{FF2B5EF4-FFF2-40B4-BE49-F238E27FC236}">
                    <a16:creationId xmlns:a16="http://schemas.microsoft.com/office/drawing/2014/main" id="{071D59EB-8F93-2260-E866-00168D844F67}"/>
                  </a:ext>
                </a:extLst>
              </p:cNvPr>
              <p:cNvSpPr>
                <a:spLocks noChangeShapeType="1"/>
              </p:cNvSpPr>
              <p:nvPr/>
            </p:nvSpPr>
            <p:spPr bwMode="auto">
              <a:xfrm>
                <a:off x="10202003"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39" name="Line 48">
                <a:extLst>
                  <a:ext uri="{FF2B5EF4-FFF2-40B4-BE49-F238E27FC236}">
                    <a16:creationId xmlns:a16="http://schemas.microsoft.com/office/drawing/2014/main" id="{2A056B1E-1FBE-973A-6682-02A57AFF7D3C}"/>
                  </a:ext>
                </a:extLst>
              </p:cNvPr>
              <p:cNvSpPr>
                <a:spLocks noChangeShapeType="1"/>
              </p:cNvSpPr>
              <p:nvPr/>
            </p:nvSpPr>
            <p:spPr bwMode="auto">
              <a:xfrm>
                <a:off x="10182360"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40" name="Line 49">
                <a:extLst>
                  <a:ext uri="{FF2B5EF4-FFF2-40B4-BE49-F238E27FC236}">
                    <a16:creationId xmlns:a16="http://schemas.microsoft.com/office/drawing/2014/main" id="{814BDE5F-F4B9-4F32-65F8-420DF92BF6F7}"/>
                  </a:ext>
                </a:extLst>
              </p:cNvPr>
              <p:cNvSpPr>
                <a:spLocks noChangeShapeType="1"/>
              </p:cNvSpPr>
              <p:nvPr/>
            </p:nvSpPr>
            <p:spPr bwMode="auto">
              <a:xfrm>
                <a:off x="10178432"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41" name="Line 50">
                <a:extLst>
                  <a:ext uri="{FF2B5EF4-FFF2-40B4-BE49-F238E27FC236}">
                    <a16:creationId xmlns:a16="http://schemas.microsoft.com/office/drawing/2014/main" id="{F24C1BE3-B420-08EC-8011-CBAE4EBCD303}"/>
                  </a:ext>
                </a:extLst>
              </p:cNvPr>
              <p:cNvSpPr>
                <a:spLocks noChangeShapeType="1"/>
              </p:cNvSpPr>
              <p:nvPr/>
            </p:nvSpPr>
            <p:spPr bwMode="auto">
              <a:xfrm>
                <a:off x="10176467"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42" name="Line 51">
                <a:extLst>
                  <a:ext uri="{FF2B5EF4-FFF2-40B4-BE49-F238E27FC236}">
                    <a16:creationId xmlns:a16="http://schemas.microsoft.com/office/drawing/2014/main" id="{107D0E2F-8288-5E75-4E9C-DA2D4AB013EE}"/>
                  </a:ext>
                </a:extLst>
              </p:cNvPr>
              <p:cNvSpPr>
                <a:spLocks noChangeShapeType="1"/>
              </p:cNvSpPr>
              <p:nvPr/>
            </p:nvSpPr>
            <p:spPr bwMode="auto">
              <a:xfrm>
                <a:off x="10168610" y="244898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43" name="Line 52">
                <a:extLst>
                  <a:ext uri="{FF2B5EF4-FFF2-40B4-BE49-F238E27FC236}">
                    <a16:creationId xmlns:a16="http://schemas.microsoft.com/office/drawing/2014/main" id="{EEB3586C-8125-75BB-302C-0B8CA67C50E0}"/>
                  </a:ext>
                </a:extLst>
              </p:cNvPr>
              <p:cNvSpPr>
                <a:spLocks noChangeShapeType="1"/>
              </p:cNvSpPr>
              <p:nvPr/>
            </p:nvSpPr>
            <p:spPr bwMode="auto">
              <a:xfrm>
                <a:off x="10137180" y="241608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44" name="Line 53">
                <a:extLst>
                  <a:ext uri="{FF2B5EF4-FFF2-40B4-BE49-F238E27FC236}">
                    <a16:creationId xmlns:a16="http://schemas.microsoft.com/office/drawing/2014/main" id="{E8C047B5-D447-F1EE-D2A8-013D6D18AC41}"/>
                  </a:ext>
                </a:extLst>
              </p:cNvPr>
              <p:cNvSpPr>
                <a:spLocks noChangeShapeType="1"/>
              </p:cNvSpPr>
              <p:nvPr/>
            </p:nvSpPr>
            <p:spPr bwMode="auto">
              <a:xfrm>
                <a:off x="10133250" y="241608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45" name="Line 54">
                <a:extLst>
                  <a:ext uri="{FF2B5EF4-FFF2-40B4-BE49-F238E27FC236}">
                    <a16:creationId xmlns:a16="http://schemas.microsoft.com/office/drawing/2014/main" id="{7F5728FA-0A7D-E71B-0C41-6EEBA6C471DC}"/>
                  </a:ext>
                </a:extLst>
              </p:cNvPr>
              <p:cNvSpPr>
                <a:spLocks noChangeShapeType="1"/>
              </p:cNvSpPr>
              <p:nvPr/>
            </p:nvSpPr>
            <p:spPr bwMode="auto">
              <a:xfrm>
                <a:off x="10129323" y="241608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46" name="Line 55">
                <a:extLst>
                  <a:ext uri="{FF2B5EF4-FFF2-40B4-BE49-F238E27FC236}">
                    <a16:creationId xmlns:a16="http://schemas.microsoft.com/office/drawing/2014/main" id="{52A68FC4-8505-F8D7-8A1D-D3D464CD90CE}"/>
                  </a:ext>
                </a:extLst>
              </p:cNvPr>
              <p:cNvSpPr>
                <a:spLocks noChangeShapeType="1"/>
              </p:cNvSpPr>
              <p:nvPr/>
            </p:nvSpPr>
            <p:spPr bwMode="auto">
              <a:xfrm>
                <a:off x="10125394" y="241608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47" name="Line 56">
                <a:extLst>
                  <a:ext uri="{FF2B5EF4-FFF2-40B4-BE49-F238E27FC236}">
                    <a16:creationId xmlns:a16="http://schemas.microsoft.com/office/drawing/2014/main" id="{FB1844F8-7B64-B685-9C86-2CFD08EBFED4}"/>
                  </a:ext>
                </a:extLst>
              </p:cNvPr>
              <p:cNvSpPr>
                <a:spLocks noChangeShapeType="1"/>
              </p:cNvSpPr>
              <p:nvPr/>
            </p:nvSpPr>
            <p:spPr bwMode="auto">
              <a:xfrm>
                <a:off x="10113608" y="241608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48" name="Line 57">
                <a:extLst>
                  <a:ext uri="{FF2B5EF4-FFF2-40B4-BE49-F238E27FC236}">
                    <a16:creationId xmlns:a16="http://schemas.microsoft.com/office/drawing/2014/main" id="{D83E0543-C547-4A42-3BDA-B315D2E75A05}"/>
                  </a:ext>
                </a:extLst>
              </p:cNvPr>
              <p:cNvSpPr>
                <a:spLocks noChangeShapeType="1"/>
              </p:cNvSpPr>
              <p:nvPr/>
            </p:nvSpPr>
            <p:spPr bwMode="auto">
              <a:xfrm>
                <a:off x="10111643" y="241608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49" name="Line 58">
                <a:extLst>
                  <a:ext uri="{FF2B5EF4-FFF2-40B4-BE49-F238E27FC236}">
                    <a16:creationId xmlns:a16="http://schemas.microsoft.com/office/drawing/2014/main" id="{5987C7CF-F5EC-2BD3-B817-22050E4BFE30}"/>
                  </a:ext>
                </a:extLst>
              </p:cNvPr>
              <p:cNvSpPr>
                <a:spLocks noChangeShapeType="1"/>
              </p:cNvSpPr>
              <p:nvPr/>
            </p:nvSpPr>
            <p:spPr bwMode="auto">
              <a:xfrm>
                <a:off x="10103786" y="241608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50" name="Line 59">
                <a:extLst>
                  <a:ext uri="{FF2B5EF4-FFF2-40B4-BE49-F238E27FC236}">
                    <a16:creationId xmlns:a16="http://schemas.microsoft.com/office/drawing/2014/main" id="{50CEF007-F2E9-E6D3-C63A-B2996809E251}"/>
                  </a:ext>
                </a:extLst>
              </p:cNvPr>
              <p:cNvSpPr>
                <a:spLocks noChangeShapeType="1"/>
              </p:cNvSpPr>
              <p:nvPr/>
            </p:nvSpPr>
            <p:spPr bwMode="auto">
              <a:xfrm>
                <a:off x="10091999" y="241608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51" name="Line 60">
                <a:extLst>
                  <a:ext uri="{FF2B5EF4-FFF2-40B4-BE49-F238E27FC236}">
                    <a16:creationId xmlns:a16="http://schemas.microsoft.com/office/drawing/2014/main" id="{74553DF3-1AB9-8DF0-45F4-67E952A387F3}"/>
                  </a:ext>
                </a:extLst>
              </p:cNvPr>
              <p:cNvSpPr>
                <a:spLocks noChangeShapeType="1"/>
              </p:cNvSpPr>
              <p:nvPr/>
            </p:nvSpPr>
            <p:spPr bwMode="auto">
              <a:xfrm>
                <a:off x="10088071" y="241608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52" name="Line 61">
                <a:extLst>
                  <a:ext uri="{FF2B5EF4-FFF2-40B4-BE49-F238E27FC236}">
                    <a16:creationId xmlns:a16="http://schemas.microsoft.com/office/drawing/2014/main" id="{3F839BF8-5175-FE2C-FC5B-F955C6B060FA}"/>
                  </a:ext>
                </a:extLst>
              </p:cNvPr>
              <p:cNvSpPr>
                <a:spLocks noChangeShapeType="1"/>
              </p:cNvSpPr>
              <p:nvPr/>
            </p:nvSpPr>
            <p:spPr bwMode="auto">
              <a:xfrm>
                <a:off x="10066463" y="2405122"/>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53" name="Line 62">
                <a:extLst>
                  <a:ext uri="{FF2B5EF4-FFF2-40B4-BE49-F238E27FC236}">
                    <a16:creationId xmlns:a16="http://schemas.microsoft.com/office/drawing/2014/main" id="{67C7A018-6B23-4C6C-6FBC-D8D5F56FB213}"/>
                  </a:ext>
                </a:extLst>
              </p:cNvPr>
              <p:cNvSpPr>
                <a:spLocks noChangeShapeType="1"/>
              </p:cNvSpPr>
              <p:nvPr/>
            </p:nvSpPr>
            <p:spPr bwMode="auto">
              <a:xfrm>
                <a:off x="10062534" y="2405122"/>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54" name="Line 63">
                <a:extLst>
                  <a:ext uri="{FF2B5EF4-FFF2-40B4-BE49-F238E27FC236}">
                    <a16:creationId xmlns:a16="http://schemas.microsoft.com/office/drawing/2014/main" id="{6933A814-42FB-EE87-D447-A801BD898E1F}"/>
                  </a:ext>
                </a:extLst>
              </p:cNvPr>
              <p:cNvSpPr>
                <a:spLocks noChangeShapeType="1"/>
              </p:cNvSpPr>
              <p:nvPr/>
            </p:nvSpPr>
            <p:spPr bwMode="auto">
              <a:xfrm>
                <a:off x="10058606" y="2405122"/>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55" name="Line 64">
                <a:extLst>
                  <a:ext uri="{FF2B5EF4-FFF2-40B4-BE49-F238E27FC236}">
                    <a16:creationId xmlns:a16="http://schemas.microsoft.com/office/drawing/2014/main" id="{DCE3DE76-9ABF-892C-D34E-179DD8C09582}"/>
                  </a:ext>
                </a:extLst>
              </p:cNvPr>
              <p:cNvSpPr>
                <a:spLocks noChangeShapeType="1"/>
              </p:cNvSpPr>
              <p:nvPr/>
            </p:nvSpPr>
            <p:spPr bwMode="auto">
              <a:xfrm>
                <a:off x="10056641" y="2405122"/>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56" name="Line 65">
                <a:extLst>
                  <a:ext uri="{FF2B5EF4-FFF2-40B4-BE49-F238E27FC236}">
                    <a16:creationId xmlns:a16="http://schemas.microsoft.com/office/drawing/2014/main" id="{7071312A-B579-A90B-201E-C85A6072118E}"/>
                  </a:ext>
                </a:extLst>
              </p:cNvPr>
              <p:cNvSpPr>
                <a:spLocks noChangeShapeType="1"/>
              </p:cNvSpPr>
              <p:nvPr/>
            </p:nvSpPr>
            <p:spPr bwMode="auto">
              <a:xfrm>
                <a:off x="10054677" y="2405122"/>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60" name="Line 66">
                <a:extLst>
                  <a:ext uri="{FF2B5EF4-FFF2-40B4-BE49-F238E27FC236}">
                    <a16:creationId xmlns:a16="http://schemas.microsoft.com/office/drawing/2014/main" id="{76295970-C226-C7E5-4037-834E7A133A2A}"/>
                  </a:ext>
                </a:extLst>
              </p:cNvPr>
              <p:cNvSpPr>
                <a:spLocks noChangeShapeType="1"/>
              </p:cNvSpPr>
              <p:nvPr/>
            </p:nvSpPr>
            <p:spPr bwMode="auto">
              <a:xfrm>
                <a:off x="10046820" y="2405122"/>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61" name="Line 67">
                <a:extLst>
                  <a:ext uri="{FF2B5EF4-FFF2-40B4-BE49-F238E27FC236}">
                    <a16:creationId xmlns:a16="http://schemas.microsoft.com/office/drawing/2014/main" id="{D99F8038-EB4C-6814-1FF3-5B6B522ADEA9}"/>
                  </a:ext>
                </a:extLst>
              </p:cNvPr>
              <p:cNvSpPr>
                <a:spLocks noChangeShapeType="1"/>
              </p:cNvSpPr>
              <p:nvPr/>
            </p:nvSpPr>
            <p:spPr bwMode="auto">
              <a:xfrm>
                <a:off x="10042891" y="2405122"/>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63" name="Line 68">
                <a:extLst>
                  <a:ext uri="{FF2B5EF4-FFF2-40B4-BE49-F238E27FC236}">
                    <a16:creationId xmlns:a16="http://schemas.microsoft.com/office/drawing/2014/main" id="{E776D0F4-F58A-43A2-C443-705F46B8F23F}"/>
                  </a:ext>
                </a:extLst>
              </p:cNvPr>
              <p:cNvSpPr>
                <a:spLocks noChangeShapeType="1"/>
              </p:cNvSpPr>
              <p:nvPr/>
            </p:nvSpPr>
            <p:spPr bwMode="auto">
              <a:xfrm>
                <a:off x="10033069" y="2405122"/>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64" name="Line 69">
                <a:extLst>
                  <a:ext uri="{FF2B5EF4-FFF2-40B4-BE49-F238E27FC236}">
                    <a16:creationId xmlns:a16="http://schemas.microsoft.com/office/drawing/2014/main" id="{CD1C2AA7-81E9-CB18-3A33-A31D00ED6496}"/>
                  </a:ext>
                </a:extLst>
              </p:cNvPr>
              <p:cNvSpPr>
                <a:spLocks noChangeShapeType="1"/>
              </p:cNvSpPr>
              <p:nvPr/>
            </p:nvSpPr>
            <p:spPr bwMode="auto">
              <a:xfrm>
                <a:off x="10027176" y="2391963"/>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66" name="Line 70">
                <a:extLst>
                  <a:ext uri="{FF2B5EF4-FFF2-40B4-BE49-F238E27FC236}">
                    <a16:creationId xmlns:a16="http://schemas.microsoft.com/office/drawing/2014/main" id="{D2F11854-7611-6893-3B73-863FAA2CD516}"/>
                  </a:ext>
                </a:extLst>
              </p:cNvPr>
              <p:cNvSpPr>
                <a:spLocks noChangeShapeType="1"/>
              </p:cNvSpPr>
              <p:nvPr/>
            </p:nvSpPr>
            <p:spPr bwMode="auto">
              <a:xfrm>
                <a:off x="10005568" y="2391963"/>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67" name="Line 71">
                <a:extLst>
                  <a:ext uri="{FF2B5EF4-FFF2-40B4-BE49-F238E27FC236}">
                    <a16:creationId xmlns:a16="http://schemas.microsoft.com/office/drawing/2014/main" id="{7E97E8EA-A971-ECDE-DAF3-AECD8D4141A7}"/>
                  </a:ext>
                </a:extLst>
              </p:cNvPr>
              <p:cNvSpPr>
                <a:spLocks noChangeShapeType="1"/>
              </p:cNvSpPr>
              <p:nvPr/>
            </p:nvSpPr>
            <p:spPr bwMode="auto">
              <a:xfrm>
                <a:off x="9999675" y="2391963"/>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71" name="Line 72">
                <a:extLst>
                  <a:ext uri="{FF2B5EF4-FFF2-40B4-BE49-F238E27FC236}">
                    <a16:creationId xmlns:a16="http://schemas.microsoft.com/office/drawing/2014/main" id="{A2E3F1B0-AB54-EF32-DE62-A713639AD472}"/>
                  </a:ext>
                </a:extLst>
              </p:cNvPr>
              <p:cNvSpPr>
                <a:spLocks noChangeShapeType="1"/>
              </p:cNvSpPr>
              <p:nvPr/>
            </p:nvSpPr>
            <p:spPr bwMode="auto">
              <a:xfrm>
                <a:off x="9985924" y="2380995"/>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72" name="Line 73">
                <a:extLst>
                  <a:ext uri="{FF2B5EF4-FFF2-40B4-BE49-F238E27FC236}">
                    <a16:creationId xmlns:a16="http://schemas.microsoft.com/office/drawing/2014/main" id="{EFFD9CB1-B065-658E-6B7A-AE8B5BA3E327}"/>
                  </a:ext>
                </a:extLst>
              </p:cNvPr>
              <p:cNvSpPr>
                <a:spLocks noChangeShapeType="1"/>
              </p:cNvSpPr>
              <p:nvPr/>
            </p:nvSpPr>
            <p:spPr bwMode="auto">
              <a:xfrm>
                <a:off x="9983960" y="2380995"/>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73" name="Line 74">
                <a:extLst>
                  <a:ext uri="{FF2B5EF4-FFF2-40B4-BE49-F238E27FC236}">
                    <a16:creationId xmlns:a16="http://schemas.microsoft.com/office/drawing/2014/main" id="{4CF8E12C-885A-E62F-9D27-09B9B3E05303}"/>
                  </a:ext>
                </a:extLst>
              </p:cNvPr>
              <p:cNvSpPr>
                <a:spLocks noChangeShapeType="1"/>
              </p:cNvSpPr>
              <p:nvPr/>
            </p:nvSpPr>
            <p:spPr bwMode="auto">
              <a:xfrm>
                <a:off x="9981996" y="2380995"/>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74" name="Line 75">
                <a:extLst>
                  <a:ext uri="{FF2B5EF4-FFF2-40B4-BE49-F238E27FC236}">
                    <a16:creationId xmlns:a16="http://schemas.microsoft.com/office/drawing/2014/main" id="{D6B7B81D-76E3-E415-2E0F-D732568BEC1F}"/>
                  </a:ext>
                </a:extLst>
              </p:cNvPr>
              <p:cNvSpPr>
                <a:spLocks noChangeShapeType="1"/>
              </p:cNvSpPr>
              <p:nvPr/>
            </p:nvSpPr>
            <p:spPr bwMode="auto">
              <a:xfrm>
                <a:off x="9980031" y="2380995"/>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75" name="Line 76">
                <a:extLst>
                  <a:ext uri="{FF2B5EF4-FFF2-40B4-BE49-F238E27FC236}">
                    <a16:creationId xmlns:a16="http://schemas.microsoft.com/office/drawing/2014/main" id="{1C01CF53-3F3C-68BC-CC0D-1EA7DB764DCF}"/>
                  </a:ext>
                </a:extLst>
              </p:cNvPr>
              <p:cNvSpPr>
                <a:spLocks noChangeShapeType="1"/>
              </p:cNvSpPr>
              <p:nvPr/>
            </p:nvSpPr>
            <p:spPr bwMode="auto">
              <a:xfrm>
                <a:off x="9964316" y="2370029"/>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76" name="Line 77">
                <a:extLst>
                  <a:ext uri="{FF2B5EF4-FFF2-40B4-BE49-F238E27FC236}">
                    <a16:creationId xmlns:a16="http://schemas.microsoft.com/office/drawing/2014/main" id="{052CDE59-7172-2892-E11C-B5C721A2AC8F}"/>
                  </a:ext>
                </a:extLst>
              </p:cNvPr>
              <p:cNvSpPr>
                <a:spLocks noChangeShapeType="1"/>
              </p:cNvSpPr>
              <p:nvPr/>
            </p:nvSpPr>
            <p:spPr bwMode="auto">
              <a:xfrm>
                <a:off x="9960388" y="2359062"/>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77" name="Line 78">
                <a:extLst>
                  <a:ext uri="{FF2B5EF4-FFF2-40B4-BE49-F238E27FC236}">
                    <a16:creationId xmlns:a16="http://schemas.microsoft.com/office/drawing/2014/main" id="{0C4FC6C2-0F94-3B59-1F2A-BDE6EE48C7C8}"/>
                  </a:ext>
                </a:extLst>
              </p:cNvPr>
              <p:cNvSpPr>
                <a:spLocks noChangeShapeType="1"/>
              </p:cNvSpPr>
              <p:nvPr/>
            </p:nvSpPr>
            <p:spPr bwMode="auto">
              <a:xfrm>
                <a:off x="9932887" y="2359062"/>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78" name="Line 79">
                <a:extLst>
                  <a:ext uri="{FF2B5EF4-FFF2-40B4-BE49-F238E27FC236}">
                    <a16:creationId xmlns:a16="http://schemas.microsoft.com/office/drawing/2014/main" id="{2C6C3EEC-92CB-FAB7-35CE-4B2366B92EDD}"/>
                  </a:ext>
                </a:extLst>
              </p:cNvPr>
              <p:cNvSpPr>
                <a:spLocks noChangeShapeType="1"/>
              </p:cNvSpPr>
              <p:nvPr/>
            </p:nvSpPr>
            <p:spPr bwMode="auto">
              <a:xfrm>
                <a:off x="9919136" y="2359062"/>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79" name="Line 80">
                <a:extLst>
                  <a:ext uri="{FF2B5EF4-FFF2-40B4-BE49-F238E27FC236}">
                    <a16:creationId xmlns:a16="http://schemas.microsoft.com/office/drawing/2014/main" id="{91CE23E6-8A84-0254-56AB-6007D5EE9165}"/>
                  </a:ext>
                </a:extLst>
              </p:cNvPr>
              <p:cNvSpPr>
                <a:spLocks noChangeShapeType="1"/>
              </p:cNvSpPr>
              <p:nvPr/>
            </p:nvSpPr>
            <p:spPr bwMode="auto">
              <a:xfrm>
                <a:off x="9913243" y="2359062"/>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80" name="Line 81">
                <a:extLst>
                  <a:ext uri="{FF2B5EF4-FFF2-40B4-BE49-F238E27FC236}">
                    <a16:creationId xmlns:a16="http://schemas.microsoft.com/office/drawing/2014/main" id="{9B446F28-E3EC-3CDD-D6EE-47DB9DD42B00}"/>
                  </a:ext>
                </a:extLst>
              </p:cNvPr>
              <p:cNvSpPr>
                <a:spLocks noChangeShapeType="1"/>
              </p:cNvSpPr>
              <p:nvPr/>
            </p:nvSpPr>
            <p:spPr bwMode="auto">
              <a:xfrm>
                <a:off x="9909314" y="2359062"/>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81" name="Line 82">
                <a:extLst>
                  <a:ext uri="{FF2B5EF4-FFF2-40B4-BE49-F238E27FC236}">
                    <a16:creationId xmlns:a16="http://schemas.microsoft.com/office/drawing/2014/main" id="{27BC4445-0FC0-6CBC-70EB-F117103654F8}"/>
                  </a:ext>
                </a:extLst>
              </p:cNvPr>
              <p:cNvSpPr>
                <a:spLocks noChangeShapeType="1"/>
              </p:cNvSpPr>
              <p:nvPr/>
            </p:nvSpPr>
            <p:spPr bwMode="auto">
              <a:xfrm>
                <a:off x="9903421" y="2348096"/>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82" name="Line 83">
                <a:extLst>
                  <a:ext uri="{FF2B5EF4-FFF2-40B4-BE49-F238E27FC236}">
                    <a16:creationId xmlns:a16="http://schemas.microsoft.com/office/drawing/2014/main" id="{0F7A406D-C0D2-5066-3CB6-CB2888EAF80D}"/>
                  </a:ext>
                </a:extLst>
              </p:cNvPr>
              <p:cNvSpPr>
                <a:spLocks noChangeShapeType="1"/>
              </p:cNvSpPr>
              <p:nvPr/>
            </p:nvSpPr>
            <p:spPr bwMode="auto">
              <a:xfrm>
                <a:off x="9895564" y="2348096"/>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83" name="Line 84">
                <a:extLst>
                  <a:ext uri="{FF2B5EF4-FFF2-40B4-BE49-F238E27FC236}">
                    <a16:creationId xmlns:a16="http://schemas.microsoft.com/office/drawing/2014/main" id="{CA5F6453-E96B-56C5-4F45-2E18226F6415}"/>
                  </a:ext>
                </a:extLst>
              </p:cNvPr>
              <p:cNvSpPr>
                <a:spLocks noChangeShapeType="1"/>
              </p:cNvSpPr>
              <p:nvPr/>
            </p:nvSpPr>
            <p:spPr bwMode="auto">
              <a:xfrm>
                <a:off x="9893599" y="2348096"/>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84" name="Line 85">
                <a:extLst>
                  <a:ext uri="{FF2B5EF4-FFF2-40B4-BE49-F238E27FC236}">
                    <a16:creationId xmlns:a16="http://schemas.microsoft.com/office/drawing/2014/main" id="{228DA151-5DD3-456D-AC65-D761012F1B0B}"/>
                  </a:ext>
                </a:extLst>
              </p:cNvPr>
              <p:cNvSpPr>
                <a:spLocks noChangeShapeType="1"/>
              </p:cNvSpPr>
              <p:nvPr/>
            </p:nvSpPr>
            <p:spPr bwMode="auto">
              <a:xfrm>
                <a:off x="9877885" y="2348096"/>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85" name="Line 86">
                <a:extLst>
                  <a:ext uri="{FF2B5EF4-FFF2-40B4-BE49-F238E27FC236}">
                    <a16:creationId xmlns:a16="http://schemas.microsoft.com/office/drawing/2014/main" id="{D0053C0E-7940-8CEC-4FEE-1E2509F15347}"/>
                  </a:ext>
                </a:extLst>
              </p:cNvPr>
              <p:cNvSpPr>
                <a:spLocks noChangeShapeType="1"/>
              </p:cNvSpPr>
              <p:nvPr/>
            </p:nvSpPr>
            <p:spPr bwMode="auto">
              <a:xfrm>
                <a:off x="9871991" y="2339322"/>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86" name="Line 87">
                <a:extLst>
                  <a:ext uri="{FF2B5EF4-FFF2-40B4-BE49-F238E27FC236}">
                    <a16:creationId xmlns:a16="http://schemas.microsoft.com/office/drawing/2014/main" id="{C21D52A6-7C93-3CCE-250B-98F670AEB78C}"/>
                  </a:ext>
                </a:extLst>
              </p:cNvPr>
              <p:cNvSpPr>
                <a:spLocks noChangeShapeType="1"/>
              </p:cNvSpPr>
              <p:nvPr/>
            </p:nvSpPr>
            <p:spPr bwMode="auto">
              <a:xfrm>
                <a:off x="9866098" y="2330549"/>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87" name="Line 88">
                <a:extLst>
                  <a:ext uri="{FF2B5EF4-FFF2-40B4-BE49-F238E27FC236}">
                    <a16:creationId xmlns:a16="http://schemas.microsoft.com/office/drawing/2014/main" id="{9236C7A6-E2BC-697B-4005-69D0CB059035}"/>
                  </a:ext>
                </a:extLst>
              </p:cNvPr>
              <p:cNvSpPr>
                <a:spLocks noChangeShapeType="1"/>
              </p:cNvSpPr>
              <p:nvPr/>
            </p:nvSpPr>
            <p:spPr bwMode="auto">
              <a:xfrm>
                <a:off x="9862170" y="2330549"/>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88" name="Line 89">
                <a:extLst>
                  <a:ext uri="{FF2B5EF4-FFF2-40B4-BE49-F238E27FC236}">
                    <a16:creationId xmlns:a16="http://schemas.microsoft.com/office/drawing/2014/main" id="{D13ABC73-32B5-EA3C-C319-ECB1E6E80380}"/>
                  </a:ext>
                </a:extLst>
              </p:cNvPr>
              <p:cNvSpPr>
                <a:spLocks noChangeShapeType="1"/>
              </p:cNvSpPr>
              <p:nvPr/>
            </p:nvSpPr>
            <p:spPr bwMode="auto">
              <a:xfrm>
                <a:off x="9856277" y="2330549"/>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89" name="Line 90">
                <a:extLst>
                  <a:ext uri="{FF2B5EF4-FFF2-40B4-BE49-F238E27FC236}">
                    <a16:creationId xmlns:a16="http://schemas.microsoft.com/office/drawing/2014/main" id="{B10E36AF-5F54-6D1D-ED8A-B7681A7B3B87}"/>
                  </a:ext>
                </a:extLst>
              </p:cNvPr>
              <p:cNvSpPr>
                <a:spLocks noChangeShapeType="1"/>
              </p:cNvSpPr>
              <p:nvPr/>
            </p:nvSpPr>
            <p:spPr bwMode="auto">
              <a:xfrm>
                <a:off x="9852348" y="2330549"/>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90" name="Line 91">
                <a:extLst>
                  <a:ext uri="{FF2B5EF4-FFF2-40B4-BE49-F238E27FC236}">
                    <a16:creationId xmlns:a16="http://schemas.microsoft.com/office/drawing/2014/main" id="{7F72BD22-9E5A-3725-BA01-FFD0569699F4}"/>
                  </a:ext>
                </a:extLst>
              </p:cNvPr>
              <p:cNvSpPr>
                <a:spLocks noChangeShapeType="1"/>
              </p:cNvSpPr>
              <p:nvPr/>
            </p:nvSpPr>
            <p:spPr bwMode="auto">
              <a:xfrm>
                <a:off x="9846455" y="2330549"/>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91" name="Line 92">
                <a:extLst>
                  <a:ext uri="{FF2B5EF4-FFF2-40B4-BE49-F238E27FC236}">
                    <a16:creationId xmlns:a16="http://schemas.microsoft.com/office/drawing/2014/main" id="{B47BC5EF-A6A0-9215-BD1C-81F09FA3DEF3}"/>
                  </a:ext>
                </a:extLst>
              </p:cNvPr>
              <p:cNvSpPr>
                <a:spLocks noChangeShapeType="1"/>
              </p:cNvSpPr>
              <p:nvPr/>
            </p:nvSpPr>
            <p:spPr bwMode="auto">
              <a:xfrm>
                <a:off x="9844490" y="2330549"/>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92" name="Line 93">
                <a:extLst>
                  <a:ext uri="{FF2B5EF4-FFF2-40B4-BE49-F238E27FC236}">
                    <a16:creationId xmlns:a16="http://schemas.microsoft.com/office/drawing/2014/main" id="{5F47E245-D2AD-B6A0-A410-ABAC18BB6E97}"/>
                  </a:ext>
                </a:extLst>
              </p:cNvPr>
              <p:cNvSpPr>
                <a:spLocks noChangeShapeType="1"/>
              </p:cNvSpPr>
              <p:nvPr/>
            </p:nvSpPr>
            <p:spPr bwMode="auto">
              <a:xfrm>
                <a:off x="9842526" y="2330549"/>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93" name="Line 94">
                <a:extLst>
                  <a:ext uri="{FF2B5EF4-FFF2-40B4-BE49-F238E27FC236}">
                    <a16:creationId xmlns:a16="http://schemas.microsoft.com/office/drawing/2014/main" id="{B27F1805-B38D-CF5F-D517-97236DF4E88B}"/>
                  </a:ext>
                </a:extLst>
              </p:cNvPr>
              <p:cNvSpPr>
                <a:spLocks noChangeShapeType="1"/>
              </p:cNvSpPr>
              <p:nvPr/>
            </p:nvSpPr>
            <p:spPr bwMode="auto">
              <a:xfrm>
                <a:off x="9838597" y="2330549"/>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94" name="Line 95">
                <a:extLst>
                  <a:ext uri="{FF2B5EF4-FFF2-40B4-BE49-F238E27FC236}">
                    <a16:creationId xmlns:a16="http://schemas.microsoft.com/office/drawing/2014/main" id="{E5130E27-D03F-A16D-2196-178642DF6830}"/>
                  </a:ext>
                </a:extLst>
              </p:cNvPr>
              <p:cNvSpPr>
                <a:spLocks noChangeShapeType="1"/>
              </p:cNvSpPr>
              <p:nvPr/>
            </p:nvSpPr>
            <p:spPr bwMode="auto">
              <a:xfrm>
                <a:off x="9836633" y="2321776"/>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95" name="Line 96">
                <a:extLst>
                  <a:ext uri="{FF2B5EF4-FFF2-40B4-BE49-F238E27FC236}">
                    <a16:creationId xmlns:a16="http://schemas.microsoft.com/office/drawing/2014/main" id="{8289E5DB-E537-845A-583F-5561B5F66FEB}"/>
                  </a:ext>
                </a:extLst>
              </p:cNvPr>
              <p:cNvSpPr>
                <a:spLocks noChangeShapeType="1"/>
              </p:cNvSpPr>
              <p:nvPr/>
            </p:nvSpPr>
            <p:spPr bwMode="auto">
              <a:xfrm>
                <a:off x="9834669" y="2321776"/>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96" name="Line 97">
                <a:extLst>
                  <a:ext uri="{FF2B5EF4-FFF2-40B4-BE49-F238E27FC236}">
                    <a16:creationId xmlns:a16="http://schemas.microsoft.com/office/drawing/2014/main" id="{EE17730F-D8B5-F2FC-98B9-FEF4BD0777DC}"/>
                  </a:ext>
                </a:extLst>
              </p:cNvPr>
              <p:cNvSpPr>
                <a:spLocks noChangeShapeType="1"/>
              </p:cNvSpPr>
              <p:nvPr/>
            </p:nvSpPr>
            <p:spPr bwMode="auto">
              <a:xfrm>
                <a:off x="9818954" y="2310810"/>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97" name="Line 98">
                <a:extLst>
                  <a:ext uri="{FF2B5EF4-FFF2-40B4-BE49-F238E27FC236}">
                    <a16:creationId xmlns:a16="http://schemas.microsoft.com/office/drawing/2014/main" id="{67F077BD-6531-EC53-3F66-5ED537A28E87}"/>
                  </a:ext>
                </a:extLst>
              </p:cNvPr>
              <p:cNvSpPr>
                <a:spLocks noChangeShapeType="1"/>
              </p:cNvSpPr>
              <p:nvPr/>
            </p:nvSpPr>
            <p:spPr bwMode="auto">
              <a:xfrm>
                <a:off x="9780649" y="23042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98" name="Line 99">
                <a:extLst>
                  <a:ext uri="{FF2B5EF4-FFF2-40B4-BE49-F238E27FC236}">
                    <a16:creationId xmlns:a16="http://schemas.microsoft.com/office/drawing/2014/main" id="{85727EC4-57FE-FA12-DDF5-F0456A1FA2CB}"/>
                  </a:ext>
                </a:extLst>
              </p:cNvPr>
              <p:cNvSpPr>
                <a:spLocks noChangeShapeType="1"/>
              </p:cNvSpPr>
              <p:nvPr/>
            </p:nvSpPr>
            <p:spPr bwMode="auto">
              <a:xfrm>
                <a:off x="9774755" y="23042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699" name="Line 100">
                <a:extLst>
                  <a:ext uri="{FF2B5EF4-FFF2-40B4-BE49-F238E27FC236}">
                    <a16:creationId xmlns:a16="http://schemas.microsoft.com/office/drawing/2014/main" id="{D8088F1F-82E1-7ACE-7F57-54028E9AB7FF}"/>
                  </a:ext>
                </a:extLst>
              </p:cNvPr>
              <p:cNvSpPr>
                <a:spLocks noChangeShapeType="1"/>
              </p:cNvSpPr>
              <p:nvPr/>
            </p:nvSpPr>
            <p:spPr bwMode="auto">
              <a:xfrm>
                <a:off x="9772792" y="23042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00" name="Line 101">
                <a:extLst>
                  <a:ext uri="{FF2B5EF4-FFF2-40B4-BE49-F238E27FC236}">
                    <a16:creationId xmlns:a16="http://schemas.microsoft.com/office/drawing/2014/main" id="{AAE7C5EC-6ED6-348A-1123-9EBA5BB9B1C4}"/>
                  </a:ext>
                </a:extLst>
              </p:cNvPr>
              <p:cNvSpPr>
                <a:spLocks noChangeShapeType="1"/>
              </p:cNvSpPr>
              <p:nvPr/>
            </p:nvSpPr>
            <p:spPr bwMode="auto">
              <a:xfrm>
                <a:off x="9770827" y="23042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01" name="Line 102">
                <a:extLst>
                  <a:ext uri="{FF2B5EF4-FFF2-40B4-BE49-F238E27FC236}">
                    <a16:creationId xmlns:a16="http://schemas.microsoft.com/office/drawing/2014/main" id="{C5B726EE-1B9D-D667-BACB-15D7341CA76B}"/>
                  </a:ext>
                </a:extLst>
              </p:cNvPr>
              <p:cNvSpPr>
                <a:spLocks noChangeShapeType="1"/>
              </p:cNvSpPr>
              <p:nvPr/>
            </p:nvSpPr>
            <p:spPr bwMode="auto">
              <a:xfrm>
                <a:off x="9766899" y="23042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02" name="Line 103">
                <a:extLst>
                  <a:ext uri="{FF2B5EF4-FFF2-40B4-BE49-F238E27FC236}">
                    <a16:creationId xmlns:a16="http://schemas.microsoft.com/office/drawing/2014/main" id="{C93B36F2-064D-9188-A2B8-F5DC936A16E2}"/>
                  </a:ext>
                </a:extLst>
              </p:cNvPr>
              <p:cNvSpPr>
                <a:spLocks noChangeShapeType="1"/>
              </p:cNvSpPr>
              <p:nvPr/>
            </p:nvSpPr>
            <p:spPr bwMode="auto">
              <a:xfrm>
                <a:off x="9764934" y="23042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03" name="Line 104">
                <a:extLst>
                  <a:ext uri="{FF2B5EF4-FFF2-40B4-BE49-F238E27FC236}">
                    <a16:creationId xmlns:a16="http://schemas.microsoft.com/office/drawing/2014/main" id="{5069F7A9-ED29-33B6-E0A6-7183899A8D73}"/>
                  </a:ext>
                </a:extLst>
              </p:cNvPr>
              <p:cNvSpPr>
                <a:spLocks noChangeShapeType="1"/>
              </p:cNvSpPr>
              <p:nvPr/>
            </p:nvSpPr>
            <p:spPr bwMode="auto">
              <a:xfrm>
                <a:off x="9759041" y="23042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68" name="Line 105">
                <a:extLst>
                  <a:ext uri="{FF2B5EF4-FFF2-40B4-BE49-F238E27FC236}">
                    <a16:creationId xmlns:a16="http://schemas.microsoft.com/office/drawing/2014/main" id="{66AB3DBC-70C2-DAEB-250D-3BAF2D4B0B3E}"/>
                  </a:ext>
                </a:extLst>
              </p:cNvPr>
              <p:cNvSpPr>
                <a:spLocks noChangeShapeType="1"/>
              </p:cNvSpPr>
              <p:nvPr/>
            </p:nvSpPr>
            <p:spPr bwMode="auto">
              <a:xfrm>
                <a:off x="9757077" y="23042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69" name="Line 106">
                <a:extLst>
                  <a:ext uri="{FF2B5EF4-FFF2-40B4-BE49-F238E27FC236}">
                    <a16:creationId xmlns:a16="http://schemas.microsoft.com/office/drawing/2014/main" id="{E42735C3-AE5D-0CBB-9E6F-EDF3F08A3E21}"/>
                  </a:ext>
                </a:extLst>
              </p:cNvPr>
              <p:cNvSpPr>
                <a:spLocks noChangeShapeType="1"/>
              </p:cNvSpPr>
              <p:nvPr/>
            </p:nvSpPr>
            <p:spPr bwMode="auto">
              <a:xfrm>
                <a:off x="9755112" y="23042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70" name="Line 107">
                <a:extLst>
                  <a:ext uri="{FF2B5EF4-FFF2-40B4-BE49-F238E27FC236}">
                    <a16:creationId xmlns:a16="http://schemas.microsoft.com/office/drawing/2014/main" id="{4E0A48C2-4ABE-BB19-02D8-BCFCFAF9036C}"/>
                  </a:ext>
                </a:extLst>
              </p:cNvPr>
              <p:cNvSpPr>
                <a:spLocks noChangeShapeType="1"/>
              </p:cNvSpPr>
              <p:nvPr/>
            </p:nvSpPr>
            <p:spPr bwMode="auto">
              <a:xfrm>
                <a:off x="9749219" y="23042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71" name="Line 108">
                <a:extLst>
                  <a:ext uri="{FF2B5EF4-FFF2-40B4-BE49-F238E27FC236}">
                    <a16:creationId xmlns:a16="http://schemas.microsoft.com/office/drawing/2014/main" id="{41E3800D-C694-B58E-4A35-E55F6BA07F22}"/>
                  </a:ext>
                </a:extLst>
              </p:cNvPr>
              <p:cNvSpPr>
                <a:spLocks noChangeShapeType="1"/>
              </p:cNvSpPr>
              <p:nvPr/>
            </p:nvSpPr>
            <p:spPr bwMode="auto">
              <a:xfrm>
                <a:off x="9743326" y="229545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72" name="Line 109">
                <a:extLst>
                  <a:ext uri="{FF2B5EF4-FFF2-40B4-BE49-F238E27FC236}">
                    <a16:creationId xmlns:a16="http://schemas.microsoft.com/office/drawing/2014/main" id="{3F8FAD5B-21C7-6386-C34B-B2C88A744C90}"/>
                  </a:ext>
                </a:extLst>
              </p:cNvPr>
              <p:cNvSpPr>
                <a:spLocks noChangeShapeType="1"/>
              </p:cNvSpPr>
              <p:nvPr/>
            </p:nvSpPr>
            <p:spPr bwMode="auto">
              <a:xfrm>
                <a:off x="9731540" y="22822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73" name="Line 110">
                <a:extLst>
                  <a:ext uri="{FF2B5EF4-FFF2-40B4-BE49-F238E27FC236}">
                    <a16:creationId xmlns:a16="http://schemas.microsoft.com/office/drawing/2014/main" id="{56920200-8B82-E46A-A2C8-59EEEC3AAAEB}"/>
                  </a:ext>
                </a:extLst>
              </p:cNvPr>
              <p:cNvSpPr>
                <a:spLocks noChangeShapeType="1"/>
              </p:cNvSpPr>
              <p:nvPr/>
            </p:nvSpPr>
            <p:spPr bwMode="auto">
              <a:xfrm>
                <a:off x="9727611" y="22822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74" name="Line 111">
                <a:extLst>
                  <a:ext uri="{FF2B5EF4-FFF2-40B4-BE49-F238E27FC236}">
                    <a16:creationId xmlns:a16="http://schemas.microsoft.com/office/drawing/2014/main" id="{111A3787-8E9B-6B58-1BC8-F39B54333123}"/>
                  </a:ext>
                </a:extLst>
              </p:cNvPr>
              <p:cNvSpPr>
                <a:spLocks noChangeShapeType="1"/>
              </p:cNvSpPr>
              <p:nvPr/>
            </p:nvSpPr>
            <p:spPr bwMode="auto">
              <a:xfrm>
                <a:off x="9725647" y="22822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75" name="Line 112">
                <a:extLst>
                  <a:ext uri="{FF2B5EF4-FFF2-40B4-BE49-F238E27FC236}">
                    <a16:creationId xmlns:a16="http://schemas.microsoft.com/office/drawing/2014/main" id="{969BEC7E-0833-D9B1-09DC-7130A54DE448}"/>
                  </a:ext>
                </a:extLst>
              </p:cNvPr>
              <p:cNvSpPr>
                <a:spLocks noChangeShapeType="1"/>
              </p:cNvSpPr>
              <p:nvPr/>
            </p:nvSpPr>
            <p:spPr bwMode="auto">
              <a:xfrm>
                <a:off x="9717790" y="2271330"/>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76" name="Line 113">
                <a:extLst>
                  <a:ext uri="{FF2B5EF4-FFF2-40B4-BE49-F238E27FC236}">
                    <a16:creationId xmlns:a16="http://schemas.microsoft.com/office/drawing/2014/main" id="{7876EA34-66C3-97E0-86FC-98E36AFBE614}"/>
                  </a:ext>
                </a:extLst>
              </p:cNvPr>
              <p:cNvSpPr>
                <a:spLocks noChangeShapeType="1"/>
              </p:cNvSpPr>
              <p:nvPr/>
            </p:nvSpPr>
            <p:spPr bwMode="auto">
              <a:xfrm>
                <a:off x="9706003" y="2258170"/>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77" name="Line 114">
                <a:extLst>
                  <a:ext uri="{FF2B5EF4-FFF2-40B4-BE49-F238E27FC236}">
                    <a16:creationId xmlns:a16="http://schemas.microsoft.com/office/drawing/2014/main" id="{134BF51F-DA35-BC05-4B16-64D2C963AE5E}"/>
                  </a:ext>
                </a:extLst>
              </p:cNvPr>
              <p:cNvSpPr>
                <a:spLocks noChangeShapeType="1"/>
              </p:cNvSpPr>
              <p:nvPr/>
            </p:nvSpPr>
            <p:spPr bwMode="auto">
              <a:xfrm>
                <a:off x="9694217" y="225159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78" name="Line 115">
                <a:extLst>
                  <a:ext uri="{FF2B5EF4-FFF2-40B4-BE49-F238E27FC236}">
                    <a16:creationId xmlns:a16="http://schemas.microsoft.com/office/drawing/2014/main" id="{D5B432C2-C45A-8335-A418-E0B49EE9A91E}"/>
                  </a:ext>
                </a:extLst>
              </p:cNvPr>
              <p:cNvSpPr>
                <a:spLocks noChangeShapeType="1"/>
              </p:cNvSpPr>
              <p:nvPr/>
            </p:nvSpPr>
            <p:spPr bwMode="auto">
              <a:xfrm>
                <a:off x="9692252" y="224281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79" name="Line 116">
                <a:extLst>
                  <a:ext uri="{FF2B5EF4-FFF2-40B4-BE49-F238E27FC236}">
                    <a16:creationId xmlns:a16="http://schemas.microsoft.com/office/drawing/2014/main" id="{1E30EF3F-8878-8218-5B26-8D3D8AC20E80}"/>
                  </a:ext>
                </a:extLst>
              </p:cNvPr>
              <p:cNvSpPr>
                <a:spLocks noChangeShapeType="1"/>
              </p:cNvSpPr>
              <p:nvPr/>
            </p:nvSpPr>
            <p:spPr bwMode="auto">
              <a:xfrm>
                <a:off x="9690289" y="224281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80" name="Line 117">
                <a:extLst>
                  <a:ext uri="{FF2B5EF4-FFF2-40B4-BE49-F238E27FC236}">
                    <a16:creationId xmlns:a16="http://schemas.microsoft.com/office/drawing/2014/main" id="{F1E072C3-EBF4-C437-CD2B-4364B86D37E3}"/>
                  </a:ext>
                </a:extLst>
              </p:cNvPr>
              <p:cNvSpPr>
                <a:spLocks noChangeShapeType="1"/>
              </p:cNvSpPr>
              <p:nvPr/>
            </p:nvSpPr>
            <p:spPr bwMode="auto">
              <a:xfrm>
                <a:off x="9684396" y="224281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81" name="Line 118">
                <a:extLst>
                  <a:ext uri="{FF2B5EF4-FFF2-40B4-BE49-F238E27FC236}">
                    <a16:creationId xmlns:a16="http://schemas.microsoft.com/office/drawing/2014/main" id="{AC4CBA32-26D7-3890-2CBE-C7569422B256}"/>
                  </a:ext>
                </a:extLst>
              </p:cNvPr>
              <p:cNvSpPr>
                <a:spLocks noChangeShapeType="1"/>
              </p:cNvSpPr>
              <p:nvPr/>
            </p:nvSpPr>
            <p:spPr bwMode="auto">
              <a:xfrm>
                <a:off x="9670645" y="224281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82" name="Line 119">
                <a:extLst>
                  <a:ext uri="{FF2B5EF4-FFF2-40B4-BE49-F238E27FC236}">
                    <a16:creationId xmlns:a16="http://schemas.microsoft.com/office/drawing/2014/main" id="{CA275B6A-1037-E9E7-F03D-05ABE5121B6C}"/>
                  </a:ext>
                </a:extLst>
              </p:cNvPr>
              <p:cNvSpPr>
                <a:spLocks noChangeShapeType="1"/>
              </p:cNvSpPr>
              <p:nvPr/>
            </p:nvSpPr>
            <p:spPr bwMode="auto">
              <a:xfrm>
                <a:off x="9664752" y="224281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83" name="Line 120">
                <a:extLst>
                  <a:ext uri="{FF2B5EF4-FFF2-40B4-BE49-F238E27FC236}">
                    <a16:creationId xmlns:a16="http://schemas.microsoft.com/office/drawing/2014/main" id="{898E6993-16D5-EE1E-8680-1893AEFA57BD}"/>
                  </a:ext>
                </a:extLst>
              </p:cNvPr>
              <p:cNvSpPr>
                <a:spLocks noChangeShapeType="1"/>
              </p:cNvSpPr>
              <p:nvPr/>
            </p:nvSpPr>
            <p:spPr bwMode="auto">
              <a:xfrm>
                <a:off x="9652966" y="223623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84" name="Line 121">
                <a:extLst>
                  <a:ext uri="{FF2B5EF4-FFF2-40B4-BE49-F238E27FC236}">
                    <a16:creationId xmlns:a16="http://schemas.microsoft.com/office/drawing/2014/main" id="{7D17E262-3831-F653-3257-2E96443BFEE2}"/>
                  </a:ext>
                </a:extLst>
              </p:cNvPr>
              <p:cNvSpPr>
                <a:spLocks noChangeShapeType="1"/>
              </p:cNvSpPr>
              <p:nvPr/>
            </p:nvSpPr>
            <p:spPr bwMode="auto">
              <a:xfrm>
                <a:off x="9637251" y="222307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85" name="Line 122">
                <a:extLst>
                  <a:ext uri="{FF2B5EF4-FFF2-40B4-BE49-F238E27FC236}">
                    <a16:creationId xmlns:a16="http://schemas.microsoft.com/office/drawing/2014/main" id="{0DC8E38E-F3A2-C07C-9243-0C4EF9FB22ED}"/>
                  </a:ext>
                </a:extLst>
              </p:cNvPr>
              <p:cNvSpPr>
                <a:spLocks noChangeShapeType="1"/>
              </p:cNvSpPr>
              <p:nvPr/>
            </p:nvSpPr>
            <p:spPr bwMode="auto">
              <a:xfrm>
                <a:off x="9629394" y="22164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86" name="Line 123">
                <a:extLst>
                  <a:ext uri="{FF2B5EF4-FFF2-40B4-BE49-F238E27FC236}">
                    <a16:creationId xmlns:a16="http://schemas.microsoft.com/office/drawing/2014/main" id="{CD4A68B8-03DC-730A-A581-5453FDA0809A}"/>
                  </a:ext>
                </a:extLst>
              </p:cNvPr>
              <p:cNvSpPr>
                <a:spLocks noChangeShapeType="1"/>
              </p:cNvSpPr>
              <p:nvPr/>
            </p:nvSpPr>
            <p:spPr bwMode="auto">
              <a:xfrm>
                <a:off x="9625465" y="22164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87" name="Line 124">
                <a:extLst>
                  <a:ext uri="{FF2B5EF4-FFF2-40B4-BE49-F238E27FC236}">
                    <a16:creationId xmlns:a16="http://schemas.microsoft.com/office/drawing/2014/main" id="{A2A85A33-0B4B-DE33-EDAF-0130D8A9EF99}"/>
                  </a:ext>
                </a:extLst>
              </p:cNvPr>
              <p:cNvSpPr>
                <a:spLocks noChangeShapeType="1"/>
              </p:cNvSpPr>
              <p:nvPr/>
            </p:nvSpPr>
            <p:spPr bwMode="auto">
              <a:xfrm>
                <a:off x="9621536" y="22164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88" name="Line 125">
                <a:extLst>
                  <a:ext uri="{FF2B5EF4-FFF2-40B4-BE49-F238E27FC236}">
                    <a16:creationId xmlns:a16="http://schemas.microsoft.com/office/drawing/2014/main" id="{8B5927C1-7480-CC60-7C6D-2B3D3C394A31}"/>
                  </a:ext>
                </a:extLst>
              </p:cNvPr>
              <p:cNvSpPr>
                <a:spLocks noChangeShapeType="1"/>
              </p:cNvSpPr>
              <p:nvPr/>
            </p:nvSpPr>
            <p:spPr bwMode="auto">
              <a:xfrm>
                <a:off x="9619572" y="22164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89" name="Line 126">
                <a:extLst>
                  <a:ext uri="{FF2B5EF4-FFF2-40B4-BE49-F238E27FC236}">
                    <a16:creationId xmlns:a16="http://schemas.microsoft.com/office/drawing/2014/main" id="{D8B9A416-A70E-47F1-8034-127D55012B28}"/>
                  </a:ext>
                </a:extLst>
              </p:cNvPr>
              <p:cNvSpPr>
                <a:spLocks noChangeShapeType="1"/>
              </p:cNvSpPr>
              <p:nvPr/>
            </p:nvSpPr>
            <p:spPr bwMode="auto">
              <a:xfrm>
                <a:off x="9617607" y="22164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90" name="Line 127">
                <a:extLst>
                  <a:ext uri="{FF2B5EF4-FFF2-40B4-BE49-F238E27FC236}">
                    <a16:creationId xmlns:a16="http://schemas.microsoft.com/office/drawing/2014/main" id="{0E861B17-8529-A50C-7DAA-C9C923B2A98D}"/>
                  </a:ext>
                </a:extLst>
              </p:cNvPr>
              <p:cNvSpPr>
                <a:spLocks noChangeShapeType="1"/>
              </p:cNvSpPr>
              <p:nvPr/>
            </p:nvSpPr>
            <p:spPr bwMode="auto">
              <a:xfrm>
                <a:off x="9613679" y="22164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91" name="Line 128">
                <a:extLst>
                  <a:ext uri="{FF2B5EF4-FFF2-40B4-BE49-F238E27FC236}">
                    <a16:creationId xmlns:a16="http://schemas.microsoft.com/office/drawing/2014/main" id="{70A4EEB8-C817-7366-5823-9B7952106C7B}"/>
                  </a:ext>
                </a:extLst>
              </p:cNvPr>
              <p:cNvSpPr>
                <a:spLocks noChangeShapeType="1"/>
              </p:cNvSpPr>
              <p:nvPr/>
            </p:nvSpPr>
            <p:spPr bwMode="auto">
              <a:xfrm>
                <a:off x="9603857" y="22164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92" name="Line 129">
                <a:extLst>
                  <a:ext uri="{FF2B5EF4-FFF2-40B4-BE49-F238E27FC236}">
                    <a16:creationId xmlns:a16="http://schemas.microsoft.com/office/drawing/2014/main" id="{F8808FBE-A407-8C0E-64BB-47732A7D0673}"/>
                  </a:ext>
                </a:extLst>
              </p:cNvPr>
              <p:cNvSpPr>
                <a:spLocks noChangeShapeType="1"/>
              </p:cNvSpPr>
              <p:nvPr/>
            </p:nvSpPr>
            <p:spPr bwMode="auto">
              <a:xfrm>
                <a:off x="9601892" y="22164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93" name="Line 130">
                <a:extLst>
                  <a:ext uri="{FF2B5EF4-FFF2-40B4-BE49-F238E27FC236}">
                    <a16:creationId xmlns:a16="http://schemas.microsoft.com/office/drawing/2014/main" id="{D83CCB60-FC28-710D-148A-426E55A26F70}"/>
                  </a:ext>
                </a:extLst>
              </p:cNvPr>
              <p:cNvSpPr>
                <a:spLocks noChangeShapeType="1"/>
              </p:cNvSpPr>
              <p:nvPr/>
            </p:nvSpPr>
            <p:spPr bwMode="auto">
              <a:xfrm>
                <a:off x="9599928" y="2216497"/>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94" name="Line 131">
                <a:extLst>
                  <a:ext uri="{FF2B5EF4-FFF2-40B4-BE49-F238E27FC236}">
                    <a16:creationId xmlns:a16="http://schemas.microsoft.com/office/drawing/2014/main" id="{BDCB97CF-18EA-9C76-4AF6-B7A6EF3C6FB1}"/>
                  </a:ext>
                </a:extLst>
              </p:cNvPr>
              <p:cNvSpPr>
                <a:spLocks noChangeShapeType="1"/>
              </p:cNvSpPr>
              <p:nvPr/>
            </p:nvSpPr>
            <p:spPr bwMode="auto">
              <a:xfrm>
                <a:off x="9592071" y="221649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95" name="Line 132">
                <a:extLst>
                  <a:ext uri="{FF2B5EF4-FFF2-40B4-BE49-F238E27FC236}">
                    <a16:creationId xmlns:a16="http://schemas.microsoft.com/office/drawing/2014/main" id="{FD45442A-1E73-947F-CC7E-910269B360A8}"/>
                  </a:ext>
                </a:extLst>
              </p:cNvPr>
              <p:cNvSpPr>
                <a:spLocks noChangeShapeType="1"/>
              </p:cNvSpPr>
              <p:nvPr/>
            </p:nvSpPr>
            <p:spPr bwMode="auto">
              <a:xfrm>
                <a:off x="9588142" y="221649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96" name="Line 133">
                <a:extLst>
                  <a:ext uri="{FF2B5EF4-FFF2-40B4-BE49-F238E27FC236}">
                    <a16:creationId xmlns:a16="http://schemas.microsoft.com/office/drawing/2014/main" id="{61DEDBB8-D101-C33F-F902-E9760386B99C}"/>
                  </a:ext>
                </a:extLst>
              </p:cNvPr>
              <p:cNvSpPr>
                <a:spLocks noChangeShapeType="1"/>
              </p:cNvSpPr>
              <p:nvPr/>
            </p:nvSpPr>
            <p:spPr bwMode="auto">
              <a:xfrm>
                <a:off x="9564570" y="22055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97" name="Line 134">
                <a:extLst>
                  <a:ext uri="{FF2B5EF4-FFF2-40B4-BE49-F238E27FC236}">
                    <a16:creationId xmlns:a16="http://schemas.microsoft.com/office/drawing/2014/main" id="{F03751AA-721A-830D-1941-CA98641280AB}"/>
                  </a:ext>
                </a:extLst>
              </p:cNvPr>
              <p:cNvSpPr>
                <a:spLocks noChangeShapeType="1"/>
              </p:cNvSpPr>
              <p:nvPr/>
            </p:nvSpPr>
            <p:spPr bwMode="auto">
              <a:xfrm>
                <a:off x="9560641" y="22055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99" name="Line 135">
                <a:extLst>
                  <a:ext uri="{FF2B5EF4-FFF2-40B4-BE49-F238E27FC236}">
                    <a16:creationId xmlns:a16="http://schemas.microsoft.com/office/drawing/2014/main" id="{C485DACE-1535-F95F-D17C-965809E2014D}"/>
                  </a:ext>
                </a:extLst>
              </p:cNvPr>
              <p:cNvSpPr>
                <a:spLocks noChangeShapeType="1"/>
              </p:cNvSpPr>
              <p:nvPr/>
            </p:nvSpPr>
            <p:spPr bwMode="auto">
              <a:xfrm>
                <a:off x="9550819" y="22055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00" name="Line 136">
                <a:extLst>
                  <a:ext uri="{FF2B5EF4-FFF2-40B4-BE49-F238E27FC236}">
                    <a16:creationId xmlns:a16="http://schemas.microsoft.com/office/drawing/2014/main" id="{6AB66B0F-EF33-8104-36E0-C63F2F1F2FCB}"/>
                  </a:ext>
                </a:extLst>
              </p:cNvPr>
              <p:cNvSpPr>
                <a:spLocks noChangeShapeType="1"/>
              </p:cNvSpPr>
              <p:nvPr/>
            </p:nvSpPr>
            <p:spPr bwMode="auto">
              <a:xfrm>
                <a:off x="9546890" y="22055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01" name="Line 137">
                <a:extLst>
                  <a:ext uri="{FF2B5EF4-FFF2-40B4-BE49-F238E27FC236}">
                    <a16:creationId xmlns:a16="http://schemas.microsoft.com/office/drawing/2014/main" id="{980BEDEE-1B6E-DFC2-C71C-5729087B52AB}"/>
                  </a:ext>
                </a:extLst>
              </p:cNvPr>
              <p:cNvSpPr>
                <a:spLocks noChangeShapeType="1"/>
              </p:cNvSpPr>
              <p:nvPr/>
            </p:nvSpPr>
            <p:spPr bwMode="auto">
              <a:xfrm>
                <a:off x="9544926" y="22055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02" name="Line 138">
                <a:extLst>
                  <a:ext uri="{FF2B5EF4-FFF2-40B4-BE49-F238E27FC236}">
                    <a16:creationId xmlns:a16="http://schemas.microsoft.com/office/drawing/2014/main" id="{B1BE97B4-5DED-4CF0-21C2-74B30B44D63E}"/>
                  </a:ext>
                </a:extLst>
              </p:cNvPr>
              <p:cNvSpPr>
                <a:spLocks noChangeShapeType="1"/>
              </p:cNvSpPr>
              <p:nvPr/>
            </p:nvSpPr>
            <p:spPr bwMode="auto">
              <a:xfrm>
                <a:off x="9531176" y="2205530"/>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03" name="Line 139">
                <a:extLst>
                  <a:ext uri="{FF2B5EF4-FFF2-40B4-BE49-F238E27FC236}">
                    <a16:creationId xmlns:a16="http://schemas.microsoft.com/office/drawing/2014/main" id="{806BB2EB-729C-9C23-6331-F7FA251E4BDF}"/>
                  </a:ext>
                </a:extLst>
              </p:cNvPr>
              <p:cNvSpPr>
                <a:spLocks noChangeShapeType="1"/>
              </p:cNvSpPr>
              <p:nvPr/>
            </p:nvSpPr>
            <p:spPr bwMode="auto">
              <a:xfrm>
                <a:off x="9505639" y="219237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04" name="Line 140">
                <a:extLst>
                  <a:ext uri="{FF2B5EF4-FFF2-40B4-BE49-F238E27FC236}">
                    <a16:creationId xmlns:a16="http://schemas.microsoft.com/office/drawing/2014/main" id="{E9DDB61C-30C6-3457-8BEC-DDE4001EAD8A}"/>
                  </a:ext>
                </a:extLst>
              </p:cNvPr>
              <p:cNvSpPr>
                <a:spLocks noChangeShapeType="1"/>
              </p:cNvSpPr>
              <p:nvPr/>
            </p:nvSpPr>
            <p:spPr bwMode="auto">
              <a:xfrm>
                <a:off x="9489924" y="218798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05" name="Line 141">
                <a:extLst>
                  <a:ext uri="{FF2B5EF4-FFF2-40B4-BE49-F238E27FC236}">
                    <a16:creationId xmlns:a16="http://schemas.microsoft.com/office/drawing/2014/main" id="{DBAEA47C-D9A3-A088-DB93-325125C50893}"/>
                  </a:ext>
                </a:extLst>
              </p:cNvPr>
              <p:cNvSpPr>
                <a:spLocks noChangeShapeType="1"/>
              </p:cNvSpPr>
              <p:nvPr/>
            </p:nvSpPr>
            <p:spPr bwMode="auto">
              <a:xfrm>
                <a:off x="9487960" y="217921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06" name="Line 142">
                <a:extLst>
                  <a:ext uri="{FF2B5EF4-FFF2-40B4-BE49-F238E27FC236}">
                    <a16:creationId xmlns:a16="http://schemas.microsoft.com/office/drawing/2014/main" id="{3BE00EDC-3B7F-2304-B836-CBAD9C354857}"/>
                  </a:ext>
                </a:extLst>
              </p:cNvPr>
              <p:cNvSpPr>
                <a:spLocks noChangeShapeType="1"/>
              </p:cNvSpPr>
              <p:nvPr/>
            </p:nvSpPr>
            <p:spPr bwMode="auto">
              <a:xfrm>
                <a:off x="9482067" y="217921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07" name="Line 143">
                <a:extLst>
                  <a:ext uri="{FF2B5EF4-FFF2-40B4-BE49-F238E27FC236}">
                    <a16:creationId xmlns:a16="http://schemas.microsoft.com/office/drawing/2014/main" id="{170E7227-3114-66D3-2FA2-D39BD416573A}"/>
                  </a:ext>
                </a:extLst>
              </p:cNvPr>
              <p:cNvSpPr>
                <a:spLocks noChangeShapeType="1"/>
              </p:cNvSpPr>
              <p:nvPr/>
            </p:nvSpPr>
            <p:spPr bwMode="auto">
              <a:xfrm>
                <a:off x="9478138" y="217921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08" name="Line 144">
                <a:extLst>
                  <a:ext uri="{FF2B5EF4-FFF2-40B4-BE49-F238E27FC236}">
                    <a16:creationId xmlns:a16="http://schemas.microsoft.com/office/drawing/2014/main" id="{F518A151-ECBF-BFBD-1C78-F9726469D278}"/>
                  </a:ext>
                </a:extLst>
              </p:cNvPr>
              <p:cNvSpPr>
                <a:spLocks noChangeShapeType="1"/>
              </p:cNvSpPr>
              <p:nvPr/>
            </p:nvSpPr>
            <p:spPr bwMode="auto">
              <a:xfrm>
                <a:off x="9474209" y="217921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09" name="Line 145">
                <a:extLst>
                  <a:ext uri="{FF2B5EF4-FFF2-40B4-BE49-F238E27FC236}">
                    <a16:creationId xmlns:a16="http://schemas.microsoft.com/office/drawing/2014/main" id="{C8E4CFE2-466D-CD18-63B9-336EBF4AA48B}"/>
                  </a:ext>
                </a:extLst>
              </p:cNvPr>
              <p:cNvSpPr>
                <a:spLocks noChangeShapeType="1"/>
              </p:cNvSpPr>
              <p:nvPr/>
            </p:nvSpPr>
            <p:spPr bwMode="auto">
              <a:xfrm>
                <a:off x="9470280" y="217921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10" name="Line 146">
                <a:extLst>
                  <a:ext uri="{FF2B5EF4-FFF2-40B4-BE49-F238E27FC236}">
                    <a16:creationId xmlns:a16="http://schemas.microsoft.com/office/drawing/2014/main" id="{69245481-2CFF-047F-86AB-E29B23C528B8}"/>
                  </a:ext>
                </a:extLst>
              </p:cNvPr>
              <p:cNvSpPr>
                <a:spLocks noChangeShapeType="1"/>
              </p:cNvSpPr>
              <p:nvPr/>
            </p:nvSpPr>
            <p:spPr bwMode="auto">
              <a:xfrm>
                <a:off x="9423136" y="215727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11" name="Line 147">
                <a:extLst>
                  <a:ext uri="{FF2B5EF4-FFF2-40B4-BE49-F238E27FC236}">
                    <a16:creationId xmlns:a16="http://schemas.microsoft.com/office/drawing/2014/main" id="{DB28DB14-3D36-382C-058E-79F4BCE4302B}"/>
                  </a:ext>
                </a:extLst>
              </p:cNvPr>
              <p:cNvSpPr>
                <a:spLocks noChangeShapeType="1"/>
              </p:cNvSpPr>
              <p:nvPr/>
            </p:nvSpPr>
            <p:spPr bwMode="auto">
              <a:xfrm>
                <a:off x="9407421" y="215069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12" name="Line 148">
                <a:extLst>
                  <a:ext uri="{FF2B5EF4-FFF2-40B4-BE49-F238E27FC236}">
                    <a16:creationId xmlns:a16="http://schemas.microsoft.com/office/drawing/2014/main" id="{A52A9805-D6C2-2DA1-3AE7-65BD59B9454D}"/>
                  </a:ext>
                </a:extLst>
              </p:cNvPr>
              <p:cNvSpPr>
                <a:spLocks noChangeShapeType="1"/>
              </p:cNvSpPr>
              <p:nvPr/>
            </p:nvSpPr>
            <p:spPr bwMode="auto">
              <a:xfrm>
                <a:off x="9401528" y="2150697"/>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13" name="Line 149">
                <a:extLst>
                  <a:ext uri="{FF2B5EF4-FFF2-40B4-BE49-F238E27FC236}">
                    <a16:creationId xmlns:a16="http://schemas.microsoft.com/office/drawing/2014/main" id="{071AD9B0-4477-A6BF-6888-693CC8789487}"/>
                  </a:ext>
                </a:extLst>
              </p:cNvPr>
              <p:cNvSpPr>
                <a:spLocks noChangeShapeType="1"/>
              </p:cNvSpPr>
              <p:nvPr/>
            </p:nvSpPr>
            <p:spPr bwMode="auto">
              <a:xfrm>
                <a:off x="9399563" y="2146311"/>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14" name="Line 150">
                <a:extLst>
                  <a:ext uri="{FF2B5EF4-FFF2-40B4-BE49-F238E27FC236}">
                    <a16:creationId xmlns:a16="http://schemas.microsoft.com/office/drawing/2014/main" id="{720AB74D-9ABD-9E8E-FD44-E79CAAE3B22A}"/>
                  </a:ext>
                </a:extLst>
              </p:cNvPr>
              <p:cNvSpPr>
                <a:spLocks noChangeShapeType="1"/>
              </p:cNvSpPr>
              <p:nvPr/>
            </p:nvSpPr>
            <p:spPr bwMode="auto">
              <a:xfrm>
                <a:off x="9397599" y="2146311"/>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15" name="Line 151">
                <a:extLst>
                  <a:ext uri="{FF2B5EF4-FFF2-40B4-BE49-F238E27FC236}">
                    <a16:creationId xmlns:a16="http://schemas.microsoft.com/office/drawing/2014/main" id="{5D82D0F0-80C7-96DD-6744-4D8811CB727D}"/>
                  </a:ext>
                </a:extLst>
              </p:cNvPr>
              <p:cNvSpPr>
                <a:spLocks noChangeShapeType="1"/>
              </p:cNvSpPr>
              <p:nvPr/>
            </p:nvSpPr>
            <p:spPr bwMode="auto">
              <a:xfrm>
                <a:off x="9391706" y="2146311"/>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16" name="Line 152">
                <a:extLst>
                  <a:ext uri="{FF2B5EF4-FFF2-40B4-BE49-F238E27FC236}">
                    <a16:creationId xmlns:a16="http://schemas.microsoft.com/office/drawing/2014/main" id="{B46ADB1D-5D8F-A0CE-BD5B-6FF21F0B899B}"/>
                  </a:ext>
                </a:extLst>
              </p:cNvPr>
              <p:cNvSpPr>
                <a:spLocks noChangeShapeType="1"/>
              </p:cNvSpPr>
              <p:nvPr/>
            </p:nvSpPr>
            <p:spPr bwMode="auto">
              <a:xfrm>
                <a:off x="9385813" y="2146311"/>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17" name="Line 153">
                <a:extLst>
                  <a:ext uri="{FF2B5EF4-FFF2-40B4-BE49-F238E27FC236}">
                    <a16:creationId xmlns:a16="http://schemas.microsoft.com/office/drawing/2014/main" id="{131C8932-915C-35D7-A3C0-80565B779032}"/>
                  </a:ext>
                </a:extLst>
              </p:cNvPr>
              <p:cNvSpPr>
                <a:spLocks noChangeShapeType="1"/>
              </p:cNvSpPr>
              <p:nvPr/>
            </p:nvSpPr>
            <p:spPr bwMode="auto">
              <a:xfrm>
                <a:off x="9352419" y="212437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18" name="Line 154">
                <a:extLst>
                  <a:ext uri="{FF2B5EF4-FFF2-40B4-BE49-F238E27FC236}">
                    <a16:creationId xmlns:a16="http://schemas.microsoft.com/office/drawing/2014/main" id="{1ACB5E22-A5ED-497D-E4AE-4E096F61DD38}"/>
                  </a:ext>
                </a:extLst>
              </p:cNvPr>
              <p:cNvSpPr>
                <a:spLocks noChangeShapeType="1"/>
              </p:cNvSpPr>
              <p:nvPr/>
            </p:nvSpPr>
            <p:spPr bwMode="auto">
              <a:xfrm>
                <a:off x="9350454" y="212437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19" name="Line 155">
                <a:extLst>
                  <a:ext uri="{FF2B5EF4-FFF2-40B4-BE49-F238E27FC236}">
                    <a16:creationId xmlns:a16="http://schemas.microsoft.com/office/drawing/2014/main" id="{928C9A56-4C47-D7ED-EB4E-340DF0E70708}"/>
                  </a:ext>
                </a:extLst>
              </p:cNvPr>
              <p:cNvSpPr>
                <a:spLocks noChangeShapeType="1"/>
              </p:cNvSpPr>
              <p:nvPr/>
            </p:nvSpPr>
            <p:spPr bwMode="auto">
              <a:xfrm>
                <a:off x="9348490" y="2117798"/>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20" name="Line 156">
                <a:extLst>
                  <a:ext uri="{FF2B5EF4-FFF2-40B4-BE49-F238E27FC236}">
                    <a16:creationId xmlns:a16="http://schemas.microsoft.com/office/drawing/2014/main" id="{ABFCEEBB-51CA-C46E-C0CE-E21E73918521}"/>
                  </a:ext>
                </a:extLst>
              </p:cNvPr>
              <p:cNvSpPr>
                <a:spLocks noChangeShapeType="1"/>
              </p:cNvSpPr>
              <p:nvPr/>
            </p:nvSpPr>
            <p:spPr bwMode="auto">
              <a:xfrm>
                <a:off x="9336704" y="2109025"/>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21" name="Line 157">
                <a:extLst>
                  <a:ext uri="{FF2B5EF4-FFF2-40B4-BE49-F238E27FC236}">
                    <a16:creationId xmlns:a16="http://schemas.microsoft.com/office/drawing/2014/main" id="{7EFA9855-A4E7-D585-F7D5-B23E3E61A517}"/>
                  </a:ext>
                </a:extLst>
              </p:cNvPr>
              <p:cNvSpPr>
                <a:spLocks noChangeShapeType="1"/>
              </p:cNvSpPr>
              <p:nvPr/>
            </p:nvSpPr>
            <p:spPr bwMode="auto">
              <a:xfrm>
                <a:off x="9334740" y="2109025"/>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22" name="Line 158">
                <a:extLst>
                  <a:ext uri="{FF2B5EF4-FFF2-40B4-BE49-F238E27FC236}">
                    <a16:creationId xmlns:a16="http://schemas.microsoft.com/office/drawing/2014/main" id="{691CFBF9-2398-86EB-AA53-B3BE7D1A2F57}"/>
                  </a:ext>
                </a:extLst>
              </p:cNvPr>
              <p:cNvSpPr>
                <a:spLocks noChangeShapeType="1"/>
              </p:cNvSpPr>
              <p:nvPr/>
            </p:nvSpPr>
            <p:spPr bwMode="auto">
              <a:xfrm>
                <a:off x="9317060" y="2109025"/>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23" name="Line 159">
                <a:extLst>
                  <a:ext uri="{FF2B5EF4-FFF2-40B4-BE49-F238E27FC236}">
                    <a16:creationId xmlns:a16="http://schemas.microsoft.com/office/drawing/2014/main" id="{55DEB1D7-8183-62E5-33A3-BD5DB3C04B36}"/>
                  </a:ext>
                </a:extLst>
              </p:cNvPr>
              <p:cNvSpPr>
                <a:spLocks noChangeShapeType="1"/>
              </p:cNvSpPr>
              <p:nvPr/>
            </p:nvSpPr>
            <p:spPr bwMode="auto">
              <a:xfrm>
                <a:off x="8824007" y="188969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24" name="Line 160">
                <a:extLst>
                  <a:ext uri="{FF2B5EF4-FFF2-40B4-BE49-F238E27FC236}">
                    <a16:creationId xmlns:a16="http://schemas.microsoft.com/office/drawing/2014/main" id="{C0E910A1-0599-22E4-0496-5B13D10C646B}"/>
                  </a:ext>
                </a:extLst>
              </p:cNvPr>
              <p:cNvSpPr>
                <a:spLocks noChangeShapeType="1"/>
              </p:cNvSpPr>
              <p:nvPr/>
            </p:nvSpPr>
            <p:spPr bwMode="auto">
              <a:xfrm>
                <a:off x="8185590" y="159798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25" name="Line 161">
                <a:extLst>
                  <a:ext uri="{FF2B5EF4-FFF2-40B4-BE49-F238E27FC236}">
                    <a16:creationId xmlns:a16="http://schemas.microsoft.com/office/drawing/2014/main" id="{E387089E-FCD0-BF79-154A-AD9BF514790C}"/>
                  </a:ext>
                </a:extLst>
              </p:cNvPr>
              <p:cNvSpPr>
                <a:spLocks noChangeShapeType="1"/>
              </p:cNvSpPr>
              <p:nvPr/>
            </p:nvSpPr>
            <p:spPr bwMode="auto">
              <a:xfrm>
                <a:off x="8097194" y="155411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26" name="Line 162">
                <a:extLst>
                  <a:ext uri="{FF2B5EF4-FFF2-40B4-BE49-F238E27FC236}">
                    <a16:creationId xmlns:a16="http://schemas.microsoft.com/office/drawing/2014/main" id="{1D2DAF3A-A905-BE93-A63B-E28667A62657}"/>
                  </a:ext>
                </a:extLst>
              </p:cNvPr>
              <p:cNvSpPr>
                <a:spLocks noChangeShapeType="1"/>
              </p:cNvSpPr>
              <p:nvPr/>
            </p:nvSpPr>
            <p:spPr bwMode="auto">
              <a:xfrm>
                <a:off x="8044157" y="153218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27" name="Line 163">
                <a:extLst>
                  <a:ext uri="{FF2B5EF4-FFF2-40B4-BE49-F238E27FC236}">
                    <a16:creationId xmlns:a16="http://schemas.microsoft.com/office/drawing/2014/main" id="{0952D370-2DCE-2E44-DAAF-32875D0B7E4B}"/>
                  </a:ext>
                </a:extLst>
              </p:cNvPr>
              <p:cNvSpPr>
                <a:spLocks noChangeShapeType="1"/>
              </p:cNvSpPr>
              <p:nvPr/>
            </p:nvSpPr>
            <p:spPr bwMode="auto">
              <a:xfrm>
                <a:off x="7957725" y="1512445"/>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28" name="Line 164">
                <a:extLst>
                  <a:ext uri="{FF2B5EF4-FFF2-40B4-BE49-F238E27FC236}">
                    <a16:creationId xmlns:a16="http://schemas.microsoft.com/office/drawing/2014/main" id="{7773C33F-7046-654B-DA8C-302ACAA1E831}"/>
                  </a:ext>
                </a:extLst>
              </p:cNvPr>
              <p:cNvSpPr>
                <a:spLocks noChangeShapeType="1"/>
              </p:cNvSpPr>
              <p:nvPr/>
            </p:nvSpPr>
            <p:spPr bwMode="auto">
              <a:xfrm>
                <a:off x="7936117" y="1501478"/>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29" name="Line 166">
                <a:extLst>
                  <a:ext uri="{FF2B5EF4-FFF2-40B4-BE49-F238E27FC236}">
                    <a16:creationId xmlns:a16="http://schemas.microsoft.com/office/drawing/2014/main" id="{02B8A221-9081-447D-1B2A-9ED507FE195D}"/>
                  </a:ext>
                </a:extLst>
              </p:cNvPr>
              <p:cNvSpPr>
                <a:spLocks noChangeShapeType="1"/>
              </p:cNvSpPr>
              <p:nvPr/>
            </p:nvSpPr>
            <p:spPr bwMode="auto">
              <a:xfrm>
                <a:off x="7481368" y="1332593"/>
                <a:ext cx="0" cy="26320"/>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30" name="Line 168">
                <a:extLst>
                  <a:ext uri="{FF2B5EF4-FFF2-40B4-BE49-F238E27FC236}">
                    <a16:creationId xmlns:a16="http://schemas.microsoft.com/office/drawing/2014/main" id="{C3714FA8-B528-FB1A-87EF-42A642A5CC79}"/>
                  </a:ext>
                </a:extLst>
              </p:cNvPr>
              <p:cNvSpPr>
                <a:spLocks noChangeShapeType="1"/>
              </p:cNvSpPr>
              <p:nvPr/>
            </p:nvSpPr>
            <p:spPr bwMode="auto">
              <a:xfrm>
                <a:off x="10280578"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831" name="Line 169">
                <a:extLst>
                  <a:ext uri="{FF2B5EF4-FFF2-40B4-BE49-F238E27FC236}">
                    <a16:creationId xmlns:a16="http://schemas.microsoft.com/office/drawing/2014/main" id="{6E1DDF1D-DDE9-6759-4DB1-E8124C71D0C6}"/>
                  </a:ext>
                </a:extLst>
              </p:cNvPr>
              <p:cNvSpPr>
                <a:spLocks noChangeShapeType="1"/>
              </p:cNvSpPr>
              <p:nvPr/>
            </p:nvSpPr>
            <p:spPr bwMode="auto">
              <a:xfrm>
                <a:off x="10278613" y="2473114"/>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50" name="Line 170">
                <a:extLst>
                  <a:ext uri="{FF2B5EF4-FFF2-40B4-BE49-F238E27FC236}">
                    <a16:creationId xmlns:a16="http://schemas.microsoft.com/office/drawing/2014/main" id="{8F209089-CBDF-5210-758E-4C3E9B3A0B99}"/>
                  </a:ext>
                </a:extLst>
              </p:cNvPr>
              <p:cNvSpPr>
                <a:spLocks noChangeShapeType="1"/>
              </p:cNvSpPr>
              <p:nvPr/>
            </p:nvSpPr>
            <p:spPr bwMode="auto">
              <a:xfrm>
                <a:off x="10490764" y="2536721"/>
                <a:ext cx="0" cy="24127"/>
              </a:xfrm>
              <a:prstGeom prst="line">
                <a:avLst/>
              </a:prstGeom>
              <a:noFill/>
              <a:ln w="15875">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grpSp>
      </p:grpSp>
      <p:grpSp>
        <p:nvGrpSpPr>
          <p:cNvPr id="1269" name="Group 1268">
            <a:extLst>
              <a:ext uri="{FF2B5EF4-FFF2-40B4-BE49-F238E27FC236}">
                <a16:creationId xmlns:a16="http://schemas.microsoft.com/office/drawing/2014/main" id="{316785E6-C0F8-4A35-9031-6005547DA544}"/>
              </a:ext>
            </a:extLst>
          </p:cNvPr>
          <p:cNvGrpSpPr/>
          <p:nvPr/>
        </p:nvGrpSpPr>
        <p:grpSpPr>
          <a:xfrm>
            <a:off x="1147649" y="1458804"/>
            <a:ext cx="5929979" cy="1419474"/>
            <a:chOff x="6935277" y="1222927"/>
            <a:chExt cx="3787281" cy="1044016"/>
          </a:xfrm>
        </p:grpSpPr>
        <p:sp>
          <p:nvSpPr>
            <p:cNvPr id="1270" name="Line 165">
              <a:extLst>
                <a:ext uri="{FF2B5EF4-FFF2-40B4-BE49-F238E27FC236}">
                  <a16:creationId xmlns:a16="http://schemas.microsoft.com/office/drawing/2014/main" id="{C022257F-9324-B530-E32E-E4316CDF6165}"/>
                </a:ext>
              </a:extLst>
            </p:cNvPr>
            <p:cNvSpPr>
              <a:spLocks noChangeShapeType="1"/>
            </p:cNvSpPr>
            <p:nvPr/>
          </p:nvSpPr>
          <p:spPr bwMode="auto">
            <a:xfrm>
              <a:off x="7740664" y="1415939"/>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71" name="Line 167">
              <a:extLst>
                <a:ext uri="{FF2B5EF4-FFF2-40B4-BE49-F238E27FC236}">
                  <a16:creationId xmlns:a16="http://schemas.microsoft.com/office/drawing/2014/main" id="{7549D7C4-B3F5-5D8D-B178-598EA34938D7}"/>
                </a:ext>
              </a:extLst>
            </p:cNvPr>
            <p:cNvSpPr>
              <a:spLocks noChangeShapeType="1"/>
            </p:cNvSpPr>
            <p:nvPr/>
          </p:nvSpPr>
          <p:spPr bwMode="auto">
            <a:xfrm>
              <a:off x="7080640" y="127118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72" name="Freeform 171">
              <a:extLst>
                <a:ext uri="{FF2B5EF4-FFF2-40B4-BE49-F238E27FC236}">
                  <a16:creationId xmlns:a16="http://schemas.microsoft.com/office/drawing/2014/main" id="{5472BF57-3595-495F-4D3D-0097F641E1F8}"/>
                </a:ext>
              </a:extLst>
            </p:cNvPr>
            <p:cNvSpPr>
              <a:spLocks/>
            </p:cNvSpPr>
            <p:nvPr/>
          </p:nvSpPr>
          <p:spPr bwMode="auto">
            <a:xfrm>
              <a:off x="6935277" y="1244860"/>
              <a:ext cx="3787281" cy="1019890"/>
            </a:xfrm>
            <a:custGeom>
              <a:avLst/>
              <a:gdLst>
                <a:gd name="T0" fmla="*/ 54 w 3856"/>
                <a:gd name="T1" fmla="*/ 4 h 930"/>
                <a:gd name="T2" fmla="*/ 96 w 3856"/>
                <a:gd name="T3" fmla="*/ 24 h 930"/>
                <a:gd name="T4" fmla="*/ 124 w 3856"/>
                <a:gd name="T5" fmla="*/ 42 h 930"/>
                <a:gd name="T6" fmla="*/ 214 w 3856"/>
                <a:gd name="T7" fmla="*/ 66 h 930"/>
                <a:gd name="T8" fmla="*/ 256 w 3856"/>
                <a:gd name="T9" fmla="*/ 86 h 930"/>
                <a:gd name="T10" fmla="*/ 324 w 3856"/>
                <a:gd name="T11" fmla="*/ 108 h 930"/>
                <a:gd name="T12" fmla="*/ 444 w 3856"/>
                <a:gd name="T13" fmla="*/ 132 h 930"/>
                <a:gd name="T14" fmla="*/ 546 w 3856"/>
                <a:gd name="T15" fmla="*/ 146 h 930"/>
                <a:gd name="T16" fmla="*/ 692 w 3856"/>
                <a:gd name="T17" fmla="*/ 166 h 930"/>
                <a:gd name="T18" fmla="*/ 818 w 3856"/>
                <a:gd name="T19" fmla="*/ 184 h 930"/>
                <a:gd name="T20" fmla="*/ 940 w 3856"/>
                <a:gd name="T21" fmla="*/ 204 h 930"/>
                <a:gd name="T22" fmla="*/ 983 w 3856"/>
                <a:gd name="T23" fmla="*/ 218 h 930"/>
                <a:gd name="T24" fmla="*/ 1097 w 3856"/>
                <a:gd name="T25" fmla="*/ 242 h 930"/>
                <a:gd name="T26" fmla="*/ 1231 w 3856"/>
                <a:gd name="T27" fmla="*/ 262 h 930"/>
                <a:gd name="T28" fmla="*/ 1273 w 3856"/>
                <a:gd name="T29" fmla="*/ 280 h 930"/>
                <a:gd name="T30" fmla="*/ 1297 w 3856"/>
                <a:gd name="T31" fmla="*/ 300 h 930"/>
                <a:gd name="T32" fmla="*/ 1331 w 3856"/>
                <a:gd name="T33" fmla="*/ 324 h 930"/>
                <a:gd name="T34" fmla="*/ 1413 w 3856"/>
                <a:gd name="T35" fmla="*/ 354 h 930"/>
                <a:gd name="T36" fmla="*/ 1505 w 3856"/>
                <a:gd name="T37" fmla="*/ 368 h 930"/>
                <a:gd name="T38" fmla="*/ 1579 w 3856"/>
                <a:gd name="T39" fmla="*/ 386 h 930"/>
                <a:gd name="T40" fmla="*/ 1641 w 3856"/>
                <a:gd name="T41" fmla="*/ 402 h 930"/>
                <a:gd name="T42" fmla="*/ 1739 w 3856"/>
                <a:gd name="T43" fmla="*/ 420 h 930"/>
                <a:gd name="T44" fmla="*/ 1793 w 3856"/>
                <a:gd name="T45" fmla="*/ 440 h 930"/>
                <a:gd name="T46" fmla="*/ 1831 w 3856"/>
                <a:gd name="T47" fmla="*/ 460 h 930"/>
                <a:gd name="T48" fmla="*/ 1895 w 3856"/>
                <a:gd name="T49" fmla="*/ 478 h 930"/>
                <a:gd name="T50" fmla="*/ 1929 w 3856"/>
                <a:gd name="T51" fmla="*/ 498 h 930"/>
                <a:gd name="T52" fmla="*/ 1987 w 3856"/>
                <a:gd name="T53" fmla="*/ 518 h 930"/>
                <a:gd name="T54" fmla="*/ 2009 w 3856"/>
                <a:gd name="T55" fmla="*/ 538 h 930"/>
                <a:gd name="T56" fmla="*/ 2043 w 3856"/>
                <a:gd name="T57" fmla="*/ 556 h 930"/>
                <a:gd name="T58" fmla="*/ 2097 w 3856"/>
                <a:gd name="T59" fmla="*/ 576 h 930"/>
                <a:gd name="T60" fmla="*/ 2149 w 3856"/>
                <a:gd name="T61" fmla="*/ 596 h 930"/>
                <a:gd name="T62" fmla="*/ 2257 w 3856"/>
                <a:gd name="T63" fmla="*/ 614 h 930"/>
                <a:gd name="T64" fmla="*/ 2345 w 3856"/>
                <a:gd name="T65" fmla="*/ 634 h 930"/>
                <a:gd name="T66" fmla="*/ 2441 w 3856"/>
                <a:gd name="T67" fmla="*/ 658 h 930"/>
                <a:gd name="T68" fmla="*/ 2483 w 3856"/>
                <a:gd name="T69" fmla="*/ 672 h 930"/>
                <a:gd name="T70" fmla="*/ 2517 w 3856"/>
                <a:gd name="T71" fmla="*/ 688 h 930"/>
                <a:gd name="T72" fmla="*/ 2535 w 3856"/>
                <a:gd name="T73" fmla="*/ 708 h 930"/>
                <a:gd name="T74" fmla="*/ 2583 w 3856"/>
                <a:gd name="T75" fmla="*/ 718 h 930"/>
                <a:gd name="T76" fmla="*/ 2633 w 3856"/>
                <a:gd name="T77" fmla="*/ 728 h 930"/>
                <a:gd name="T78" fmla="*/ 2649 w 3856"/>
                <a:gd name="T79" fmla="*/ 744 h 930"/>
                <a:gd name="T80" fmla="*/ 2681 w 3856"/>
                <a:gd name="T81" fmla="*/ 756 h 930"/>
                <a:gd name="T82" fmla="*/ 2735 w 3856"/>
                <a:gd name="T83" fmla="*/ 766 h 930"/>
                <a:gd name="T84" fmla="*/ 2759 w 3856"/>
                <a:gd name="T85" fmla="*/ 778 h 930"/>
                <a:gd name="T86" fmla="*/ 2799 w 3856"/>
                <a:gd name="T87" fmla="*/ 792 h 930"/>
                <a:gd name="T88" fmla="*/ 2849 w 3856"/>
                <a:gd name="T89" fmla="*/ 792 h 930"/>
                <a:gd name="T90" fmla="*/ 2881 w 3856"/>
                <a:gd name="T91" fmla="*/ 804 h 930"/>
                <a:gd name="T92" fmla="*/ 2905 w 3856"/>
                <a:gd name="T93" fmla="*/ 818 h 930"/>
                <a:gd name="T94" fmla="*/ 2956 w 3856"/>
                <a:gd name="T95" fmla="*/ 818 h 930"/>
                <a:gd name="T96" fmla="*/ 3002 w 3856"/>
                <a:gd name="T97" fmla="*/ 818 h 930"/>
                <a:gd name="T98" fmla="*/ 3036 w 3856"/>
                <a:gd name="T99" fmla="*/ 836 h 930"/>
                <a:gd name="T100" fmla="*/ 3104 w 3856"/>
                <a:gd name="T101" fmla="*/ 836 h 930"/>
                <a:gd name="T102" fmla="*/ 3148 w 3856"/>
                <a:gd name="T103" fmla="*/ 846 h 930"/>
                <a:gd name="T104" fmla="*/ 3196 w 3856"/>
                <a:gd name="T105" fmla="*/ 846 h 930"/>
                <a:gd name="T106" fmla="*/ 3238 w 3856"/>
                <a:gd name="T107" fmla="*/ 860 h 930"/>
                <a:gd name="T108" fmla="*/ 3270 w 3856"/>
                <a:gd name="T109" fmla="*/ 860 h 930"/>
                <a:gd name="T110" fmla="*/ 3328 w 3856"/>
                <a:gd name="T111" fmla="*/ 876 h 930"/>
                <a:gd name="T112" fmla="*/ 3400 w 3856"/>
                <a:gd name="T113" fmla="*/ 876 h 930"/>
                <a:gd name="T114" fmla="*/ 3444 w 3856"/>
                <a:gd name="T115" fmla="*/ 876 h 930"/>
                <a:gd name="T116" fmla="*/ 3508 w 3856"/>
                <a:gd name="T117" fmla="*/ 930 h 930"/>
                <a:gd name="T118" fmla="*/ 3584 w 3856"/>
                <a:gd name="T119" fmla="*/ 930 h 930"/>
                <a:gd name="T120" fmla="*/ 3678 w 3856"/>
                <a:gd name="T121" fmla="*/ 930 h 930"/>
                <a:gd name="T122" fmla="*/ 3768 w 3856"/>
                <a:gd name="T123" fmla="*/ 93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56" h="930">
                  <a:moveTo>
                    <a:pt x="0" y="0"/>
                  </a:moveTo>
                  <a:lnTo>
                    <a:pt x="4" y="0"/>
                  </a:lnTo>
                  <a:lnTo>
                    <a:pt x="6" y="0"/>
                  </a:lnTo>
                  <a:lnTo>
                    <a:pt x="6" y="4"/>
                  </a:lnTo>
                  <a:lnTo>
                    <a:pt x="16" y="4"/>
                  </a:lnTo>
                  <a:lnTo>
                    <a:pt x="22" y="4"/>
                  </a:lnTo>
                  <a:lnTo>
                    <a:pt x="24" y="4"/>
                  </a:lnTo>
                  <a:lnTo>
                    <a:pt x="54" y="4"/>
                  </a:lnTo>
                  <a:lnTo>
                    <a:pt x="54" y="10"/>
                  </a:lnTo>
                  <a:lnTo>
                    <a:pt x="66" y="10"/>
                  </a:lnTo>
                  <a:lnTo>
                    <a:pt x="66" y="14"/>
                  </a:lnTo>
                  <a:lnTo>
                    <a:pt x="82" y="14"/>
                  </a:lnTo>
                  <a:lnTo>
                    <a:pt x="82" y="18"/>
                  </a:lnTo>
                  <a:lnTo>
                    <a:pt x="84" y="18"/>
                  </a:lnTo>
                  <a:lnTo>
                    <a:pt x="84" y="24"/>
                  </a:lnTo>
                  <a:lnTo>
                    <a:pt x="96" y="24"/>
                  </a:lnTo>
                  <a:lnTo>
                    <a:pt x="106" y="24"/>
                  </a:lnTo>
                  <a:lnTo>
                    <a:pt x="106" y="28"/>
                  </a:lnTo>
                  <a:lnTo>
                    <a:pt x="112" y="28"/>
                  </a:lnTo>
                  <a:lnTo>
                    <a:pt x="112" y="38"/>
                  </a:lnTo>
                  <a:lnTo>
                    <a:pt x="114" y="38"/>
                  </a:lnTo>
                  <a:lnTo>
                    <a:pt x="122" y="38"/>
                  </a:lnTo>
                  <a:lnTo>
                    <a:pt x="122" y="42"/>
                  </a:lnTo>
                  <a:lnTo>
                    <a:pt x="124" y="42"/>
                  </a:lnTo>
                  <a:lnTo>
                    <a:pt x="124" y="46"/>
                  </a:lnTo>
                  <a:lnTo>
                    <a:pt x="180" y="46"/>
                  </a:lnTo>
                  <a:lnTo>
                    <a:pt x="180" y="52"/>
                  </a:lnTo>
                  <a:lnTo>
                    <a:pt x="186" y="52"/>
                  </a:lnTo>
                  <a:lnTo>
                    <a:pt x="186" y="62"/>
                  </a:lnTo>
                  <a:lnTo>
                    <a:pt x="208" y="62"/>
                  </a:lnTo>
                  <a:lnTo>
                    <a:pt x="208" y="66"/>
                  </a:lnTo>
                  <a:lnTo>
                    <a:pt x="214" y="66"/>
                  </a:lnTo>
                  <a:lnTo>
                    <a:pt x="214" y="70"/>
                  </a:lnTo>
                  <a:lnTo>
                    <a:pt x="224" y="70"/>
                  </a:lnTo>
                  <a:lnTo>
                    <a:pt x="224" y="76"/>
                  </a:lnTo>
                  <a:lnTo>
                    <a:pt x="236" y="76"/>
                  </a:lnTo>
                  <a:lnTo>
                    <a:pt x="238" y="76"/>
                  </a:lnTo>
                  <a:lnTo>
                    <a:pt x="238" y="80"/>
                  </a:lnTo>
                  <a:lnTo>
                    <a:pt x="256" y="80"/>
                  </a:lnTo>
                  <a:lnTo>
                    <a:pt x="256" y="86"/>
                  </a:lnTo>
                  <a:lnTo>
                    <a:pt x="264" y="86"/>
                  </a:lnTo>
                  <a:lnTo>
                    <a:pt x="264" y="94"/>
                  </a:lnTo>
                  <a:lnTo>
                    <a:pt x="278" y="94"/>
                  </a:lnTo>
                  <a:lnTo>
                    <a:pt x="278" y="100"/>
                  </a:lnTo>
                  <a:lnTo>
                    <a:pt x="306" y="100"/>
                  </a:lnTo>
                  <a:lnTo>
                    <a:pt x="306" y="104"/>
                  </a:lnTo>
                  <a:lnTo>
                    <a:pt x="324" y="104"/>
                  </a:lnTo>
                  <a:lnTo>
                    <a:pt x="324" y="108"/>
                  </a:lnTo>
                  <a:lnTo>
                    <a:pt x="354" y="108"/>
                  </a:lnTo>
                  <a:lnTo>
                    <a:pt x="354" y="114"/>
                  </a:lnTo>
                  <a:lnTo>
                    <a:pt x="360" y="114"/>
                  </a:lnTo>
                  <a:lnTo>
                    <a:pt x="360" y="118"/>
                  </a:lnTo>
                  <a:lnTo>
                    <a:pt x="426" y="118"/>
                  </a:lnTo>
                  <a:lnTo>
                    <a:pt x="426" y="124"/>
                  </a:lnTo>
                  <a:lnTo>
                    <a:pt x="444" y="124"/>
                  </a:lnTo>
                  <a:lnTo>
                    <a:pt x="444" y="132"/>
                  </a:lnTo>
                  <a:lnTo>
                    <a:pt x="448" y="132"/>
                  </a:lnTo>
                  <a:lnTo>
                    <a:pt x="468" y="132"/>
                  </a:lnTo>
                  <a:lnTo>
                    <a:pt x="468" y="138"/>
                  </a:lnTo>
                  <a:lnTo>
                    <a:pt x="472" y="138"/>
                  </a:lnTo>
                  <a:lnTo>
                    <a:pt x="472" y="142"/>
                  </a:lnTo>
                  <a:lnTo>
                    <a:pt x="538" y="142"/>
                  </a:lnTo>
                  <a:lnTo>
                    <a:pt x="538" y="146"/>
                  </a:lnTo>
                  <a:lnTo>
                    <a:pt x="546" y="146"/>
                  </a:lnTo>
                  <a:lnTo>
                    <a:pt x="546" y="152"/>
                  </a:lnTo>
                  <a:lnTo>
                    <a:pt x="592" y="152"/>
                  </a:lnTo>
                  <a:lnTo>
                    <a:pt x="592" y="156"/>
                  </a:lnTo>
                  <a:lnTo>
                    <a:pt x="642" y="156"/>
                  </a:lnTo>
                  <a:lnTo>
                    <a:pt x="642" y="162"/>
                  </a:lnTo>
                  <a:lnTo>
                    <a:pt x="672" y="162"/>
                  </a:lnTo>
                  <a:lnTo>
                    <a:pt x="672" y="166"/>
                  </a:lnTo>
                  <a:lnTo>
                    <a:pt x="692" y="166"/>
                  </a:lnTo>
                  <a:lnTo>
                    <a:pt x="692" y="170"/>
                  </a:lnTo>
                  <a:lnTo>
                    <a:pt x="712" y="170"/>
                  </a:lnTo>
                  <a:lnTo>
                    <a:pt x="712" y="176"/>
                  </a:lnTo>
                  <a:lnTo>
                    <a:pt x="758" y="176"/>
                  </a:lnTo>
                  <a:lnTo>
                    <a:pt x="758" y="180"/>
                  </a:lnTo>
                  <a:lnTo>
                    <a:pt x="770" y="180"/>
                  </a:lnTo>
                  <a:lnTo>
                    <a:pt x="770" y="184"/>
                  </a:lnTo>
                  <a:lnTo>
                    <a:pt x="818" y="184"/>
                  </a:lnTo>
                  <a:lnTo>
                    <a:pt x="818" y="190"/>
                  </a:lnTo>
                  <a:lnTo>
                    <a:pt x="854" y="190"/>
                  </a:lnTo>
                  <a:lnTo>
                    <a:pt x="854" y="194"/>
                  </a:lnTo>
                  <a:lnTo>
                    <a:pt x="860" y="194"/>
                  </a:lnTo>
                  <a:lnTo>
                    <a:pt x="860" y="200"/>
                  </a:lnTo>
                  <a:lnTo>
                    <a:pt x="912" y="200"/>
                  </a:lnTo>
                  <a:lnTo>
                    <a:pt x="912" y="204"/>
                  </a:lnTo>
                  <a:lnTo>
                    <a:pt x="940" y="204"/>
                  </a:lnTo>
                  <a:lnTo>
                    <a:pt x="940" y="208"/>
                  </a:lnTo>
                  <a:lnTo>
                    <a:pt x="942" y="208"/>
                  </a:lnTo>
                  <a:lnTo>
                    <a:pt x="965" y="208"/>
                  </a:lnTo>
                  <a:lnTo>
                    <a:pt x="969" y="208"/>
                  </a:lnTo>
                  <a:lnTo>
                    <a:pt x="969" y="214"/>
                  </a:lnTo>
                  <a:lnTo>
                    <a:pt x="977" y="214"/>
                  </a:lnTo>
                  <a:lnTo>
                    <a:pt x="977" y="218"/>
                  </a:lnTo>
                  <a:lnTo>
                    <a:pt x="983" y="218"/>
                  </a:lnTo>
                  <a:lnTo>
                    <a:pt x="983" y="224"/>
                  </a:lnTo>
                  <a:lnTo>
                    <a:pt x="1023" y="224"/>
                  </a:lnTo>
                  <a:lnTo>
                    <a:pt x="1049" y="224"/>
                  </a:lnTo>
                  <a:lnTo>
                    <a:pt x="1049" y="232"/>
                  </a:lnTo>
                  <a:lnTo>
                    <a:pt x="1069" y="232"/>
                  </a:lnTo>
                  <a:lnTo>
                    <a:pt x="1069" y="238"/>
                  </a:lnTo>
                  <a:lnTo>
                    <a:pt x="1097" y="238"/>
                  </a:lnTo>
                  <a:lnTo>
                    <a:pt x="1097" y="242"/>
                  </a:lnTo>
                  <a:lnTo>
                    <a:pt x="1115" y="242"/>
                  </a:lnTo>
                  <a:lnTo>
                    <a:pt x="1115" y="248"/>
                  </a:lnTo>
                  <a:lnTo>
                    <a:pt x="1117" y="248"/>
                  </a:lnTo>
                  <a:lnTo>
                    <a:pt x="1117" y="252"/>
                  </a:lnTo>
                  <a:lnTo>
                    <a:pt x="1135" y="252"/>
                  </a:lnTo>
                  <a:lnTo>
                    <a:pt x="1135" y="256"/>
                  </a:lnTo>
                  <a:lnTo>
                    <a:pt x="1231" y="256"/>
                  </a:lnTo>
                  <a:lnTo>
                    <a:pt x="1231" y="262"/>
                  </a:lnTo>
                  <a:lnTo>
                    <a:pt x="1247" y="262"/>
                  </a:lnTo>
                  <a:lnTo>
                    <a:pt x="1247" y="266"/>
                  </a:lnTo>
                  <a:lnTo>
                    <a:pt x="1251" y="266"/>
                  </a:lnTo>
                  <a:lnTo>
                    <a:pt x="1251" y="272"/>
                  </a:lnTo>
                  <a:lnTo>
                    <a:pt x="1263" y="272"/>
                  </a:lnTo>
                  <a:lnTo>
                    <a:pt x="1263" y="276"/>
                  </a:lnTo>
                  <a:lnTo>
                    <a:pt x="1273" y="276"/>
                  </a:lnTo>
                  <a:lnTo>
                    <a:pt x="1273" y="280"/>
                  </a:lnTo>
                  <a:lnTo>
                    <a:pt x="1279" y="280"/>
                  </a:lnTo>
                  <a:lnTo>
                    <a:pt x="1279" y="286"/>
                  </a:lnTo>
                  <a:lnTo>
                    <a:pt x="1289" y="286"/>
                  </a:lnTo>
                  <a:lnTo>
                    <a:pt x="1289" y="290"/>
                  </a:lnTo>
                  <a:lnTo>
                    <a:pt x="1293" y="290"/>
                  </a:lnTo>
                  <a:lnTo>
                    <a:pt x="1293" y="296"/>
                  </a:lnTo>
                  <a:lnTo>
                    <a:pt x="1297" y="296"/>
                  </a:lnTo>
                  <a:lnTo>
                    <a:pt x="1297" y="300"/>
                  </a:lnTo>
                  <a:lnTo>
                    <a:pt x="1299" y="300"/>
                  </a:lnTo>
                  <a:lnTo>
                    <a:pt x="1299" y="304"/>
                  </a:lnTo>
                  <a:lnTo>
                    <a:pt x="1305" y="304"/>
                  </a:lnTo>
                  <a:lnTo>
                    <a:pt x="1305" y="310"/>
                  </a:lnTo>
                  <a:lnTo>
                    <a:pt x="1315" y="310"/>
                  </a:lnTo>
                  <a:lnTo>
                    <a:pt x="1315" y="314"/>
                  </a:lnTo>
                  <a:lnTo>
                    <a:pt x="1331" y="314"/>
                  </a:lnTo>
                  <a:lnTo>
                    <a:pt x="1331" y="324"/>
                  </a:lnTo>
                  <a:lnTo>
                    <a:pt x="1351" y="324"/>
                  </a:lnTo>
                  <a:lnTo>
                    <a:pt x="1351" y="338"/>
                  </a:lnTo>
                  <a:lnTo>
                    <a:pt x="1355" y="338"/>
                  </a:lnTo>
                  <a:lnTo>
                    <a:pt x="1355" y="344"/>
                  </a:lnTo>
                  <a:lnTo>
                    <a:pt x="1383" y="344"/>
                  </a:lnTo>
                  <a:lnTo>
                    <a:pt x="1383" y="348"/>
                  </a:lnTo>
                  <a:lnTo>
                    <a:pt x="1413" y="348"/>
                  </a:lnTo>
                  <a:lnTo>
                    <a:pt x="1413" y="354"/>
                  </a:lnTo>
                  <a:lnTo>
                    <a:pt x="1445" y="354"/>
                  </a:lnTo>
                  <a:lnTo>
                    <a:pt x="1445" y="358"/>
                  </a:lnTo>
                  <a:lnTo>
                    <a:pt x="1455" y="358"/>
                  </a:lnTo>
                  <a:lnTo>
                    <a:pt x="1455" y="362"/>
                  </a:lnTo>
                  <a:lnTo>
                    <a:pt x="1487" y="362"/>
                  </a:lnTo>
                  <a:lnTo>
                    <a:pt x="1487" y="368"/>
                  </a:lnTo>
                  <a:lnTo>
                    <a:pt x="1497" y="368"/>
                  </a:lnTo>
                  <a:lnTo>
                    <a:pt x="1505" y="368"/>
                  </a:lnTo>
                  <a:lnTo>
                    <a:pt x="1521" y="368"/>
                  </a:lnTo>
                  <a:lnTo>
                    <a:pt x="1521" y="372"/>
                  </a:lnTo>
                  <a:lnTo>
                    <a:pt x="1531" y="372"/>
                  </a:lnTo>
                  <a:lnTo>
                    <a:pt x="1531" y="378"/>
                  </a:lnTo>
                  <a:lnTo>
                    <a:pt x="1537" y="378"/>
                  </a:lnTo>
                  <a:lnTo>
                    <a:pt x="1537" y="382"/>
                  </a:lnTo>
                  <a:lnTo>
                    <a:pt x="1579" y="382"/>
                  </a:lnTo>
                  <a:lnTo>
                    <a:pt x="1579" y="386"/>
                  </a:lnTo>
                  <a:lnTo>
                    <a:pt x="1589" y="386"/>
                  </a:lnTo>
                  <a:lnTo>
                    <a:pt x="1595" y="386"/>
                  </a:lnTo>
                  <a:lnTo>
                    <a:pt x="1595" y="392"/>
                  </a:lnTo>
                  <a:lnTo>
                    <a:pt x="1623" y="392"/>
                  </a:lnTo>
                  <a:lnTo>
                    <a:pt x="1623" y="396"/>
                  </a:lnTo>
                  <a:lnTo>
                    <a:pt x="1627" y="396"/>
                  </a:lnTo>
                  <a:lnTo>
                    <a:pt x="1627" y="402"/>
                  </a:lnTo>
                  <a:lnTo>
                    <a:pt x="1641" y="402"/>
                  </a:lnTo>
                  <a:lnTo>
                    <a:pt x="1641" y="406"/>
                  </a:lnTo>
                  <a:lnTo>
                    <a:pt x="1645" y="406"/>
                  </a:lnTo>
                  <a:lnTo>
                    <a:pt x="1645" y="412"/>
                  </a:lnTo>
                  <a:lnTo>
                    <a:pt x="1687" y="412"/>
                  </a:lnTo>
                  <a:lnTo>
                    <a:pt x="1687" y="416"/>
                  </a:lnTo>
                  <a:lnTo>
                    <a:pt x="1711" y="416"/>
                  </a:lnTo>
                  <a:lnTo>
                    <a:pt x="1711" y="420"/>
                  </a:lnTo>
                  <a:lnTo>
                    <a:pt x="1739" y="420"/>
                  </a:lnTo>
                  <a:lnTo>
                    <a:pt x="1739" y="426"/>
                  </a:lnTo>
                  <a:lnTo>
                    <a:pt x="1769" y="426"/>
                  </a:lnTo>
                  <a:lnTo>
                    <a:pt x="1769" y="430"/>
                  </a:lnTo>
                  <a:lnTo>
                    <a:pt x="1773" y="430"/>
                  </a:lnTo>
                  <a:lnTo>
                    <a:pt x="1773" y="436"/>
                  </a:lnTo>
                  <a:lnTo>
                    <a:pt x="1789" y="436"/>
                  </a:lnTo>
                  <a:lnTo>
                    <a:pt x="1789" y="440"/>
                  </a:lnTo>
                  <a:lnTo>
                    <a:pt x="1793" y="440"/>
                  </a:lnTo>
                  <a:lnTo>
                    <a:pt x="1793" y="444"/>
                  </a:lnTo>
                  <a:lnTo>
                    <a:pt x="1795" y="444"/>
                  </a:lnTo>
                  <a:lnTo>
                    <a:pt x="1795" y="450"/>
                  </a:lnTo>
                  <a:lnTo>
                    <a:pt x="1811" y="450"/>
                  </a:lnTo>
                  <a:lnTo>
                    <a:pt x="1811" y="454"/>
                  </a:lnTo>
                  <a:lnTo>
                    <a:pt x="1813" y="454"/>
                  </a:lnTo>
                  <a:lnTo>
                    <a:pt x="1813" y="460"/>
                  </a:lnTo>
                  <a:lnTo>
                    <a:pt x="1831" y="460"/>
                  </a:lnTo>
                  <a:lnTo>
                    <a:pt x="1831" y="464"/>
                  </a:lnTo>
                  <a:lnTo>
                    <a:pt x="1835" y="464"/>
                  </a:lnTo>
                  <a:lnTo>
                    <a:pt x="1835" y="470"/>
                  </a:lnTo>
                  <a:lnTo>
                    <a:pt x="1871" y="470"/>
                  </a:lnTo>
                  <a:lnTo>
                    <a:pt x="1871" y="474"/>
                  </a:lnTo>
                  <a:lnTo>
                    <a:pt x="1885" y="474"/>
                  </a:lnTo>
                  <a:lnTo>
                    <a:pt x="1885" y="478"/>
                  </a:lnTo>
                  <a:lnTo>
                    <a:pt x="1895" y="478"/>
                  </a:lnTo>
                  <a:lnTo>
                    <a:pt x="1895" y="484"/>
                  </a:lnTo>
                  <a:lnTo>
                    <a:pt x="1909" y="484"/>
                  </a:lnTo>
                  <a:lnTo>
                    <a:pt x="1909" y="488"/>
                  </a:lnTo>
                  <a:lnTo>
                    <a:pt x="1913" y="488"/>
                  </a:lnTo>
                  <a:lnTo>
                    <a:pt x="1913" y="494"/>
                  </a:lnTo>
                  <a:lnTo>
                    <a:pt x="1919" y="494"/>
                  </a:lnTo>
                  <a:lnTo>
                    <a:pt x="1919" y="498"/>
                  </a:lnTo>
                  <a:lnTo>
                    <a:pt x="1929" y="498"/>
                  </a:lnTo>
                  <a:lnTo>
                    <a:pt x="1929" y="504"/>
                  </a:lnTo>
                  <a:lnTo>
                    <a:pt x="1959" y="504"/>
                  </a:lnTo>
                  <a:lnTo>
                    <a:pt x="1959" y="508"/>
                  </a:lnTo>
                  <a:lnTo>
                    <a:pt x="1963" y="508"/>
                  </a:lnTo>
                  <a:lnTo>
                    <a:pt x="1963" y="512"/>
                  </a:lnTo>
                  <a:lnTo>
                    <a:pt x="1977" y="512"/>
                  </a:lnTo>
                  <a:lnTo>
                    <a:pt x="1977" y="518"/>
                  </a:lnTo>
                  <a:lnTo>
                    <a:pt x="1987" y="518"/>
                  </a:lnTo>
                  <a:lnTo>
                    <a:pt x="1987" y="522"/>
                  </a:lnTo>
                  <a:lnTo>
                    <a:pt x="1997" y="522"/>
                  </a:lnTo>
                  <a:lnTo>
                    <a:pt x="1997" y="528"/>
                  </a:lnTo>
                  <a:lnTo>
                    <a:pt x="2001" y="528"/>
                  </a:lnTo>
                  <a:lnTo>
                    <a:pt x="2001" y="532"/>
                  </a:lnTo>
                  <a:lnTo>
                    <a:pt x="2005" y="532"/>
                  </a:lnTo>
                  <a:lnTo>
                    <a:pt x="2005" y="538"/>
                  </a:lnTo>
                  <a:lnTo>
                    <a:pt x="2009" y="538"/>
                  </a:lnTo>
                  <a:lnTo>
                    <a:pt x="2009" y="542"/>
                  </a:lnTo>
                  <a:lnTo>
                    <a:pt x="2017" y="542"/>
                  </a:lnTo>
                  <a:lnTo>
                    <a:pt x="2017" y="546"/>
                  </a:lnTo>
                  <a:lnTo>
                    <a:pt x="2025" y="546"/>
                  </a:lnTo>
                  <a:lnTo>
                    <a:pt x="2025" y="552"/>
                  </a:lnTo>
                  <a:lnTo>
                    <a:pt x="2037" y="552"/>
                  </a:lnTo>
                  <a:lnTo>
                    <a:pt x="2037" y="556"/>
                  </a:lnTo>
                  <a:lnTo>
                    <a:pt x="2043" y="556"/>
                  </a:lnTo>
                  <a:lnTo>
                    <a:pt x="2043" y="562"/>
                  </a:lnTo>
                  <a:lnTo>
                    <a:pt x="2051" y="562"/>
                  </a:lnTo>
                  <a:lnTo>
                    <a:pt x="2051" y="566"/>
                  </a:lnTo>
                  <a:lnTo>
                    <a:pt x="2077" y="566"/>
                  </a:lnTo>
                  <a:lnTo>
                    <a:pt x="2077" y="572"/>
                  </a:lnTo>
                  <a:lnTo>
                    <a:pt x="2093" y="572"/>
                  </a:lnTo>
                  <a:lnTo>
                    <a:pt x="2093" y="576"/>
                  </a:lnTo>
                  <a:lnTo>
                    <a:pt x="2097" y="576"/>
                  </a:lnTo>
                  <a:lnTo>
                    <a:pt x="2097" y="580"/>
                  </a:lnTo>
                  <a:lnTo>
                    <a:pt x="2119" y="580"/>
                  </a:lnTo>
                  <a:lnTo>
                    <a:pt x="2119" y="586"/>
                  </a:lnTo>
                  <a:lnTo>
                    <a:pt x="2129" y="586"/>
                  </a:lnTo>
                  <a:lnTo>
                    <a:pt x="2129" y="590"/>
                  </a:lnTo>
                  <a:lnTo>
                    <a:pt x="2135" y="590"/>
                  </a:lnTo>
                  <a:lnTo>
                    <a:pt x="2135" y="596"/>
                  </a:lnTo>
                  <a:lnTo>
                    <a:pt x="2149" y="596"/>
                  </a:lnTo>
                  <a:lnTo>
                    <a:pt x="2149" y="600"/>
                  </a:lnTo>
                  <a:lnTo>
                    <a:pt x="2151" y="600"/>
                  </a:lnTo>
                  <a:lnTo>
                    <a:pt x="2151" y="604"/>
                  </a:lnTo>
                  <a:lnTo>
                    <a:pt x="2155" y="604"/>
                  </a:lnTo>
                  <a:lnTo>
                    <a:pt x="2155" y="610"/>
                  </a:lnTo>
                  <a:lnTo>
                    <a:pt x="2213" y="610"/>
                  </a:lnTo>
                  <a:lnTo>
                    <a:pt x="2213" y="614"/>
                  </a:lnTo>
                  <a:lnTo>
                    <a:pt x="2257" y="614"/>
                  </a:lnTo>
                  <a:lnTo>
                    <a:pt x="2257" y="620"/>
                  </a:lnTo>
                  <a:lnTo>
                    <a:pt x="2259" y="620"/>
                  </a:lnTo>
                  <a:lnTo>
                    <a:pt x="2259" y="624"/>
                  </a:lnTo>
                  <a:lnTo>
                    <a:pt x="2283" y="624"/>
                  </a:lnTo>
                  <a:lnTo>
                    <a:pt x="2283" y="630"/>
                  </a:lnTo>
                  <a:lnTo>
                    <a:pt x="2337" y="630"/>
                  </a:lnTo>
                  <a:lnTo>
                    <a:pt x="2337" y="634"/>
                  </a:lnTo>
                  <a:lnTo>
                    <a:pt x="2345" y="634"/>
                  </a:lnTo>
                  <a:lnTo>
                    <a:pt x="2345" y="638"/>
                  </a:lnTo>
                  <a:lnTo>
                    <a:pt x="2367" y="638"/>
                  </a:lnTo>
                  <a:lnTo>
                    <a:pt x="2367" y="644"/>
                  </a:lnTo>
                  <a:lnTo>
                    <a:pt x="2383" y="644"/>
                  </a:lnTo>
                  <a:lnTo>
                    <a:pt x="2383" y="654"/>
                  </a:lnTo>
                  <a:lnTo>
                    <a:pt x="2401" y="654"/>
                  </a:lnTo>
                  <a:lnTo>
                    <a:pt x="2401" y="658"/>
                  </a:lnTo>
                  <a:lnTo>
                    <a:pt x="2441" y="658"/>
                  </a:lnTo>
                  <a:lnTo>
                    <a:pt x="2441" y="664"/>
                  </a:lnTo>
                  <a:lnTo>
                    <a:pt x="2443" y="664"/>
                  </a:lnTo>
                  <a:lnTo>
                    <a:pt x="2443" y="668"/>
                  </a:lnTo>
                  <a:lnTo>
                    <a:pt x="2451" y="668"/>
                  </a:lnTo>
                  <a:lnTo>
                    <a:pt x="2459" y="668"/>
                  </a:lnTo>
                  <a:lnTo>
                    <a:pt x="2459" y="672"/>
                  </a:lnTo>
                  <a:lnTo>
                    <a:pt x="2475" y="672"/>
                  </a:lnTo>
                  <a:lnTo>
                    <a:pt x="2483" y="672"/>
                  </a:lnTo>
                  <a:lnTo>
                    <a:pt x="2495" y="672"/>
                  </a:lnTo>
                  <a:lnTo>
                    <a:pt x="2495" y="678"/>
                  </a:lnTo>
                  <a:lnTo>
                    <a:pt x="2499" y="678"/>
                  </a:lnTo>
                  <a:lnTo>
                    <a:pt x="2499" y="682"/>
                  </a:lnTo>
                  <a:lnTo>
                    <a:pt x="2503" y="682"/>
                  </a:lnTo>
                  <a:lnTo>
                    <a:pt x="2503" y="688"/>
                  </a:lnTo>
                  <a:lnTo>
                    <a:pt x="2515" y="688"/>
                  </a:lnTo>
                  <a:lnTo>
                    <a:pt x="2517" y="688"/>
                  </a:lnTo>
                  <a:lnTo>
                    <a:pt x="2517" y="692"/>
                  </a:lnTo>
                  <a:lnTo>
                    <a:pt x="2523" y="692"/>
                  </a:lnTo>
                  <a:lnTo>
                    <a:pt x="2523" y="698"/>
                  </a:lnTo>
                  <a:lnTo>
                    <a:pt x="2525" y="698"/>
                  </a:lnTo>
                  <a:lnTo>
                    <a:pt x="2525" y="702"/>
                  </a:lnTo>
                  <a:lnTo>
                    <a:pt x="2527" y="702"/>
                  </a:lnTo>
                  <a:lnTo>
                    <a:pt x="2527" y="708"/>
                  </a:lnTo>
                  <a:lnTo>
                    <a:pt x="2535" y="708"/>
                  </a:lnTo>
                  <a:lnTo>
                    <a:pt x="2535" y="714"/>
                  </a:lnTo>
                  <a:lnTo>
                    <a:pt x="2541" y="714"/>
                  </a:lnTo>
                  <a:lnTo>
                    <a:pt x="2541" y="718"/>
                  </a:lnTo>
                  <a:lnTo>
                    <a:pt x="2551" y="718"/>
                  </a:lnTo>
                  <a:lnTo>
                    <a:pt x="2561" y="718"/>
                  </a:lnTo>
                  <a:lnTo>
                    <a:pt x="2567" y="718"/>
                  </a:lnTo>
                  <a:lnTo>
                    <a:pt x="2581" y="718"/>
                  </a:lnTo>
                  <a:lnTo>
                    <a:pt x="2583" y="718"/>
                  </a:lnTo>
                  <a:lnTo>
                    <a:pt x="2591" y="718"/>
                  </a:lnTo>
                  <a:lnTo>
                    <a:pt x="2593" y="718"/>
                  </a:lnTo>
                  <a:lnTo>
                    <a:pt x="2605" y="718"/>
                  </a:lnTo>
                  <a:lnTo>
                    <a:pt x="2605" y="724"/>
                  </a:lnTo>
                  <a:lnTo>
                    <a:pt x="2609" y="724"/>
                  </a:lnTo>
                  <a:lnTo>
                    <a:pt x="2609" y="728"/>
                  </a:lnTo>
                  <a:lnTo>
                    <a:pt x="2623" y="728"/>
                  </a:lnTo>
                  <a:lnTo>
                    <a:pt x="2633" y="728"/>
                  </a:lnTo>
                  <a:lnTo>
                    <a:pt x="2633" y="734"/>
                  </a:lnTo>
                  <a:lnTo>
                    <a:pt x="2639" y="734"/>
                  </a:lnTo>
                  <a:lnTo>
                    <a:pt x="2639" y="740"/>
                  </a:lnTo>
                  <a:lnTo>
                    <a:pt x="2641" y="740"/>
                  </a:lnTo>
                  <a:lnTo>
                    <a:pt x="2643" y="740"/>
                  </a:lnTo>
                  <a:lnTo>
                    <a:pt x="2647" y="740"/>
                  </a:lnTo>
                  <a:lnTo>
                    <a:pt x="2649" y="740"/>
                  </a:lnTo>
                  <a:lnTo>
                    <a:pt x="2649" y="744"/>
                  </a:lnTo>
                  <a:lnTo>
                    <a:pt x="2651" y="744"/>
                  </a:lnTo>
                  <a:lnTo>
                    <a:pt x="2651" y="750"/>
                  </a:lnTo>
                  <a:lnTo>
                    <a:pt x="2659" y="750"/>
                  </a:lnTo>
                  <a:lnTo>
                    <a:pt x="2659" y="756"/>
                  </a:lnTo>
                  <a:lnTo>
                    <a:pt x="2663" y="756"/>
                  </a:lnTo>
                  <a:lnTo>
                    <a:pt x="2665" y="756"/>
                  </a:lnTo>
                  <a:lnTo>
                    <a:pt x="2669" y="756"/>
                  </a:lnTo>
                  <a:lnTo>
                    <a:pt x="2681" y="756"/>
                  </a:lnTo>
                  <a:lnTo>
                    <a:pt x="2681" y="762"/>
                  </a:lnTo>
                  <a:lnTo>
                    <a:pt x="2691" y="762"/>
                  </a:lnTo>
                  <a:lnTo>
                    <a:pt x="2691" y="766"/>
                  </a:lnTo>
                  <a:lnTo>
                    <a:pt x="2699" y="766"/>
                  </a:lnTo>
                  <a:lnTo>
                    <a:pt x="2717" y="766"/>
                  </a:lnTo>
                  <a:lnTo>
                    <a:pt x="2723" y="766"/>
                  </a:lnTo>
                  <a:lnTo>
                    <a:pt x="2731" y="766"/>
                  </a:lnTo>
                  <a:lnTo>
                    <a:pt x="2735" y="766"/>
                  </a:lnTo>
                  <a:lnTo>
                    <a:pt x="2739" y="766"/>
                  </a:lnTo>
                  <a:lnTo>
                    <a:pt x="2741" y="766"/>
                  </a:lnTo>
                  <a:lnTo>
                    <a:pt x="2747" y="766"/>
                  </a:lnTo>
                  <a:lnTo>
                    <a:pt x="2751" y="766"/>
                  </a:lnTo>
                  <a:lnTo>
                    <a:pt x="2757" y="766"/>
                  </a:lnTo>
                  <a:lnTo>
                    <a:pt x="2757" y="772"/>
                  </a:lnTo>
                  <a:lnTo>
                    <a:pt x="2759" y="772"/>
                  </a:lnTo>
                  <a:lnTo>
                    <a:pt x="2759" y="778"/>
                  </a:lnTo>
                  <a:lnTo>
                    <a:pt x="2771" y="778"/>
                  </a:lnTo>
                  <a:lnTo>
                    <a:pt x="2773" y="778"/>
                  </a:lnTo>
                  <a:lnTo>
                    <a:pt x="2779" y="778"/>
                  </a:lnTo>
                  <a:lnTo>
                    <a:pt x="2779" y="792"/>
                  </a:lnTo>
                  <a:lnTo>
                    <a:pt x="2783" y="792"/>
                  </a:lnTo>
                  <a:lnTo>
                    <a:pt x="2789" y="792"/>
                  </a:lnTo>
                  <a:lnTo>
                    <a:pt x="2793" y="792"/>
                  </a:lnTo>
                  <a:lnTo>
                    <a:pt x="2799" y="792"/>
                  </a:lnTo>
                  <a:lnTo>
                    <a:pt x="2801" y="792"/>
                  </a:lnTo>
                  <a:lnTo>
                    <a:pt x="2805" y="792"/>
                  </a:lnTo>
                  <a:lnTo>
                    <a:pt x="2807" y="792"/>
                  </a:lnTo>
                  <a:lnTo>
                    <a:pt x="2809" y="792"/>
                  </a:lnTo>
                  <a:lnTo>
                    <a:pt x="2813" y="792"/>
                  </a:lnTo>
                  <a:lnTo>
                    <a:pt x="2817" y="792"/>
                  </a:lnTo>
                  <a:lnTo>
                    <a:pt x="2843" y="792"/>
                  </a:lnTo>
                  <a:lnTo>
                    <a:pt x="2849" y="792"/>
                  </a:lnTo>
                  <a:lnTo>
                    <a:pt x="2851" y="792"/>
                  </a:lnTo>
                  <a:lnTo>
                    <a:pt x="2851" y="798"/>
                  </a:lnTo>
                  <a:lnTo>
                    <a:pt x="2857" y="798"/>
                  </a:lnTo>
                  <a:lnTo>
                    <a:pt x="2857" y="804"/>
                  </a:lnTo>
                  <a:lnTo>
                    <a:pt x="2859" y="804"/>
                  </a:lnTo>
                  <a:lnTo>
                    <a:pt x="2863" y="804"/>
                  </a:lnTo>
                  <a:lnTo>
                    <a:pt x="2865" y="804"/>
                  </a:lnTo>
                  <a:lnTo>
                    <a:pt x="2881" y="804"/>
                  </a:lnTo>
                  <a:lnTo>
                    <a:pt x="2883" y="804"/>
                  </a:lnTo>
                  <a:lnTo>
                    <a:pt x="2887" y="804"/>
                  </a:lnTo>
                  <a:lnTo>
                    <a:pt x="2889" y="804"/>
                  </a:lnTo>
                  <a:lnTo>
                    <a:pt x="2889" y="812"/>
                  </a:lnTo>
                  <a:lnTo>
                    <a:pt x="2891" y="812"/>
                  </a:lnTo>
                  <a:lnTo>
                    <a:pt x="2899" y="812"/>
                  </a:lnTo>
                  <a:lnTo>
                    <a:pt x="2905" y="812"/>
                  </a:lnTo>
                  <a:lnTo>
                    <a:pt x="2905" y="818"/>
                  </a:lnTo>
                  <a:lnTo>
                    <a:pt x="2915" y="818"/>
                  </a:lnTo>
                  <a:lnTo>
                    <a:pt x="2916" y="818"/>
                  </a:lnTo>
                  <a:lnTo>
                    <a:pt x="2922" y="818"/>
                  </a:lnTo>
                  <a:lnTo>
                    <a:pt x="2936" y="818"/>
                  </a:lnTo>
                  <a:lnTo>
                    <a:pt x="2938" y="818"/>
                  </a:lnTo>
                  <a:lnTo>
                    <a:pt x="2940" y="818"/>
                  </a:lnTo>
                  <a:lnTo>
                    <a:pt x="2954" y="818"/>
                  </a:lnTo>
                  <a:lnTo>
                    <a:pt x="2956" y="818"/>
                  </a:lnTo>
                  <a:lnTo>
                    <a:pt x="2958" y="818"/>
                  </a:lnTo>
                  <a:lnTo>
                    <a:pt x="2962" y="818"/>
                  </a:lnTo>
                  <a:lnTo>
                    <a:pt x="2964" y="818"/>
                  </a:lnTo>
                  <a:lnTo>
                    <a:pt x="2978" y="818"/>
                  </a:lnTo>
                  <a:lnTo>
                    <a:pt x="2980" y="818"/>
                  </a:lnTo>
                  <a:lnTo>
                    <a:pt x="2990" y="818"/>
                  </a:lnTo>
                  <a:lnTo>
                    <a:pt x="2994" y="818"/>
                  </a:lnTo>
                  <a:lnTo>
                    <a:pt x="3002" y="818"/>
                  </a:lnTo>
                  <a:lnTo>
                    <a:pt x="3002" y="828"/>
                  </a:lnTo>
                  <a:lnTo>
                    <a:pt x="3006" y="828"/>
                  </a:lnTo>
                  <a:lnTo>
                    <a:pt x="3014" y="828"/>
                  </a:lnTo>
                  <a:lnTo>
                    <a:pt x="3014" y="836"/>
                  </a:lnTo>
                  <a:lnTo>
                    <a:pt x="3022" y="836"/>
                  </a:lnTo>
                  <a:lnTo>
                    <a:pt x="3024" y="836"/>
                  </a:lnTo>
                  <a:lnTo>
                    <a:pt x="3030" y="836"/>
                  </a:lnTo>
                  <a:lnTo>
                    <a:pt x="3036" y="836"/>
                  </a:lnTo>
                  <a:lnTo>
                    <a:pt x="3048" y="836"/>
                  </a:lnTo>
                  <a:lnTo>
                    <a:pt x="3054" y="836"/>
                  </a:lnTo>
                  <a:lnTo>
                    <a:pt x="3066" y="836"/>
                  </a:lnTo>
                  <a:lnTo>
                    <a:pt x="3074" y="836"/>
                  </a:lnTo>
                  <a:lnTo>
                    <a:pt x="3088" y="836"/>
                  </a:lnTo>
                  <a:lnTo>
                    <a:pt x="3096" y="836"/>
                  </a:lnTo>
                  <a:lnTo>
                    <a:pt x="3102" y="836"/>
                  </a:lnTo>
                  <a:lnTo>
                    <a:pt x="3104" y="836"/>
                  </a:lnTo>
                  <a:lnTo>
                    <a:pt x="3106" y="836"/>
                  </a:lnTo>
                  <a:lnTo>
                    <a:pt x="3110" y="836"/>
                  </a:lnTo>
                  <a:lnTo>
                    <a:pt x="3112" y="836"/>
                  </a:lnTo>
                  <a:lnTo>
                    <a:pt x="3118" y="836"/>
                  </a:lnTo>
                  <a:lnTo>
                    <a:pt x="3118" y="846"/>
                  </a:lnTo>
                  <a:lnTo>
                    <a:pt x="3138" y="846"/>
                  </a:lnTo>
                  <a:lnTo>
                    <a:pt x="3146" y="846"/>
                  </a:lnTo>
                  <a:lnTo>
                    <a:pt x="3148" y="846"/>
                  </a:lnTo>
                  <a:lnTo>
                    <a:pt x="3152" y="846"/>
                  </a:lnTo>
                  <a:lnTo>
                    <a:pt x="3160" y="846"/>
                  </a:lnTo>
                  <a:lnTo>
                    <a:pt x="3172" y="846"/>
                  </a:lnTo>
                  <a:lnTo>
                    <a:pt x="3176" y="846"/>
                  </a:lnTo>
                  <a:lnTo>
                    <a:pt x="3178" y="846"/>
                  </a:lnTo>
                  <a:lnTo>
                    <a:pt x="3180" y="846"/>
                  </a:lnTo>
                  <a:lnTo>
                    <a:pt x="3182" y="846"/>
                  </a:lnTo>
                  <a:lnTo>
                    <a:pt x="3196" y="846"/>
                  </a:lnTo>
                  <a:lnTo>
                    <a:pt x="3210" y="846"/>
                  </a:lnTo>
                  <a:lnTo>
                    <a:pt x="3212" y="846"/>
                  </a:lnTo>
                  <a:lnTo>
                    <a:pt x="3214" y="846"/>
                  </a:lnTo>
                  <a:lnTo>
                    <a:pt x="3218" y="846"/>
                  </a:lnTo>
                  <a:lnTo>
                    <a:pt x="3220" y="846"/>
                  </a:lnTo>
                  <a:lnTo>
                    <a:pt x="3234" y="846"/>
                  </a:lnTo>
                  <a:lnTo>
                    <a:pt x="3238" y="846"/>
                  </a:lnTo>
                  <a:lnTo>
                    <a:pt x="3238" y="860"/>
                  </a:lnTo>
                  <a:lnTo>
                    <a:pt x="3240" y="860"/>
                  </a:lnTo>
                  <a:lnTo>
                    <a:pt x="3244" y="860"/>
                  </a:lnTo>
                  <a:lnTo>
                    <a:pt x="3248" y="860"/>
                  </a:lnTo>
                  <a:lnTo>
                    <a:pt x="3252" y="860"/>
                  </a:lnTo>
                  <a:lnTo>
                    <a:pt x="3254" y="860"/>
                  </a:lnTo>
                  <a:lnTo>
                    <a:pt x="3256" y="860"/>
                  </a:lnTo>
                  <a:lnTo>
                    <a:pt x="3262" y="860"/>
                  </a:lnTo>
                  <a:lnTo>
                    <a:pt x="3270" y="860"/>
                  </a:lnTo>
                  <a:lnTo>
                    <a:pt x="3280" y="860"/>
                  </a:lnTo>
                  <a:lnTo>
                    <a:pt x="3284" y="860"/>
                  </a:lnTo>
                  <a:lnTo>
                    <a:pt x="3296" y="860"/>
                  </a:lnTo>
                  <a:lnTo>
                    <a:pt x="3318" y="860"/>
                  </a:lnTo>
                  <a:lnTo>
                    <a:pt x="3322" y="860"/>
                  </a:lnTo>
                  <a:lnTo>
                    <a:pt x="3326" y="860"/>
                  </a:lnTo>
                  <a:lnTo>
                    <a:pt x="3326" y="876"/>
                  </a:lnTo>
                  <a:lnTo>
                    <a:pt x="3328" y="876"/>
                  </a:lnTo>
                  <a:lnTo>
                    <a:pt x="3342" y="876"/>
                  </a:lnTo>
                  <a:lnTo>
                    <a:pt x="3360" y="876"/>
                  </a:lnTo>
                  <a:lnTo>
                    <a:pt x="3364" y="876"/>
                  </a:lnTo>
                  <a:lnTo>
                    <a:pt x="3380" y="876"/>
                  </a:lnTo>
                  <a:lnTo>
                    <a:pt x="3388" y="876"/>
                  </a:lnTo>
                  <a:lnTo>
                    <a:pt x="3394" y="876"/>
                  </a:lnTo>
                  <a:lnTo>
                    <a:pt x="3396" y="876"/>
                  </a:lnTo>
                  <a:lnTo>
                    <a:pt x="3400" y="876"/>
                  </a:lnTo>
                  <a:lnTo>
                    <a:pt x="3408" y="876"/>
                  </a:lnTo>
                  <a:lnTo>
                    <a:pt x="3410" y="876"/>
                  </a:lnTo>
                  <a:lnTo>
                    <a:pt x="3412" y="876"/>
                  </a:lnTo>
                  <a:lnTo>
                    <a:pt x="3426" y="876"/>
                  </a:lnTo>
                  <a:lnTo>
                    <a:pt x="3430" y="876"/>
                  </a:lnTo>
                  <a:lnTo>
                    <a:pt x="3436" y="876"/>
                  </a:lnTo>
                  <a:lnTo>
                    <a:pt x="3442" y="876"/>
                  </a:lnTo>
                  <a:lnTo>
                    <a:pt x="3444" y="876"/>
                  </a:lnTo>
                  <a:lnTo>
                    <a:pt x="3444" y="900"/>
                  </a:lnTo>
                  <a:lnTo>
                    <a:pt x="3470" y="900"/>
                  </a:lnTo>
                  <a:lnTo>
                    <a:pt x="3472" y="900"/>
                  </a:lnTo>
                  <a:lnTo>
                    <a:pt x="3476" y="900"/>
                  </a:lnTo>
                  <a:lnTo>
                    <a:pt x="3478" y="900"/>
                  </a:lnTo>
                  <a:lnTo>
                    <a:pt x="3488" y="900"/>
                  </a:lnTo>
                  <a:lnTo>
                    <a:pt x="3488" y="930"/>
                  </a:lnTo>
                  <a:lnTo>
                    <a:pt x="3508" y="930"/>
                  </a:lnTo>
                  <a:lnTo>
                    <a:pt x="3512" y="930"/>
                  </a:lnTo>
                  <a:lnTo>
                    <a:pt x="3516" y="930"/>
                  </a:lnTo>
                  <a:lnTo>
                    <a:pt x="3526" y="930"/>
                  </a:lnTo>
                  <a:lnTo>
                    <a:pt x="3542" y="930"/>
                  </a:lnTo>
                  <a:lnTo>
                    <a:pt x="3544" y="930"/>
                  </a:lnTo>
                  <a:lnTo>
                    <a:pt x="3546" y="930"/>
                  </a:lnTo>
                  <a:lnTo>
                    <a:pt x="3550" y="930"/>
                  </a:lnTo>
                  <a:lnTo>
                    <a:pt x="3584" y="930"/>
                  </a:lnTo>
                  <a:lnTo>
                    <a:pt x="3586" y="930"/>
                  </a:lnTo>
                  <a:lnTo>
                    <a:pt x="3602" y="930"/>
                  </a:lnTo>
                  <a:lnTo>
                    <a:pt x="3604" y="930"/>
                  </a:lnTo>
                  <a:lnTo>
                    <a:pt x="3618" y="930"/>
                  </a:lnTo>
                  <a:lnTo>
                    <a:pt x="3620" y="930"/>
                  </a:lnTo>
                  <a:lnTo>
                    <a:pt x="3658" y="930"/>
                  </a:lnTo>
                  <a:lnTo>
                    <a:pt x="3660" y="930"/>
                  </a:lnTo>
                  <a:lnTo>
                    <a:pt x="3678" y="930"/>
                  </a:lnTo>
                  <a:lnTo>
                    <a:pt x="3692" y="930"/>
                  </a:lnTo>
                  <a:lnTo>
                    <a:pt x="3694" y="930"/>
                  </a:lnTo>
                  <a:lnTo>
                    <a:pt x="3698" y="930"/>
                  </a:lnTo>
                  <a:lnTo>
                    <a:pt x="3708" y="930"/>
                  </a:lnTo>
                  <a:lnTo>
                    <a:pt x="3710" y="930"/>
                  </a:lnTo>
                  <a:lnTo>
                    <a:pt x="3732" y="930"/>
                  </a:lnTo>
                  <a:lnTo>
                    <a:pt x="3766" y="930"/>
                  </a:lnTo>
                  <a:lnTo>
                    <a:pt x="3768" y="930"/>
                  </a:lnTo>
                  <a:lnTo>
                    <a:pt x="3770" y="930"/>
                  </a:lnTo>
                  <a:lnTo>
                    <a:pt x="3856" y="930"/>
                  </a:lnTo>
                </a:path>
              </a:pathLst>
            </a:custGeom>
            <a:noFill/>
            <a:ln w="25400">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73" name="Line 172">
              <a:extLst>
                <a:ext uri="{FF2B5EF4-FFF2-40B4-BE49-F238E27FC236}">
                  <a16:creationId xmlns:a16="http://schemas.microsoft.com/office/drawing/2014/main" id="{9DEA4AC3-41EB-17F2-B943-57107761A2D0}"/>
                </a:ext>
              </a:extLst>
            </p:cNvPr>
            <p:cNvSpPr>
              <a:spLocks noChangeShapeType="1"/>
            </p:cNvSpPr>
            <p:nvPr/>
          </p:nvSpPr>
          <p:spPr bwMode="auto">
            <a:xfrm>
              <a:off x="10718630"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74" name="Line 173">
              <a:extLst>
                <a:ext uri="{FF2B5EF4-FFF2-40B4-BE49-F238E27FC236}">
                  <a16:creationId xmlns:a16="http://schemas.microsoft.com/office/drawing/2014/main" id="{73890E51-442B-185D-3967-7F502F410BF6}"/>
                </a:ext>
              </a:extLst>
            </p:cNvPr>
            <p:cNvSpPr>
              <a:spLocks noChangeShapeType="1"/>
            </p:cNvSpPr>
            <p:nvPr/>
          </p:nvSpPr>
          <p:spPr bwMode="auto">
            <a:xfrm>
              <a:off x="10636127"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75" name="Line 174">
              <a:extLst>
                <a:ext uri="{FF2B5EF4-FFF2-40B4-BE49-F238E27FC236}">
                  <a16:creationId xmlns:a16="http://schemas.microsoft.com/office/drawing/2014/main" id="{438F062D-0C02-E423-6BA0-6705300A8231}"/>
                </a:ext>
              </a:extLst>
            </p:cNvPr>
            <p:cNvSpPr>
              <a:spLocks noChangeShapeType="1"/>
            </p:cNvSpPr>
            <p:nvPr/>
          </p:nvSpPr>
          <p:spPr bwMode="auto">
            <a:xfrm>
              <a:off x="10632198"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76" name="Line 175">
              <a:extLst>
                <a:ext uri="{FF2B5EF4-FFF2-40B4-BE49-F238E27FC236}">
                  <a16:creationId xmlns:a16="http://schemas.microsoft.com/office/drawing/2014/main" id="{DA5C983F-17C1-3120-A24D-EB8F3062A5FA}"/>
                </a:ext>
              </a:extLst>
            </p:cNvPr>
            <p:cNvSpPr>
              <a:spLocks noChangeShapeType="1"/>
            </p:cNvSpPr>
            <p:nvPr/>
          </p:nvSpPr>
          <p:spPr bwMode="auto">
            <a:xfrm>
              <a:off x="10600768"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77" name="Line 176">
              <a:extLst>
                <a:ext uri="{FF2B5EF4-FFF2-40B4-BE49-F238E27FC236}">
                  <a16:creationId xmlns:a16="http://schemas.microsoft.com/office/drawing/2014/main" id="{42BFA755-4363-6D66-6F7A-3371ADE8A69E}"/>
                </a:ext>
              </a:extLst>
            </p:cNvPr>
            <p:cNvSpPr>
              <a:spLocks noChangeShapeType="1"/>
            </p:cNvSpPr>
            <p:nvPr/>
          </p:nvSpPr>
          <p:spPr bwMode="auto">
            <a:xfrm>
              <a:off x="10581124"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78" name="Line 177">
              <a:extLst>
                <a:ext uri="{FF2B5EF4-FFF2-40B4-BE49-F238E27FC236}">
                  <a16:creationId xmlns:a16="http://schemas.microsoft.com/office/drawing/2014/main" id="{5F15B769-CBD4-963C-F0EF-CB872A59F973}"/>
                </a:ext>
              </a:extLst>
            </p:cNvPr>
            <p:cNvSpPr>
              <a:spLocks noChangeShapeType="1"/>
            </p:cNvSpPr>
            <p:nvPr/>
          </p:nvSpPr>
          <p:spPr bwMode="auto">
            <a:xfrm>
              <a:off x="10577196"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79" name="Line 178">
              <a:extLst>
                <a:ext uri="{FF2B5EF4-FFF2-40B4-BE49-F238E27FC236}">
                  <a16:creationId xmlns:a16="http://schemas.microsoft.com/office/drawing/2014/main" id="{630EB035-A2B2-EA85-5CBC-FF977E528ED9}"/>
                </a:ext>
              </a:extLst>
            </p:cNvPr>
            <p:cNvSpPr>
              <a:spLocks noChangeShapeType="1"/>
            </p:cNvSpPr>
            <p:nvPr/>
          </p:nvSpPr>
          <p:spPr bwMode="auto">
            <a:xfrm>
              <a:off x="10565410"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80" name="Line 179">
              <a:extLst>
                <a:ext uri="{FF2B5EF4-FFF2-40B4-BE49-F238E27FC236}">
                  <a16:creationId xmlns:a16="http://schemas.microsoft.com/office/drawing/2014/main" id="{67EE720C-B840-779E-7B1F-11785689D391}"/>
                </a:ext>
              </a:extLst>
            </p:cNvPr>
            <p:cNvSpPr>
              <a:spLocks noChangeShapeType="1"/>
            </p:cNvSpPr>
            <p:nvPr/>
          </p:nvSpPr>
          <p:spPr bwMode="auto">
            <a:xfrm>
              <a:off x="10559516"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81" name="Line 180">
              <a:extLst>
                <a:ext uri="{FF2B5EF4-FFF2-40B4-BE49-F238E27FC236}">
                  <a16:creationId xmlns:a16="http://schemas.microsoft.com/office/drawing/2014/main" id="{BA1A9A81-933F-49EE-423E-D8828FE98939}"/>
                </a:ext>
              </a:extLst>
            </p:cNvPr>
            <p:cNvSpPr>
              <a:spLocks noChangeShapeType="1"/>
            </p:cNvSpPr>
            <p:nvPr/>
          </p:nvSpPr>
          <p:spPr bwMode="auto">
            <a:xfrm>
              <a:off x="10549695"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82" name="Line 181">
              <a:extLst>
                <a:ext uri="{FF2B5EF4-FFF2-40B4-BE49-F238E27FC236}">
                  <a16:creationId xmlns:a16="http://schemas.microsoft.com/office/drawing/2014/main" id="{8E93B1BB-373B-1BB0-AD7E-CDBB84517A32}"/>
                </a:ext>
              </a:extLst>
            </p:cNvPr>
            <p:cNvSpPr>
              <a:spLocks noChangeShapeType="1"/>
            </p:cNvSpPr>
            <p:nvPr/>
          </p:nvSpPr>
          <p:spPr bwMode="auto">
            <a:xfrm>
              <a:off x="10530051"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83" name="Line 182">
              <a:extLst>
                <a:ext uri="{FF2B5EF4-FFF2-40B4-BE49-F238E27FC236}">
                  <a16:creationId xmlns:a16="http://schemas.microsoft.com/office/drawing/2014/main" id="{C7130B74-2E7F-D583-D911-83B8C656B53C}"/>
                </a:ext>
              </a:extLst>
            </p:cNvPr>
            <p:cNvSpPr>
              <a:spLocks noChangeShapeType="1"/>
            </p:cNvSpPr>
            <p:nvPr/>
          </p:nvSpPr>
          <p:spPr bwMode="auto">
            <a:xfrm>
              <a:off x="10492729"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84" name="Line 183">
              <a:extLst>
                <a:ext uri="{FF2B5EF4-FFF2-40B4-BE49-F238E27FC236}">
                  <a16:creationId xmlns:a16="http://schemas.microsoft.com/office/drawing/2014/main" id="{8A106D05-CAFB-135E-3C28-F671EB926D84}"/>
                </a:ext>
              </a:extLst>
            </p:cNvPr>
            <p:cNvSpPr>
              <a:spLocks noChangeShapeType="1"/>
            </p:cNvSpPr>
            <p:nvPr/>
          </p:nvSpPr>
          <p:spPr bwMode="auto">
            <a:xfrm>
              <a:off x="10488800"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85" name="Line 184">
              <a:extLst>
                <a:ext uri="{FF2B5EF4-FFF2-40B4-BE49-F238E27FC236}">
                  <a16:creationId xmlns:a16="http://schemas.microsoft.com/office/drawing/2014/main" id="{479FC59D-6006-A7DD-9981-D39A97D4BD3C}"/>
                </a:ext>
              </a:extLst>
            </p:cNvPr>
            <p:cNvSpPr>
              <a:spLocks noChangeShapeType="1"/>
            </p:cNvSpPr>
            <p:nvPr/>
          </p:nvSpPr>
          <p:spPr bwMode="auto">
            <a:xfrm>
              <a:off x="10477013"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86" name="Line 185">
              <a:extLst>
                <a:ext uri="{FF2B5EF4-FFF2-40B4-BE49-F238E27FC236}">
                  <a16:creationId xmlns:a16="http://schemas.microsoft.com/office/drawing/2014/main" id="{841B77B8-A006-970C-2D73-99010E75F963}"/>
                </a:ext>
              </a:extLst>
            </p:cNvPr>
            <p:cNvSpPr>
              <a:spLocks noChangeShapeType="1"/>
            </p:cNvSpPr>
            <p:nvPr/>
          </p:nvSpPr>
          <p:spPr bwMode="auto">
            <a:xfrm>
              <a:off x="10473086"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87" name="Line 186">
              <a:extLst>
                <a:ext uri="{FF2B5EF4-FFF2-40B4-BE49-F238E27FC236}">
                  <a16:creationId xmlns:a16="http://schemas.microsoft.com/office/drawing/2014/main" id="{88CA527A-A305-037B-EC0A-3DA6976FC2C2}"/>
                </a:ext>
              </a:extLst>
            </p:cNvPr>
            <p:cNvSpPr>
              <a:spLocks noChangeShapeType="1"/>
            </p:cNvSpPr>
            <p:nvPr/>
          </p:nvSpPr>
          <p:spPr bwMode="auto">
            <a:xfrm>
              <a:off x="10457370"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88" name="Line 187">
              <a:extLst>
                <a:ext uri="{FF2B5EF4-FFF2-40B4-BE49-F238E27FC236}">
                  <a16:creationId xmlns:a16="http://schemas.microsoft.com/office/drawing/2014/main" id="{3981CBC6-C8A8-B881-D919-BCF017F94B95}"/>
                </a:ext>
              </a:extLst>
            </p:cNvPr>
            <p:cNvSpPr>
              <a:spLocks noChangeShapeType="1"/>
            </p:cNvSpPr>
            <p:nvPr/>
          </p:nvSpPr>
          <p:spPr bwMode="auto">
            <a:xfrm>
              <a:off x="10420047"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89" name="Line 188">
              <a:extLst>
                <a:ext uri="{FF2B5EF4-FFF2-40B4-BE49-F238E27FC236}">
                  <a16:creationId xmlns:a16="http://schemas.microsoft.com/office/drawing/2014/main" id="{2D056A4F-0065-1D77-F2E6-BF3F05E83C53}"/>
                </a:ext>
              </a:extLst>
            </p:cNvPr>
            <p:cNvSpPr>
              <a:spLocks noChangeShapeType="1"/>
            </p:cNvSpPr>
            <p:nvPr/>
          </p:nvSpPr>
          <p:spPr bwMode="auto">
            <a:xfrm>
              <a:off x="10418084"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90" name="Line 189">
              <a:extLst>
                <a:ext uri="{FF2B5EF4-FFF2-40B4-BE49-F238E27FC236}">
                  <a16:creationId xmlns:a16="http://schemas.microsoft.com/office/drawing/2014/main" id="{189679E0-DD1C-B52C-8BF7-366F929E9716}"/>
                </a:ext>
              </a:extLst>
            </p:cNvPr>
            <p:cNvSpPr>
              <a:spLocks noChangeShapeType="1"/>
            </p:cNvSpPr>
            <p:nvPr/>
          </p:nvSpPr>
          <p:spPr bwMode="auto">
            <a:xfrm>
              <a:off x="10412189"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91" name="Line 190">
              <a:extLst>
                <a:ext uri="{FF2B5EF4-FFF2-40B4-BE49-F238E27FC236}">
                  <a16:creationId xmlns:a16="http://schemas.microsoft.com/office/drawing/2014/main" id="{9AC2B84E-65F1-6FE1-665E-A943D5A2C765}"/>
                </a:ext>
              </a:extLst>
            </p:cNvPr>
            <p:cNvSpPr>
              <a:spLocks noChangeShapeType="1"/>
            </p:cNvSpPr>
            <p:nvPr/>
          </p:nvSpPr>
          <p:spPr bwMode="auto">
            <a:xfrm>
              <a:off x="10396476"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92" name="Line 191">
              <a:extLst>
                <a:ext uri="{FF2B5EF4-FFF2-40B4-BE49-F238E27FC236}">
                  <a16:creationId xmlns:a16="http://schemas.microsoft.com/office/drawing/2014/main" id="{585770AF-CE3E-A156-8628-91268842532B}"/>
                </a:ext>
              </a:extLst>
            </p:cNvPr>
            <p:cNvSpPr>
              <a:spLocks noChangeShapeType="1"/>
            </p:cNvSpPr>
            <p:nvPr/>
          </p:nvSpPr>
          <p:spPr bwMode="auto">
            <a:xfrm>
              <a:off x="10396476"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93" name="Line 192">
              <a:extLst>
                <a:ext uri="{FF2B5EF4-FFF2-40B4-BE49-F238E27FC236}">
                  <a16:creationId xmlns:a16="http://schemas.microsoft.com/office/drawing/2014/main" id="{0FA34D0C-09DA-C0E0-ABD2-D487636502AF}"/>
                </a:ext>
              </a:extLst>
            </p:cNvPr>
            <p:cNvSpPr>
              <a:spLocks noChangeShapeType="1"/>
            </p:cNvSpPr>
            <p:nvPr/>
          </p:nvSpPr>
          <p:spPr bwMode="auto">
            <a:xfrm>
              <a:off x="10388617"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94" name="Line 193">
              <a:extLst>
                <a:ext uri="{FF2B5EF4-FFF2-40B4-BE49-F238E27FC236}">
                  <a16:creationId xmlns:a16="http://schemas.microsoft.com/office/drawing/2014/main" id="{A5A29F39-2761-89BB-8059-BE441A7DB90E}"/>
                </a:ext>
              </a:extLst>
            </p:cNvPr>
            <p:cNvSpPr>
              <a:spLocks noChangeShapeType="1"/>
            </p:cNvSpPr>
            <p:nvPr/>
          </p:nvSpPr>
          <p:spPr bwMode="auto">
            <a:xfrm>
              <a:off x="10388617"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95" name="Line 194">
              <a:extLst>
                <a:ext uri="{FF2B5EF4-FFF2-40B4-BE49-F238E27FC236}">
                  <a16:creationId xmlns:a16="http://schemas.microsoft.com/office/drawing/2014/main" id="{9487CC33-1637-BA94-C61D-8E4B53BCBC80}"/>
                </a:ext>
              </a:extLst>
            </p:cNvPr>
            <p:cNvSpPr>
              <a:spLocks noChangeShapeType="1"/>
            </p:cNvSpPr>
            <p:nvPr/>
          </p:nvSpPr>
          <p:spPr bwMode="auto">
            <a:xfrm>
              <a:off x="10353259" y="2207724"/>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96" name="Line 195">
              <a:extLst>
                <a:ext uri="{FF2B5EF4-FFF2-40B4-BE49-F238E27FC236}">
                  <a16:creationId xmlns:a16="http://schemas.microsoft.com/office/drawing/2014/main" id="{7FAE8F50-6EF4-67A1-814F-8B5296FC26DB}"/>
                </a:ext>
              </a:extLst>
            </p:cNvPr>
            <p:cNvSpPr>
              <a:spLocks noChangeShapeType="1"/>
            </p:cNvSpPr>
            <p:nvPr/>
          </p:nvSpPr>
          <p:spPr bwMode="auto">
            <a:xfrm>
              <a:off x="10349331" y="2207724"/>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97" name="Line 196">
              <a:extLst>
                <a:ext uri="{FF2B5EF4-FFF2-40B4-BE49-F238E27FC236}">
                  <a16:creationId xmlns:a16="http://schemas.microsoft.com/office/drawing/2014/main" id="{33AD906D-5177-409A-82FF-E0E8C2389570}"/>
                </a:ext>
              </a:extLst>
            </p:cNvPr>
            <p:cNvSpPr>
              <a:spLocks noChangeShapeType="1"/>
            </p:cNvSpPr>
            <p:nvPr/>
          </p:nvSpPr>
          <p:spPr bwMode="auto">
            <a:xfrm>
              <a:off x="10343438" y="2207724"/>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98" name="Line 197">
              <a:extLst>
                <a:ext uri="{FF2B5EF4-FFF2-40B4-BE49-F238E27FC236}">
                  <a16:creationId xmlns:a16="http://schemas.microsoft.com/office/drawing/2014/main" id="{29DF99AB-63FA-E76E-E7DC-A25CDF1F92E1}"/>
                </a:ext>
              </a:extLst>
            </p:cNvPr>
            <p:cNvSpPr>
              <a:spLocks noChangeShapeType="1"/>
            </p:cNvSpPr>
            <p:nvPr/>
          </p:nvSpPr>
          <p:spPr bwMode="auto">
            <a:xfrm>
              <a:off x="10317900"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299" name="Line 198">
              <a:extLst>
                <a:ext uri="{FF2B5EF4-FFF2-40B4-BE49-F238E27FC236}">
                  <a16:creationId xmlns:a16="http://schemas.microsoft.com/office/drawing/2014/main" id="{A7A19B51-5B75-E57C-6490-E47838A241AA}"/>
                </a:ext>
              </a:extLst>
            </p:cNvPr>
            <p:cNvSpPr>
              <a:spLocks noChangeShapeType="1"/>
            </p:cNvSpPr>
            <p:nvPr/>
          </p:nvSpPr>
          <p:spPr bwMode="auto">
            <a:xfrm>
              <a:off x="10310043"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00" name="Line 199">
              <a:extLst>
                <a:ext uri="{FF2B5EF4-FFF2-40B4-BE49-F238E27FC236}">
                  <a16:creationId xmlns:a16="http://schemas.microsoft.com/office/drawing/2014/main" id="{EA568CFE-A956-D8E7-664D-344F1ECFA62E}"/>
                </a:ext>
              </a:extLst>
            </p:cNvPr>
            <p:cNvSpPr>
              <a:spLocks noChangeShapeType="1"/>
            </p:cNvSpPr>
            <p:nvPr/>
          </p:nvSpPr>
          <p:spPr bwMode="auto">
            <a:xfrm>
              <a:off x="10306114"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01" name="Line 200">
              <a:extLst>
                <a:ext uri="{FF2B5EF4-FFF2-40B4-BE49-F238E27FC236}">
                  <a16:creationId xmlns:a16="http://schemas.microsoft.com/office/drawing/2014/main" id="{BC93E03E-4D10-2E14-B2D5-756D367612D7}"/>
                </a:ext>
              </a:extLst>
            </p:cNvPr>
            <p:cNvSpPr>
              <a:spLocks noChangeShapeType="1"/>
            </p:cNvSpPr>
            <p:nvPr/>
          </p:nvSpPr>
          <p:spPr bwMode="auto">
            <a:xfrm>
              <a:off x="10300222"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02" name="Line 201">
              <a:extLst>
                <a:ext uri="{FF2B5EF4-FFF2-40B4-BE49-F238E27FC236}">
                  <a16:creationId xmlns:a16="http://schemas.microsoft.com/office/drawing/2014/main" id="{FA4DFF27-2EB5-14A5-6666-34FEF7465643}"/>
                </a:ext>
              </a:extLst>
            </p:cNvPr>
            <p:cNvSpPr>
              <a:spLocks noChangeShapeType="1"/>
            </p:cNvSpPr>
            <p:nvPr/>
          </p:nvSpPr>
          <p:spPr bwMode="auto">
            <a:xfrm>
              <a:off x="10286471"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03" name="Line 202">
              <a:extLst>
                <a:ext uri="{FF2B5EF4-FFF2-40B4-BE49-F238E27FC236}">
                  <a16:creationId xmlns:a16="http://schemas.microsoft.com/office/drawing/2014/main" id="{5893EAA3-3600-C044-71ED-78569B946E49}"/>
                </a:ext>
              </a:extLst>
            </p:cNvPr>
            <p:cNvSpPr>
              <a:spLocks noChangeShapeType="1"/>
            </p:cNvSpPr>
            <p:nvPr/>
          </p:nvSpPr>
          <p:spPr bwMode="auto">
            <a:xfrm>
              <a:off x="10280578"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04" name="Line 203">
              <a:extLst>
                <a:ext uri="{FF2B5EF4-FFF2-40B4-BE49-F238E27FC236}">
                  <a16:creationId xmlns:a16="http://schemas.microsoft.com/office/drawing/2014/main" id="{8171435D-A25E-BF84-8637-9CFC87FDA5D7}"/>
                </a:ext>
              </a:extLst>
            </p:cNvPr>
            <p:cNvSpPr>
              <a:spLocks noChangeShapeType="1"/>
            </p:cNvSpPr>
            <p:nvPr/>
          </p:nvSpPr>
          <p:spPr bwMode="auto">
            <a:xfrm>
              <a:off x="10272721"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05" name="Line 204">
              <a:extLst>
                <a:ext uri="{FF2B5EF4-FFF2-40B4-BE49-F238E27FC236}">
                  <a16:creationId xmlns:a16="http://schemas.microsoft.com/office/drawing/2014/main" id="{40AF2BF4-39C4-DE36-8073-4AB5592E53DA}"/>
                </a:ext>
              </a:extLst>
            </p:cNvPr>
            <p:cNvSpPr>
              <a:spLocks noChangeShapeType="1"/>
            </p:cNvSpPr>
            <p:nvPr/>
          </p:nvSpPr>
          <p:spPr bwMode="auto">
            <a:xfrm>
              <a:off x="10268791"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06" name="Line 206">
              <a:extLst>
                <a:ext uri="{FF2B5EF4-FFF2-40B4-BE49-F238E27FC236}">
                  <a16:creationId xmlns:a16="http://schemas.microsoft.com/office/drawing/2014/main" id="{FF0CDE7B-F31D-1DB4-2588-4DE4C71607B2}"/>
                </a:ext>
              </a:extLst>
            </p:cNvPr>
            <p:cNvSpPr>
              <a:spLocks noChangeShapeType="1"/>
            </p:cNvSpPr>
            <p:nvPr/>
          </p:nvSpPr>
          <p:spPr bwMode="auto">
            <a:xfrm>
              <a:off x="10264862"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07" name="Line 207">
              <a:extLst>
                <a:ext uri="{FF2B5EF4-FFF2-40B4-BE49-F238E27FC236}">
                  <a16:creationId xmlns:a16="http://schemas.microsoft.com/office/drawing/2014/main" id="{CE036132-2B67-E03B-A5EE-5027420E49E6}"/>
                </a:ext>
              </a:extLst>
            </p:cNvPr>
            <p:cNvSpPr>
              <a:spLocks noChangeShapeType="1"/>
            </p:cNvSpPr>
            <p:nvPr/>
          </p:nvSpPr>
          <p:spPr bwMode="auto">
            <a:xfrm>
              <a:off x="10257005"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08" name="Line 208">
              <a:extLst>
                <a:ext uri="{FF2B5EF4-FFF2-40B4-BE49-F238E27FC236}">
                  <a16:creationId xmlns:a16="http://schemas.microsoft.com/office/drawing/2014/main" id="{0CC34A92-C797-385C-680F-6B1AD428CFD3}"/>
                </a:ext>
              </a:extLst>
            </p:cNvPr>
            <p:cNvSpPr>
              <a:spLocks noChangeShapeType="1"/>
            </p:cNvSpPr>
            <p:nvPr/>
          </p:nvSpPr>
          <p:spPr bwMode="auto">
            <a:xfrm>
              <a:off x="10241291"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09" name="Line 209">
              <a:extLst>
                <a:ext uri="{FF2B5EF4-FFF2-40B4-BE49-F238E27FC236}">
                  <a16:creationId xmlns:a16="http://schemas.microsoft.com/office/drawing/2014/main" id="{F8A7E843-2920-D56F-9E64-AFF94F6EDD55}"/>
                </a:ext>
              </a:extLst>
            </p:cNvPr>
            <p:cNvSpPr>
              <a:spLocks noChangeShapeType="1"/>
            </p:cNvSpPr>
            <p:nvPr/>
          </p:nvSpPr>
          <p:spPr bwMode="auto">
            <a:xfrm>
              <a:off x="10233434"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10" name="Line 210">
              <a:extLst>
                <a:ext uri="{FF2B5EF4-FFF2-40B4-BE49-F238E27FC236}">
                  <a16:creationId xmlns:a16="http://schemas.microsoft.com/office/drawing/2014/main" id="{E9F5A068-89CB-BAA5-AFAC-B8F768337918}"/>
                </a:ext>
              </a:extLst>
            </p:cNvPr>
            <p:cNvSpPr>
              <a:spLocks noChangeShapeType="1"/>
            </p:cNvSpPr>
            <p:nvPr/>
          </p:nvSpPr>
          <p:spPr bwMode="auto">
            <a:xfrm>
              <a:off x="10217719"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11" name="Line 211">
              <a:extLst>
                <a:ext uri="{FF2B5EF4-FFF2-40B4-BE49-F238E27FC236}">
                  <a16:creationId xmlns:a16="http://schemas.microsoft.com/office/drawing/2014/main" id="{FD6045FD-92F3-33DE-7C41-A342CEB0014D}"/>
                </a:ext>
              </a:extLst>
            </p:cNvPr>
            <p:cNvSpPr>
              <a:spLocks noChangeShapeType="1"/>
            </p:cNvSpPr>
            <p:nvPr/>
          </p:nvSpPr>
          <p:spPr bwMode="auto">
            <a:xfrm>
              <a:off x="10205933"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12" name="Line 212">
              <a:extLst>
                <a:ext uri="{FF2B5EF4-FFF2-40B4-BE49-F238E27FC236}">
                  <a16:creationId xmlns:a16="http://schemas.microsoft.com/office/drawing/2014/main" id="{AB002231-6AA7-1819-EAE5-F70E9400257C}"/>
                </a:ext>
              </a:extLst>
            </p:cNvPr>
            <p:cNvSpPr>
              <a:spLocks noChangeShapeType="1"/>
            </p:cNvSpPr>
            <p:nvPr/>
          </p:nvSpPr>
          <p:spPr bwMode="auto">
            <a:xfrm>
              <a:off x="10196111"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13" name="Line 213">
              <a:extLst>
                <a:ext uri="{FF2B5EF4-FFF2-40B4-BE49-F238E27FC236}">
                  <a16:creationId xmlns:a16="http://schemas.microsoft.com/office/drawing/2014/main" id="{F28A8F4B-6FEE-AF66-610C-6C6A9A4E7824}"/>
                </a:ext>
              </a:extLst>
            </p:cNvPr>
            <p:cNvSpPr>
              <a:spLocks noChangeShapeType="1"/>
            </p:cNvSpPr>
            <p:nvPr/>
          </p:nvSpPr>
          <p:spPr bwMode="auto">
            <a:xfrm>
              <a:off x="10192182"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14" name="Line 214">
              <a:extLst>
                <a:ext uri="{FF2B5EF4-FFF2-40B4-BE49-F238E27FC236}">
                  <a16:creationId xmlns:a16="http://schemas.microsoft.com/office/drawing/2014/main" id="{DB293881-AAB3-19E6-FD8D-C1E2FF3B1264}"/>
                </a:ext>
              </a:extLst>
            </p:cNvPr>
            <p:cNvSpPr>
              <a:spLocks noChangeShapeType="1"/>
            </p:cNvSpPr>
            <p:nvPr/>
          </p:nvSpPr>
          <p:spPr bwMode="auto">
            <a:xfrm>
              <a:off x="10172539"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15" name="Line 215">
              <a:extLst>
                <a:ext uri="{FF2B5EF4-FFF2-40B4-BE49-F238E27FC236}">
                  <a16:creationId xmlns:a16="http://schemas.microsoft.com/office/drawing/2014/main" id="{80673F1B-227C-98EB-1149-B3B433D87242}"/>
                </a:ext>
              </a:extLst>
            </p:cNvPr>
            <p:cNvSpPr>
              <a:spLocks noChangeShapeType="1"/>
            </p:cNvSpPr>
            <p:nvPr/>
          </p:nvSpPr>
          <p:spPr bwMode="auto">
            <a:xfrm>
              <a:off x="10160752"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16" name="Line 216">
              <a:extLst>
                <a:ext uri="{FF2B5EF4-FFF2-40B4-BE49-F238E27FC236}">
                  <a16:creationId xmlns:a16="http://schemas.microsoft.com/office/drawing/2014/main" id="{9D4231E8-C248-CC60-9FC8-87ECD74BAA2B}"/>
                </a:ext>
              </a:extLst>
            </p:cNvPr>
            <p:cNvSpPr>
              <a:spLocks noChangeShapeType="1"/>
            </p:cNvSpPr>
            <p:nvPr/>
          </p:nvSpPr>
          <p:spPr bwMode="auto">
            <a:xfrm>
              <a:off x="10156824"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17" name="Line 217">
              <a:extLst>
                <a:ext uri="{FF2B5EF4-FFF2-40B4-BE49-F238E27FC236}">
                  <a16:creationId xmlns:a16="http://schemas.microsoft.com/office/drawing/2014/main" id="{F3447578-A004-DCFB-EA76-8F9CD5D31910}"/>
                </a:ext>
              </a:extLst>
            </p:cNvPr>
            <p:cNvSpPr>
              <a:spLocks noChangeShapeType="1"/>
            </p:cNvSpPr>
            <p:nvPr/>
          </p:nvSpPr>
          <p:spPr bwMode="auto">
            <a:xfrm>
              <a:off x="10145038"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18" name="Line 218">
              <a:extLst>
                <a:ext uri="{FF2B5EF4-FFF2-40B4-BE49-F238E27FC236}">
                  <a16:creationId xmlns:a16="http://schemas.microsoft.com/office/drawing/2014/main" id="{C9A522E0-40B3-BFAD-A303-EB2E6BEA7BC7}"/>
                </a:ext>
              </a:extLst>
            </p:cNvPr>
            <p:cNvSpPr>
              <a:spLocks noChangeShapeType="1"/>
            </p:cNvSpPr>
            <p:nvPr/>
          </p:nvSpPr>
          <p:spPr bwMode="auto">
            <a:xfrm>
              <a:off x="10141109"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19" name="Line 219">
              <a:extLst>
                <a:ext uri="{FF2B5EF4-FFF2-40B4-BE49-F238E27FC236}">
                  <a16:creationId xmlns:a16="http://schemas.microsoft.com/office/drawing/2014/main" id="{11E31638-AB3B-201F-C9EE-2BA93A11142A}"/>
                </a:ext>
              </a:extLst>
            </p:cNvPr>
            <p:cNvSpPr>
              <a:spLocks noChangeShapeType="1"/>
            </p:cNvSpPr>
            <p:nvPr/>
          </p:nvSpPr>
          <p:spPr bwMode="auto">
            <a:xfrm>
              <a:off x="10133251"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20" name="Line 220">
              <a:extLst>
                <a:ext uri="{FF2B5EF4-FFF2-40B4-BE49-F238E27FC236}">
                  <a16:creationId xmlns:a16="http://schemas.microsoft.com/office/drawing/2014/main" id="{72134819-C3BA-9AD3-F100-67E9D6007324}"/>
                </a:ext>
              </a:extLst>
            </p:cNvPr>
            <p:cNvSpPr>
              <a:spLocks noChangeShapeType="1"/>
            </p:cNvSpPr>
            <p:nvPr/>
          </p:nvSpPr>
          <p:spPr bwMode="auto">
            <a:xfrm>
              <a:off x="10129323"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21" name="Line 221">
              <a:extLst>
                <a:ext uri="{FF2B5EF4-FFF2-40B4-BE49-F238E27FC236}">
                  <a16:creationId xmlns:a16="http://schemas.microsoft.com/office/drawing/2014/main" id="{A13500B7-81B3-4E58-014F-56E1B60988E1}"/>
                </a:ext>
              </a:extLst>
            </p:cNvPr>
            <p:cNvSpPr>
              <a:spLocks noChangeShapeType="1"/>
            </p:cNvSpPr>
            <p:nvPr/>
          </p:nvSpPr>
          <p:spPr bwMode="auto">
            <a:xfrm>
              <a:off x="10125394"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22" name="Line 222">
              <a:extLst>
                <a:ext uri="{FF2B5EF4-FFF2-40B4-BE49-F238E27FC236}">
                  <a16:creationId xmlns:a16="http://schemas.microsoft.com/office/drawing/2014/main" id="{7E99720A-C2B5-5F1F-546A-3C81835E1C59}"/>
                </a:ext>
              </a:extLst>
            </p:cNvPr>
            <p:cNvSpPr>
              <a:spLocks noChangeShapeType="1"/>
            </p:cNvSpPr>
            <p:nvPr/>
          </p:nvSpPr>
          <p:spPr bwMode="auto">
            <a:xfrm>
              <a:off x="10121465"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23" name="Line 223">
              <a:extLst>
                <a:ext uri="{FF2B5EF4-FFF2-40B4-BE49-F238E27FC236}">
                  <a16:creationId xmlns:a16="http://schemas.microsoft.com/office/drawing/2014/main" id="{932AAF3C-1D1E-6FB0-F843-66F2EACA084A}"/>
                </a:ext>
              </a:extLst>
            </p:cNvPr>
            <p:cNvSpPr>
              <a:spLocks noChangeShapeType="1"/>
            </p:cNvSpPr>
            <p:nvPr/>
          </p:nvSpPr>
          <p:spPr bwMode="auto">
            <a:xfrm>
              <a:off x="10117536" y="216385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24" name="Line 224">
              <a:extLst>
                <a:ext uri="{FF2B5EF4-FFF2-40B4-BE49-F238E27FC236}">
                  <a16:creationId xmlns:a16="http://schemas.microsoft.com/office/drawing/2014/main" id="{CB15C77C-BD2F-73F9-3FC0-9AB90FFE66BB}"/>
                </a:ext>
              </a:extLst>
            </p:cNvPr>
            <p:cNvSpPr>
              <a:spLocks noChangeShapeType="1"/>
            </p:cNvSpPr>
            <p:nvPr/>
          </p:nvSpPr>
          <p:spPr bwMode="auto">
            <a:xfrm>
              <a:off x="10109679"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25" name="Line 225">
              <a:extLst>
                <a:ext uri="{FF2B5EF4-FFF2-40B4-BE49-F238E27FC236}">
                  <a16:creationId xmlns:a16="http://schemas.microsoft.com/office/drawing/2014/main" id="{85A33493-E7B8-152B-FFDA-608DAD2B45F3}"/>
                </a:ext>
              </a:extLst>
            </p:cNvPr>
            <p:cNvSpPr>
              <a:spLocks noChangeShapeType="1"/>
            </p:cNvSpPr>
            <p:nvPr/>
          </p:nvSpPr>
          <p:spPr bwMode="auto">
            <a:xfrm>
              <a:off x="10097893"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26" name="Line 226">
              <a:extLst>
                <a:ext uri="{FF2B5EF4-FFF2-40B4-BE49-F238E27FC236}">
                  <a16:creationId xmlns:a16="http://schemas.microsoft.com/office/drawing/2014/main" id="{75160517-5813-C955-FB31-6E4AACAD2AD7}"/>
                </a:ext>
              </a:extLst>
            </p:cNvPr>
            <p:cNvSpPr>
              <a:spLocks noChangeShapeType="1"/>
            </p:cNvSpPr>
            <p:nvPr/>
          </p:nvSpPr>
          <p:spPr bwMode="auto">
            <a:xfrm>
              <a:off x="10093964"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27" name="Line 227">
              <a:extLst>
                <a:ext uri="{FF2B5EF4-FFF2-40B4-BE49-F238E27FC236}">
                  <a16:creationId xmlns:a16="http://schemas.microsoft.com/office/drawing/2014/main" id="{1511F60C-2394-C24A-07AF-B6C1EE1FE0D6}"/>
                </a:ext>
              </a:extLst>
            </p:cNvPr>
            <p:cNvSpPr>
              <a:spLocks noChangeShapeType="1"/>
            </p:cNvSpPr>
            <p:nvPr/>
          </p:nvSpPr>
          <p:spPr bwMode="auto">
            <a:xfrm>
              <a:off x="10090035"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28" name="Line 228">
              <a:extLst>
                <a:ext uri="{FF2B5EF4-FFF2-40B4-BE49-F238E27FC236}">
                  <a16:creationId xmlns:a16="http://schemas.microsoft.com/office/drawing/2014/main" id="{81BA1DF0-9D67-1018-4E70-2EB38D529E85}"/>
                </a:ext>
              </a:extLst>
            </p:cNvPr>
            <p:cNvSpPr>
              <a:spLocks noChangeShapeType="1"/>
            </p:cNvSpPr>
            <p:nvPr/>
          </p:nvSpPr>
          <p:spPr bwMode="auto">
            <a:xfrm>
              <a:off x="10072356"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29" name="Line 229">
              <a:extLst>
                <a:ext uri="{FF2B5EF4-FFF2-40B4-BE49-F238E27FC236}">
                  <a16:creationId xmlns:a16="http://schemas.microsoft.com/office/drawing/2014/main" id="{FB682151-8019-F593-C136-9DE22FBDA22E}"/>
                </a:ext>
              </a:extLst>
            </p:cNvPr>
            <p:cNvSpPr>
              <a:spLocks noChangeShapeType="1"/>
            </p:cNvSpPr>
            <p:nvPr/>
          </p:nvSpPr>
          <p:spPr bwMode="auto">
            <a:xfrm>
              <a:off x="10062534"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30" name="Line 230">
              <a:extLst>
                <a:ext uri="{FF2B5EF4-FFF2-40B4-BE49-F238E27FC236}">
                  <a16:creationId xmlns:a16="http://schemas.microsoft.com/office/drawing/2014/main" id="{85F0C5E1-49E3-729D-4C3E-3A12F25485EC}"/>
                </a:ext>
              </a:extLst>
            </p:cNvPr>
            <p:cNvSpPr>
              <a:spLocks noChangeShapeType="1"/>
            </p:cNvSpPr>
            <p:nvPr/>
          </p:nvSpPr>
          <p:spPr bwMode="auto">
            <a:xfrm>
              <a:off x="10056641"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31" name="Line 231">
              <a:extLst>
                <a:ext uri="{FF2B5EF4-FFF2-40B4-BE49-F238E27FC236}">
                  <a16:creationId xmlns:a16="http://schemas.microsoft.com/office/drawing/2014/main" id="{E5228149-213C-4883-5D59-72CEB4974E48}"/>
                </a:ext>
              </a:extLst>
            </p:cNvPr>
            <p:cNvSpPr>
              <a:spLocks noChangeShapeType="1"/>
            </p:cNvSpPr>
            <p:nvPr/>
          </p:nvSpPr>
          <p:spPr bwMode="auto">
            <a:xfrm>
              <a:off x="10054677"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32" name="Line 232">
              <a:extLst>
                <a:ext uri="{FF2B5EF4-FFF2-40B4-BE49-F238E27FC236}">
                  <a16:creationId xmlns:a16="http://schemas.microsoft.com/office/drawing/2014/main" id="{DD8E4EB2-D3B5-2C7B-86AA-CEDD4199445A}"/>
                </a:ext>
              </a:extLst>
            </p:cNvPr>
            <p:cNvSpPr>
              <a:spLocks noChangeShapeType="1"/>
            </p:cNvSpPr>
            <p:nvPr/>
          </p:nvSpPr>
          <p:spPr bwMode="auto">
            <a:xfrm>
              <a:off x="10048784"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33" name="Line 233">
              <a:extLst>
                <a:ext uri="{FF2B5EF4-FFF2-40B4-BE49-F238E27FC236}">
                  <a16:creationId xmlns:a16="http://schemas.microsoft.com/office/drawing/2014/main" id="{F2F97DF9-9150-E6BA-8B41-07204C0617D5}"/>
                </a:ext>
              </a:extLst>
            </p:cNvPr>
            <p:cNvSpPr>
              <a:spLocks noChangeShapeType="1"/>
            </p:cNvSpPr>
            <p:nvPr/>
          </p:nvSpPr>
          <p:spPr bwMode="auto">
            <a:xfrm>
              <a:off x="10036998"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34" name="Line 234">
              <a:extLst>
                <a:ext uri="{FF2B5EF4-FFF2-40B4-BE49-F238E27FC236}">
                  <a16:creationId xmlns:a16="http://schemas.microsoft.com/office/drawing/2014/main" id="{CA750FF1-B3B8-1A93-4290-C829B87B82CB}"/>
                </a:ext>
              </a:extLst>
            </p:cNvPr>
            <p:cNvSpPr>
              <a:spLocks noChangeShapeType="1"/>
            </p:cNvSpPr>
            <p:nvPr/>
          </p:nvSpPr>
          <p:spPr bwMode="auto">
            <a:xfrm>
              <a:off x="10029140"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35" name="Line 235">
              <a:extLst>
                <a:ext uri="{FF2B5EF4-FFF2-40B4-BE49-F238E27FC236}">
                  <a16:creationId xmlns:a16="http://schemas.microsoft.com/office/drawing/2014/main" id="{C4A80D5E-60AD-F7E7-2E7D-D4E60BA469DF}"/>
                </a:ext>
              </a:extLst>
            </p:cNvPr>
            <p:cNvSpPr>
              <a:spLocks noChangeShapeType="1"/>
            </p:cNvSpPr>
            <p:nvPr/>
          </p:nvSpPr>
          <p:spPr bwMode="auto">
            <a:xfrm>
              <a:off x="10025212"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36" name="Line 236">
              <a:extLst>
                <a:ext uri="{FF2B5EF4-FFF2-40B4-BE49-F238E27FC236}">
                  <a16:creationId xmlns:a16="http://schemas.microsoft.com/office/drawing/2014/main" id="{B537C191-D66F-87C7-1184-ADFA25403308}"/>
                </a:ext>
              </a:extLst>
            </p:cNvPr>
            <p:cNvSpPr>
              <a:spLocks noChangeShapeType="1"/>
            </p:cNvSpPr>
            <p:nvPr/>
          </p:nvSpPr>
          <p:spPr bwMode="auto">
            <a:xfrm>
              <a:off x="10017354"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37" name="Line 237">
              <a:extLst>
                <a:ext uri="{FF2B5EF4-FFF2-40B4-BE49-F238E27FC236}">
                  <a16:creationId xmlns:a16="http://schemas.microsoft.com/office/drawing/2014/main" id="{62511996-901D-233C-30E3-E94F65C86EC8}"/>
                </a:ext>
              </a:extLst>
            </p:cNvPr>
            <p:cNvSpPr>
              <a:spLocks noChangeShapeType="1"/>
            </p:cNvSpPr>
            <p:nvPr/>
          </p:nvSpPr>
          <p:spPr bwMode="auto">
            <a:xfrm>
              <a:off x="9997711"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38" name="Line 238">
              <a:extLst>
                <a:ext uri="{FF2B5EF4-FFF2-40B4-BE49-F238E27FC236}">
                  <a16:creationId xmlns:a16="http://schemas.microsoft.com/office/drawing/2014/main" id="{99EBF766-8954-230F-6E98-3D26B5EF0C56}"/>
                </a:ext>
              </a:extLst>
            </p:cNvPr>
            <p:cNvSpPr>
              <a:spLocks noChangeShapeType="1"/>
            </p:cNvSpPr>
            <p:nvPr/>
          </p:nvSpPr>
          <p:spPr bwMode="auto">
            <a:xfrm>
              <a:off x="9993782"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39" name="Line 239">
              <a:extLst>
                <a:ext uri="{FF2B5EF4-FFF2-40B4-BE49-F238E27FC236}">
                  <a16:creationId xmlns:a16="http://schemas.microsoft.com/office/drawing/2014/main" id="{91A5EABC-F765-77EE-0680-A5852D58FBA2}"/>
                </a:ext>
              </a:extLst>
            </p:cNvPr>
            <p:cNvSpPr>
              <a:spLocks noChangeShapeType="1"/>
            </p:cNvSpPr>
            <p:nvPr/>
          </p:nvSpPr>
          <p:spPr bwMode="auto">
            <a:xfrm>
              <a:off x="9987889"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40" name="Line 240">
              <a:extLst>
                <a:ext uri="{FF2B5EF4-FFF2-40B4-BE49-F238E27FC236}">
                  <a16:creationId xmlns:a16="http://schemas.microsoft.com/office/drawing/2014/main" id="{09BF9B29-6940-8265-DA55-B960563B869A}"/>
                </a:ext>
              </a:extLst>
            </p:cNvPr>
            <p:cNvSpPr>
              <a:spLocks noChangeShapeType="1"/>
            </p:cNvSpPr>
            <p:nvPr/>
          </p:nvSpPr>
          <p:spPr bwMode="auto">
            <a:xfrm>
              <a:off x="9983960"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41" name="Line 241">
              <a:extLst>
                <a:ext uri="{FF2B5EF4-FFF2-40B4-BE49-F238E27FC236}">
                  <a16:creationId xmlns:a16="http://schemas.microsoft.com/office/drawing/2014/main" id="{5F3A154F-54DB-95ED-7298-DFDC8BF440D8}"/>
                </a:ext>
              </a:extLst>
            </p:cNvPr>
            <p:cNvSpPr>
              <a:spLocks noChangeShapeType="1"/>
            </p:cNvSpPr>
            <p:nvPr/>
          </p:nvSpPr>
          <p:spPr bwMode="auto">
            <a:xfrm>
              <a:off x="9981996"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42" name="Line 242">
              <a:extLst>
                <a:ext uri="{FF2B5EF4-FFF2-40B4-BE49-F238E27FC236}">
                  <a16:creationId xmlns:a16="http://schemas.microsoft.com/office/drawing/2014/main" id="{C7782527-1619-FBD0-E059-BBC8E879F5EA}"/>
                </a:ext>
              </a:extLst>
            </p:cNvPr>
            <p:cNvSpPr>
              <a:spLocks noChangeShapeType="1"/>
            </p:cNvSpPr>
            <p:nvPr/>
          </p:nvSpPr>
          <p:spPr bwMode="auto">
            <a:xfrm>
              <a:off x="9978067"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43" name="Line 243">
              <a:extLst>
                <a:ext uri="{FF2B5EF4-FFF2-40B4-BE49-F238E27FC236}">
                  <a16:creationId xmlns:a16="http://schemas.microsoft.com/office/drawing/2014/main" id="{55D66332-DFA7-D7B2-3D19-AB14B88A0EEB}"/>
                </a:ext>
              </a:extLst>
            </p:cNvPr>
            <p:cNvSpPr>
              <a:spLocks noChangeShapeType="1"/>
            </p:cNvSpPr>
            <p:nvPr/>
          </p:nvSpPr>
          <p:spPr bwMode="auto">
            <a:xfrm>
              <a:off x="9970209"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44" name="Line 244">
              <a:extLst>
                <a:ext uri="{FF2B5EF4-FFF2-40B4-BE49-F238E27FC236}">
                  <a16:creationId xmlns:a16="http://schemas.microsoft.com/office/drawing/2014/main" id="{3228423B-623D-5114-F51A-482F5B9444BC}"/>
                </a:ext>
              </a:extLst>
            </p:cNvPr>
            <p:cNvSpPr>
              <a:spLocks noChangeShapeType="1"/>
            </p:cNvSpPr>
            <p:nvPr/>
          </p:nvSpPr>
          <p:spPr bwMode="auto">
            <a:xfrm>
              <a:off x="9956459"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45" name="Line 245">
              <a:extLst>
                <a:ext uri="{FF2B5EF4-FFF2-40B4-BE49-F238E27FC236}">
                  <a16:creationId xmlns:a16="http://schemas.microsoft.com/office/drawing/2014/main" id="{1BBC642B-1B63-23F3-15D2-649CFDB58253}"/>
                </a:ext>
              </a:extLst>
            </p:cNvPr>
            <p:cNvSpPr>
              <a:spLocks noChangeShapeType="1"/>
            </p:cNvSpPr>
            <p:nvPr/>
          </p:nvSpPr>
          <p:spPr bwMode="auto">
            <a:xfrm>
              <a:off x="9948602"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46" name="Line 246">
              <a:extLst>
                <a:ext uri="{FF2B5EF4-FFF2-40B4-BE49-F238E27FC236}">
                  <a16:creationId xmlns:a16="http://schemas.microsoft.com/office/drawing/2014/main" id="{38A2FB75-3C4F-93E1-6FE5-ADCF2D5246BC}"/>
                </a:ext>
              </a:extLst>
            </p:cNvPr>
            <p:cNvSpPr>
              <a:spLocks noChangeShapeType="1"/>
            </p:cNvSpPr>
            <p:nvPr/>
          </p:nvSpPr>
          <p:spPr bwMode="auto">
            <a:xfrm>
              <a:off x="9932887"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47" name="Line 247">
              <a:extLst>
                <a:ext uri="{FF2B5EF4-FFF2-40B4-BE49-F238E27FC236}">
                  <a16:creationId xmlns:a16="http://schemas.microsoft.com/office/drawing/2014/main" id="{C10A6332-8355-A01B-949D-3E1924A163D4}"/>
                </a:ext>
              </a:extLst>
            </p:cNvPr>
            <p:cNvSpPr>
              <a:spLocks noChangeShapeType="1"/>
            </p:cNvSpPr>
            <p:nvPr/>
          </p:nvSpPr>
          <p:spPr bwMode="auto">
            <a:xfrm>
              <a:off x="9928958"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48" name="Line 248">
              <a:extLst>
                <a:ext uri="{FF2B5EF4-FFF2-40B4-BE49-F238E27FC236}">
                  <a16:creationId xmlns:a16="http://schemas.microsoft.com/office/drawing/2014/main" id="{C17A1F5A-9580-1183-32C1-1693BF514EC1}"/>
                </a:ext>
              </a:extLst>
            </p:cNvPr>
            <p:cNvSpPr>
              <a:spLocks noChangeShapeType="1"/>
            </p:cNvSpPr>
            <p:nvPr/>
          </p:nvSpPr>
          <p:spPr bwMode="auto">
            <a:xfrm>
              <a:off x="9917172"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49" name="Line 249">
              <a:extLst>
                <a:ext uri="{FF2B5EF4-FFF2-40B4-BE49-F238E27FC236}">
                  <a16:creationId xmlns:a16="http://schemas.microsoft.com/office/drawing/2014/main" id="{456657D5-F031-062E-946A-C0AEA1D9204D}"/>
                </a:ext>
              </a:extLst>
            </p:cNvPr>
            <p:cNvSpPr>
              <a:spLocks noChangeShapeType="1"/>
            </p:cNvSpPr>
            <p:nvPr/>
          </p:nvSpPr>
          <p:spPr bwMode="auto">
            <a:xfrm>
              <a:off x="9913243"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50" name="Line 250">
              <a:extLst>
                <a:ext uri="{FF2B5EF4-FFF2-40B4-BE49-F238E27FC236}">
                  <a16:creationId xmlns:a16="http://schemas.microsoft.com/office/drawing/2014/main" id="{DB26FECA-60BD-2E71-1ECA-582B7EB0FBBA}"/>
                </a:ext>
              </a:extLst>
            </p:cNvPr>
            <p:cNvSpPr>
              <a:spLocks noChangeShapeType="1"/>
            </p:cNvSpPr>
            <p:nvPr/>
          </p:nvSpPr>
          <p:spPr bwMode="auto">
            <a:xfrm>
              <a:off x="9905386" y="213753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51" name="Line 251">
              <a:extLst>
                <a:ext uri="{FF2B5EF4-FFF2-40B4-BE49-F238E27FC236}">
                  <a16:creationId xmlns:a16="http://schemas.microsoft.com/office/drawing/2014/main" id="{181D179C-7C82-01AF-694C-F2BDB8AE57BA}"/>
                </a:ext>
              </a:extLst>
            </p:cNvPr>
            <p:cNvSpPr>
              <a:spLocks noChangeShapeType="1"/>
            </p:cNvSpPr>
            <p:nvPr/>
          </p:nvSpPr>
          <p:spPr bwMode="auto">
            <a:xfrm>
              <a:off x="9889671" y="212876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52" name="Line 252">
              <a:extLst>
                <a:ext uri="{FF2B5EF4-FFF2-40B4-BE49-F238E27FC236}">
                  <a16:creationId xmlns:a16="http://schemas.microsoft.com/office/drawing/2014/main" id="{A0D7591D-B26B-48A2-2A88-8DF452C048F1}"/>
                </a:ext>
              </a:extLst>
            </p:cNvPr>
            <p:cNvSpPr>
              <a:spLocks noChangeShapeType="1"/>
            </p:cNvSpPr>
            <p:nvPr/>
          </p:nvSpPr>
          <p:spPr bwMode="auto">
            <a:xfrm>
              <a:off x="9873957"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53" name="Line 253">
              <a:extLst>
                <a:ext uri="{FF2B5EF4-FFF2-40B4-BE49-F238E27FC236}">
                  <a16:creationId xmlns:a16="http://schemas.microsoft.com/office/drawing/2014/main" id="{D250EFD2-622D-00B8-9895-EA0B971448F5}"/>
                </a:ext>
              </a:extLst>
            </p:cNvPr>
            <p:cNvSpPr>
              <a:spLocks noChangeShapeType="1"/>
            </p:cNvSpPr>
            <p:nvPr/>
          </p:nvSpPr>
          <p:spPr bwMode="auto">
            <a:xfrm>
              <a:off x="9862170"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54" name="Line 254">
              <a:extLst>
                <a:ext uri="{FF2B5EF4-FFF2-40B4-BE49-F238E27FC236}">
                  <a16:creationId xmlns:a16="http://schemas.microsoft.com/office/drawing/2014/main" id="{84DEDC3D-26AF-CB39-8BF2-C19B2C771015}"/>
                </a:ext>
              </a:extLst>
            </p:cNvPr>
            <p:cNvSpPr>
              <a:spLocks noChangeShapeType="1"/>
            </p:cNvSpPr>
            <p:nvPr/>
          </p:nvSpPr>
          <p:spPr bwMode="auto">
            <a:xfrm>
              <a:off x="9846456"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55" name="Line 255">
              <a:extLst>
                <a:ext uri="{FF2B5EF4-FFF2-40B4-BE49-F238E27FC236}">
                  <a16:creationId xmlns:a16="http://schemas.microsoft.com/office/drawing/2014/main" id="{DBA427B5-6B58-3B79-BBAB-BEAEB857DFBB}"/>
                </a:ext>
              </a:extLst>
            </p:cNvPr>
            <p:cNvSpPr>
              <a:spLocks noChangeShapeType="1"/>
            </p:cNvSpPr>
            <p:nvPr/>
          </p:nvSpPr>
          <p:spPr bwMode="auto">
            <a:xfrm>
              <a:off x="9842526"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56" name="Line 256">
              <a:extLst>
                <a:ext uri="{FF2B5EF4-FFF2-40B4-BE49-F238E27FC236}">
                  <a16:creationId xmlns:a16="http://schemas.microsoft.com/office/drawing/2014/main" id="{3BA7137E-631D-DBC4-2E11-47C8D1AC3700}"/>
                </a:ext>
              </a:extLst>
            </p:cNvPr>
            <p:cNvSpPr>
              <a:spLocks noChangeShapeType="1"/>
            </p:cNvSpPr>
            <p:nvPr/>
          </p:nvSpPr>
          <p:spPr bwMode="auto">
            <a:xfrm>
              <a:off x="9836633"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57" name="Line 257">
              <a:extLst>
                <a:ext uri="{FF2B5EF4-FFF2-40B4-BE49-F238E27FC236}">
                  <a16:creationId xmlns:a16="http://schemas.microsoft.com/office/drawing/2014/main" id="{96C7E2A3-161F-F558-46BD-C355475BF8C9}"/>
                </a:ext>
              </a:extLst>
            </p:cNvPr>
            <p:cNvSpPr>
              <a:spLocks noChangeShapeType="1"/>
            </p:cNvSpPr>
            <p:nvPr/>
          </p:nvSpPr>
          <p:spPr bwMode="auto">
            <a:xfrm>
              <a:off x="9824847"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58" name="Line 258">
              <a:extLst>
                <a:ext uri="{FF2B5EF4-FFF2-40B4-BE49-F238E27FC236}">
                  <a16:creationId xmlns:a16="http://schemas.microsoft.com/office/drawing/2014/main" id="{17F7054D-CCA4-E158-0A73-9E3465E6C158}"/>
                </a:ext>
              </a:extLst>
            </p:cNvPr>
            <p:cNvSpPr>
              <a:spLocks noChangeShapeType="1"/>
            </p:cNvSpPr>
            <p:nvPr/>
          </p:nvSpPr>
          <p:spPr bwMode="auto">
            <a:xfrm>
              <a:off x="9820918"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59" name="Line 259">
              <a:extLst>
                <a:ext uri="{FF2B5EF4-FFF2-40B4-BE49-F238E27FC236}">
                  <a16:creationId xmlns:a16="http://schemas.microsoft.com/office/drawing/2014/main" id="{E41D3DED-8F70-6FCF-2464-B6FEA55713C5}"/>
                </a:ext>
              </a:extLst>
            </p:cNvPr>
            <p:cNvSpPr>
              <a:spLocks noChangeShapeType="1"/>
            </p:cNvSpPr>
            <p:nvPr/>
          </p:nvSpPr>
          <p:spPr bwMode="auto">
            <a:xfrm>
              <a:off x="9816989"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60" name="Line 260">
              <a:extLst>
                <a:ext uri="{FF2B5EF4-FFF2-40B4-BE49-F238E27FC236}">
                  <a16:creationId xmlns:a16="http://schemas.microsoft.com/office/drawing/2014/main" id="{790ABD87-06B0-509C-B34B-669D08DC3753}"/>
                </a:ext>
              </a:extLst>
            </p:cNvPr>
            <p:cNvSpPr>
              <a:spLocks noChangeShapeType="1"/>
            </p:cNvSpPr>
            <p:nvPr/>
          </p:nvSpPr>
          <p:spPr bwMode="auto">
            <a:xfrm>
              <a:off x="9805204"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61" name="Line 261">
              <a:extLst>
                <a:ext uri="{FF2B5EF4-FFF2-40B4-BE49-F238E27FC236}">
                  <a16:creationId xmlns:a16="http://schemas.microsoft.com/office/drawing/2014/main" id="{6C87C804-53D7-CEBA-C4D2-8C78DCBBE4FA}"/>
                </a:ext>
              </a:extLst>
            </p:cNvPr>
            <p:cNvSpPr>
              <a:spLocks noChangeShapeType="1"/>
            </p:cNvSpPr>
            <p:nvPr/>
          </p:nvSpPr>
          <p:spPr bwMode="auto">
            <a:xfrm>
              <a:off x="9801275"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62" name="Line 262">
              <a:extLst>
                <a:ext uri="{FF2B5EF4-FFF2-40B4-BE49-F238E27FC236}">
                  <a16:creationId xmlns:a16="http://schemas.microsoft.com/office/drawing/2014/main" id="{A1417A80-ACE1-C3B7-DF5B-57467D0D4253}"/>
                </a:ext>
              </a:extLst>
            </p:cNvPr>
            <p:cNvSpPr>
              <a:spLocks noChangeShapeType="1"/>
            </p:cNvSpPr>
            <p:nvPr/>
          </p:nvSpPr>
          <p:spPr bwMode="auto">
            <a:xfrm>
              <a:off x="9798328" y="211779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63" name="Line 263">
              <a:extLst>
                <a:ext uri="{FF2B5EF4-FFF2-40B4-BE49-F238E27FC236}">
                  <a16:creationId xmlns:a16="http://schemas.microsoft.com/office/drawing/2014/main" id="{7F30C613-9FB1-CFEF-41DA-22290EA40B61}"/>
                </a:ext>
              </a:extLst>
            </p:cNvPr>
            <p:cNvSpPr>
              <a:spLocks noChangeShapeType="1"/>
            </p:cNvSpPr>
            <p:nvPr/>
          </p:nvSpPr>
          <p:spPr bwMode="auto">
            <a:xfrm>
              <a:off x="9782613" y="211121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64" name="Line 264">
              <a:extLst>
                <a:ext uri="{FF2B5EF4-FFF2-40B4-BE49-F238E27FC236}">
                  <a16:creationId xmlns:a16="http://schemas.microsoft.com/office/drawing/2014/main" id="{B06F60AB-BA49-E6F9-EAF0-7C12F9D7F91D}"/>
                </a:ext>
              </a:extLst>
            </p:cNvPr>
            <p:cNvSpPr>
              <a:spLocks noChangeShapeType="1"/>
            </p:cNvSpPr>
            <p:nvPr/>
          </p:nvSpPr>
          <p:spPr bwMode="auto">
            <a:xfrm>
              <a:off x="9774756" y="2111218"/>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65" name="Line 265">
              <a:extLst>
                <a:ext uri="{FF2B5EF4-FFF2-40B4-BE49-F238E27FC236}">
                  <a16:creationId xmlns:a16="http://schemas.microsoft.com/office/drawing/2014/main" id="{554D48F0-B1DE-62D2-3310-1A1134F46D6E}"/>
                </a:ext>
              </a:extLst>
            </p:cNvPr>
            <p:cNvSpPr>
              <a:spLocks noChangeShapeType="1"/>
            </p:cNvSpPr>
            <p:nvPr/>
          </p:nvSpPr>
          <p:spPr bwMode="auto">
            <a:xfrm>
              <a:off x="9770827" y="2102445"/>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66" name="Line 266">
              <a:extLst>
                <a:ext uri="{FF2B5EF4-FFF2-40B4-BE49-F238E27FC236}">
                  <a16:creationId xmlns:a16="http://schemas.microsoft.com/office/drawing/2014/main" id="{9B07A79E-9E20-00F7-FA0B-0F3B70630A89}"/>
                </a:ext>
              </a:extLst>
            </p:cNvPr>
            <p:cNvSpPr>
              <a:spLocks noChangeShapeType="1"/>
            </p:cNvSpPr>
            <p:nvPr/>
          </p:nvSpPr>
          <p:spPr bwMode="auto">
            <a:xfrm>
              <a:off x="9766899" y="2102445"/>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67" name="Line 267">
              <a:extLst>
                <a:ext uri="{FF2B5EF4-FFF2-40B4-BE49-F238E27FC236}">
                  <a16:creationId xmlns:a16="http://schemas.microsoft.com/office/drawing/2014/main" id="{793AB163-E436-7DA6-B183-7500C5B23269}"/>
                </a:ext>
              </a:extLst>
            </p:cNvPr>
            <p:cNvSpPr>
              <a:spLocks noChangeShapeType="1"/>
            </p:cNvSpPr>
            <p:nvPr/>
          </p:nvSpPr>
          <p:spPr bwMode="auto">
            <a:xfrm>
              <a:off x="9751184" y="2102445"/>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68" name="Line 268">
              <a:extLst>
                <a:ext uri="{FF2B5EF4-FFF2-40B4-BE49-F238E27FC236}">
                  <a16:creationId xmlns:a16="http://schemas.microsoft.com/office/drawing/2014/main" id="{91D2D659-686F-86FD-BD01-8CED1E55534B}"/>
                </a:ext>
              </a:extLst>
            </p:cNvPr>
            <p:cNvSpPr>
              <a:spLocks noChangeShapeType="1"/>
            </p:cNvSpPr>
            <p:nvPr/>
          </p:nvSpPr>
          <p:spPr bwMode="auto">
            <a:xfrm>
              <a:off x="9747255" y="2102445"/>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69" name="Line 269">
              <a:extLst>
                <a:ext uri="{FF2B5EF4-FFF2-40B4-BE49-F238E27FC236}">
                  <a16:creationId xmlns:a16="http://schemas.microsoft.com/office/drawing/2014/main" id="{4FBD622B-C964-3932-8B03-1BEC07665092}"/>
                </a:ext>
              </a:extLst>
            </p:cNvPr>
            <p:cNvSpPr>
              <a:spLocks noChangeShapeType="1"/>
            </p:cNvSpPr>
            <p:nvPr/>
          </p:nvSpPr>
          <p:spPr bwMode="auto">
            <a:xfrm>
              <a:off x="9743326" y="2102445"/>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70" name="Line 270">
              <a:extLst>
                <a:ext uri="{FF2B5EF4-FFF2-40B4-BE49-F238E27FC236}">
                  <a16:creationId xmlns:a16="http://schemas.microsoft.com/office/drawing/2014/main" id="{42507625-65D8-6881-225E-18CAE65E8BC4}"/>
                </a:ext>
              </a:extLst>
            </p:cNvPr>
            <p:cNvSpPr>
              <a:spLocks noChangeShapeType="1"/>
            </p:cNvSpPr>
            <p:nvPr/>
          </p:nvSpPr>
          <p:spPr bwMode="auto">
            <a:xfrm>
              <a:off x="9729576"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71" name="Line 271">
              <a:extLst>
                <a:ext uri="{FF2B5EF4-FFF2-40B4-BE49-F238E27FC236}">
                  <a16:creationId xmlns:a16="http://schemas.microsoft.com/office/drawing/2014/main" id="{079F0B43-52AC-76BA-BF4E-7E3D62438F3F}"/>
                </a:ext>
              </a:extLst>
            </p:cNvPr>
            <p:cNvSpPr>
              <a:spLocks noChangeShapeType="1"/>
            </p:cNvSpPr>
            <p:nvPr/>
          </p:nvSpPr>
          <p:spPr bwMode="auto">
            <a:xfrm>
              <a:off x="9735469"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72" name="Line 272">
              <a:extLst>
                <a:ext uri="{FF2B5EF4-FFF2-40B4-BE49-F238E27FC236}">
                  <a16:creationId xmlns:a16="http://schemas.microsoft.com/office/drawing/2014/main" id="{1BC557FB-FA66-2E7F-6238-1F4CD33800A9}"/>
                </a:ext>
              </a:extLst>
            </p:cNvPr>
            <p:cNvSpPr>
              <a:spLocks noChangeShapeType="1"/>
            </p:cNvSpPr>
            <p:nvPr/>
          </p:nvSpPr>
          <p:spPr bwMode="auto">
            <a:xfrm>
              <a:off x="9702075"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73" name="Line 273">
              <a:extLst>
                <a:ext uri="{FF2B5EF4-FFF2-40B4-BE49-F238E27FC236}">
                  <a16:creationId xmlns:a16="http://schemas.microsoft.com/office/drawing/2014/main" id="{1FD88C23-039E-6AF8-A9CB-B110BDC1718C}"/>
                </a:ext>
              </a:extLst>
            </p:cNvPr>
            <p:cNvSpPr>
              <a:spLocks noChangeShapeType="1"/>
            </p:cNvSpPr>
            <p:nvPr/>
          </p:nvSpPr>
          <p:spPr bwMode="auto">
            <a:xfrm>
              <a:off x="9698146"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74" name="Line 274">
              <a:extLst>
                <a:ext uri="{FF2B5EF4-FFF2-40B4-BE49-F238E27FC236}">
                  <a16:creationId xmlns:a16="http://schemas.microsoft.com/office/drawing/2014/main" id="{DAB43EFE-5761-12B5-66DA-DFAD6B2A4919}"/>
                </a:ext>
              </a:extLst>
            </p:cNvPr>
            <p:cNvSpPr>
              <a:spLocks noChangeShapeType="1"/>
            </p:cNvSpPr>
            <p:nvPr/>
          </p:nvSpPr>
          <p:spPr bwMode="auto">
            <a:xfrm>
              <a:off x="9694217"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75" name="Line 275">
              <a:extLst>
                <a:ext uri="{FF2B5EF4-FFF2-40B4-BE49-F238E27FC236}">
                  <a16:creationId xmlns:a16="http://schemas.microsoft.com/office/drawing/2014/main" id="{1E839C58-76B2-3513-15B9-5E0E19E9DFED}"/>
                </a:ext>
              </a:extLst>
            </p:cNvPr>
            <p:cNvSpPr>
              <a:spLocks noChangeShapeType="1"/>
            </p:cNvSpPr>
            <p:nvPr/>
          </p:nvSpPr>
          <p:spPr bwMode="auto">
            <a:xfrm>
              <a:off x="9690289"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76" name="Line 276">
              <a:extLst>
                <a:ext uri="{FF2B5EF4-FFF2-40B4-BE49-F238E27FC236}">
                  <a16:creationId xmlns:a16="http://schemas.microsoft.com/office/drawing/2014/main" id="{5C17811B-67C5-87F5-F72B-672C51990F51}"/>
                </a:ext>
              </a:extLst>
            </p:cNvPr>
            <p:cNvSpPr>
              <a:spLocks noChangeShapeType="1"/>
            </p:cNvSpPr>
            <p:nvPr/>
          </p:nvSpPr>
          <p:spPr bwMode="auto">
            <a:xfrm>
              <a:off x="9686360"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77" name="Line 277">
              <a:extLst>
                <a:ext uri="{FF2B5EF4-FFF2-40B4-BE49-F238E27FC236}">
                  <a16:creationId xmlns:a16="http://schemas.microsoft.com/office/drawing/2014/main" id="{9E7B310C-ED8E-773F-9203-5969C7663454}"/>
                </a:ext>
              </a:extLst>
            </p:cNvPr>
            <p:cNvSpPr>
              <a:spLocks noChangeShapeType="1"/>
            </p:cNvSpPr>
            <p:nvPr/>
          </p:nvSpPr>
          <p:spPr bwMode="auto">
            <a:xfrm>
              <a:off x="9678503"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78" name="Line 278">
              <a:extLst>
                <a:ext uri="{FF2B5EF4-FFF2-40B4-BE49-F238E27FC236}">
                  <a16:creationId xmlns:a16="http://schemas.microsoft.com/office/drawing/2014/main" id="{FDF3518D-1F36-0BC7-C90D-B9E01E9CD173}"/>
                </a:ext>
              </a:extLst>
            </p:cNvPr>
            <p:cNvSpPr>
              <a:spLocks noChangeShapeType="1"/>
            </p:cNvSpPr>
            <p:nvPr/>
          </p:nvSpPr>
          <p:spPr bwMode="auto">
            <a:xfrm>
              <a:off x="9674574"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79" name="Line 279">
              <a:extLst>
                <a:ext uri="{FF2B5EF4-FFF2-40B4-BE49-F238E27FC236}">
                  <a16:creationId xmlns:a16="http://schemas.microsoft.com/office/drawing/2014/main" id="{683E2A20-2D00-A740-8F3B-7A7C6C6DBF71}"/>
                </a:ext>
              </a:extLst>
            </p:cNvPr>
            <p:cNvSpPr>
              <a:spLocks noChangeShapeType="1"/>
            </p:cNvSpPr>
            <p:nvPr/>
          </p:nvSpPr>
          <p:spPr bwMode="auto">
            <a:xfrm>
              <a:off x="9670645"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80" name="Line 280">
              <a:extLst>
                <a:ext uri="{FF2B5EF4-FFF2-40B4-BE49-F238E27FC236}">
                  <a16:creationId xmlns:a16="http://schemas.microsoft.com/office/drawing/2014/main" id="{34747ABC-39FE-9916-B644-2014E26A551A}"/>
                </a:ext>
              </a:extLst>
            </p:cNvPr>
            <p:cNvSpPr>
              <a:spLocks noChangeShapeType="1"/>
            </p:cNvSpPr>
            <p:nvPr/>
          </p:nvSpPr>
          <p:spPr bwMode="auto">
            <a:xfrm>
              <a:off x="9664752" y="2087091"/>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81" name="Line 281">
              <a:extLst>
                <a:ext uri="{FF2B5EF4-FFF2-40B4-BE49-F238E27FC236}">
                  <a16:creationId xmlns:a16="http://schemas.microsoft.com/office/drawing/2014/main" id="{A525FDBE-9554-E25C-D7E9-A86DDDDA9DE2}"/>
                </a:ext>
              </a:extLst>
            </p:cNvPr>
            <p:cNvSpPr>
              <a:spLocks noChangeShapeType="1"/>
            </p:cNvSpPr>
            <p:nvPr/>
          </p:nvSpPr>
          <p:spPr bwMode="auto">
            <a:xfrm>
              <a:off x="9658859" y="2073932"/>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82" name="Line 282">
              <a:extLst>
                <a:ext uri="{FF2B5EF4-FFF2-40B4-BE49-F238E27FC236}">
                  <a16:creationId xmlns:a16="http://schemas.microsoft.com/office/drawing/2014/main" id="{A967C181-198C-F1C4-916D-B5A3ED623B3B}"/>
                </a:ext>
              </a:extLst>
            </p:cNvPr>
            <p:cNvSpPr>
              <a:spLocks noChangeShapeType="1"/>
            </p:cNvSpPr>
            <p:nvPr/>
          </p:nvSpPr>
          <p:spPr bwMode="auto">
            <a:xfrm>
              <a:off x="9654930" y="2073932"/>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83" name="Line 283">
              <a:extLst>
                <a:ext uri="{FF2B5EF4-FFF2-40B4-BE49-F238E27FC236}">
                  <a16:creationId xmlns:a16="http://schemas.microsoft.com/office/drawing/2014/main" id="{9C5AAE2A-8B0E-E846-099E-8D305159E2E9}"/>
                </a:ext>
              </a:extLst>
            </p:cNvPr>
            <p:cNvSpPr>
              <a:spLocks noChangeShapeType="1"/>
            </p:cNvSpPr>
            <p:nvPr/>
          </p:nvSpPr>
          <p:spPr bwMode="auto">
            <a:xfrm>
              <a:off x="9639215" y="206077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84" name="Line 284">
              <a:extLst>
                <a:ext uri="{FF2B5EF4-FFF2-40B4-BE49-F238E27FC236}">
                  <a16:creationId xmlns:a16="http://schemas.microsoft.com/office/drawing/2014/main" id="{1AEDAFBF-D4A2-5891-64ED-C767A4A18AC9}"/>
                </a:ext>
              </a:extLst>
            </p:cNvPr>
            <p:cNvSpPr>
              <a:spLocks noChangeShapeType="1"/>
            </p:cNvSpPr>
            <p:nvPr/>
          </p:nvSpPr>
          <p:spPr bwMode="auto">
            <a:xfrm>
              <a:off x="9635287" y="206077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85" name="Line 285">
              <a:extLst>
                <a:ext uri="{FF2B5EF4-FFF2-40B4-BE49-F238E27FC236}">
                  <a16:creationId xmlns:a16="http://schemas.microsoft.com/office/drawing/2014/main" id="{0F2470FE-FDA0-3D1E-5DE0-E94F443D345E}"/>
                </a:ext>
              </a:extLst>
            </p:cNvPr>
            <p:cNvSpPr>
              <a:spLocks noChangeShapeType="1"/>
            </p:cNvSpPr>
            <p:nvPr/>
          </p:nvSpPr>
          <p:spPr bwMode="auto">
            <a:xfrm>
              <a:off x="9627429" y="206077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86" name="Line 286">
              <a:extLst>
                <a:ext uri="{FF2B5EF4-FFF2-40B4-BE49-F238E27FC236}">
                  <a16:creationId xmlns:a16="http://schemas.microsoft.com/office/drawing/2014/main" id="{95D85A45-3B72-E800-B1FE-A7170F2D8EAD}"/>
                </a:ext>
              </a:extLst>
            </p:cNvPr>
            <p:cNvSpPr>
              <a:spLocks noChangeShapeType="1"/>
            </p:cNvSpPr>
            <p:nvPr/>
          </p:nvSpPr>
          <p:spPr bwMode="auto">
            <a:xfrm>
              <a:off x="9623500" y="206077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87" name="Line 287">
              <a:extLst>
                <a:ext uri="{FF2B5EF4-FFF2-40B4-BE49-F238E27FC236}">
                  <a16:creationId xmlns:a16="http://schemas.microsoft.com/office/drawing/2014/main" id="{08C5970E-8863-052F-3E43-5998E6863163}"/>
                </a:ext>
              </a:extLst>
            </p:cNvPr>
            <p:cNvSpPr>
              <a:spLocks noChangeShapeType="1"/>
            </p:cNvSpPr>
            <p:nvPr/>
          </p:nvSpPr>
          <p:spPr bwMode="auto">
            <a:xfrm>
              <a:off x="9619572" y="206077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88" name="Line 288">
              <a:extLst>
                <a:ext uri="{FF2B5EF4-FFF2-40B4-BE49-F238E27FC236}">
                  <a16:creationId xmlns:a16="http://schemas.microsoft.com/office/drawing/2014/main" id="{4DEEC192-A572-E5BB-313E-DBC8DB8179F1}"/>
                </a:ext>
              </a:extLst>
            </p:cNvPr>
            <p:cNvSpPr>
              <a:spLocks noChangeShapeType="1"/>
            </p:cNvSpPr>
            <p:nvPr/>
          </p:nvSpPr>
          <p:spPr bwMode="auto">
            <a:xfrm>
              <a:off x="9609750" y="206077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89" name="Line 289">
              <a:extLst>
                <a:ext uri="{FF2B5EF4-FFF2-40B4-BE49-F238E27FC236}">
                  <a16:creationId xmlns:a16="http://schemas.microsoft.com/office/drawing/2014/main" id="{1782BE54-EA3D-DE6B-B964-9594C66C3B1E}"/>
                </a:ext>
              </a:extLst>
            </p:cNvPr>
            <p:cNvSpPr>
              <a:spLocks noChangeShapeType="1"/>
            </p:cNvSpPr>
            <p:nvPr/>
          </p:nvSpPr>
          <p:spPr bwMode="auto">
            <a:xfrm>
              <a:off x="9601892" y="206077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90" name="Line 290">
              <a:extLst>
                <a:ext uri="{FF2B5EF4-FFF2-40B4-BE49-F238E27FC236}">
                  <a16:creationId xmlns:a16="http://schemas.microsoft.com/office/drawing/2014/main" id="{F29D1749-F0CB-A26E-A2F4-2BBB7BAFCD3A}"/>
                </a:ext>
              </a:extLst>
            </p:cNvPr>
            <p:cNvSpPr>
              <a:spLocks noChangeShapeType="1"/>
            </p:cNvSpPr>
            <p:nvPr/>
          </p:nvSpPr>
          <p:spPr bwMode="auto">
            <a:xfrm>
              <a:off x="9586178" y="206077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91" name="Line 291">
              <a:extLst>
                <a:ext uri="{FF2B5EF4-FFF2-40B4-BE49-F238E27FC236}">
                  <a16:creationId xmlns:a16="http://schemas.microsoft.com/office/drawing/2014/main" id="{777F8CF7-01FB-03B1-6046-7318C78EB8CE}"/>
                </a:ext>
              </a:extLst>
            </p:cNvPr>
            <p:cNvSpPr>
              <a:spLocks noChangeShapeType="1"/>
            </p:cNvSpPr>
            <p:nvPr/>
          </p:nvSpPr>
          <p:spPr bwMode="auto">
            <a:xfrm>
              <a:off x="9558677" y="204761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92" name="Line 292">
              <a:extLst>
                <a:ext uri="{FF2B5EF4-FFF2-40B4-BE49-F238E27FC236}">
                  <a16:creationId xmlns:a16="http://schemas.microsoft.com/office/drawing/2014/main" id="{4972893A-D7CA-7CCA-1C58-4F346DC0FAEB}"/>
                </a:ext>
              </a:extLst>
            </p:cNvPr>
            <p:cNvSpPr>
              <a:spLocks noChangeShapeType="1"/>
            </p:cNvSpPr>
            <p:nvPr/>
          </p:nvSpPr>
          <p:spPr bwMode="auto">
            <a:xfrm>
              <a:off x="9554748" y="204761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93" name="Line 293">
              <a:extLst>
                <a:ext uri="{FF2B5EF4-FFF2-40B4-BE49-F238E27FC236}">
                  <a16:creationId xmlns:a16="http://schemas.microsoft.com/office/drawing/2014/main" id="{295DBD80-8549-3EF5-D058-6747E4889CF1}"/>
                </a:ext>
              </a:extLst>
            </p:cNvPr>
            <p:cNvSpPr>
              <a:spLocks noChangeShapeType="1"/>
            </p:cNvSpPr>
            <p:nvPr/>
          </p:nvSpPr>
          <p:spPr bwMode="auto">
            <a:xfrm>
              <a:off x="9550819" y="204761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94" name="Line 294">
              <a:extLst>
                <a:ext uri="{FF2B5EF4-FFF2-40B4-BE49-F238E27FC236}">
                  <a16:creationId xmlns:a16="http://schemas.microsoft.com/office/drawing/2014/main" id="{1466A331-7729-6496-0889-55C5CA0E4FE7}"/>
                </a:ext>
              </a:extLst>
            </p:cNvPr>
            <p:cNvSpPr>
              <a:spLocks noChangeShapeType="1"/>
            </p:cNvSpPr>
            <p:nvPr/>
          </p:nvSpPr>
          <p:spPr bwMode="auto">
            <a:xfrm>
              <a:off x="9546890" y="204761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95" name="Line 295">
              <a:extLst>
                <a:ext uri="{FF2B5EF4-FFF2-40B4-BE49-F238E27FC236}">
                  <a16:creationId xmlns:a16="http://schemas.microsoft.com/office/drawing/2014/main" id="{0173EEFF-C70F-EBD5-E9AD-91133E233F0D}"/>
                </a:ext>
              </a:extLst>
            </p:cNvPr>
            <p:cNvSpPr>
              <a:spLocks noChangeShapeType="1"/>
            </p:cNvSpPr>
            <p:nvPr/>
          </p:nvSpPr>
          <p:spPr bwMode="auto">
            <a:xfrm>
              <a:off x="9535104" y="2032259"/>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96" name="Line 296">
              <a:extLst>
                <a:ext uri="{FF2B5EF4-FFF2-40B4-BE49-F238E27FC236}">
                  <a16:creationId xmlns:a16="http://schemas.microsoft.com/office/drawing/2014/main" id="{0A6F5726-EAF4-D260-C87A-BC27FA25D8A7}"/>
                </a:ext>
              </a:extLst>
            </p:cNvPr>
            <p:cNvSpPr>
              <a:spLocks noChangeShapeType="1"/>
            </p:cNvSpPr>
            <p:nvPr/>
          </p:nvSpPr>
          <p:spPr bwMode="auto">
            <a:xfrm>
              <a:off x="9531176" y="2032259"/>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97" name="Line 297">
              <a:extLst>
                <a:ext uri="{FF2B5EF4-FFF2-40B4-BE49-F238E27FC236}">
                  <a16:creationId xmlns:a16="http://schemas.microsoft.com/office/drawing/2014/main" id="{5207C773-F015-106F-ED98-C3FB28A046DE}"/>
                </a:ext>
              </a:extLst>
            </p:cNvPr>
            <p:cNvSpPr>
              <a:spLocks noChangeShapeType="1"/>
            </p:cNvSpPr>
            <p:nvPr/>
          </p:nvSpPr>
          <p:spPr bwMode="auto">
            <a:xfrm>
              <a:off x="9527247" y="2032259"/>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98" name="Line 298">
              <a:extLst>
                <a:ext uri="{FF2B5EF4-FFF2-40B4-BE49-F238E27FC236}">
                  <a16:creationId xmlns:a16="http://schemas.microsoft.com/office/drawing/2014/main" id="{C5C82C43-F40E-7A7F-70FC-31DC0036AC3E}"/>
                </a:ext>
              </a:extLst>
            </p:cNvPr>
            <p:cNvSpPr>
              <a:spLocks noChangeShapeType="1"/>
            </p:cNvSpPr>
            <p:nvPr/>
          </p:nvSpPr>
          <p:spPr bwMode="auto">
            <a:xfrm>
              <a:off x="9509568" y="2019099"/>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399" name="Line 299">
              <a:extLst>
                <a:ext uri="{FF2B5EF4-FFF2-40B4-BE49-F238E27FC236}">
                  <a16:creationId xmlns:a16="http://schemas.microsoft.com/office/drawing/2014/main" id="{27931489-C074-C66C-F1C7-407AF19F3356}"/>
                </a:ext>
              </a:extLst>
            </p:cNvPr>
            <p:cNvSpPr>
              <a:spLocks noChangeShapeType="1"/>
            </p:cNvSpPr>
            <p:nvPr/>
          </p:nvSpPr>
          <p:spPr bwMode="auto">
            <a:xfrm>
              <a:off x="9482067" y="2008132"/>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00" name="Line 300">
              <a:extLst>
                <a:ext uri="{FF2B5EF4-FFF2-40B4-BE49-F238E27FC236}">
                  <a16:creationId xmlns:a16="http://schemas.microsoft.com/office/drawing/2014/main" id="{989B1B71-6FF7-1199-4334-68375ADAE1E8}"/>
                </a:ext>
              </a:extLst>
            </p:cNvPr>
            <p:cNvSpPr>
              <a:spLocks noChangeShapeType="1"/>
            </p:cNvSpPr>
            <p:nvPr/>
          </p:nvSpPr>
          <p:spPr bwMode="auto">
            <a:xfrm>
              <a:off x="9478138" y="2008132"/>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01" name="Line 301">
              <a:extLst>
                <a:ext uri="{FF2B5EF4-FFF2-40B4-BE49-F238E27FC236}">
                  <a16:creationId xmlns:a16="http://schemas.microsoft.com/office/drawing/2014/main" id="{A8E6BC6D-5B01-D23A-031D-3EF9F79CF1E7}"/>
                </a:ext>
              </a:extLst>
            </p:cNvPr>
            <p:cNvSpPr>
              <a:spLocks noChangeShapeType="1"/>
            </p:cNvSpPr>
            <p:nvPr/>
          </p:nvSpPr>
          <p:spPr bwMode="auto">
            <a:xfrm>
              <a:off x="9470280" y="2008132"/>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02" name="Line 302">
              <a:extLst>
                <a:ext uri="{FF2B5EF4-FFF2-40B4-BE49-F238E27FC236}">
                  <a16:creationId xmlns:a16="http://schemas.microsoft.com/office/drawing/2014/main" id="{197C698F-147D-92B4-38CF-0FA41065E9A9}"/>
                </a:ext>
              </a:extLst>
            </p:cNvPr>
            <p:cNvSpPr>
              <a:spLocks noChangeShapeType="1"/>
            </p:cNvSpPr>
            <p:nvPr/>
          </p:nvSpPr>
          <p:spPr bwMode="auto">
            <a:xfrm>
              <a:off x="9458494" y="2008132"/>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03" name="Line 303">
              <a:extLst>
                <a:ext uri="{FF2B5EF4-FFF2-40B4-BE49-F238E27FC236}">
                  <a16:creationId xmlns:a16="http://schemas.microsoft.com/office/drawing/2014/main" id="{27444732-BA27-DC84-362E-5E29346F7180}"/>
                </a:ext>
              </a:extLst>
            </p:cNvPr>
            <p:cNvSpPr>
              <a:spLocks noChangeShapeType="1"/>
            </p:cNvSpPr>
            <p:nvPr/>
          </p:nvSpPr>
          <p:spPr bwMode="auto">
            <a:xfrm>
              <a:off x="9450637" y="2008132"/>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04" name="Line 304">
              <a:extLst>
                <a:ext uri="{FF2B5EF4-FFF2-40B4-BE49-F238E27FC236}">
                  <a16:creationId xmlns:a16="http://schemas.microsoft.com/office/drawing/2014/main" id="{D40A94D5-BEF8-EE9A-A932-D0C1DE2CA3B1}"/>
                </a:ext>
              </a:extLst>
            </p:cNvPr>
            <p:cNvSpPr>
              <a:spLocks noChangeShapeType="1"/>
            </p:cNvSpPr>
            <p:nvPr/>
          </p:nvSpPr>
          <p:spPr bwMode="auto">
            <a:xfrm>
              <a:off x="9442779" y="2008132"/>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05" name="Line 305">
              <a:extLst>
                <a:ext uri="{FF2B5EF4-FFF2-40B4-BE49-F238E27FC236}">
                  <a16:creationId xmlns:a16="http://schemas.microsoft.com/office/drawing/2014/main" id="{DFD610E8-E682-6786-66C2-6DBC8A85A036}"/>
                </a:ext>
              </a:extLst>
            </p:cNvPr>
            <p:cNvSpPr>
              <a:spLocks noChangeShapeType="1"/>
            </p:cNvSpPr>
            <p:nvPr/>
          </p:nvSpPr>
          <p:spPr bwMode="auto">
            <a:xfrm>
              <a:off x="9415278" y="1986199"/>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06" name="Line 306">
              <a:extLst>
                <a:ext uri="{FF2B5EF4-FFF2-40B4-BE49-F238E27FC236}">
                  <a16:creationId xmlns:a16="http://schemas.microsoft.com/office/drawing/2014/main" id="{AD5E8AFB-3E0B-6959-725F-78F677F202D1}"/>
                </a:ext>
              </a:extLst>
            </p:cNvPr>
            <p:cNvSpPr>
              <a:spLocks noChangeShapeType="1"/>
            </p:cNvSpPr>
            <p:nvPr/>
          </p:nvSpPr>
          <p:spPr bwMode="auto">
            <a:xfrm>
              <a:off x="9409385" y="1981813"/>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07" name="Line 307">
              <a:extLst>
                <a:ext uri="{FF2B5EF4-FFF2-40B4-BE49-F238E27FC236}">
                  <a16:creationId xmlns:a16="http://schemas.microsoft.com/office/drawing/2014/main" id="{67D0CB07-FB18-8B2F-6B12-E596F2E759D1}"/>
                </a:ext>
              </a:extLst>
            </p:cNvPr>
            <p:cNvSpPr>
              <a:spLocks noChangeShapeType="1"/>
            </p:cNvSpPr>
            <p:nvPr/>
          </p:nvSpPr>
          <p:spPr bwMode="auto">
            <a:xfrm>
              <a:off x="9407421" y="197523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08" name="Line 308">
              <a:extLst>
                <a:ext uri="{FF2B5EF4-FFF2-40B4-BE49-F238E27FC236}">
                  <a16:creationId xmlns:a16="http://schemas.microsoft.com/office/drawing/2014/main" id="{0A292326-3D7C-A899-6A45-F48DC9F3467B}"/>
                </a:ext>
              </a:extLst>
            </p:cNvPr>
            <p:cNvSpPr>
              <a:spLocks noChangeShapeType="1"/>
            </p:cNvSpPr>
            <p:nvPr/>
          </p:nvSpPr>
          <p:spPr bwMode="auto">
            <a:xfrm>
              <a:off x="9387777" y="1964266"/>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09" name="Line 309">
              <a:extLst>
                <a:ext uri="{FF2B5EF4-FFF2-40B4-BE49-F238E27FC236}">
                  <a16:creationId xmlns:a16="http://schemas.microsoft.com/office/drawing/2014/main" id="{482BEDC0-B369-6BB1-691D-ACA23965C048}"/>
                </a:ext>
              </a:extLst>
            </p:cNvPr>
            <p:cNvSpPr>
              <a:spLocks noChangeShapeType="1"/>
            </p:cNvSpPr>
            <p:nvPr/>
          </p:nvSpPr>
          <p:spPr bwMode="auto">
            <a:xfrm>
              <a:off x="9374027" y="1957687"/>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10" name="Line 310">
              <a:extLst>
                <a:ext uri="{FF2B5EF4-FFF2-40B4-BE49-F238E27FC236}">
                  <a16:creationId xmlns:a16="http://schemas.microsoft.com/office/drawing/2014/main" id="{3C51A033-3652-E11E-4481-50CC0BBB94AE}"/>
                </a:ext>
              </a:extLst>
            </p:cNvPr>
            <p:cNvSpPr>
              <a:spLocks noChangeShapeType="1"/>
            </p:cNvSpPr>
            <p:nvPr/>
          </p:nvSpPr>
          <p:spPr bwMode="auto">
            <a:xfrm>
              <a:off x="9366169" y="1957687"/>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11" name="Line 311">
              <a:extLst>
                <a:ext uri="{FF2B5EF4-FFF2-40B4-BE49-F238E27FC236}">
                  <a16:creationId xmlns:a16="http://schemas.microsoft.com/office/drawing/2014/main" id="{23FEDAC5-6DA9-D07F-5CDC-8600148FACCC}"/>
                </a:ext>
              </a:extLst>
            </p:cNvPr>
            <p:cNvSpPr>
              <a:spLocks noChangeShapeType="1"/>
            </p:cNvSpPr>
            <p:nvPr/>
          </p:nvSpPr>
          <p:spPr bwMode="auto">
            <a:xfrm>
              <a:off x="9342597" y="1953299"/>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12" name="Line 312">
              <a:extLst>
                <a:ext uri="{FF2B5EF4-FFF2-40B4-BE49-F238E27FC236}">
                  <a16:creationId xmlns:a16="http://schemas.microsoft.com/office/drawing/2014/main" id="{317A60E8-40D2-7568-8DDA-6B8A61C17141}"/>
                </a:ext>
              </a:extLst>
            </p:cNvPr>
            <p:cNvSpPr>
              <a:spLocks noChangeShapeType="1"/>
            </p:cNvSpPr>
            <p:nvPr/>
          </p:nvSpPr>
          <p:spPr bwMode="auto">
            <a:xfrm>
              <a:off x="9334740" y="1953299"/>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13" name="Line 313">
              <a:extLst>
                <a:ext uri="{FF2B5EF4-FFF2-40B4-BE49-F238E27FC236}">
                  <a16:creationId xmlns:a16="http://schemas.microsoft.com/office/drawing/2014/main" id="{46160A1C-CA7D-14FD-CFCC-2014912D6883}"/>
                </a:ext>
              </a:extLst>
            </p:cNvPr>
            <p:cNvSpPr>
              <a:spLocks noChangeShapeType="1"/>
            </p:cNvSpPr>
            <p:nvPr/>
          </p:nvSpPr>
          <p:spPr bwMode="auto">
            <a:xfrm>
              <a:off x="9332775" y="1946719"/>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14" name="Line 314">
              <a:extLst>
                <a:ext uri="{FF2B5EF4-FFF2-40B4-BE49-F238E27FC236}">
                  <a16:creationId xmlns:a16="http://schemas.microsoft.com/office/drawing/2014/main" id="{F9ACC3E9-418F-4C59-C46E-F55B83C5911C}"/>
                </a:ext>
              </a:extLst>
            </p:cNvPr>
            <p:cNvSpPr>
              <a:spLocks noChangeShapeType="1"/>
            </p:cNvSpPr>
            <p:nvPr/>
          </p:nvSpPr>
          <p:spPr bwMode="auto">
            <a:xfrm>
              <a:off x="8493994" y="1641849"/>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15" name="Line 315">
              <a:extLst>
                <a:ext uri="{FF2B5EF4-FFF2-40B4-BE49-F238E27FC236}">
                  <a16:creationId xmlns:a16="http://schemas.microsoft.com/office/drawing/2014/main" id="{23DE4244-4EF0-A774-DE3C-78EC17664056}"/>
                </a:ext>
              </a:extLst>
            </p:cNvPr>
            <p:cNvSpPr>
              <a:spLocks noChangeShapeType="1"/>
            </p:cNvSpPr>
            <p:nvPr/>
          </p:nvSpPr>
          <p:spPr bwMode="auto">
            <a:xfrm>
              <a:off x="8407563" y="1622110"/>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16" name="Line 316">
              <a:extLst>
                <a:ext uri="{FF2B5EF4-FFF2-40B4-BE49-F238E27FC236}">
                  <a16:creationId xmlns:a16="http://schemas.microsoft.com/office/drawing/2014/main" id="{5A0D634C-4913-2FC0-AACA-478ADCF4B09C}"/>
                </a:ext>
              </a:extLst>
            </p:cNvPr>
            <p:cNvSpPr>
              <a:spLocks noChangeShapeType="1"/>
            </p:cNvSpPr>
            <p:nvPr/>
          </p:nvSpPr>
          <p:spPr bwMode="auto">
            <a:xfrm>
              <a:off x="7940046" y="1464191"/>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17" name="Line 317">
              <a:extLst>
                <a:ext uri="{FF2B5EF4-FFF2-40B4-BE49-F238E27FC236}">
                  <a16:creationId xmlns:a16="http://schemas.microsoft.com/office/drawing/2014/main" id="{4FAAB7C4-963A-E0D7-2356-231A626A1891}"/>
                </a:ext>
              </a:extLst>
            </p:cNvPr>
            <p:cNvSpPr>
              <a:spLocks noChangeShapeType="1"/>
            </p:cNvSpPr>
            <p:nvPr/>
          </p:nvSpPr>
          <p:spPr bwMode="auto">
            <a:xfrm>
              <a:off x="7883079" y="144883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18" name="Line 318">
              <a:extLst>
                <a:ext uri="{FF2B5EF4-FFF2-40B4-BE49-F238E27FC236}">
                  <a16:creationId xmlns:a16="http://schemas.microsoft.com/office/drawing/2014/main" id="{C6C717E1-28E6-162F-F7D6-5A8246A2DBE7}"/>
                </a:ext>
              </a:extLst>
            </p:cNvPr>
            <p:cNvSpPr>
              <a:spLocks noChangeShapeType="1"/>
            </p:cNvSpPr>
            <p:nvPr/>
          </p:nvSpPr>
          <p:spPr bwMode="auto">
            <a:xfrm>
              <a:off x="7860490" y="1448838"/>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19" name="Line 319">
              <a:extLst>
                <a:ext uri="{FF2B5EF4-FFF2-40B4-BE49-F238E27FC236}">
                  <a16:creationId xmlns:a16="http://schemas.microsoft.com/office/drawing/2014/main" id="{2F226CFC-9FE5-BCA1-F0F1-D2E64DB91834}"/>
                </a:ext>
              </a:extLst>
            </p:cNvPr>
            <p:cNvSpPr>
              <a:spLocks noChangeShapeType="1"/>
            </p:cNvSpPr>
            <p:nvPr/>
          </p:nvSpPr>
          <p:spPr bwMode="auto">
            <a:xfrm>
              <a:off x="7375293" y="1365492"/>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20" name="Line 320">
              <a:extLst>
                <a:ext uri="{FF2B5EF4-FFF2-40B4-BE49-F238E27FC236}">
                  <a16:creationId xmlns:a16="http://schemas.microsoft.com/office/drawing/2014/main" id="{3D2D932A-8359-4FEF-7A43-96582934BD60}"/>
                </a:ext>
              </a:extLst>
            </p:cNvPr>
            <p:cNvSpPr>
              <a:spLocks noChangeShapeType="1"/>
            </p:cNvSpPr>
            <p:nvPr/>
          </p:nvSpPr>
          <p:spPr bwMode="auto">
            <a:xfrm>
              <a:off x="7165107" y="1301886"/>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21" name="Line 321">
              <a:extLst>
                <a:ext uri="{FF2B5EF4-FFF2-40B4-BE49-F238E27FC236}">
                  <a16:creationId xmlns:a16="http://schemas.microsoft.com/office/drawing/2014/main" id="{626CC21F-D8FC-3C0F-5A68-E8973BA5FDEE}"/>
                </a:ext>
              </a:extLst>
            </p:cNvPr>
            <p:cNvSpPr>
              <a:spLocks noChangeShapeType="1"/>
            </p:cNvSpPr>
            <p:nvPr/>
          </p:nvSpPr>
          <p:spPr bwMode="auto">
            <a:xfrm>
              <a:off x="7049210" y="1260214"/>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22" name="Line 322">
              <a:extLst>
                <a:ext uri="{FF2B5EF4-FFF2-40B4-BE49-F238E27FC236}">
                  <a16:creationId xmlns:a16="http://schemas.microsoft.com/office/drawing/2014/main" id="{F7E422B4-9442-5164-EBAA-80C665E635CF}"/>
                </a:ext>
              </a:extLst>
            </p:cNvPr>
            <p:cNvSpPr>
              <a:spLocks noChangeShapeType="1"/>
            </p:cNvSpPr>
            <p:nvPr/>
          </p:nvSpPr>
          <p:spPr bwMode="auto">
            <a:xfrm>
              <a:off x="7027602" y="124705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23" name="Line 323">
              <a:extLst>
                <a:ext uri="{FF2B5EF4-FFF2-40B4-BE49-F238E27FC236}">
                  <a16:creationId xmlns:a16="http://schemas.microsoft.com/office/drawing/2014/main" id="{2D9FB960-CF55-7A61-183C-626AD3C5F4CF}"/>
                </a:ext>
              </a:extLst>
            </p:cNvPr>
            <p:cNvSpPr>
              <a:spLocks noChangeShapeType="1"/>
            </p:cNvSpPr>
            <p:nvPr/>
          </p:nvSpPr>
          <p:spPr bwMode="auto">
            <a:xfrm>
              <a:off x="6960814" y="1225120"/>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24" name="Line 324">
              <a:extLst>
                <a:ext uri="{FF2B5EF4-FFF2-40B4-BE49-F238E27FC236}">
                  <a16:creationId xmlns:a16="http://schemas.microsoft.com/office/drawing/2014/main" id="{8A0D95F4-FD3A-0D4A-D7A7-BDD1D93166C8}"/>
                </a:ext>
              </a:extLst>
            </p:cNvPr>
            <p:cNvSpPr>
              <a:spLocks noChangeShapeType="1"/>
            </p:cNvSpPr>
            <p:nvPr/>
          </p:nvSpPr>
          <p:spPr bwMode="auto">
            <a:xfrm>
              <a:off x="6956885" y="1225120"/>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25" name="Line 325">
              <a:extLst>
                <a:ext uri="{FF2B5EF4-FFF2-40B4-BE49-F238E27FC236}">
                  <a16:creationId xmlns:a16="http://schemas.microsoft.com/office/drawing/2014/main" id="{364155F8-ED4A-16A4-FC98-DB2E867684A4}"/>
                </a:ext>
              </a:extLst>
            </p:cNvPr>
            <p:cNvSpPr>
              <a:spLocks noChangeShapeType="1"/>
            </p:cNvSpPr>
            <p:nvPr/>
          </p:nvSpPr>
          <p:spPr bwMode="auto">
            <a:xfrm>
              <a:off x="6952956" y="1225120"/>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26" name="Line 326">
              <a:extLst>
                <a:ext uri="{FF2B5EF4-FFF2-40B4-BE49-F238E27FC236}">
                  <a16:creationId xmlns:a16="http://schemas.microsoft.com/office/drawing/2014/main" id="{FAF991E3-7806-3BED-225C-8DCD7A1D14C9}"/>
                </a:ext>
              </a:extLst>
            </p:cNvPr>
            <p:cNvSpPr>
              <a:spLocks noChangeShapeType="1"/>
            </p:cNvSpPr>
            <p:nvPr/>
          </p:nvSpPr>
          <p:spPr bwMode="auto">
            <a:xfrm>
              <a:off x="6941169" y="1222927"/>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27" name="Line 327">
              <a:extLst>
                <a:ext uri="{FF2B5EF4-FFF2-40B4-BE49-F238E27FC236}">
                  <a16:creationId xmlns:a16="http://schemas.microsoft.com/office/drawing/2014/main" id="{058D0F99-1EDB-1416-D495-773EDE42C6FD}"/>
                </a:ext>
              </a:extLst>
            </p:cNvPr>
            <p:cNvSpPr>
              <a:spLocks noChangeShapeType="1"/>
            </p:cNvSpPr>
            <p:nvPr/>
          </p:nvSpPr>
          <p:spPr bwMode="auto">
            <a:xfrm>
              <a:off x="6941169" y="1225120"/>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28" name="Line 328">
              <a:extLst>
                <a:ext uri="{FF2B5EF4-FFF2-40B4-BE49-F238E27FC236}">
                  <a16:creationId xmlns:a16="http://schemas.microsoft.com/office/drawing/2014/main" id="{0D46F00D-42C3-5563-6F5D-A98889644AF4}"/>
                </a:ext>
              </a:extLst>
            </p:cNvPr>
            <p:cNvSpPr>
              <a:spLocks noChangeShapeType="1"/>
            </p:cNvSpPr>
            <p:nvPr/>
          </p:nvSpPr>
          <p:spPr bwMode="auto">
            <a:xfrm>
              <a:off x="8415421" y="1622110"/>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29" name="Line 329">
              <a:extLst>
                <a:ext uri="{FF2B5EF4-FFF2-40B4-BE49-F238E27FC236}">
                  <a16:creationId xmlns:a16="http://schemas.microsoft.com/office/drawing/2014/main" id="{B30D7A2E-61EC-F6EE-45CC-46BB5C23470F}"/>
                </a:ext>
              </a:extLst>
            </p:cNvPr>
            <p:cNvSpPr>
              <a:spLocks noChangeShapeType="1"/>
            </p:cNvSpPr>
            <p:nvPr/>
          </p:nvSpPr>
          <p:spPr bwMode="auto">
            <a:xfrm>
              <a:off x="10097893" y="21485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30" name="Line 330">
              <a:extLst>
                <a:ext uri="{FF2B5EF4-FFF2-40B4-BE49-F238E27FC236}">
                  <a16:creationId xmlns:a16="http://schemas.microsoft.com/office/drawing/2014/main" id="{CA5E3E6C-CC86-6945-B073-42C7AF91F6FD}"/>
                </a:ext>
              </a:extLst>
            </p:cNvPr>
            <p:cNvSpPr>
              <a:spLocks noChangeShapeType="1"/>
            </p:cNvSpPr>
            <p:nvPr/>
          </p:nvSpPr>
          <p:spPr bwMode="auto">
            <a:xfrm>
              <a:off x="10202003" y="2181404"/>
              <a:ext cx="0" cy="24127"/>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31" name="Line 331">
              <a:extLst>
                <a:ext uri="{FF2B5EF4-FFF2-40B4-BE49-F238E27FC236}">
                  <a16:creationId xmlns:a16="http://schemas.microsoft.com/office/drawing/2014/main" id="{D1791B81-45AC-1561-1D3E-52ECC4BA8A42}"/>
                </a:ext>
              </a:extLst>
            </p:cNvPr>
            <p:cNvSpPr>
              <a:spLocks noChangeShapeType="1"/>
            </p:cNvSpPr>
            <p:nvPr/>
          </p:nvSpPr>
          <p:spPr bwMode="auto">
            <a:xfrm>
              <a:off x="10384689"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32" name="Line 332">
              <a:extLst>
                <a:ext uri="{FF2B5EF4-FFF2-40B4-BE49-F238E27FC236}">
                  <a16:creationId xmlns:a16="http://schemas.microsoft.com/office/drawing/2014/main" id="{52DDBD1A-1476-D59A-0183-27E35CE7A200}"/>
                </a:ext>
              </a:extLst>
            </p:cNvPr>
            <p:cNvSpPr>
              <a:spLocks noChangeShapeType="1"/>
            </p:cNvSpPr>
            <p:nvPr/>
          </p:nvSpPr>
          <p:spPr bwMode="auto">
            <a:xfrm>
              <a:off x="10380760" y="2240623"/>
              <a:ext cx="0" cy="26320"/>
            </a:xfrm>
            <a:prstGeom prst="line">
              <a:avLst/>
            </a:prstGeom>
            <a:noFill/>
            <a:ln w="15875">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grpSp>
      <p:cxnSp>
        <p:nvCxnSpPr>
          <p:cNvPr id="1433" name="Straight Connector 1432">
            <a:extLst>
              <a:ext uri="{FF2B5EF4-FFF2-40B4-BE49-F238E27FC236}">
                <a16:creationId xmlns:a16="http://schemas.microsoft.com/office/drawing/2014/main" id="{F40113FE-7A7C-7784-145C-A7462033A686}"/>
              </a:ext>
            </a:extLst>
          </p:cNvPr>
          <p:cNvCxnSpPr>
            <a:cxnSpLocks/>
          </p:cNvCxnSpPr>
          <p:nvPr/>
        </p:nvCxnSpPr>
        <p:spPr>
          <a:xfrm flipV="1">
            <a:off x="5600180" y="2468498"/>
            <a:ext cx="0" cy="1978980"/>
          </a:xfrm>
          <a:prstGeom prst="line">
            <a:avLst/>
          </a:prstGeom>
          <a:noFill/>
          <a:ln w="12700" cap="rnd" cmpd="sng" algn="ctr">
            <a:solidFill>
              <a:schemeClr val="tx1"/>
            </a:solidFill>
            <a:prstDash val="dash"/>
            <a:miter lim="800000"/>
          </a:ln>
          <a:effectLst/>
        </p:spPr>
      </p:cxnSp>
      <p:cxnSp>
        <p:nvCxnSpPr>
          <p:cNvPr id="1434" name="Straight Connector 1433">
            <a:extLst>
              <a:ext uri="{FF2B5EF4-FFF2-40B4-BE49-F238E27FC236}">
                <a16:creationId xmlns:a16="http://schemas.microsoft.com/office/drawing/2014/main" id="{63C939A4-C99E-B9F0-AE60-9634FFC4CBD0}"/>
              </a:ext>
            </a:extLst>
          </p:cNvPr>
          <p:cNvCxnSpPr>
            <a:cxnSpLocks/>
          </p:cNvCxnSpPr>
          <p:nvPr/>
        </p:nvCxnSpPr>
        <p:spPr>
          <a:xfrm flipV="1">
            <a:off x="4118465" y="1999942"/>
            <a:ext cx="0" cy="2440498"/>
          </a:xfrm>
          <a:prstGeom prst="line">
            <a:avLst/>
          </a:prstGeom>
          <a:noFill/>
          <a:ln w="12700" cap="rnd" cmpd="sng" algn="ctr">
            <a:solidFill>
              <a:schemeClr val="tx1"/>
            </a:solidFill>
            <a:prstDash val="dash"/>
            <a:miter lim="800000"/>
          </a:ln>
          <a:effectLst/>
        </p:spPr>
      </p:cxnSp>
      <p:cxnSp>
        <p:nvCxnSpPr>
          <p:cNvPr id="1435" name="Straight Connector 1434">
            <a:extLst>
              <a:ext uri="{FF2B5EF4-FFF2-40B4-BE49-F238E27FC236}">
                <a16:creationId xmlns:a16="http://schemas.microsoft.com/office/drawing/2014/main" id="{C48F96A1-0AB6-6E1F-533A-BB5C3177E584}"/>
              </a:ext>
            </a:extLst>
          </p:cNvPr>
          <p:cNvCxnSpPr>
            <a:cxnSpLocks/>
          </p:cNvCxnSpPr>
          <p:nvPr/>
        </p:nvCxnSpPr>
        <p:spPr>
          <a:xfrm flipV="1">
            <a:off x="6342452" y="2581385"/>
            <a:ext cx="0" cy="1858327"/>
          </a:xfrm>
          <a:prstGeom prst="line">
            <a:avLst/>
          </a:prstGeom>
          <a:noFill/>
          <a:ln w="12700" cap="rnd" cmpd="sng" algn="ctr">
            <a:solidFill>
              <a:schemeClr val="tx1"/>
            </a:solidFill>
            <a:prstDash val="dash"/>
            <a:miter lim="800000"/>
          </a:ln>
          <a:effectLst/>
        </p:spPr>
      </p:cxnSp>
      <p:sp>
        <p:nvSpPr>
          <p:cNvPr id="1436" name="TextBox 1435">
            <a:extLst>
              <a:ext uri="{FF2B5EF4-FFF2-40B4-BE49-F238E27FC236}">
                <a16:creationId xmlns:a16="http://schemas.microsoft.com/office/drawing/2014/main" id="{002EB6C0-B55F-7ECC-064A-198B21BF5F5F}"/>
              </a:ext>
            </a:extLst>
          </p:cNvPr>
          <p:cNvSpPr txBox="1"/>
          <p:nvPr/>
        </p:nvSpPr>
        <p:spPr>
          <a:xfrm>
            <a:off x="1246969" y="4184292"/>
            <a:ext cx="209075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n follow-up: 37.8 months</a:t>
            </a:r>
          </a:p>
        </p:txBody>
      </p:sp>
      <p:sp>
        <p:nvSpPr>
          <p:cNvPr id="1437" name="TextBox 1436">
            <a:extLst>
              <a:ext uri="{FF2B5EF4-FFF2-40B4-BE49-F238E27FC236}">
                <a16:creationId xmlns:a16="http://schemas.microsoft.com/office/drawing/2014/main" id="{E855D644-B47A-6639-FE3C-A8CE3F8F58F1}"/>
              </a:ext>
            </a:extLst>
          </p:cNvPr>
          <p:cNvSpPr txBox="1"/>
          <p:nvPr/>
        </p:nvSpPr>
        <p:spPr>
          <a:xfrm>
            <a:off x="1163085" y="4703968"/>
            <a:ext cx="630034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Months</a:t>
            </a:r>
          </a:p>
        </p:txBody>
      </p:sp>
      <p:sp>
        <p:nvSpPr>
          <p:cNvPr id="1438" name="TextBox 1437">
            <a:extLst>
              <a:ext uri="{FF2B5EF4-FFF2-40B4-BE49-F238E27FC236}">
                <a16:creationId xmlns:a16="http://schemas.microsoft.com/office/drawing/2014/main" id="{D0CA5652-CBA7-8D30-4F96-E033B13744C9}"/>
              </a:ext>
            </a:extLst>
          </p:cNvPr>
          <p:cNvSpPr txBox="1"/>
          <p:nvPr/>
        </p:nvSpPr>
        <p:spPr>
          <a:xfrm>
            <a:off x="840362" y="4983422"/>
            <a:ext cx="643852"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429</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429</a:t>
            </a:r>
          </a:p>
        </p:txBody>
      </p:sp>
      <p:sp>
        <p:nvSpPr>
          <p:cNvPr id="1439" name="TextBox 1438">
            <a:extLst>
              <a:ext uri="{FF2B5EF4-FFF2-40B4-BE49-F238E27FC236}">
                <a16:creationId xmlns:a16="http://schemas.microsoft.com/office/drawing/2014/main" id="{93C16F70-B42D-8FA8-B6B4-3C60BA524024}"/>
              </a:ext>
            </a:extLst>
          </p:cNvPr>
          <p:cNvSpPr txBox="1"/>
          <p:nvPr/>
        </p:nvSpPr>
        <p:spPr>
          <a:xfrm>
            <a:off x="1218094" y="4983422"/>
            <a:ext cx="625479"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404</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416</a:t>
            </a:r>
          </a:p>
        </p:txBody>
      </p:sp>
      <p:sp>
        <p:nvSpPr>
          <p:cNvPr id="1440" name="TextBox 1439">
            <a:extLst>
              <a:ext uri="{FF2B5EF4-FFF2-40B4-BE49-F238E27FC236}">
                <a16:creationId xmlns:a16="http://schemas.microsoft.com/office/drawing/2014/main" id="{33531F54-FD5C-9453-1691-AD9B8AC54F33}"/>
              </a:ext>
            </a:extLst>
          </p:cNvPr>
          <p:cNvSpPr txBox="1"/>
          <p:nvPr/>
        </p:nvSpPr>
        <p:spPr>
          <a:xfrm>
            <a:off x="2353207" y="4983422"/>
            <a:ext cx="574487"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75</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74</a:t>
            </a:r>
          </a:p>
        </p:txBody>
      </p:sp>
      <p:sp>
        <p:nvSpPr>
          <p:cNvPr id="1441" name="TextBox 1440">
            <a:extLst>
              <a:ext uri="{FF2B5EF4-FFF2-40B4-BE49-F238E27FC236}">
                <a16:creationId xmlns:a16="http://schemas.microsoft.com/office/drawing/2014/main" id="{0B0CAC7B-A48F-5E29-9826-51DA087169B1}"/>
              </a:ext>
            </a:extLst>
          </p:cNvPr>
          <p:cNvSpPr txBox="1"/>
          <p:nvPr/>
        </p:nvSpPr>
        <p:spPr>
          <a:xfrm>
            <a:off x="1604745" y="4983422"/>
            <a:ext cx="583852"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90</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409</a:t>
            </a:r>
          </a:p>
        </p:txBody>
      </p:sp>
      <p:sp>
        <p:nvSpPr>
          <p:cNvPr id="1442" name="TextBox 1441">
            <a:extLst>
              <a:ext uri="{FF2B5EF4-FFF2-40B4-BE49-F238E27FC236}">
                <a16:creationId xmlns:a16="http://schemas.microsoft.com/office/drawing/2014/main" id="{EC8DC9EB-1F30-37B5-B9B1-2427BFC896D2}"/>
              </a:ext>
            </a:extLst>
          </p:cNvPr>
          <p:cNvSpPr txBox="1"/>
          <p:nvPr/>
        </p:nvSpPr>
        <p:spPr>
          <a:xfrm>
            <a:off x="1975782" y="4983422"/>
            <a:ext cx="569428"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83</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96</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1443" name="TextBox 1442">
            <a:extLst>
              <a:ext uri="{FF2B5EF4-FFF2-40B4-BE49-F238E27FC236}">
                <a16:creationId xmlns:a16="http://schemas.microsoft.com/office/drawing/2014/main" id="{8E71F22B-97FF-7103-BD52-4B0DAAF7F3D1}"/>
              </a:ext>
            </a:extLst>
          </p:cNvPr>
          <p:cNvSpPr txBox="1"/>
          <p:nvPr/>
        </p:nvSpPr>
        <p:spPr>
          <a:xfrm>
            <a:off x="2733012" y="4983422"/>
            <a:ext cx="564933"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63</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54</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1444" name="TextBox 1443">
            <a:extLst>
              <a:ext uri="{FF2B5EF4-FFF2-40B4-BE49-F238E27FC236}">
                <a16:creationId xmlns:a16="http://schemas.microsoft.com/office/drawing/2014/main" id="{D61D7100-C065-29DB-730D-FCD04AF806CC}"/>
              </a:ext>
            </a:extLst>
          </p:cNvPr>
          <p:cNvSpPr txBox="1"/>
          <p:nvPr/>
        </p:nvSpPr>
        <p:spPr>
          <a:xfrm>
            <a:off x="3461850" y="4983422"/>
            <a:ext cx="564121"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28</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11</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1445" name="TextBox 1444">
            <a:extLst>
              <a:ext uri="{FF2B5EF4-FFF2-40B4-BE49-F238E27FC236}">
                <a16:creationId xmlns:a16="http://schemas.microsoft.com/office/drawing/2014/main" id="{5EE45492-E74D-B70C-C9D7-94E82423F379}"/>
              </a:ext>
            </a:extLst>
          </p:cNvPr>
          <p:cNvSpPr txBox="1"/>
          <p:nvPr/>
        </p:nvSpPr>
        <p:spPr>
          <a:xfrm>
            <a:off x="3107552" y="4983422"/>
            <a:ext cx="571607"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43</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33</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1446" name="TextBox 1445">
            <a:extLst>
              <a:ext uri="{FF2B5EF4-FFF2-40B4-BE49-F238E27FC236}">
                <a16:creationId xmlns:a16="http://schemas.microsoft.com/office/drawing/2014/main" id="{E5B23D93-254D-2728-9863-E7153DF72599}"/>
              </a:ext>
            </a:extLst>
          </p:cNvPr>
          <p:cNvSpPr txBox="1"/>
          <p:nvPr/>
        </p:nvSpPr>
        <p:spPr>
          <a:xfrm>
            <a:off x="3840715" y="4983422"/>
            <a:ext cx="545094"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310</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291</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1447" name="TextBox 1446">
            <a:extLst>
              <a:ext uri="{FF2B5EF4-FFF2-40B4-BE49-F238E27FC236}">
                <a16:creationId xmlns:a16="http://schemas.microsoft.com/office/drawing/2014/main" id="{2D1B68C4-BCA7-1169-9848-A808CBFE966F}"/>
              </a:ext>
            </a:extLst>
          </p:cNvPr>
          <p:cNvSpPr txBox="1"/>
          <p:nvPr/>
        </p:nvSpPr>
        <p:spPr>
          <a:xfrm>
            <a:off x="4197847" y="4983422"/>
            <a:ext cx="574715"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287</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270</a:t>
            </a:r>
          </a:p>
        </p:txBody>
      </p:sp>
      <p:sp>
        <p:nvSpPr>
          <p:cNvPr id="1448" name="TextBox 1447">
            <a:extLst>
              <a:ext uri="{FF2B5EF4-FFF2-40B4-BE49-F238E27FC236}">
                <a16:creationId xmlns:a16="http://schemas.microsoft.com/office/drawing/2014/main" id="{E9CD849A-4A99-DD56-C4CE-DDAFA7B195D4}"/>
              </a:ext>
            </a:extLst>
          </p:cNvPr>
          <p:cNvSpPr txBox="1"/>
          <p:nvPr/>
        </p:nvSpPr>
        <p:spPr>
          <a:xfrm>
            <a:off x="4607826" y="4983422"/>
            <a:ext cx="517102"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277</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251</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1449" name="TextBox 1448">
            <a:extLst>
              <a:ext uri="{FF2B5EF4-FFF2-40B4-BE49-F238E27FC236}">
                <a16:creationId xmlns:a16="http://schemas.microsoft.com/office/drawing/2014/main" id="{351BC13F-8222-9A0E-1AC8-A515D117A541}"/>
              </a:ext>
            </a:extLst>
          </p:cNvPr>
          <p:cNvSpPr txBox="1"/>
          <p:nvPr/>
        </p:nvSpPr>
        <p:spPr>
          <a:xfrm>
            <a:off x="4939950" y="4983422"/>
            <a:ext cx="584026"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232</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201</a:t>
            </a:r>
          </a:p>
        </p:txBody>
      </p:sp>
      <p:sp>
        <p:nvSpPr>
          <p:cNvPr id="1450" name="TextBox 1449">
            <a:extLst>
              <a:ext uri="{FF2B5EF4-FFF2-40B4-BE49-F238E27FC236}">
                <a16:creationId xmlns:a16="http://schemas.microsoft.com/office/drawing/2014/main" id="{311F0A5C-09A8-0381-4424-6922FCA903CC}"/>
              </a:ext>
            </a:extLst>
          </p:cNvPr>
          <p:cNvSpPr txBox="1"/>
          <p:nvPr/>
        </p:nvSpPr>
        <p:spPr>
          <a:xfrm>
            <a:off x="5319294" y="4983422"/>
            <a:ext cx="558449"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68</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32</a:t>
            </a:r>
          </a:p>
        </p:txBody>
      </p:sp>
      <p:sp>
        <p:nvSpPr>
          <p:cNvPr id="1451" name="TextBox 1450">
            <a:extLst>
              <a:ext uri="{FF2B5EF4-FFF2-40B4-BE49-F238E27FC236}">
                <a16:creationId xmlns:a16="http://schemas.microsoft.com/office/drawing/2014/main" id="{D714A180-C81C-3927-7BBF-41446E552344}"/>
              </a:ext>
            </a:extLst>
          </p:cNvPr>
          <p:cNvSpPr txBox="1"/>
          <p:nvPr/>
        </p:nvSpPr>
        <p:spPr>
          <a:xfrm>
            <a:off x="5693032" y="4983422"/>
            <a:ext cx="539677"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11</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87</a:t>
            </a:r>
          </a:p>
        </p:txBody>
      </p:sp>
      <p:sp>
        <p:nvSpPr>
          <p:cNvPr id="1452" name="TextBox 1451">
            <a:extLst>
              <a:ext uri="{FF2B5EF4-FFF2-40B4-BE49-F238E27FC236}">
                <a16:creationId xmlns:a16="http://schemas.microsoft.com/office/drawing/2014/main" id="{9392196E-B49D-18DC-3281-4EA55CC5B9BE}"/>
              </a:ext>
            </a:extLst>
          </p:cNvPr>
          <p:cNvSpPr txBox="1"/>
          <p:nvPr/>
        </p:nvSpPr>
        <p:spPr>
          <a:xfrm>
            <a:off x="6489448" y="4983422"/>
            <a:ext cx="470030"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8</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5</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1453" name="TextBox 1452">
            <a:extLst>
              <a:ext uri="{FF2B5EF4-FFF2-40B4-BE49-F238E27FC236}">
                <a16:creationId xmlns:a16="http://schemas.microsoft.com/office/drawing/2014/main" id="{8D5927EE-D892-727D-7B57-98CB3B1E3B24}"/>
              </a:ext>
            </a:extLst>
          </p:cNvPr>
          <p:cNvSpPr txBox="1"/>
          <p:nvPr/>
        </p:nvSpPr>
        <p:spPr>
          <a:xfrm>
            <a:off x="6069352" y="4983422"/>
            <a:ext cx="562762"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61</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49</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1454" name="TextBox 1453">
            <a:extLst>
              <a:ext uri="{FF2B5EF4-FFF2-40B4-BE49-F238E27FC236}">
                <a16:creationId xmlns:a16="http://schemas.microsoft.com/office/drawing/2014/main" id="{0004C0D5-9BB7-1C66-5153-EC6E770286CA}"/>
              </a:ext>
            </a:extLst>
          </p:cNvPr>
          <p:cNvSpPr txBox="1"/>
          <p:nvPr/>
        </p:nvSpPr>
        <p:spPr>
          <a:xfrm>
            <a:off x="6907470" y="4983422"/>
            <a:ext cx="368492" cy="369332"/>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0</a:t>
            </a:r>
          </a:p>
        </p:txBody>
      </p:sp>
      <p:sp>
        <p:nvSpPr>
          <p:cNvPr id="1455" name="TextBox 1454">
            <a:extLst>
              <a:ext uri="{FF2B5EF4-FFF2-40B4-BE49-F238E27FC236}">
                <a16:creationId xmlns:a16="http://schemas.microsoft.com/office/drawing/2014/main" id="{F4A8D7FC-CF3B-3632-F0C4-CB60B1CAD25E}"/>
              </a:ext>
            </a:extLst>
          </p:cNvPr>
          <p:cNvSpPr txBox="1"/>
          <p:nvPr/>
        </p:nvSpPr>
        <p:spPr>
          <a:xfrm>
            <a:off x="7267884" y="4983423"/>
            <a:ext cx="368492" cy="369332"/>
          </a:xfrm>
          <a:prstGeom prst="rect">
            <a:avLst/>
          </a:prstGeom>
          <a:noFill/>
        </p:spPr>
        <p:txBody>
          <a:bodyPr wrap="square" rtlCol="0" anchor="b">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0</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0</a:t>
            </a:r>
          </a:p>
        </p:txBody>
      </p:sp>
      <p:grpSp>
        <p:nvGrpSpPr>
          <p:cNvPr id="1456" name="Group 1455">
            <a:extLst>
              <a:ext uri="{FF2B5EF4-FFF2-40B4-BE49-F238E27FC236}">
                <a16:creationId xmlns:a16="http://schemas.microsoft.com/office/drawing/2014/main" id="{675152EB-02D2-6815-1CF0-0920981EC40D}"/>
              </a:ext>
            </a:extLst>
          </p:cNvPr>
          <p:cNvGrpSpPr/>
          <p:nvPr/>
        </p:nvGrpSpPr>
        <p:grpSpPr>
          <a:xfrm>
            <a:off x="5126727" y="1470396"/>
            <a:ext cx="2019659" cy="478674"/>
            <a:chOff x="7266356" y="3398730"/>
            <a:chExt cx="2019659" cy="478674"/>
          </a:xfrm>
        </p:grpSpPr>
        <p:sp>
          <p:nvSpPr>
            <p:cNvPr id="1457" name="Rectangle 1456">
              <a:extLst>
                <a:ext uri="{FF2B5EF4-FFF2-40B4-BE49-F238E27FC236}">
                  <a16:creationId xmlns:a16="http://schemas.microsoft.com/office/drawing/2014/main" id="{5B9F6A8F-0C5F-62A0-C0F1-EAACA40E75D7}"/>
                </a:ext>
              </a:extLst>
            </p:cNvPr>
            <p:cNvSpPr/>
            <p:nvPr/>
          </p:nvSpPr>
          <p:spPr>
            <a:xfrm>
              <a:off x="7266356" y="3479681"/>
              <a:ext cx="108000" cy="108000"/>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58" name="Rectangle 1457">
              <a:extLst>
                <a:ext uri="{FF2B5EF4-FFF2-40B4-BE49-F238E27FC236}">
                  <a16:creationId xmlns:a16="http://schemas.microsoft.com/office/drawing/2014/main" id="{F1EDFF9A-78C6-608D-2C8F-DDB8B5675B2E}"/>
                </a:ext>
              </a:extLst>
            </p:cNvPr>
            <p:cNvSpPr/>
            <p:nvPr/>
          </p:nvSpPr>
          <p:spPr>
            <a:xfrm>
              <a:off x="7266356" y="3681356"/>
              <a:ext cx="108000" cy="108000"/>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59" name="TextBox 1458">
              <a:extLst>
                <a:ext uri="{FF2B5EF4-FFF2-40B4-BE49-F238E27FC236}">
                  <a16:creationId xmlns:a16="http://schemas.microsoft.com/office/drawing/2014/main" id="{BD334EBA-4557-57B1-3612-01177DEC159B}"/>
                </a:ext>
              </a:extLst>
            </p:cNvPr>
            <p:cNvSpPr txBox="1"/>
            <p:nvPr/>
          </p:nvSpPr>
          <p:spPr>
            <a:xfrm>
              <a:off x="7467247" y="3398730"/>
              <a:ext cx="1818768" cy="276999"/>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mivantamab</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azertinib</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60" name="TextBox 1459">
              <a:extLst>
                <a:ext uri="{FF2B5EF4-FFF2-40B4-BE49-F238E27FC236}">
                  <a16:creationId xmlns:a16="http://schemas.microsoft.com/office/drawing/2014/main" id="{A933603E-3963-FD9C-5D87-DE2F0B5051DE}"/>
                </a:ext>
              </a:extLst>
            </p:cNvPr>
            <p:cNvSpPr txBox="1"/>
            <p:nvPr/>
          </p:nvSpPr>
          <p:spPr>
            <a:xfrm>
              <a:off x="7467247" y="3600405"/>
              <a:ext cx="869790" cy="276999"/>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461" name="Group 1460">
            <a:extLst>
              <a:ext uri="{FF2B5EF4-FFF2-40B4-BE49-F238E27FC236}">
                <a16:creationId xmlns:a16="http://schemas.microsoft.com/office/drawing/2014/main" id="{5F491CB3-1743-46DF-7EC2-862A3A67E071}"/>
              </a:ext>
            </a:extLst>
          </p:cNvPr>
          <p:cNvGrpSpPr/>
          <p:nvPr/>
        </p:nvGrpSpPr>
        <p:grpSpPr>
          <a:xfrm>
            <a:off x="4051236" y="1841494"/>
            <a:ext cx="542136" cy="307777"/>
            <a:chOff x="2269991" y="2315169"/>
            <a:chExt cx="542136" cy="307777"/>
          </a:xfrm>
        </p:grpSpPr>
        <p:sp>
          <p:nvSpPr>
            <p:cNvPr id="1462" name="Freeform: Shape 1461">
              <a:extLst>
                <a:ext uri="{FF2B5EF4-FFF2-40B4-BE49-F238E27FC236}">
                  <a16:creationId xmlns:a16="http://schemas.microsoft.com/office/drawing/2014/main" id="{D9727DBE-3306-1700-3D8C-557A15013B3E}"/>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007CB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63" name="TextBox 1462">
              <a:extLst>
                <a:ext uri="{FF2B5EF4-FFF2-40B4-BE49-F238E27FC236}">
                  <a16:creationId xmlns:a16="http://schemas.microsoft.com/office/drawing/2014/main" id="{B4FDEABE-CE01-70EB-6589-68C4C776948E}"/>
                </a:ext>
              </a:extLst>
            </p:cNvPr>
            <p:cNvSpPr txBox="1"/>
            <p:nvPr/>
          </p:nvSpPr>
          <p:spPr>
            <a:xfrm flipH="1">
              <a:off x="2269991" y="2315169"/>
              <a:ext cx="542136"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5%</a:t>
              </a:r>
            </a:p>
          </p:txBody>
        </p:sp>
      </p:grpSp>
      <p:grpSp>
        <p:nvGrpSpPr>
          <p:cNvPr id="1464" name="Group 1463">
            <a:extLst>
              <a:ext uri="{FF2B5EF4-FFF2-40B4-BE49-F238E27FC236}">
                <a16:creationId xmlns:a16="http://schemas.microsoft.com/office/drawing/2014/main" id="{B50D7A59-7E08-C347-886B-54FCC60967E0}"/>
              </a:ext>
            </a:extLst>
          </p:cNvPr>
          <p:cNvGrpSpPr/>
          <p:nvPr/>
        </p:nvGrpSpPr>
        <p:grpSpPr>
          <a:xfrm>
            <a:off x="5536676" y="2268139"/>
            <a:ext cx="561372" cy="307777"/>
            <a:chOff x="2269991" y="2315169"/>
            <a:chExt cx="561372" cy="307777"/>
          </a:xfrm>
        </p:grpSpPr>
        <p:sp>
          <p:nvSpPr>
            <p:cNvPr id="1465" name="Freeform: Shape 1464">
              <a:extLst>
                <a:ext uri="{FF2B5EF4-FFF2-40B4-BE49-F238E27FC236}">
                  <a16:creationId xmlns:a16="http://schemas.microsoft.com/office/drawing/2014/main" id="{B6E16E17-C471-2E2C-E72D-D83A2114E2B6}"/>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007CB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66" name="TextBox 1465">
              <a:extLst>
                <a:ext uri="{FF2B5EF4-FFF2-40B4-BE49-F238E27FC236}">
                  <a16:creationId xmlns:a16="http://schemas.microsoft.com/office/drawing/2014/main" id="{446BAB95-9390-166E-7D25-55325F2C4A92}"/>
                </a:ext>
              </a:extLst>
            </p:cNvPr>
            <p:cNvSpPr txBox="1"/>
            <p:nvPr/>
          </p:nvSpPr>
          <p:spPr>
            <a:xfrm flipH="1">
              <a:off x="2269991" y="2315169"/>
              <a:ext cx="561372"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60%</a:t>
              </a:r>
            </a:p>
          </p:txBody>
        </p:sp>
      </p:grpSp>
      <p:grpSp>
        <p:nvGrpSpPr>
          <p:cNvPr id="1467" name="Group 1466">
            <a:extLst>
              <a:ext uri="{FF2B5EF4-FFF2-40B4-BE49-F238E27FC236}">
                <a16:creationId xmlns:a16="http://schemas.microsoft.com/office/drawing/2014/main" id="{0E6F5D44-8B19-D81E-F2D8-EE16E22B7F2B}"/>
              </a:ext>
            </a:extLst>
          </p:cNvPr>
          <p:cNvGrpSpPr/>
          <p:nvPr/>
        </p:nvGrpSpPr>
        <p:grpSpPr>
          <a:xfrm>
            <a:off x="6281253" y="2349405"/>
            <a:ext cx="553357" cy="307777"/>
            <a:chOff x="2269991" y="2315169"/>
            <a:chExt cx="553357" cy="307777"/>
          </a:xfrm>
        </p:grpSpPr>
        <p:sp>
          <p:nvSpPr>
            <p:cNvPr id="1468" name="Freeform: Shape 1467">
              <a:extLst>
                <a:ext uri="{FF2B5EF4-FFF2-40B4-BE49-F238E27FC236}">
                  <a16:creationId xmlns:a16="http://schemas.microsoft.com/office/drawing/2014/main" id="{2442FE44-D90D-2C57-3B5D-FF8CB5939275}"/>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007CB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69" name="TextBox 1468">
              <a:extLst>
                <a:ext uri="{FF2B5EF4-FFF2-40B4-BE49-F238E27FC236}">
                  <a16:creationId xmlns:a16="http://schemas.microsoft.com/office/drawing/2014/main" id="{04F52105-5006-A473-E1EB-B485D49F4D2B}"/>
                </a:ext>
              </a:extLst>
            </p:cNvPr>
            <p:cNvSpPr txBox="1"/>
            <p:nvPr/>
          </p:nvSpPr>
          <p:spPr>
            <a:xfrm flipH="1">
              <a:off x="2269991" y="2315169"/>
              <a:ext cx="553357"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6%</a:t>
              </a:r>
            </a:p>
          </p:txBody>
        </p:sp>
      </p:grpSp>
      <p:grpSp>
        <p:nvGrpSpPr>
          <p:cNvPr id="1470" name="Group 1469">
            <a:extLst>
              <a:ext uri="{FF2B5EF4-FFF2-40B4-BE49-F238E27FC236}">
                <a16:creationId xmlns:a16="http://schemas.microsoft.com/office/drawing/2014/main" id="{7B10C4E1-3B8D-EE75-B725-E4463D0C254F}"/>
              </a:ext>
            </a:extLst>
          </p:cNvPr>
          <p:cNvGrpSpPr/>
          <p:nvPr/>
        </p:nvGrpSpPr>
        <p:grpSpPr>
          <a:xfrm>
            <a:off x="3647696" y="2460771"/>
            <a:ext cx="550151" cy="307777"/>
            <a:chOff x="2319668" y="2311621"/>
            <a:chExt cx="550151" cy="307777"/>
          </a:xfrm>
        </p:grpSpPr>
        <p:sp>
          <p:nvSpPr>
            <p:cNvPr id="1471" name="Freeform: Shape 1470">
              <a:extLst>
                <a:ext uri="{FF2B5EF4-FFF2-40B4-BE49-F238E27FC236}">
                  <a16:creationId xmlns:a16="http://schemas.microsoft.com/office/drawing/2014/main" id="{0EB9CC73-35F2-E83C-0920-6258C2FA942F}"/>
                </a:ext>
              </a:extLst>
            </p:cNvPr>
            <p:cNvSpPr/>
            <p:nvPr/>
          </p:nvSpPr>
          <p:spPr>
            <a:xfrm>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72" name="TextBox 1471">
              <a:extLst>
                <a:ext uri="{FF2B5EF4-FFF2-40B4-BE49-F238E27FC236}">
                  <a16:creationId xmlns:a16="http://schemas.microsoft.com/office/drawing/2014/main" id="{51D7BB3F-CADD-15A1-6ADB-1CE756A01857}"/>
                </a:ext>
              </a:extLst>
            </p:cNvPr>
            <p:cNvSpPr txBox="1"/>
            <p:nvPr/>
          </p:nvSpPr>
          <p:spPr>
            <a:xfrm flipH="1">
              <a:off x="2319668" y="2311621"/>
              <a:ext cx="550151"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0%</a:t>
              </a:r>
            </a:p>
          </p:txBody>
        </p:sp>
      </p:grpSp>
      <p:grpSp>
        <p:nvGrpSpPr>
          <p:cNvPr id="1473" name="Group 1472">
            <a:extLst>
              <a:ext uri="{FF2B5EF4-FFF2-40B4-BE49-F238E27FC236}">
                <a16:creationId xmlns:a16="http://schemas.microsoft.com/office/drawing/2014/main" id="{83173FAF-402B-3983-30C9-2CBD05327BCB}"/>
              </a:ext>
            </a:extLst>
          </p:cNvPr>
          <p:cNvGrpSpPr/>
          <p:nvPr/>
        </p:nvGrpSpPr>
        <p:grpSpPr>
          <a:xfrm>
            <a:off x="5130178" y="3019684"/>
            <a:ext cx="543739" cy="307777"/>
            <a:chOff x="2319668" y="2311621"/>
            <a:chExt cx="543739" cy="307777"/>
          </a:xfrm>
        </p:grpSpPr>
        <p:sp>
          <p:nvSpPr>
            <p:cNvPr id="1474" name="Freeform: Shape 1473">
              <a:extLst>
                <a:ext uri="{FF2B5EF4-FFF2-40B4-BE49-F238E27FC236}">
                  <a16:creationId xmlns:a16="http://schemas.microsoft.com/office/drawing/2014/main" id="{E316DDD7-ED69-B547-EF44-32B18702104B}"/>
                </a:ext>
              </a:extLst>
            </p:cNvPr>
            <p:cNvSpPr/>
            <p:nvPr/>
          </p:nvSpPr>
          <p:spPr>
            <a:xfrm>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75" name="TextBox 1474">
              <a:extLst>
                <a:ext uri="{FF2B5EF4-FFF2-40B4-BE49-F238E27FC236}">
                  <a16:creationId xmlns:a16="http://schemas.microsoft.com/office/drawing/2014/main" id="{BA1D2B22-B5D3-8383-7E36-6048BF4943B4}"/>
                </a:ext>
              </a:extLst>
            </p:cNvPr>
            <p:cNvSpPr txBox="1"/>
            <p:nvPr/>
          </p:nvSpPr>
          <p:spPr>
            <a:xfrm flipH="1">
              <a:off x="2319668" y="2311621"/>
              <a:ext cx="543739"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1%</a:t>
              </a:r>
            </a:p>
          </p:txBody>
        </p:sp>
      </p:grpSp>
      <p:grpSp>
        <p:nvGrpSpPr>
          <p:cNvPr id="1476" name="Group 1475">
            <a:extLst>
              <a:ext uri="{FF2B5EF4-FFF2-40B4-BE49-F238E27FC236}">
                <a16:creationId xmlns:a16="http://schemas.microsoft.com/office/drawing/2014/main" id="{913E69F0-455D-DB1E-11F4-4040811CFC17}"/>
              </a:ext>
            </a:extLst>
          </p:cNvPr>
          <p:cNvGrpSpPr/>
          <p:nvPr/>
        </p:nvGrpSpPr>
        <p:grpSpPr>
          <a:xfrm>
            <a:off x="5867483" y="3204830"/>
            <a:ext cx="564578" cy="307777"/>
            <a:chOff x="2319668" y="2311621"/>
            <a:chExt cx="564578" cy="307777"/>
          </a:xfrm>
        </p:grpSpPr>
        <p:sp>
          <p:nvSpPr>
            <p:cNvPr id="1477" name="Freeform: Shape 1476">
              <a:extLst>
                <a:ext uri="{FF2B5EF4-FFF2-40B4-BE49-F238E27FC236}">
                  <a16:creationId xmlns:a16="http://schemas.microsoft.com/office/drawing/2014/main" id="{05BDA99D-79E5-9FC2-3244-7BBFBCFB189E}"/>
                </a:ext>
              </a:extLst>
            </p:cNvPr>
            <p:cNvSpPr/>
            <p:nvPr/>
          </p:nvSpPr>
          <p:spPr>
            <a:xfrm>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78" name="TextBox 1477">
              <a:extLst>
                <a:ext uri="{FF2B5EF4-FFF2-40B4-BE49-F238E27FC236}">
                  <a16:creationId xmlns:a16="http://schemas.microsoft.com/office/drawing/2014/main" id="{2BEACAAF-B7CD-06B5-E4A8-D9C33DAEF8EC}"/>
                </a:ext>
              </a:extLst>
            </p:cNvPr>
            <p:cNvSpPr txBox="1"/>
            <p:nvPr/>
          </p:nvSpPr>
          <p:spPr>
            <a:xfrm flipH="1">
              <a:off x="2319668" y="2311621"/>
              <a:ext cx="564578"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4%</a:t>
              </a:r>
            </a:p>
          </p:txBody>
        </p:sp>
      </p:grpSp>
      <p:sp>
        <p:nvSpPr>
          <p:cNvPr id="1479" name="Rectangle 1478">
            <a:extLst>
              <a:ext uri="{FF2B5EF4-FFF2-40B4-BE49-F238E27FC236}">
                <a16:creationId xmlns:a16="http://schemas.microsoft.com/office/drawing/2014/main" id="{B51933AB-AAFC-129C-2F4D-65AF06640D1B}"/>
              </a:ext>
            </a:extLst>
          </p:cNvPr>
          <p:cNvSpPr/>
          <p:nvPr/>
        </p:nvSpPr>
        <p:spPr>
          <a:xfrm>
            <a:off x="901777" y="5038750"/>
            <a:ext cx="108000" cy="108000"/>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80" name="Rectangle 1479">
            <a:extLst>
              <a:ext uri="{FF2B5EF4-FFF2-40B4-BE49-F238E27FC236}">
                <a16:creationId xmlns:a16="http://schemas.microsoft.com/office/drawing/2014/main" id="{C8E5E9A4-B26E-3DD7-D014-359D09F58458}"/>
              </a:ext>
            </a:extLst>
          </p:cNvPr>
          <p:cNvSpPr/>
          <p:nvPr/>
        </p:nvSpPr>
        <p:spPr>
          <a:xfrm>
            <a:off x="901777" y="5186034"/>
            <a:ext cx="108000" cy="108000"/>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81" name="TextBox 1480">
            <a:extLst>
              <a:ext uri="{FF2B5EF4-FFF2-40B4-BE49-F238E27FC236}">
                <a16:creationId xmlns:a16="http://schemas.microsoft.com/office/drawing/2014/main" id="{9529EA25-8233-E08C-AA45-0D9B3297B099}"/>
              </a:ext>
            </a:extLst>
          </p:cNvPr>
          <p:cNvSpPr txBox="1"/>
          <p:nvPr/>
        </p:nvSpPr>
        <p:spPr>
          <a:xfrm>
            <a:off x="804240" y="4814171"/>
            <a:ext cx="12260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 at risk:</a:t>
            </a:r>
          </a:p>
        </p:txBody>
      </p:sp>
      <p:graphicFrame>
        <p:nvGraphicFramePr>
          <p:cNvPr id="1482" name="Table 8">
            <a:extLst>
              <a:ext uri="{FF2B5EF4-FFF2-40B4-BE49-F238E27FC236}">
                <a16:creationId xmlns:a16="http://schemas.microsoft.com/office/drawing/2014/main" id="{69C79CDF-616C-8048-CD2E-4BA911AF8255}"/>
              </a:ext>
            </a:extLst>
          </p:cNvPr>
          <p:cNvGraphicFramePr>
            <a:graphicFrameLocks noGrp="1"/>
          </p:cNvGraphicFramePr>
          <p:nvPr/>
        </p:nvGraphicFramePr>
        <p:xfrm>
          <a:off x="7625195" y="2729757"/>
          <a:ext cx="3924000" cy="1188720"/>
        </p:xfrm>
        <a:graphic>
          <a:graphicData uri="http://schemas.openxmlformats.org/drawingml/2006/table">
            <a:tbl>
              <a:tblPr firstRow="1">
                <a:effectLst/>
              </a:tblPr>
              <a:tblGrid>
                <a:gridCol w="1260000">
                  <a:extLst>
                    <a:ext uri="{9D8B030D-6E8A-4147-A177-3AD203B41FA5}">
                      <a16:colId xmlns:a16="http://schemas.microsoft.com/office/drawing/2014/main" val="3609005308"/>
                    </a:ext>
                  </a:extLst>
                </a:gridCol>
                <a:gridCol w="972000">
                  <a:extLst>
                    <a:ext uri="{9D8B030D-6E8A-4147-A177-3AD203B41FA5}">
                      <a16:colId xmlns:a16="http://schemas.microsoft.com/office/drawing/2014/main" val="3388733588"/>
                    </a:ext>
                  </a:extLst>
                </a:gridCol>
                <a:gridCol w="1692000">
                  <a:extLst>
                    <a:ext uri="{9D8B030D-6E8A-4147-A177-3AD203B41FA5}">
                      <a16:colId xmlns:a16="http://schemas.microsoft.com/office/drawing/2014/main" val="531657196"/>
                    </a:ext>
                  </a:extLst>
                </a:gridCol>
              </a:tblGrid>
              <a:tr h="0">
                <a:tc gridSpan="3">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l"/>
                      <a:r>
                        <a:rPr lang="en-GB" sz="1200" noProof="0" dirty="0">
                          <a:solidFill>
                            <a:schemeClr val="bg1"/>
                          </a:solidFill>
                          <a:latin typeface="Arial" panose="020B0604020202020204" pitchFamily="34" charset="0"/>
                          <a:cs typeface="Arial" panose="020B0604020202020204" pitchFamily="34" charset="0"/>
                        </a:rPr>
                        <a:t>mOS,</a:t>
                      </a:r>
                      <a:r>
                        <a:rPr lang="en-GB" sz="1200" baseline="0" noProof="0" dirty="0">
                          <a:solidFill>
                            <a:schemeClr val="bg1"/>
                          </a:solidFill>
                          <a:latin typeface="Arial" panose="020B0604020202020204" pitchFamily="34" charset="0"/>
                          <a:cs typeface="Arial" panose="020B0604020202020204" pitchFamily="34" charset="0"/>
                        </a:rPr>
                        <a:t> </a:t>
                      </a:r>
                      <a:r>
                        <a:rPr lang="en-GB" sz="1200" b="1" noProof="0" dirty="0">
                          <a:solidFill>
                            <a:schemeClr val="bg1"/>
                          </a:solidFill>
                          <a:latin typeface="Arial" panose="020B0604020202020204" pitchFamily="34" charset="0"/>
                          <a:cs typeface="Arial" panose="020B0604020202020204" pitchFamily="34" charset="0"/>
                        </a:rPr>
                        <a:t>months </a:t>
                      </a:r>
                      <a:r>
                        <a:rPr lang="en-GB" sz="1200" b="0" noProof="0" dirty="0">
                          <a:solidFill>
                            <a:schemeClr val="bg1"/>
                          </a:solidFill>
                          <a:latin typeface="Arial" panose="020B0604020202020204" pitchFamily="34" charset="0"/>
                          <a:cs typeface="Arial" panose="020B0604020202020204" pitchFamily="34" charset="0"/>
                        </a:rPr>
                        <a:t>(95% CI)</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a:endParaRPr lang="en-US" sz="1400" b="0">
                        <a:solidFill>
                          <a:schemeClr val="bg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15754074"/>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GB" sz="1200" b="1" noProof="0" dirty="0">
                          <a:solidFill>
                            <a:schemeClr val="bg1"/>
                          </a:solidFill>
                          <a:latin typeface="Arial" panose="020B0604020202020204" pitchFamily="34" charset="0"/>
                          <a:cs typeface="Arial" panose="020B0604020202020204" pitchFamily="34" charset="0"/>
                        </a:rPr>
                        <a:t>Amivantamab + lazertinib</a:t>
                      </a:r>
                    </a:p>
                  </a:txBody>
                  <a:tcPr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rgbClr val="000000"/>
                          </a:solidFill>
                          <a:latin typeface="Arial" panose="020B0604020202020204" pitchFamily="34" charset="0"/>
                          <a:cs typeface="Arial" panose="020B0604020202020204" pitchFamily="34" charset="0"/>
                        </a:rPr>
                        <a:t>NE </a:t>
                      </a:r>
                      <a:br>
                        <a:rPr lang="en-GB" sz="1200" b="1" noProof="0" dirty="0">
                          <a:solidFill>
                            <a:srgbClr val="000000"/>
                          </a:solidFill>
                          <a:latin typeface="Arial" panose="020B0604020202020204" pitchFamily="34" charset="0"/>
                          <a:cs typeface="Arial" panose="020B0604020202020204" pitchFamily="34" charset="0"/>
                        </a:rPr>
                      </a:br>
                      <a:r>
                        <a:rPr lang="en-GB" sz="1200" b="0" noProof="0" dirty="0">
                          <a:solidFill>
                            <a:srgbClr val="000000"/>
                          </a:solidFill>
                          <a:latin typeface="Arial" panose="020B0604020202020204" pitchFamily="34" charset="0"/>
                          <a:cs typeface="Arial" panose="020B0604020202020204" pitchFamily="34" charset="0"/>
                        </a:rPr>
                        <a:t>(42.9–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dirty="0">
                          <a:latin typeface="Arial" panose="020B0604020202020204" pitchFamily="34" charset="0"/>
                          <a:cs typeface="Arial" panose="020B0604020202020204" pitchFamily="34" charset="0"/>
                        </a:rPr>
                        <a:t>HR, 0.75 </a:t>
                      </a:r>
                      <a:r>
                        <a:rPr lang="en-GB" sz="1200" noProof="0" dirty="0">
                          <a:latin typeface="Arial" panose="020B0604020202020204" pitchFamily="34" charset="0"/>
                          <a:cs typeface="Arial" panose="020B0604020202020204" pitchFamily="34" charset="0"/>
                        </a:rPr>
                        <a:t>(95% CI, </a:t>
                      </a:r>
                      <a:br>
                        <a:rPr lang="en-GB" sz="1200" noProof="0" dirty="0">
                          <a:latin typeface="Arial" panose="020B0604020202020204" pitchFamily="34" charset="0"/>
                          <a:cs typeface="Arial" panose="020B0604020202020204" pitchFamily="34" charset="0"/>
                        </a:rPr>
                      </a:br>
                      <a:r>
                        <a:rPr lang="en-GB" sz="1200" noProof="0" dirty="0">
                          <a:latin typeface="Arial" panose="020B0604020202020204" pitchFamily="34" charset="0"/>
                          <a:cs typeface="Arial" panose="020B0604020202020204" pitchFamily="34" charset="0"/>
                        </a:rPr>
                        <a:t>0.61–0.92)</a:t>
                      </a:r>
                      <a:r>
                        <a:rPr lang="en-GB" sz="1200" b="1" noProof="0" dirty="0">
                          <a:latin typeface="Arial" panose="020B0604020202020204" pitchFamily="34" charset="0"/>
                          <a:cs typeface="Arial" panose="020B0604020202020204" pitchFamily="34" charset="0"/>
                        </a:rPr>
                        <a:t>;</a:t>
                      </a:r>
                      <a:r>
                        <a:rPr lang="en-GB" sz="1200" noProof="0" dirty="0">
                          <a:latin typeface="Arial" panose="020B0604020202020204" pitchFamily="34" charset="0"/>
                          <a:cs typeface="Arial" panose="020B0604020202020204" pitchFamily="34" charset="0"/>
                        </a:rPr>
                        <a:t> </a:t>
                      </a:r>
                      <a:r>
                        <a:rPr lang="en-GB" sz="1200" b="1" noProof="0" dirty="0">
                          <a:latin typeface="Arial" panose="020B0604020202020204" pitchFamily="34" charset="0"/>
                          <a:cs typeface="Arial" panose="020B0604020202020204" pitchFamily="34" charset="0"/>
                        </a:rPr>
                        <a:t>p=0.005</a:t>
                      </a:r>
                      <a:r>
                        <a:rPr lang="en-GB" sz="1200" b="1" baseline="30000" noProof="0" dirty="0">
                          <a:latin typeface="Arial" panose="020B0604020202020204" pitchFamily="34" charset="0"/>
                          <a:cs typeface="Arial" panose="020B0604020202020204" pitchFamily="34" charset="0"/>
                        </a:rPr>
                        <a:t>†</a:t>
                      </a:r>
                    </a:p>
                  </a:txBody>
                  <a:tcPr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6F5F4"/>
                    </a:solidFill>
                  </a:tcPr>
                </a:tc>
                <a:extLst>
                  <a:ext uri="{0D108BD9-81ED-4DB2-BD59-A6C34878D82A}">
                    <a16:rowId xmlns:a16="http://schemas.microsoft.com/office/drawing/2014/main" val="1300018867"/>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GB" sz="1200" b="1" noProof="0">
                          <a:solidFill>
                            <a:schemeClr val="bg1"/>
                          </a:solidFill>
                          <a:latin typeface="Arial" panose="020B0604020202020204" pitchFamily="34" charset="0"/>
                          <a:cs typeface="Arial" panose="020B0604020202020204" pitchFamily="34" charset="0"/>
                        </a:rPr>
                        <a:t>Osimertinib</a:t>
                      </a:r>
                    </a:p>
                  </a:txBody>
                  <a:tcPr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rgbClr val="000000"/>
                          </a:solidFill>
                          <a:latin typeface="Arial" panose="020B0604020202020204" pitchFamily="34" charset="0"/>
                          <a:cs typeface="Arial" panose="020B0604020202020204" pitchFamily="34" charset="0"/>
                        </a:rPr>
                        <a:t>36.7 </a:t>
                      </a:r>
                      <a:br>
                        <a:rPr lang="en-GB" sz="1200" b="1" noProof="0" dirty="0">
                          <a:solidFill>
                            <a:srgbClr val="000000"/>
                          </a:solidFill>
                          <a:latin typeface="Arial" panose="020B0604020202020204" pitchFamily="34" charset="0"/>
                          <a:cs typeface="Arial" panose="020B0604020202020204" pitchFamily="34" charset="0"/>
                        </a:rPr>
                      </a:br>
                      <a:r>
                        <a:rPr lang="en-GB" sz="1200" b="0" noProof="0" dirty="0">
                          <a:solidFill>
                            <a:srgbClr val="000000"/>
                          </a:solidFill>
                          <a:latin typeface="Arial" panose="020B0604020202020204" pitchFamily="34" charset="0"/>
                          <a:cs typeface="Arial" panose="020B0604020202020204" pitchFamily="34" charset="0"/>
                        </a:rPr>
                        <a:t>(33.4–4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pPr algn="ctr"/>
                      <a:endParaRPr lang="en-US" sz="140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914406"/>
                  </a:ext>
                </a:extLst>
              </a:tr>
            </a:tbl>
          </a:graphicData>
        </a:graphic>
      </p:graphicFrame>
      <p:sp>
        <p:nvSpPr>
          <p:cNvPr id="6" name="Rectangle: Rounded Corners 5">
            <a:extLst>
              <a:ext uri="{FF2B5EF4-FFF2-40B4-BE49-F238E27FC236}">
                <a16:creationId xmlns:a16="http://schemas.microsoft.com/office/drawing/2014/main" id="{5627F10E-C730-0FCD-7A4B-B0699E922FFB}"/>
              </a:ext>
            </a:extLst>
          </p:cNvPr>
          <p:cNvSpPr/>
          <p:nvPr/>
        </p:nvSpPr>
        <p:spPr>
          <a:xfrm>
            <a:off x="9972136" y="203659"/>
            <a:ext cx="1698075"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RIPOSA</a:t>
            </a:r>
          </a:p>
        </p:txBody>
      </p:sp>
      <p:grpSp>
        <p:nvGrpSpPr>
          <p:cNvPr id="7" name="Group 6">
            <a:extLst>
              <a:ext uri="{FF2B5EF4-FFF2-40B4-BE49-F238E27FC236}">
                <a16:creationId xmlns:a16="http://schemas.microsoft.com/office/drawing/2014/main" id="{761A66D5-A10F-5A24-373A-9063F3E40013}"/>
              </a:ext>
            </a:extLst>
          </p:cNvPr>
          <p:cNvGrpSpPr/>
          <p:nvPr/>
        </p:nvGrpSpPr>
        <p:grpSpPr>
          <a:xfrm>
            <a:off x="11442807" y="48345"/>
            <a:ext cx="645342" cy="645342"/>
            <a:chOff x="11442807" y="48345"/>
            <a:chExt cx="645342" cy="645342"/>
          </a:xfrm>
        </p:grpSpPr>
        <p:sp>
          <p:nvSpPr>
            <p:cNvPr id="8" name="Oval 7">
              <a:extLst>
                <a:ext uri="{FF2B5EF4-FFF2-40B4-BE49-F238E27FC236}">
                  <a16:creationId xmlns:a16="http://schemas.microsoft.com/office/drawing/2014/main" id="{7B7CB69F-1CE3-987C-4CD8-B4173F966C1A}"/>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9" name="Graphic 8" descr="Signal outline">
              <a:extLst>
                <a:ext uri="{FF2B5EF4-FFF2-40B4-BE49-F238E27FC236}">
                  <a16:creationId xmlns:a16="http://schemas.microsoft.com/office/drawing/2014/main" id="{E2325CBC-8AF6-4424-1AF9-7C3F212DA0D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1492045" y="96048"/>
              <a:ext cx="506740" cy="506740"/>
            </a:xfrm>
            <a:prstGeom prst="rect">
              <a:avLst/>
            </a:prstGeom>
          </p:spPr>
        </p:pic>
      </p:grpSp>
    </p:spTree>
    <p:extLst>
      <p:ext uri="{BB962C8B-B14F-4D97-AF65-F5344CB8AC3E}">
        <p14:creationId xmlns:p14="http://schemas.microsoft.com/office/powerpoint/2010/main" val="32830018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66557-8A23-9CDD-3DEB-923384CC7E88}"/>
            </a:ext>
          </a:extLst>
        </p:cNvPr>
        <p:cNvGrpSpPr/>
        <p:nvPr/>
      </p:nvGrpSpPr>
      <p:grpSpPr>
        <a:xfrm>
          <a:off x="0" y="0"/>
          <a:ext cx="0" cy="0"/>
          <a:chOff x="0" y="0"/>
          <a:chExt cx="0" cy="0"/>
        </a:xfrm>
      </p:grpSpPr>
      <p:grpSp>
        <p:nvGrpSpPr>
          <p:cNvPr id="329" name="Group 328">
            <a:extLst>
              <a:ext uri="{FF2B5EF4-FFF2-40B4-BE49-F238E27FC236}">
                <a16:creationId xmlns:a16="http://schemas.microsoft.com/office/drawing/2014/main" id="{1A3193C1-1BB6-CA31-ED8F-D93BEC2B379A}"/>
              </a:ext>
            </a:extLst>
          </p:cNvPr>
          <p:cNvGrpSpPr/>
          <p:nvPr/>
        </p:nvGrpSpPr>
        <p:grpSpPr>
          <a:xfrm>
            <a:off x="26195" y="5138740"/>
            <a:ext cx="11371033" cy="1162374"/>
            <a:chOff x="31164" y="4946990"/>
            <a:chExt cx="11371033" cy="1312669"/>
          </a:xfrm>
        </p:grpSpPr>
        <p:sp>
          <p:nvSpPr>
            <p:cNvPr id="330" name="Rectangle 329">
              <a:extLst>
                <a:ext uri="{FF2B5EF4-FFF2-40B4-BE49-F238E27FC236}">
                  <a16:creationId xmlns:a16="http://schemas.microsoft.com/office/drawing/2014/main" id="{58B1BFDD-C8C8-FDD4-5007-09997D10A075}"/>
                </a:ext>
              </a:extLst>
            </p:cNvPr>
            <p:cNvSpPr/>
            <p:nvPr/>
          </p:nvSpPr>
          <p:spPr>
            <a:xfrm>
              <a:off x="296883" y="5325051"/>
              <a:ext cx="11105314" cy="813096"/>
            </a:xfrm>
            <a:prstGeom prst="rect">
              <a:avLst/>
            </a:prstGeom>
            <a:gradFill flip="none" rotWithShape="1">
              <a:gsLst>
                <a:gs pos="8000">
                  <a:schemeClr val="bg1"/>
                </a:gs>
                <a:gs pos="0">
                  <a:schemeClr val="accent1"/>
                </a:gs>
                <a:gs pos="90000">
                  <a:schemeClr val="bg1"/>
                </a:gs>
                <a:gs pos="99000">
                  <a:schemeClr val="accent1"/>
                </a:gs>
              </a:gsLst>
              <a:lin ang="0" scaled="1"/>
              <a:tileRect/>
            </a:gra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31" name="Group 330">
              <a:extLst>
                <a:ext uri="{FF2B5EF4-FFF2-40B4-BE49-F238E27FC236}">
                  <a16:creationId xmlns:a16="http://schemas.microsoft.com/office/drawing/2014/main" id="{879E199D-10B5-E2B5-C141-DFEE0162A6F6}"/>
                </a:ext>
              </a:extLst>
            </p:cNvPr>
            <p:cNvGrpSpPr/>
            <p:nvPr/>
          </p:nvGrpSpPr>
          <p:grpSpPr>
            <a:xfrm>
              <a:off x="31164" y="4946990"/>
              <a:ext cx="394309" cy="1312669"/>
              <a:chOff x="31992" y="4996503"/>
              <a:chExt cx="404770" cy="1587765"/>
            </a:xfrm>
          </p:grpSpPr>
          <p:sp>
            <p:nvSpPr>
              <p:cNvPr id="334" name="Freeform 14">
                <a:extLst>
                  <a:ext uri="{FF2B5EF4-FFF2-40B4-BE49-F238E27FC236}">
                    <a16:creationId xmlns:a16="http://schemas.microsoft.com/office/drawing/2014/main" id="{33BF382E-5B4E-E756-F717-AF8DA07C02CA}"/>
                  </a:ext>
                </a:extLst>
              </p:cNvPr>
              <p:cNvSpPr>
                <a:spLocks/>
              </p:cNvSpPr>
              <p:nvPr/>
            </p:nvSpPr>
            <p:spPr bwMode="auto">
              <a:xfrm>
                <a:off x="69039" y="5313808"/>
                <a:ext cx="342028" cy="1197236"/>
              </a:xfrm>
              <a:custGeom>
                <a:avLst/>
                <a:gdLst>
                  <a:gd name="T0" fmla="*/ 153 w 153"/>
                  <a:gd name="T1" fmla="*/ 0 h 1032"/>
                  <a:gd name="T2" fmla="*/ 150 w 153"/>
                  <a:gd name="T3" fmla="*/ 1032 h 1032"/>
                  <a:gd name="T4" fmla="*/ 0 w 153"/>
                  <a:gd name="T5" fmla="*/ 1032 h 1032"/>
                  <a:gd name="T6" fmla="*/ 0 w 153"/>
                  <a:gd name="T7" fmla="*/ 0 h 1032"/>
                  <a:gd name="T8" fmla="*/ 153 w 153"/>
                  <a:gd name="T9" fmla="*/ 0 h 1032"/>
                </a:gdLst>
                <a:ahLst/>
                <a:cxnLst>
                  <a:cxn ang="0">
                    <a:pos x="T0" y="T1"/>
                  </a:cxn>
                  <a:cxn ang="0">
                    <a:pos x="T2" y="T3"/>
                  </a:cxn>
                  <a:cxn ang="0">
                    <a:pos x="T4" y="T5"/>
                  </a:cxn>
                  <a:cxn ang="0">
                    <a:pos x="T6" y="T7"/>
                  </a:cxn>
                  <a:cxn ang="0">
                    <a:pos x="T8" y="T9"/>
                  </a:cxn>
                </a:cxnLst>
                <a:rect l="0" t="0" r="r" b="b"/>
                <a:pathLst>
                  <a:path w="153" h="1032">
                    <a:moveTo>
                      <a:pt x="153" y="0"/>
                    </a:moveTo>
                    <a:lnTo>
                      <a:pt x="150" y="1032"/>
                    </a:lnTo>
                    <a:lnTo>
                      <a:pt x="0" y="1032"/>
                    </a:lnTo>
                    <a:lnTo>
                      <a:pt x="0" y="0"/>
                    </a:lnTo>
                    <a:lnTo>
                      <a:pt x="153" y="0"/>
                    </a:lnTo>
                    <a:close/>
                  </a:path>
                </a:pathLst>
              </a:custGeom>
              <a:gradFill flip="none" rotWithShape="1">
                <a:gsLst>
                  <a:gs pos="0">
                    <a:sysClr val="window" lastClr="FFFFFF">
                      <a:alpha val="0"/>
                    </a:sysClr>
                  </a:gs>
                  <a:gs pos="50000">
                    <a:sysClr val="window" lastClr="FFFFFF"/>
                  </a:gs>
                  <a:gs pos="100000">
                    <a:sysClr val="window" lastClr="FFFFFF">
                      <a:alpha val="0"/>
                    </a:sysClr>
                  </a:gs>
                </a:gsLst>
                <a:lin ang="5400000" scaled="0"/>
                <a:tileRect/>
              </a:gradFill>
              <a:ln w="12700" cap="flat" cmpd="sng" algn="ctr">
                <a:noFill/>
                <a:prstDash val="solid"/>
                <a:miter lim="800000"/>
              </a:ln>
              <a:effectLst>
                <a:outerShdw blurRad="101600" dist="88900" sx="95000" sy="95000" algn="tl" rotWithShape="0">
                  <a:prstClr val="black">
                    <a:alpha val="5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5" name="Rectangle 334">
                <a:extLst>
                  <a:ext uri="{FF2B5EF4-FFF2-40B4-BE49-F238E27FC236}">
                    <a16:creationId xmlns:a16="http://schemas.microsoft.com/office/drawing/2014/main" id="{6169901C-AA25-A47E-F48F-43B721C82FBD}"/>
                  </a:ext>
                </a:extLst>
              </p:cNvPr>
              <p:cNvSpPr/>
              <p:nvPr/>
            </p:nvSpPr>
            <p:spPr>
              <a:xfrm>
                <a:off x="31992" y="4996503"/>
                <a:ext cx="404770" cy="1587765"/>
              </a:xfrm>
              <a:prstGeom prst="rect">
                <a:avLst/>
              </a:prstGeom>
              <a:solidFill>
                <a:srgbClr val="F6F5F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333" name="TextBox 332">
              <a:extLst>
                <a:ext uri="{FF2B5EF4-FFF2-40B4-BE49-F238E27FC236}">
                  <a16:creationId xmlns:a16="http://schemas.microsoft.com/office/drawing/2014/main" id="{4A853F9C-45CE-DAD7-F1DA-EC449831886B}"/>
                </a:ext>
              </a:extLst>
            </p:cNvPr>
            <p:cNvSpPr txBox="1"/>
            <p:nvPr/>
          </p:nvSpPr>
          <p:spPr>
            <a:xfrm>
              <a:off x="1083719" y="5372283"/>
              <a:ext cx="9630061" cy="72990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RIPOSA conducted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serial brain MRIs</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n all patients, with 1L </a:t>
              </a:r>
              <a:b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ivantamab + lazertinib demonstrating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improved icPFS </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s osimertinib</a:t>
              </a:r>
              <a:r>
                <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en-GB" sz="18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grpSp>
      <p:pic>
        <p:nvPicPr>
          <p:cNvPr id="336" name="Picture 2" descr="Data Icon 2500462">
            <a:extLst>
              <a:ext uri="{FF2B5EF4-FFF2-40B4-BE49-F238E27FC236}">
                <a16:creationId xmlns:a16="http://schemas.microsoft.com/office/drawing/2014/main" id="{3A69B991-077C-B690-A1E6-6AF4FCBDF2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26838" y="5409845"/>
            <a:ext cx="891266" cy="89126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74819F2-1E59-6B26-7E45-99273F9A14F4}"/>
              </a:ext>
            </a:extLst>
          </p:cNvPr>
          <p:cNvSpPr>
            <a:spLocks noGrp="1"/>
          </p:cNvSpPr>
          <p:nvPr>
            <p:ph type="title"/>
          </p:nvPr>
        </p:nvSpPr>
        <p:spPr/>
        <p:txBody>
          <a:bodyPr/>
          <a:lstStyle/>
          <a:p>
            <a:r>
              <a:rPr lang="en-GB" dirty="0"/>
              <a:t>Amivantamab + lazertinib: icPFS by BICR</a:t>
            </a:r>
          </a:p>
        </p:txBody>
      </p:sp>
      <p:sp>
        <p:nvSpPr>
          <p:cNvPr id="4" name="Text Placeholder 3">
            <a:extLst>
              <a:ext uri="{FF2B5EF4-FFF2-40B4-BE49-F238E27FC236}">
                <a16:creationId xmlns:a16="http://schemas.microsoft.com/office/drawing/2014/main" id="{00CF415F-7221-6B44-12AA-A58AC82EFC4F}"/>
              </a:ext>
            </a:extLst>
          </p:cNvPr>
          <p:cNvSpPr>
            <a:spLocks noGrp="1"/>
          </p:cNvSpPr>
          <p:nvPr>
            <p:ph type="body" sz="quarter" idx="13"/>
          </p:nvPr>
        </p:nvSpPr>
        <p:spPr>
          <a:xfrm>
            <a:off x="5352780" y="6440893"/>
            <a:ext cx="6406129" cy="314564"/>
          </a:xfrm>
        </p:spPr>
        <p:txBody>
          <a:bodyPr/>
          <a:lstStyle/>
          <a:p>
            <a:r>
              <a:rPr lang="en-GB" dirty="0"/>
              <a:t>*icPFS was defined as time from randomisation until the date of intracranial disease progression (progression of brain metastases or occurrence of new brain lesions) or death, based on BICR using RECIST v1.1 among participants with a history of brain metastases; </a:t>
            </a:r>
            <a:r>
              <a:rPr lang="en-GB" baseline="30000" dirty="0"/>
              <a:t>†</a:t>
            </a:r>
            <a:r>
              <a:rPr lang="en-GB" dirty="0"/>
              <a:t>P-value was calculated from a log-rank test stratified by mutation type (exon19del or L858R) and race (Asian or non-Asian). HR was calculated from a stratified Cox regression model.</a:t>
            </a:r>
          </a:p>
          <a:p>
            <a:r>
              <a:rPr lang="en-GB" dirty="0"/>
              <a:t>1L, first-line; BICR, blinded independent central review; CNS, central nervous system; CT, computed tomography; exon19del, exon 19 deletion; </a:t>
            </a:r>
            <a:br>
              <a:rPr lang="en-GB" dirty="0"/>
            </a:br>
            <a:r>
              <a:rPr lang="en-GB" dirty="0"/>
              <a:t>HR, hazard ratio; icPFS, intracranial PFS; MRI, magnetic resonance imaging; PD, progressive disease; RECIST, Response Evaluation Criteria in Solid Tumours.</a:t>
            </a:r>
          </a:p>
        </p:txBody>
      </p:sp>
      <p:sp>
        <p:nvSpPr>
          <p:cNvPr id="5" name="Text Placeholder 4">
            <a:extLst>
              <a:ext uri="{FF2B5EF4-FFF2-40B4-BE49-F238E27FC236}">
                <a16:creationId xmlns:a16="http://schemas.microsoft.com/office/drawing/2014/main" id="{C61300F1-908B-AAD6-05AE-8D0DBA1ACBB8}"/>
              </a:ext>
            </a:extLst>
          </p:cNvPr>
          <p:cNvSpPr>
            <a:spLocks noGrp="1"/>
          </p:cNvSpPr>
          <p:nvPr>
            <p:ph type="body" sz="quarter" idx="15"/>
          </p:nvPr>
        </p:nvSpPr>
        <p:spPr>
          <a:xfrm>
            <a:off x="442912" y="6440893"/>
            <a:ext cx="3268225" cy="314564"/>
          </a:xfrm>
        </p:spPr>
        <p:txBody>
          <a:bodyPr/>
          <a:lstStyle/>
          <a:p>
            <a:r>
              <a:rPr lang="en-GB" dirty="0"/>
              <a:t>1. Yang JCH, et al. Presented at ELCC 2025: 4O; 2. Cho BC, et al. </a:t>
            </a:r>
            <a:r>
              <a:rPr lang="en-GB" i="1" dirty="0"/>
              <a:t>N Engl J Med</a:t>
            </a:r>
            <a:r>
              <a:rPr lang="en-GB" dirty="0"/>
              <a:t>. 2024;391:1486</a:t>
            </a:r>
            <a:r>
              <a:rPr lang="en-GB" dirty="0">
                <a:ea typeface="Calibri" panose="020F0502020204030204" pitchFamily="34" charset="0"/>
              </a:rPr>
              <a:t>–</a:t>
            </a:r>
            <a:r>
              <a:rPr lang="en-GB" dirty="0"/>
              <a:t>98; 3. Cho BC, et al. Presented at ESMO 2023: LBA14.</a:t>
            </a:r>
          </a:p>
        </p:txBody>
      </p:sp>
      <p:sp>
        <p:nvSpPr>
          <p:cNvPr id="169" name="Rectangle 168">
            <a:extLst>
              <a:ext uri="{FF2B5EF4-FFF2-40B4-BE49-F238E27FC236}">
                <a16:creationId xmlns:a16="http://schemas.microsoft.com/office/drawing/2014/main" id="{B731F395-9D54-A40A-8A0A-F119AD33FE72}"/>
              </a:ext>
            </a:extLst>
          </p:cNvPr>
          <p:cNvSpPr/>
          <p:nvPr/>
        </p:nvSpPr>
        <p:spPr>
          <a:xfrm>
            <a:off x="442799" y="984546"/>
            <a:ext cx="6005625" cy="4356000"/>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0" name="TextBox 169">
            <a:extLst>
              <a:ext uri="{FF2B5EF4-FFF2-40B4-BE49-F238E27FC236}">
                <a16:creationId xmlns:a16="http://schemas.microsoft.com/office/drawing/2014/main" id="{EE98CC2B-E07B-9B2A-E4CB-56CE6389A4B5}"/>
              </a:ext>
            </a:extLst>
          </p:cNvPr>
          <p:cNvSpPr txBox="1"/>
          <p:nvPr/>
        </p:nvSpPr>
        <p:spPr>
          <a:xfrm>
            <a:off x="442800" y="984546"/>
            <a:ext cx="6006854" cy="355276"/>
          </a:xfrm>
          <a:prstGeom prst="rect">
            <a:avLst/>
          </a:prstGeom>
          <a:gradFill>
            <a:gsLst>
              <a:gs pos="0">
                <a:schemeClr val="accent6"/>
              </a:gs>
              <a:gs pos="100000">
                <a:schemeClr val="accent6"/>
              </a:gs>
              <a:gs pos="93000">
                <a:schemeClr val="accent5">
                  <a:lumMod val="50000"/>
                </a:schemeClr>
              </a:gs>
              <a:gs pos="7000">
                <a:schemeClr val="accent5">
                  <a:lumMod val="50000"/>
                </a:schemeClr>
              </a:gs>
            </a:gsLst>
            <a:lin ang="0" scaled="1"/>
          </a:gradFill>
        </p:spPr>
        <p:txBody>
          <a:bodyPr wrap="square" lIns="108000" tIns="54000" rIns="108000" bIns="5400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cPFS in patients with baseline CNS metastases</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a:t>
            </a:r>
          </a:p>
        </p:txBody>
      </p:sp>
      <p:graphicFrame>
        <p:nvGraphicFramePr>
          <p:cNvPr id="171" name="Table 8">
            <a:extLst>
              <a:ext uri="{FF2B5EF4-FFF2-40B4-BE49-F238E27FC236}">
                <a16:creationId xmlns:a16="http://schemas.microsoft.com/office/drawing/2014/main" id="{F04239DB-8A1E-540E-167F-991592723713}"/>
              </a:ext>
            </a:extLst>
          </p:cNvPr>
          <p:cNvGraphicFramePr>
            <a:graphicFrameLocks noGrp="1"/>
          </p:cNvGraphicFramePr>
          <p:nvPr/>
        </p:nvGraphicFramePr>
        <p:xfrm>
          <a:off x="692639" y="4497788"/>
          <a:ext cx="5580000" cy="764640"/>
        </p:xfrm>
        <a:graphic>
          <a:graphicData uri="http://schemas.openxmlformats.org/drawingml/2006/table">
            <a:tbl>
              <a:tblPr firstRow="1">
                <a:effectLst/>
              </a:tblPr>
              <a:tblGrid>
                <a:gridCol w="2052000">
                  <a:extLst>
                    <a:ext uri="{9D8B030D-6E8A-4147-A177-3AD203B41FA5}">
                      <a16:colId xmlns:a16="http://schemas.microsoft.com/office/drawing/2014/main" val="3609005308"/>
                    </a:ext>
                  </a:extLst>
                </a:gridCol>
                <a:gridCol w="1548000">
                  <a:extLst>
                    <a:ext uri="{9D8B030D-6E8A-4147-A177-3AD203B41FA5}">
                      <a16:colId xmlns:a16="http://schemas.microsoft.com/office/drawing/2014/main" val="3388733588"/>
                    </a:ext>
                  </a:extLst>
                </a:gridCol>
                <a:gridCol w="1980000">
                  <a:extLst>
                    <a:ext uri="{9D8B030D-6E8A-4147-A177-3AD203B41FA5}">
                      <a16:colId xmlns:a16="http://schemas.microsoft.com/office/drawing/2014/main" val="531657196"/>
                    </a:ext>
                  </a:extLst>
                </a:gridCol>
              </a:tblGrid>
              <a:tr h="252000">
                <a:tc gridSpan="3">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l"/>
                      <a:r>
                        <a:rPr lang="en-GB" sz="1200" noProof="0" dirty="0">
                          <a:solidFill>
                            <a:schemeClr val="bg1"/>
                          </a:solidFill>
                          <a:latin typeface="Arial" panose="020B0604020202020204" pitchFamily="34" charset="0"/>
                          <a:cs typeface="Arial" panose="020B0604020202020204" pitchFamily="34" charset="0"/>
                        </a:rPr>
                        <a:t>Median icPFS,</a:t>
                      </a:r>
                      <a:r>
                        <a:rPr lang="en-GB" sz="1200" baseline="0" noProof="0" dirty="0">
                          <a:solidFill>
                            <a:schemeClr val="bg1"/>
                          </a:solidFill>
                          <a:latin typeface="Arial" panose="020B0604020202020204" pitchFamily="34" charset="0"/>
                          <a:cs typeface="Arial" panose="020B0604020202020204" pitchFamily="34" charset="0"/>
                        </a:rPr>
                        <a:t> </a:t>
                      </a:r>
                      <a:r>
                        <a:rPr lang="en-GB" sz="1200" b="1" noProof="0" dirty="0">
                          <a:solidFill>
                            <a:schemeClr val="bg1"/>
                          </a:solidFill>
                          <a:latin typeface="Arial" panose="020B0604020202020204" pitchFamily="34" charset="0"/>
                          <a:cs typeface="Arial" panose="020B0604020202020204" pitchFamily="34" charset="0"/>
                        </a:rPr>
                        <a:t>months </a:t>
                      </a:r>
                      <a:r>
                        <a:rPr lang="en-GB" sz="1200" b="0" noProof="0" dirty="0">
                          <a:solidFill>
                            <a:schemeClr val="bg1"/>
                          </a:solidFill>
                          <a:latin typeface="Arial" panose="020B0604020202020204" pitchFamily="34" charset="0"/>
                          <a:cs typeface="Arial" panose="020B0604020202020204" pitchFamily="34" charset="0"/>
                        </a:rPr>
                        <a:t>(95% CI)</a:t>
                      </a:r>
                    </a:p>
                  </a:txBody>
                  <a:tcPr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a:endParaRPr lang="en-US" sz="1400" b="0">
                        <a:solidFill>
                          <a:schemeClr val="bg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15754074"/>
                  </a:ext>
                </a:extLst>
              </a:tr>
              <a:tr h="25200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GB" sz="1200" b="1" noProof="0" dirty="0">
                          <a:solidFill>
                            <a:schemeClr val="bg1"/>
                          </a:solidFill>
                          <a:latin typeface="Arial" panose="020B0604020202020204" pitchFamily="34" charset="0"/>
                          <a:cs typeface="Arial" panose="020B0604020202020204" pitchFamily="34" charset="0"/>
                        </a:rPr>
                        <a:t>Amivantamab + </a:t>
                      </a:r>
                      <a:r>
                        <a:rPr lang="en-GB" sz="1200" b="1" noProof="0" dirty="0" err="1">
                          <a:solidFill>
                            <a:schemeClr val="bg1"/>
                          </a:solidFill>
                          <a:latin typeface="Arial" panose="020B0604020202020204" pitchFamily="34" charset="0"/>
                          <a:cs typeface="Arial" panose="020B0604020202020204" pitchFamily="34" charset="0"/>
                        </a:rPr>
                        <a:t>lazertinib</a:t>
                      </a:r>
                      <a:endParaRPr lang="en-GB" sz="1200" b="1" noProof="0" dirty="0">
                        <a:solidFill>
                          <a:schemeClr val="bg1"/>
                        </a:solidFill>
                        <a:latin typeface="Arial" panose="020B0604020202020204" pitchFamily="34" charset="0"/>
                        <a:cs typeface="Arial" panose="020B0604020202020204" pitchFamily="34" charset="0"/>
                      </a:endParaRPr>
                    </a:p>
                  </a:txBody>
                  <a:tcPr marT="36000" marB="3600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rgbClr val="000000"/>
                          </a:solidFill>
                          <a:latin typeface="Arial" panose="020B0604020202020204" pitchFamily="34" charset="0"/>
                          <a:cs typeface="Arial" panose="020B0604020202020204" pitchFamily="34" charset="0"/>
                        </a:rPr>
                        <a:t>25.4</a:t>
                      </a:r>
                      <a:r>
                        <a:rPr lang="en-GB" sz="1200" b="1" noProof="0" dirty="0">
                          <a:solidFill>
                            <a:schemeClr val="tx1"/>
                          </a:solidFill>
                          <a:latin typeface="Arial" panose="020B0604020202020204" pitchFamily="34" charset="0"/>
                          <a:cs typeface="Arial" panose="020B0604020202020204" pitchFamily="34" charset="0"/>
                        </a:rPr>
                        <a:t> </a:t>
                      </a:r>
                      <a:r>
                        <a:rPr lang="en-GB" sz="1200" b="0" noProof="0" dirty="0">
                          <a:solidFill>
                            <a:schemeClr val="tx1"/>
                          </a:solidFill>
                          <a:latin typeface="Arial" panose="020B0604020202020204" pitchFamily="34" charset="0"/>
                          <a:cs typeface="Arial" panose="020B0604020202020204" pitchFamily="34" charset="0"/>
                        </a:rPr>
                        <a:t>(20.1–29.5</a:t>
                      </a:r>
                      <a:r>
                        <a:rPr lang="en-GB" sz="1200" b="0" noProof="0" dirty="0">
                          <a:solidFill>
                            <a:srgbClr val="000000"/>
                          </a:solidFill>
                          <a:latin typeface="Arial" panose="020B0604020202020204" pitchFamily="34" charset="0"/>
                          <a:cs typeface="Arial" panose="020B0604020202020204" pitchFamily="34" charset="0"/>
                        </a:rPr>
                        <a:t>)</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kern="1200" noProof="0" dirty="0">
                          <a:solidFill>
                            <a:srgbClr val="000000"/>
                          </a:solidFill>
                          <a:latin typeface="Arial" panose="020B0604020202020204" pitchFamily="34" charset="0"/>
                          <a:ea typeface="+mn-ea"/>
                          <a:cs typeface="Arial" panose="020B0604020202020204" pitchFamily="34" charset="0"/>
                        </a:rPr>
                        <a:t>HR, 0.79 </a:t>
                      </a:r>
                      <a:r>
                        <a:rPr lang="en-GB" sz="1200" b="0" i="0" kern="1200" noProof="0" dirty="0">
                          <a:solidFill>
                            <a:srgbClr val="000000"/>
                          </a:solidFill>
                          <a:latin typeface="Arial" panose="020B0604020202020204" pitchFamily="34" charset="0"/>
                          <a:ea typeface="+mn-ea"/>
                          <a:cs typeface="Arial" panose="020B0604020202020204" pitchFamily="34" charset="0"/>
                        </a:rPr>
                        <a:t>(95% CI, </a:t>
                      </a:r>
                      <a:br>
                        <a:rPr lang="en-GB" sz="1200" b="0" i="0" kern="1200" noProof="0" dirty="0">
                          <a:solidFill>
                            <a:srgbClr val="000000"/>
                          </a:solidFill>
                          <a:latin typeface="Arial" panose="020B0604020202020204" pitchFamily="34" charset="0"/>
                          <a:ea typeface="+mn-ea"/>
                          <a:cs typeface="Arial" panose="020B0604020202020204" pitchFamily="34" charset="0"/>
                        </a:rPr>
                      </a:br>
                      <a:r>
                        <a:rPr lang="en-GB" sz="1200" b="0" i="0" kern="1200" noProof="0" dirty="0">
                          <a:solidFill>
                            <a:srgbClr val="000000"/>
                          </a:solidFill>
                          <a:latin typeface="Arial" panose="020B0604020202020204" pitchFamily="34" charset="0"/>
                          <a:ea typeface="+mn-ea"/>
                          <a:cs typeface="Arial" panose="020B0604020202020204" pitchFamily="34" charset="0"/>
                        </a:rPr>
                        <a:t>0.61–1.02)</a:t>
                      </a:r>
                      <a:r>
                        <a:rPr lang="en-GB" sz="1200" b="1" i="0" kern="1200" noProof="0" dirty="0">
                          <a:solidFill>
                            <a:srgbClr val="000000"/>
                          </a:solidFill>
                          <a:latin typeface="Arial" panose="020B0604020202020204" pitchFamily="34" charset="0"/>
                          <a:ea typeface="+mn-ea"/>
                          <a:cs typeface="Arial" panose="020B0604020202020204" pitchFamily="34" charset="0"/>
                        </a:rPr>
                        <a:t>; p=0.07</a:t>
                      </a:r>
                      <a:r>
                        <a:rPr lang="en-GB" sz="1200" b="1" i="0" kern="1200" baseline="30000" noProof="0" dirty="0">
                          <a:solidFill>
                            <a:srgbClr val="000000"/>
                          </a:solidFill>
                          <a:latin typeface="Arial" panose="020B0604020202020204" pitchFamily="34" charset="0"/>
                          <a:ea typeface="+mn-ea"/>
                          <a:cs typeface="Arial" panose="020B0604020202020204" pitchFamily="34" charset="0"/>
                        </a:rPr>
                        <a:t>†</a:t>
                      </a:r>
                    </a:p>
                  </a:txBody>
                  <a:tcPr marT="36000" marB="3600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6F5F4"/>
                    </a:solidFill>
                  </a:tcPr>
                </a:tc>
                <a:extLst>
                  <a:ext uri="{0D108BD9-81ED-4DB2-BD59-A6C34878D82A}">
                    <a16:rowId xmlns:a16="http://schemas.microsoft.com/office/drawing/2014/main" val="1300018867"/>
                  </a:ext>
                </a:extLst>
              </a:tr>
              <a:tr h="25200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GB" sz="1200" b="1" noProof="0">
                          <a:solidFill>
                            <a:schemeClr val="bg1"/>
                          </a:solidFill>
                          <a:latin typeface="Arial" panose="020B0604020202020204" pitchFamily="34" charset="0"/>
                          <a:cs typeface="Arial" panose="020B0604020202020204" pitchFamily="34" charset="0"/>
                        </a:rPr>
                        <a:t>Osimertinib</a:t>
                      </a:r>
                    </a:p>
                  </a:txBody>
                  <a:tcPr marT="36000" marB="3600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GB" sz="1200" b="1" noProof="0" dirty="0">
                          <a:solidFill>
                            <a:srgbClr val="000000"/>
                          </a:solidFill>
                          <a:latin typeface="Arial" panose="020B0604020202020204" pitchFamily="34" charset="0"/>
                          <a:cs typeface="Arial" panose="020B0604020202020204" pitchFamily="34" charset="0"/>
                        </a:rPr>
                        <a:t>22.2 </a:t>
                      </a:r>
                      <a:r>
                        <a:rPr lang="en-GB" sz="1200" b="0" noProof="0" dirty="0">
                          <a:solidFill>
                            <a:srgbClr val="000000"/>
                          </a:solidFill>
                          <a:latin typeface="Arial" panose="020B0604020202020204" pitchFamily="34" charset="0"/>
                          <a:cs typeface="Arial" panose="020B0604020202020204" pitchFamily="34" charset="0"/>
                        </a:rPr>
                        <a:t>(18.4–26.9)</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pPr algn="ctr"/>
                      <a:endParaRPr lang="en-US" sz="140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914406"/>
                  </a:ext>
                </a:extLst>
              </a:tr>
            </a:tbl>
          </a:graphicData>
        </a:graphic>
      </p:graphicFrame>
      <p:sp>
        <p:nvSpPr>
          <p:cNvPr id="175" name="TextBox 174">
            <a:extLst>
              <a:ext uri="{FF2B5EF4-FFF2-40B4-BE49-F238E27FC236}">
                <a16:creationId xmlns:a16="http://schemas.microsoft.com/office/drawing/2014/main" id="{7975B7A1-0624-2B1B-93A5-2EB9B4D1191D}"/>
              </a:ext>
            </a:extLst>
          </p:cNvPr>
          <p:cNvSpPr txBox="1"/>
          <p:nvPr/>
        </p:nvSpPr>
        <p:spPr>
          <a:xfrm rot="16200000">
            <a:off x="-756572" y="2408611"/>
            <a:ext cx="2927349"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Patients who were </a:t>
            </a:r>
            <a:b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progression-free intracranially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a:t>
            </a:r>
          </a:p>
        </p:txBody>
      </p:sp>
      <p:sp>
        <p:nvSpPr>
          <p:cNvPr id="320" name="TextBox 319">
            <a:extLst>
              <a:ext uri="{FF2B5EF4-FFF2-40B4-BE49-F238E27FC236}">
                <a16:creationId xmlns:a16="http://schemas.microsoft.com/office/drawing/2014/main" id="{91F83C99-38BE-F4AC-B9C0-6DF4DEBC65C3}"/>
              </a:ext>
            </a:extLst>
          </p:cNvPr>
          <p:cNvSpPr txBox="1"/>
          <p:nvPr/>
        </p:nvSpPr>
        <p:spPr>
          <a:xfrm>
            <a:off x="905400" y="3881521"/>
            <a:ext cx="120148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at risk:</a:t>
            </a:r>
          </a:p>
        </p:txBody>
      </p:sp>
      <p:sp>
        <p:nvSpPr>
          <p:cNvPr id="321" name="Rectangle 320">
            <a:extLst>
              <a:ext uri="{FF2B5EF4-FFF2-40B4-BE49-F238E27FC236}">
                <a16:creationId xmlns:a16="http://schemas.microsoft.com/office/drawing/2014/main" id="{0B4AD363-5E47-F76B-E80C-F6CB2B029C1F}"/>
              </a:ext>
            </a:extLst>
          </p:cNvPr>
          <p:cNvSpPr/>
          <p:nvPr/>
        </p:nvSpPr>
        <p:spPr>
          <a:xfrm>
            <a:off x="1002218" y="4120211"/>
            <a:ext cx="112313" cy="96044"/>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2" name="Rectangle 321">
            <a:extLst>
              <a:ext uri="{FF2B5EF4-FFF2-40B4-BE49-F238E27FC236}">
                <a16:creationId xmlns:a16="http://schemas.microsoft.com/office/drawing/2014/main" id="{B8791980-E8BD-5FA1-0401-FB6D5F981B37}"/>
              </a:ext>
            </a:extLst>
          </p:cNvPr>
          <p:cNvSpPr/>
          <p:nvPr/>
        </p:nvSpPr>
        <p:spPr>
          <a:xfrm>
            <a:off x="1002218" y="4273062"/>
            <a:ext cx="112313" cy="96044"/>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72" name="Chart 171">
            <a:extLst>
              <a:ext uri="{FF2B5EF4-FFF2-40B4-BE49-F238E27FC236}">
                <a16:creationId xmlns:a16="http://schemas.microsoft.com/office/drawing/2014/main" id="{3F3E5E89-0B6A-AA01-7AF4-9F8B3F19FB0C}"/>
              </a:ext>
            </a:extLst>
          </p:cNvPr>
          <p:cNvGraphicFramePr/>
          <p:nvPr/>
        </p:nvGraphicFramePr>
        <p:xfrm>
          <a:off x="692639" y="1329620"/>
          <a:ext cx="6904501" cy="2680054"/>
        </p:xfrm>
        <a:graphic>
          <a:graphicData uri="http://schemas.openxmlformats.org/drawingml/2006/chart">
            <c:chart xmlns:c="http://schemas.openxmlformats.org/drawingml/2006/chart" xmlns:r="http://schemas.openxmlformats.org/officeDocument/2006/relationships" r:id="rId3"/>
          </a:graphicData>
        </a:graphic>
      </p:graphicFrame>
      <p:grpSp>
        <p:nvGrpSpPr>
          <p:cNvPr id="176" name="Graphic 4">
            <a:extLst>
              <a:ext uri="{FF2B5EF4-FFF2-40B4-BE49-F238E27FC236}">
                <a16:creationId xmlns:a16="http://schemas.microsoft.com/office/drawing/2014/main" id="{46FCDEDA-2F0D-65AB-042A-E2C6A3955F1F}"/>
              </a:ext>
            </a:extLst>
          </p:cNvPr>
          <p:cNvGrpSpPr/>
          <p:nvPr/>
        </p:nvGrpSpPr>
        <p:grpSpPr>
          <a:xfrm>
            <a:off x="1134179" y="1417925"/>
            <a:ext cx="4930637" cy="1602415"/>
            <a:chOff x="1117193" y="854076"/>
            <a:chExt cx="6101885" cy="2374198"/>
          </a:xfrm>
          <a:noFill/>
        </p:grpSpPr>
        <p:sp>
          <p:nvSpPr>
            <p:cNvPr id="177" name="Freeform 7">
              <a:extLst>
                <a:ext uri="{FF2B5EF4-FFF2-40B4-BE49-F238E27FC236}">
                  <a16:creationId xmlns:a16="http://schemas.microsoft.com/office/drawing/2014/main" id="{9812EF85-74E7-2E87-A809-0D9B838142B6}"/>
                </a:ext>
              </a:extLst>
            </p:cNvPr>
            <p:cNvSpPr/>
            <p:nvPr/>
          </p:nvSpPr>
          <p:spPr>
            <a:xfrm>
              <a:off x="1235614" y="93914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8" name="Freeform 8">
              <a:extLst>
                <a:ext uri="{FF2B5EF4-FFF2-40B4-BE49-F238E27FC236}">
                  <a16:creationId xmlns:a16="http://schemas.microsoft.com/office/drawing/2014/main" id="{FFA885CF-5F71-9041-9814-851436640AF5}"/>
                </a:ext>
              </a:extLst>
            </p:cNvPr>
            <p:cNvSpPr/>
            <p:nvPr/>
          </p:nvSpPr>
          <p:spPr>
            <a:xfrm>
              <a:off x="1235614" y="93914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9" name="Freeform 9">
              <a:extLst>
                <a:ext uri="{FF2B5EF4-FFF2-40B4-BE49-F238E27FC236}">
                  <a16:creationId xmlns:a16="http://schemas.microsoft.com/office/drawing/2014/main" id="{866FD1CB-E2AC-62B5-1D12-2A21569E35DB}"/>
                </a:ext>
              </a:extLst>
            </p:cNvPr>
            <p:cNvSpPr/>
            <p:nvPr/>
          </p:nvSpPr>
          <p:spPr>
            <a:xfrm>
              <a:off x="1388416" y="973420"/>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0" name="Freeform 10">
              <a:extLst>
                <a:ext uri="{FF2B5EF4-FFF2-40B4-BE49-F238E27FC236}">
                  <a16:creationId xmlns:a16="http://schemas.microsoft.com/office/drawing/2014/main" id="{23AAFA62-BBE3-45FD-DA47-96E63438A31F}"/>
                </a:ext>
              </a:extLst>
            </p:cNvPr>
            <p:cNvSpPr/>
            <p:nvPr/>
          </p:nvSpPr>
          <p:spPr>
            <a:xfrm>
              <a:off x="1938502" y="1307332"/>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1" name="Freeform 11">
              <a:extLst>
                <a:ext uri="{FF2B5EF4-FFF2-40B4-BE49-F238E27FC236}">
                  <a16:creationId xmlns:a16="http://schemas.microsoft.com/office/drawing/2014/main" id="{7500A282-FCFD-3CC1-C43A-E3A53A3DC99A}"/>
                </a:ext>
              </a:extLst>
            </p:cNvPr>
            <p:cNvSpPr/>
            <p:nvPr/>
          </p:nvSpPr>
          <p:spPr>
            <a:xfrm>
              <a:off x="2084937" y="1341611"/>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2" name="Freeform 12">
              <a:extLst>
                <a:ext uri="{FF2B5EF4-FFF2-40B4-BE49-F238E27FC236}">
                  <a16:creationId xmlns:a16="http://schemas.microsoft.com/office/drawing/2014/main" id="{0A11929A-B9D4-E7C9-3CA6-9E74EF2C9D3B}"/>
                </a:ext>
              </a:extLst>
            </p:cNvPr>
            <p:cNvSpPr/>
            <p:nvPr/>
          </p:nvSpPr>
          <p:spPr>
            <a:xfrm>
              <a:off x="2390541" y="1573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3" name="Freeform 13">
              <a:extLst>
                <a:ext uri="{FF2B5EF4-FFF2-40B4-BE49-F238E27FC236}">
                  <a16:creationId xmlns:a16="http://schemas.microsoft.com/office/drawing/2014/main" id="{EDED695F-434A-0ABF-A6C2-EAE1A13C2A57}"/>
                </a:ext>
              </a:extLst>
            </p:cNvPr>
            <p:cNvSpPr/>
            <p:nvPr/>
          </p:nvSpPr>
          <p:spPr>
            <a:xfrm>
              <a:off x="3239864" y="2008165"/>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4" name="Freeform 14">
              <a:extLst>
                <a:ext uri="{FF2B5EF4-FFF2-40B4-BE49-F238E27FC236}">
                  <a16:creationId xmlns:a16="http://schemas.microsoft.com/office/drawing/2014/main" id="{7B2FD8B9-A6E0-3AC9-4CF3-335D56FE760A}"/>
                </a:ext>
              </a:extLst>
            </p:cNvPr>
            <p:cNvSpPr/>
            <p:nvPr/>
          </p:nvSpPr>
          <p:spPr>
            <a:xfrm>
              <a:off x="3569661" y="2169407"/>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5" name="Freeform 15">
              <a:extLst>
                <a:ext uri="{FF2B5EF4-FFF2-40B4-BE49-F238E27FC236}">
                  <a16:creationId xmlns:a16="http://schemas.microsoft.com/office/drawing/2014/main" id="{B0DEFC46-1A62-730D-9B46-C7368051ED4D}"/>
                </a:ext>
              </a:extLst>
            </p:cNvPr>
            <p:cNvSpPr/>
            <p:nvPr/>
          </p:nvSpPr>
          <p:spPr>
            <a:xfrm>
              <a:off x="3582395" y="2169407"/>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6" name="Freeform 16">
              <a:extLst>
                <a:ext uri="{FF2B5EF4-FFF2-40B4-BE49-F238E27FC236}">
                  <a16:creationId xmlns:a16="http://schemas.microsoft.com/office/drawing/2014/main" id="{76DA9B15-5384-8A98-2073-FA77DBB8783F}"/>
                </a:ext>
              </a:extLst>
            </p:cNvPr>
            <p:cNvSpPr/>
            <p:nvPr/>
          </p:nvSpPr>
          <p:spPr>
            <a:xfrm>
              <a:off x="3588762" y="2189721"/>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7" name="Freeform 17">
              <a:extLst>
                <a:ext uri="{FF2B5EF4-FFF2-40B4-BE49-F238E27FC236}">
                  <a16:creationId xmlns:a16="http://schemas.microsoft.com/office/drawing/2014/main" id="{314B9233-F4EE-3B42-D5CE-4403D3D9DAA0}"/>
                </a:ext>
              </a:extLst>
            </p:cNvPr>
            <p:cNvSpPr/>
            <p:nvPr/>
          </p:nvSpPr>
          <p:spPr>
            <a:xfrm>
              <a:off x="3588762" y="2189721"/>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8" name="Freeform 18">
              <a:extLst>
                <a:ext uri="{FF2B5EF4-FFF2-40B4-BE49-F238E27FC236}">
                  <a16:creationId xmlns:a16="http://schemas.microsoft.com/office/drawing/2014/main" id="{3054FC18-F6B4-743B-6153-801337522E77}"/>
                </a:ext>
              </a:extLst>
            </p:cNvPr>
            <p:cNvSpPr/>
            <p:nvPr/>
          </p:nvSpPr>
          <p:spPr>
            <a:xfrm>
              <a:off x="3796317" y="2225270"/>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9" name="Freeform 19">
              <a:extLst>
                <a:ext uri="{FF2B5EF4-FFF2-40B4-BE49-F238E27FC236}">
                  <a16:creationId xmlns:a16="http://schemas.microsoft.com/office/drawing/2014/main" id="{9426929C-3518-AE9F-9E4B-85C68F0F5629}"/>
                </a:ext>
              </a:extLst>
            </p:cNvPr>
            <p:cNvSpPr/>
            <p:nvPr/>
          </p:nvSpPr>
          <p:spPr>
            <a:xfrm>
              <a:off x="4071361" y="2381434"/>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90" name="Freeform 21">
              <a:extLst>
                <a:ext uri="{FF2B5EF4-FFF2-40B4-BE49-F238E27FC236}">
                  <a16:creationId xmlns:a16="http://schemas.microsoft.com/office/drawing/2014/main" id="{EAEF90AB-0B89-F891-6A5E-C2DBA11B2EA1}"/>
                </a:ext>
              </a:extLst>
            </p:cNvPr>
            <p:cNvSpPr/>
            <p:nvPr/>
          </p:nvSpPr>
          <p:spPr>
            <a:xfrm>
              <a:off x="4529766" y="251220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91" name="Freeform 22">
              <a:extLst>
                <a:ext uri="{FF2B5EF4-FFF2-40B4-BE49-F238E27FC236}">
                  <a16:creationId xmlns:a16="http://schemas.microsoft.com/office/drawing/2014/main" id="{AA92963A-ED39-72C3-B674-BE88861D1E06}"/>
                </a:ext>
              </a:extLst>
            </p:cNvPr>
            <p:cNvSpPr/>
            <p:nvPr/>
          </p:nvSpPr>
          <p:spPr>
            <a:xfrm>
              <a:off x="4534859" y="251220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92" name="Freeform 23">
              <a:extLst>
                <a:ext uri="{FF2B5EF4-FFF2-40B4-BE49-F238E27FC236}">
                  <a16:creationId xmlns:a16="http://schemas.microsoft.com/office/drawing/2014/main" id="{8B63119C-8765-EAAD-49BE-40D0A2D14E91}"/>
                </a:ext>
              </a:extLst>
            </p:cNvPr>
            <p:cNvSpPr/>
            <p:nvPr/>
          </p:nvSpPr>
          <p:spPr>
            <a:xfrm>
              <a:off x="4737322" y="2632820"/>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93" name="Freeform 24">
              <a:extLst>
                <a:ext uri="{FF2B5EF4-FFF2-40B4-BE49-F238E27FC236}">
                  <a16:creationId xmlns:a16="http://schemas.microsoft.com/office/drawing/2014/main" id="{B8F2E7F7-8157-0AE1-859D-E45138C91D1B}"/>
                </a:ext>
              </a:extLst>
            </p:cNvPr>
            <p:cNvSpPr/>
            <p:nvPr/>
          </p:nvSpPr>
          <p:spPr>
            <a:xfrm>
              <a:off x="4779342" y="2673448"/>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94" name="Freeform 25">
              <a:extLst>
                <a:ext uri="{FF2B5EF4-FFF2-40B4-BE49-F238E27FC236}">
                  <a16:creationId xmlns:a16="http://schemas.microsoft.com/office/drawing/2014/main" id="{87D0068E-3685-CB68-22D3-F1024B5DBDF1}"/>
                </a:ext>
              </a:extLst>
            </p:cNvPr>
            <p:cNvSpPr/>
            <p:nvPr/>
          </p:nvSpPr>
          <p:spPr>
            <a:xfrm>
              <a:off x="5017459" y="271407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95" name="Freeform 26">
              <a:extLst>
                <a:ext uri="{FF2B5EF4-FFF2-40B4-BE49-F238E27FC236}">
                  <a16:creationId xmlns:a16="http://schemas.microsoft.com/office/drawing/2014/main" id="{ACF34396-529C-5B17-2A29-873A89558354}"/>
                </a:ext>
              </a:extLst>
            </p:cNvPr>
            <p:cNvSpPr/>
            <p:nvPr/>
          </p:nvSpPr>
          <p:spPr>
            <a:xfrm>
              <a:off x="5091313" y="271407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96" name="Freeform 27">
              <a:extLst>
                <a:ext uri="{FF2B5EF4-FFF2-40B4-BE49-F238E27FC236}">
                  <a16:creationId xmlns:a16="http://schemas.microsoft.com/office/drawing/2014/main" id="{865FDDA3-10CE-8C02-0360-F13727731407}"/>
                </a:ext>
              </a:extLst>
            </p:cNvPr>
            <p:cNvSpPr/>
            <p:nvPr/>
          </p:nvSpPr>
          <p:spPr>
            <a:xfrm>
              <a:off x="5097679" y="271407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97" name="Freeform 28">
              <a:extLst>
                <a:ext uri="{FF2B5EF4-FFF2-40B4-BE49-F238E27FC236}">
                  <a16:creationId xmlns:a16="http://schemas.microsoft.com/office/drawing/2014/main" id="{27915BB4-A7EE-EF11-A02F-EDB0998FCD91}"/>
                </a:ext>
              </a:extLst>
            </p:cNvPr>
            <p:cNvSpPr/>
            <p:nvPr/>
          </p:nvSpPr>
          <p:spPr>
            <a:xfrm>
              <a:off x="5104046" y="271407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98" name="Freeform 30">
              <a:extLst>
                <a:ext uri="{FF2B5EF4-FFF2-40B4-BE49-F238E27FC236}">
                  <a16:creationId xmlns:a16="http://schemas.microsoft.com/office/drawing/2014/main" id="{BDD04F4F-430B-729C-B4D4-4A7FB3B22F91}"/>
                </a:ext>
              </a:extLst>
            </p:cNvPr>
            <p:cNvSpPr/>
            <p:nvPr/>
          </p:nvSpPr>
          <p:spPr>
            <a:xfrm>
              <a:off x="5104046" y="271407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99" name="Freeform 53">
              <a:extLst>
                <a:ext uri="{FF2B5EF4-FFF2-40B4-BE49-F238E27FC236}">
                  <a16:creationId xmlns:a16="http://schemas.microsoft.com/office/drawing/2014/main" id="{342A0794-74B0-D816-64C9-BC186B5E284A}"/>
                </a:ext>
              </a:extLst>
            </p:cNvPr>
            <p:cNvSpPr/>
            <p:nvPr/>
          </p:nvSpPr>
          <p:spPr>
            <a:xfrm>
              <a:off x="5109140" y="271407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0" name="Freeform 59">
              <a:extLst>
                <a:ext uri="{FF2B5EF4-FFF2-40B4-BE49-F238E27FC236}">
                  <a16:creationId xmlns:a16="http://schemas.microsoft.com/office/drawing/2014/main" id="{169C9A56-2EA3-AE2B-3AD1-3DD19D938C92}"/>
                </a:ext>
              </a:extLst>
            </p:cNvPr>
            <p:cNvSpPr/>
            <p:nvPr/>
          </p:nvSpPr>
          <p:spPr>
            <a:xfrm>
              <a:off x="5115506" y="271407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1" name="Freeform 60">
              <a:extLst>
                <a:ext uri="{FF2B5EF4-FFF2-40B4-BE49-F238E27FC236}">
                  <a16:creationId xmlns:a16="http://schemas.microsoft.com/office/drawing/2014/main" id="{91DDCE18-726D-52B8-A28D-1755E30BEC54}"/>
                </a:ext>
              </a:extLst>
            </p:cNvPr>
            <p:cNvSpPr/>
            <p:nvPr/>
          </p:nvSpPr>
          <p:spPr>
            <a:xfrm>
              <a:off x="5121873" y="271407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2" name="Freeform 62">
              <a:extLst>
                <a:ext uri="{FF2B5EF4-FFF2-40B4-BE49-F238E27FC236}">
                  <a16:creationId xmlns:a16="http://schemas.microsoft.com/office/drawing/2014/main" id="{11360631-1075-E0C7-ED8A-6FC4768255C2}"/>
                </a:ext>
              </a:extLst>
            </p:cNvPr>
            <p:cNvSpPr/>
            <p:nvPr/>
          </p:nvSpPr>
          <p:spPr>
            <a:xfrm>
              <a:off x="5128240" y="271407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3" name="Freeform 63">
              <a:extLst>
                <a:ext uri="{FF2B5EF4-FFF2-40B4-BE49-F238E27FC236}">
                  <a16:creationId xmlns:a16="http://schemas.microsoft.com/office/drawing/2014/main" id="{4EA567D7-4C8B-D294-FB48-5D0A0D0A678B}"/>
                </a:ext>
              </a:extLst>
            </p:cNvPr>
            <p:cNvSpPr/>
            <p:nvPr/>
          </p:nvSpPr>
          <p:spPr>
            <a:xfrm>
              <a:off x="5128240" y="271407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4" name="Freeform 64">
              <a:extLst>
                <a:ext uri="{FF2B5EF4-FFF2-40B4-BE49-F238E27FC236}">
                  <a16:creationId xmlns:a16="http://schemas.microsoft.com/office/drawing/2014/main" id="{888E07DC-67A0-B8D3-ED15-85B11DC8689C}"/>
                </a:ext>
              </a:extLst>
            </p:cNvPr>
            <p:cNvSpPr/>
            <p:nvPr/>
          </p:nvSpPr>
          <p:spPr>
            <a:xfrm>
              <a:off x="5445304" y="2809298"/>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5" name="Freeform 65">
              <a:extLst>
                <a:ext uri="{FF2B5EF4-FFF2-40B4-BE49-F238E27FC236}">
                  <a16:creationId xmlns:a16="http://schemas.microsoft.com/office/drawing/2014/main" id="{4857AA87-2A4C-A55A-8EAE-EBB501EF93DC}"/>
                </a:ext>
              </a:extLst>
            </p:cNvPr>
            <p:cNvSpPr/>
            <p:nvPr/>
          </p:nvSpPr>
          <p:spPr>
            <a:xfrm>
              <a:off x="5464404" y="283469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6" name="Freeform 66">
              <a:extLst>
                <a:ext uri="{FF2B5EF4-FFF2-40B4-BE49-F238E27FC236}">
                  <a16:creationId xmlns:a16="http://schemas.microsoft.com/office/drawing/2014/main" id="{C6F777B7-2B12-C2C9-041E-5BDAE5632982}"/>
                </a:ext>
              </a:extLst>
            </p:cNvPr>
            <p:cNvSpPr/>
            <p:nvPr/>
          </p:nvSpPr>
          <p:spPr>
            <a:xfrm>
              <a:off x="5475864" y="283469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7" name="Freeform 67">
              <a:extLst>
                <a:ext uri="{FF2B5EF4-FFF2-40B4-BE49-F238E27FC236}">
                  <a16:creationId xmlns:a16="http://schemas.microsoft.com/office/drawing/2014/main" id="{AC5B4382-2F4E-6E26-2B96-89AA46DB308A}"/>
                </a:ext>
              </a:extLst>
            </p:cNvPr>
            <p:cNvSpPr/>
            <p:nvPr/>
          </p:nvSpPr>
          <p:spPr>
            <a:xfrm>
              <a:off x="5488597" y="283469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8" name="Freeform 68">
              <a:extLst>
                <a:ext uri="{FF2B5EF4-FFF2-40B4-BE49-F238E27FC236}">
                  <a16:creationId xmlns:a16="http://schemas.microsoft.com/office/drawing/2014/main" id="{5000E835-C495-1CDF-B19D-EDE8EEEB287A}"/>
                </a:ext>
              </a:extLst>
            </p:cNvPr>
            <p:cNvSpPr/>
            <p:nvPr/>
          </p:nvSpPr>
          <p:spPr>
            <a:xfrm>
              <a:off x="5500058" y="283469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9" name="Freeform 69">
              <a:extLst>
                <a:ext uri="{FF2B5EF4-FFF2-40B4-BE49-F238E27FC236}">
                  <a16:creationId xmlns:a16="http://schemas.microsoft.com/office/drawing/2014/main" id="{DCC08102-778E-75C0-C2CD-C28278001990}"/>
                </a:ext>
              </a:extLst>
            </p:cNvPr>
            <p:cNvSpPr/>
            <p:nvPr/>
          </p:nvSpPr>
          <p:spPr>
            <a:xfrm>
              <a:off x="5800568"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10" name="Freeform 70">
              <a:extLst>
                <a:ext uri="{FF2B5EF4-FFF2-40B4-BE49-F238E27FC236}">
                  <a16:creationId xmlns:a16="http://schemas.microsoft.com/office/drawing/2014/main" id="{1ADB082D-3A4D-2CF9-4D93-A0B8083033DA}"/>
                </a:ext>
              </a:extLst>
            </p:cNvPr>
            <p:cNvSpPr/>
            <p:nvPr/>
          </p:nvSpPr>
          <p:spPr>
            <a:xfrm>
              <a:off x="5800568"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11" name="Freeform 71">
              <a:extLst>
                <a:ext uri="{FF2B5EF4-FFF2-40B4-BE49-F238E27FC236}">
                  <a16:creationId xmlns:a16="http://schemas.microsoft.com/office/drawing/2014/main" id="{82CE8F58-2A90-E5F9-28DF-01F61C69135A}"/>
                </a:ext>
              </a:extLst>
            </p:cNvPr>
            <p:cNvSpPr/>
            <p:nvPr/>
          </p:nvSpPr>
          <p:spPr>
            <a:xfrm>
              <a:off x="5800568"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12" name="Freeform 72">
              <a:extLst>
                <a:ext uri="{FF2B5EF4-FFF2-40B4-BE49-F238E27FC236}">
                  <a16:creationId xmlns:a16="http://schemas.microsoft.com/office/drawing/2014/main" id="{0EEB4B42-B551-9F57-06B1-9967826862DF}"/>
                </a:ext>
              </a:extLst>
            </p:cNvPr>
            <p:cNvSpPr/>
            <p:nvPr/>
          </p:nvSpPr>
          <p:spPr>
            <a:xfrm>
              <a:off x="5800568"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13" name="Freeform 73">
              <a:extLst>
                <a:ext uri="{FF2B5EF4-FFF2-40B4-BE49-F238E27FC236}">
                  <a16:creationId xmlns:a16="http://schemas.microsoft.com/office/drawing/2014/main" id="{A634A846-CE67-BFA2-6E60-03A77D3A32A6}"/>
                </a:ext>
              </a:extLst>
            </p:cNvPr>
            <p:cNvSpPr/>
            <p:nvPr/>
          </p:nvSpPr>
          <p:spPr>
            <a:xfrm>
              <a:off x="5805661"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14" name="Freeform 74">
              <a:extLst>
                <a:ext uri="{FF2B5EF4-FFF2-40B4-BE49-F238E27FC236}">
                  <a16:creationId xmlns:a16="http://schemas.microsoft.com/office/drawing/2014/main" id="{640E650B-9623-42C7-41CC-0C879182B31F}"/>
                </a:ext>
              </a:extLst>
            </p:cNvPr>
            <p:cNvSpPr/>
            <p:nvPr/>
          </p:nvSpPr>
          <p:spPr>
            <a:xfrm>
              <a:off x="5818395"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15" name="Freeform 75">
              <a:extLst>
                <a:ext uri="{FF2B5EF4-FFF2-40B4-BE49-F238E27FC236}">
                  <a16:creationId xmlns:a16="http://schemas.microsoft.com/office/drawing/2014/main" id="{EB9FFC5C-8BB7-4412-49BD-212B967BBCB1}"/>
                </a:ext>
              </a:extLst>
            </p:cNvPr>
            <p:cNvSpPr/>
            <p:nvPr/>
          </p:nvSpPr>
          <p:spPr>
            <a:xfrm>
              <a:off x="5818395"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16" name="Freeform 76">
              <a:extLst>
                <a:ext uri="{FF2B5EF4-FFF2-40B4-BE49-F238E27FC236}">
                  <a16:creationId xmlns:a16="http://schemas.microsoft.com/office/drawing/2014/main" id="{71C6A8E3-4444-D3DB-1E25-18EB2C598509}"/>
                </a:ext>
              </a:extLst>
            </p:cNvPr>
            <p:cNvSpPr/>
            <p:nvPr/>
          </p:nvSpPr>
          <p:spPr>
            <a:xfrm>
              <a:off x="5818395"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17" name="Freeform 77">
              <a:extLst>
                <a:ext uri="{FF2B5EF4-FFF2-40B4-BE49-F238E27FC236}">
                  <a16:creationId xmlns:a16="http://schemas.microsoft.com/office/drawing/2014/main" id="{69A0B01F-46EC-5767-B452-4C4929414D57}"/>
                </a:ext>
              </a:extLst>
            </p:cNvPr>
            <p:cNvSpPr/>
            <p:nvPr/>
          </p:nvSpPr>
          <p:spPr>
            <a:xfrm>
              <a:off x="5824761"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18" name="Freeform 78">
              <a:extLst>
                <a:ext uri="{FF2B5EF4-FFF2-40B4-BE49-F238E27FC236}">
                  <a16:creationId xmlns:a16="http://schemas.microsoft.com/office/drawing/2014/main" id="{B29E1C43-ACE8-469C-6AAF-AB2659BA255A}"/>
                </a:ext>
              </a:extLst>
            </p:cNvPr>
            <p:cNvSpPr/>
            <p:nvPr/>
          </p:nvSpPr>
          <p:spPr>
            <a:xfrm>
              <a:off x="5831128"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19" name="Freeform 79">
              <a:extLst>
                <a:ext uri="{FF2B5EF4-FFF2-40B4-BE49-F238E27FC236}">
                  <a16:creationId xmlns:a16="http://schemas.microsoft.com/office/drawing/2014/main" id="{8113348E-1BBC-2390-2750-F94E5DF1F70F}"/>
                </a:ext>
              </a:extLst>
            </p:cNvPr>
            <p:cNvSpPr/>
            <p:nvPr/>
          </p:nvSpPr>
          <p:spPr>
            <a:xfrm>
              <a:off x="6160925" y="3021325"/>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20" name="Freeform 80">
              <a:extLst>
                <a:ext uri="{FF2B5EF4-FFF2-40B4-BE49-F238E27FC236}">
                  <a16:creationId xmlns:a16="http://schemas.microsoft.com/office/drawing/2014/main" id="{75D41C54-3BC1-6622-15B9-DE64E609A101}"/>
                </a:ext>
              </a:extLst>
            </p:cNvPr>
            <p:cNvSpPr/>
            <p:nvPr/>
          </p:nvSpPr>
          <p:spPr>
            <a:xfrm>
              <a:off x="6166019" y="3021325"/>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21" name="Freeform 81">
              <a:extLst>
                <a:ext uri="{FF2B5EF4-FFF2-40B4-BE49-F238E27FC236}">
                  <a16:creationId xmlns:a16="http://schemas.microsoft.com/office/drawing/2014/main" id="{8764A5C4-81A7-7656-D7B8-B310B8E044E3}"/>
                </a:ext>
              </a:extLst>
            </p:cNvPr>
            <p:cNvSpPr/>
            <p:nvPr/>
          </p:nvSpPr>
          <p:spPr>
            <a:xfrm>
              <a:off x="6166019"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22" name="Freeform 82">
              <a:extLst>
                <a:ext uri="{FF2B5EF4-FFF2-40B4-BE49-F238E27FC236}">
                  <a16:creationId xmlns:a16="http://schemas.microsoft.com/office/drawing/2014/main" id="{09265E61-9B40-596D-D7B0-C621BF7B3414}"/>
                </a:ext>
              </a:extLst>
            </p:cNvPr>
            <p:cNvSpPr/>
            <p:nvPr/>
          </p:nvSpPr>
          <p:spPr>
            <a:xfrm>
              <a:off x="6172385"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23" name="Freeform 83">
              <a:extLst>
                <a:ext uri="{FF2B5EF4-FFF2-40B4-BE49-F238E27FC236}">
                  <a16:creationId xmlns:a16="http://schemas.microsoft.com/office/drawing/2014/main" id="{7B59D7A4-94B6-E4C6-29C0-FF1171894EFC}"/>
                </a:ext>
              </a:extLst>
            </p:cNvPr>
            <p:cNvSpPr/>
            <p:nvPr/>
          </p:nvSpPr>
          <p:spPr>
            <a:xfrm>
              <a:off x="6178752"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24" name="Freeform 84">
              <a:extLst>
                <a:ext uri="{FF2B5EF4-FFF2-40B4-BE49-F238E27FC236}">
                  <a16:creationId xmlns:a16="http://schemas.microsoft.com/office/drawing/2014/main" id="{9126802E-3F31-CD3F-1054-C9963895BA5D}"/>
                </a:ext>
              </a:extLst>
            </p:cNvPr>
            <p:cNvSpPr/>
            <p:nvPr/>
          </p:nvSpPr>
          <p:spPr>
            <a:xfrm>
              <a:off x="6178752"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25" name="Freeform 85">
              <a:extLst>
                <a:ext uri="{FF2B5EF4-FFF2-40B4-BE49-F238E27FC236}">
                  <a16:creationId xmlns:a16="http://schemas.microsoft.com/office/drawing/2014/main" id="{26B01758-F0B4-3C4C-7E97-210DFA82DE57}"/>
                </a:ext>
              </a:extLst>
            </p:cNvPr>
            <p:cNvSpPr/>
            <p:nvPr/>
          </p:nvSpPr>
          <p:spPr>
            <a:xfrm>
              <a:off x="6178752"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26" name="Freeform 86">
              <a:extLst>
                <a:ext uri="{FF2B5EF4-FFF2-40B4-BE49-F238E27FC236}">
                  <a16:creationId xmlns:a16="http://schemas.microsoft.com/office/drawing/2014/main" id="{37210489-2C45-4A49-BD65-3F46267DDF8D}"/>
                </a:ext>
              </a:extLst>
            </p:cNvPr>
            <p:cNvSpPr/>
            <p:nvPr/>
          </p:nvSpPr>
          <p:spPr>
            <a:xfrm>
              <a:off x="6178752"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27" name="Freeform 87">
              <a:extLst>
                <a:ext uri="{FF2B5EF4-FFF2-40B4-BE49-F238E27FC236}">
                  <a16:creationId xmlns:a16="http://schemas.microsoft.com/office/drawing/2014/main" id="{C32D1C25-1BA5-9D48-87F9-DCE3A2553166}"/>
                </a:ext>
              </a:extLst>
            </p:cNvPr>
            <p:cNvSpPr/>
            <p:nvPr/>
          </p:nvSpPr>
          <p:spPr>
            <a:xfrm>
              <a:off x="6178752"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28" name="Freeform 88">
              <a:extLst>
                <a:ext uri="{FF2B5EF4-FFF2-40B4-BE49-F238E27FC236}">
                  <a16:creationId xmlns:a16="http://schemas.microsoft.com/office/drawing/2014/main" id="{F43DE0B6-56FE-6CA9-3A0F-75A87E43C376}"/>
                </a:ext>
              </a:extLst>
            </p:cNvPr>
            <p:cNvSpPr/>
            <p:nvPr/>
          </p:nvSpPr>
          <p:spPr>
            <a:xfrm>
              <a:off x="6191486"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29" name="Freeform 89">
              <a:extLst>
                <a:ext uri="{FF2B5EF4-FFF2-40B4-BE49-F238E27FC236}">
                  <a16:creationId xmlns:a16="http://schemas.microsoft.com/office/drawing/2014/main" id="{17B0DA73-56CF-3170-90C5-5330BBF7745F}"/>
                </a:ext>
              </a:extLst>
            </p:cNvPr>
            <p:cNvSpPr/>
            <p:nvPr/>
          </p:nvSpPr>
          <p:spPr>
            <a:xfrm>
              <a:off x="6288260"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30" name="Freeform 90">
              <a:extLst>
                <a:ext uri="{FF2B5EF4-FFF2-40B4-BE49-F238E27FC236}">
                  <a16:creationId xmlns:a16="http://schemas.microsoft.com/office/drawing/2014/main" id="{4D72754B-D8E1-E325-4A9D-BC762D5BB19A}"/>
                </a:ext>
              </a:extLst>
            </p:cNvPr>
            <p:cNvSpPr/>
            <p:nvPr/>
          </p:nvSpPr>
          <p:spPr>
            <a:xfrm>
              <a:off x="6502183"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31" name="Freeform 91">
              <a:extLst>
                <a:ext uri="{FF2B5EF4-FFF2-40B4-BE49-F238E27FC236}">
                  <a16:creationId xmlns:a16="http://schemas.microsoft.com/office/drawing/2014/main" id="{E0F924D2-4248-E06E-8209-4424FB833F56}"/>
                </a:ext>
              </a:extLst>
            </p:cNvPr>
            <p:cNvSpPr/>
            <p:nvPr/>
          </p:nvSpPr>
          <p:spPr>
            <a:xfrm>
              <a:off x="6502183"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32" name="Freeform 92">
              <a:extLst>
                <a:ext uri="{FF2B5EF4-FFF2-40B4-BE49-F238E27FC236}">
                  <a16:creationId xmlns:a16="http://schemas.microsoft.com/office/drawing/2014/main" id="{55A7DE1F-91A5-EF8E-97D1-54E25CBD8F94}"/>
                </a:ext>
              </a:extLst>
            </p:cNvPr>
            <p:cNvSpPr/>
            <p:nvPr/>
          </p:nvSpPr>
          <p:spPr>
            <a:xfrm>
              <a:off x="6521283"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33" name="Freeform 93">
              <a:extLst>
                <a:ext uri="{FF2B5EF4-FFF2-40B4-BE49-F238E27FC236}">
                  <a16:creationId xmlns:a16="http://schemas.microsoft.com/office/drawing/2014/main" id="{1B296504-A630-E6D0-B79A-1A49C8838357}"/>
                </a:ext>
              </a:extLst>
            </p:cNvPr>
            <p:cNvSpPr/>
            <p:nvPr/>
          </p:nvSpPr>
          <p:spPr>
            <a:xfrm>
              <a:off x="6526376"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34" name="Freeform 94">
              <a:extLst>
                <a:ext uri="{FF2B5EF4-FFF2-40B4-BE49-F238E27FC236}">
                  <a16:creationId xmlns:a16="http://schemas.microsoft.com/office/drawing/2014/main" id="{92710DF1-D33E-7A8F-0D87-7182C9D787CC}"/>
                </a:ext>
              </a:extLst>
            </p:cNvPr>
            <p:cNvSpPr/>
            <p:nvPr/>
          </p:nvSpPr>
          <p:spPr>
            <a:xfrm>
              <a:off x="6526376"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35" name="Freeform 95">
              <a:extLst>
                <a:ext uri="{FF2B5EF4-FFF2-40B4-BE49-F238E27FC236}">
                  <a16:creationId xmlns:a16="http://schemas.microsoft.com/office/drawing/2014/main" id="{DCCB24FF-445A-3932-7227-308BD01ED278}"/>
                </a:ext>
              </a:extLst>
            </p:cNvPr>
            <p:cNvSpPr/>
            <p:nvPr/>
          </p:nvSpPr>
          <p:spPr>
            <a:xfrm>
              <a:off x="6526376"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36" name="Freeform 96">
              <a:extLst>
                <a:ext uri="{FF2B5EF4-FFF2-40B4-BE49-F238E27FC236}">
                  <a16:creationId xmlns:a16="http://schemas.microsoft.com/office/drawing/2014/main" id="{C593D956-67AA-8E1A-4E81-F6800798EB33}"/>
                </a:ext>
              </a:extLst>
            </p:cNvPr>
            <p:cNvSpPr/>
            <p:nvPr/>
          </p:nvSpPr>
          <p:spPr>
            <a:xfrm>
              <a:off x="6545477" y="3061953"/>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37" name="Freeform 97">
              <a:extLst>
                <a:ext uri="{FF2B5EF4-FFF2-40B4-BE49-F238E27FC236}">
                  <a16:creationId xmlns:a16="http://schemas.microsoft.com/office/drawing/2014/main" id="{1BC486BE-B04A-005B-8543-6882B683DE7B}"/>
                </a:ext>
              </a:extLst>
            </p:cNvPr>
            <p:cNvSpPr/>
            <p:nvPr/>
          </p:nvSpPr>
          <p:spPr>
            <a:xfrm>
              <a:off x="6556937" y="3061953"/>
              <a:ext cx="1273" cy="45706"/>
            </a:xfrm>
            <a:custGeom>
              <a:avLst/>
              <a:gdLst>
                <a:gd name="connsiteX0" fmla="*/ 0 w 1273"/>
                <a:gd name="connsiteY0" fmla="*/ 45706 h 45706"/>
                <a:gd name="connsiteX1" fmla="*/ 1273 w 1273"/>
                <a:gd name="connsiteY1" fmla="*/ 0 h 45706"/>
              </a:gdLst>
              <a:ahLst/>
              <a:cxnLst>
                <a:cxn ang="0">
                  <a:pos x="connsiteX0" y="connsiteY0"/>
                </a:cxn>
                <a:cxn ang="0">
                  <a:pos x="connsiteX1" y="connsiteY1"/>
                </a:cxn>
              </a:cxnLst>
              <a:rect l="l" t="t" r="r" b="b"/>
              <a:pathLst>
                <a:path w="1273" h="45706">
                  <a:moveTo>
                    <a:pt x="0" y="45706"/>
                  </a:moveTo>
                  <a:lnTo>
                    <a:pt x="1273"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38" name="Freeform 98">
              <a:extLst>
                <a:ext uri="{FF2B5EF4-FFF2-40B4-BE49-F238E27FC236}">
                  <a16:creationId xmlns:a16="http://schemas.microsoft.com/office/drawing/2014/main" id="{9003DD9E-9D29-78E3-E7C2-DB61D020F0DC}"/>
                </a:ext>
              </a:extLst>
            </p:cNvPr>
            <p:cNvSpPr/>
            <p:nvPr/>
          </p:nvSpPr>
          <p:spPr>
            <a:xfrm>
              <a:off x="6857447" y="3183837"/>
              <a:ext cx="12733" cy="44436"/>
            </a:xfrm>
            <a:custGeom>
              <a:avLst/>
              <a:gdLst>
                <a:gd name="connsiteX0" fmla="*/ 0 w 12733"/>
                <a:gd name="connsiteY0" fmla="*/ 44437 h 44436"/>
                <a:gd name="connsiteX1" fmla="*/ 0 w 12733"/>
                <a:gd name="connsiteY1" fmla="*/ 0 h 44436"/>
              </a:gdLst>
              <a:ahLst/>
              <a:cxnLst>
                <a:cxn ang="0">
                  <a:pos x="connsiteX0" y="connsiteY0"/>
                </a:cxn>
                <a:cxn ang="0">
                  <a:pos x="connsiteX1" y="connsiteY1"/>
                </a:cxn>
              </a:cxnLst>
              <a:rect l="l" t="t" r="r" b="b"/>
              <a:pathLst>
                <a:path w="12733" h="44436">
                  <a:moveTo>
                    <a:pt x="0" y="44437"/>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39" name="Freeform 99">
              <a:extLst>
                <a:ext uri="{FF2B5EF4-FFF2-40B4-BE49-F238E27FC236}">
                  <a16:creationId xmlns:a16="http://schemas.microsoft.com/office/drawing/2014/main" id="{8976DC72-B048-56A6-EFF4-9E3116D4414F}"/>
                </a:ext>
              </a:extLst>
            </p:cNvPr>
            <p:cNvSpPr/>
            <p:nvPr/>
          </p:nvSpPr>
          <p:spPr>
            <a:xfrm>
              <a:off x="6862540" y="3182568"/>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0" name="Freeform 100">
              <a:extLst>
                <a:ext uri="{FF2B5EF4-FFF2-40B4-BE49-F238E27FC236}">
                  <a16:creationId xmlns:a16="http://schemas.microsoft.com/office/drawing/2014/main" id="{36959F0C-26F5-DDF1-F154-FED768EFD7A5}"/>
                </a:ext>
              </a:extLst>
            </p:cNvPr>
            <p:cNvSpPr/>
            <p:nvPr/>
          </p:nvSpPr>
          <p:spPr>
            <a:xfrm>
              <a:off x="6862540" y="3182568"/>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1" name="Freeform 101">
              <a:extLst>
                <a:ext uri="{FF2B5EF4-FFF2-40B4-BE49-F238E27FC236}">
                  <a16:creationId xmlns:a16="http://schemas.microsoft.com/office/drawing/2014/main" id="{DF5CF0EB-5FA2-B7D5-E0A3-348D0206CD76}"/>
                </a:ext>
              </a:extLst>
            </p:cNvPr>
            <p:cNvSpPr/>
            <p:nvPr/>
          </p:nvSpPr>
          <p:spPr>
            <a:xfrm>
              <a:off x="6862540" y="3182568"/>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2" name="Freeform 102">
              <a:extLst>
                <a:ext uri="{FF2B5EF4-FFF2-40B4-BE49-F238E27FC236}">
                  <a16:creationId xmlns:a16="http://schemas.microsoft.com/office/drawing/2014/main" id="{F64FA3FD-C8BC-E7F8-EEBF-78F6E992EBE0}"/>
                </a:ext>
              </a:extLst>
            </p:cNvPr>
            <p:cNvSpPr/>
            <p:nvPr/>
          </p:nvSpPr>
          <p:spPr>
            <a:xfrm>
              <a:off x="6881640" y="3182568"/>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3" name="Freeform 103">
              <a:extLst>
                <a:ext uri="{FF2B5EF4-FFF2-40B4-BE49-F238E27FC236}">
                  <a16:creationId xmlns:a16="http://schemas.microsoft.com/office/drawing/2014/main" id="{ECAFC911-5689-C057-A402-C6B7A2F22630}"/>
                </a:ext>
              </a:extLst>
            </p:cNvPr>
            <p:cNvSpPr/>
            <p:nvPr/>
          </p:nvSpPr>
          <p:spPr>
            <a:xfrm>
              <a:off x="7211438" y="3182568"/>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4" name="Freeform 104">
              <a:extLst>
                <a:ext uri="{FF2B5EF4-FFF2-40B4-BE49-F238E27FC236}">
                  <a16:creationId xmlns:a16="http://schemas.microsoft.com/office/drawing/2014/main" id="{C6FE3DF8-3664-2EA9-343A-1C13B6876FA8}"/>
                </a:ext>
              </a:extLst>
            </p:cNvPr>
            <p:cNvSpPr/>
            <p:nvPr/>
          </p:nvSpPr>
          <p:spPr>
            <a:xfrm>
              <a:off x="7217804" y="3182568"/>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5" name="Freeform 105">
              <a:extLst>
                <a:ext uri="{FF2B5EF4-FFF2-40B4-BE49-F238E27FC236}">
                  <a16:creationId xmlns:a16="http://schemas.microsoft.com/office/drawing/2014/main" id="{C85FE061-D728-03D7-22C0-02024AE4DE49}"/>
                </a:ext>
              </a:extLst>
            </p:cNvPr>
            <p:cNvSpPr/>
            <p:nvPr/>
          </p:nvSpPr>
          <p:spPr>
            <a:xfrm>
              <a:off x="1229247" y="981038"/>
              <a:ext cx="5989830" cy="2243427"/>
            </a:xfrm>
            <a:custGeom>
              <a:avLst/>
              <a:gdLst>
                <a:gd name="connsiteX0" fmla="*/ 0 w 5989830"/>
                <a:gd name="connsiteY0" fmla="*/ 0 h 2243427"/>
                <a:gd name="connsiteX1" fmla="*/ 3820 w 5989830"/>
                <a:gd name="connsiteY1" fmla="*/ 0 h 2243427"/>
                <a:gd name="connsiteX2" fmla="*/ 84041 w 5989830"/>
                <a:gd name="connsiteY2" fmla="*/ 0 h 2243427"/>
                <a:gd name="connsiteX3" fmla="*/ 84041 w 5989830"/>
                <a:gd name="connsiteY3" fmla="*/ 16505 h 2243427"/>
                <a:gd name="connsiteX4" fmla="*/ 129882 w 5989830"/>
                <a:gd name="connsiteY4" fmla="*/ 16505 h 2243427"/>
                <a:gd name="connsiteX5" fmla="*/ 129882 w 5989830"/>
                <a:gd name="connsiteY5" fmla="*/ 34280 h 2243427"/>
                <a:gd name="connsiteX6" fmla="*/ 159169 w 5989830"/>
                <a:gd name="connsiteY6" fmla="*/ 34280 h 2243427"/>
                <a:gd name="connsiteX7" fmla="*/ 168082 w 5989830"/>
                <a:gd name="connsiteY7" fmla="*/ 34280 h 2243427"/>
                <a:gd name="connsiteX8" fmla="*/ 168082 w 5989830"/>
                <a:gd name="connsiteY8" fmla="*/ 52055 h 2243427"/>
                <a:gd name="connsiteX9" fmla="*/ 176995 w 5989830"/>
                <a:gd name="connsiteY9" fmla="*/ 52055 h 2243427"/>
                <a:gd name="connsiteX10" fmla="*/ 176995 w 5989830"/>
                <a:gd name="connsiteY10" fmla="*/ 69829 h 2243427"/>
                <a:gd name="connsiteX11" fmla="*/ 193549 w 5989830"/>
                <a:gd name="connsiteY11" fmla="*/ 69829 h 2243427"/>
                <a:gd name="connsiteX12" fmla="*/ 193549 w 5989830"/>
                <a:gd name="connsiteY12" fmla="*/ 87604 h 2243427"/>
                <a:gd name="connsiteX13" fmla="*/ 197369 w 5989830"/>
                <a:gd name="connsiteY13" fmla="*/ 87604 h 2243427"/>
                <a:gd name="connsiteX14" fmla="*/ 197369 w 5989830"/>
                <a:gd name="connsiteY14" fmla="*/ 105379 h 2243427"/>
                <a:gd name="connsiteX15" fmla="*/ 235569 w 5989830"/>
                <a:gd name="connsiteY15" fmla="*/ 105379 h 2243427"/>
                <a:gd name="connsiteX16" fmla="*/ 235569 w 5989830"/>
                <a:gd name="connsiteY16" fmla="*/ 123154 h 2243427"/>
                <a:gd name="connsiteX17" fmla="*/ 285230 w 5989830"/>
                <a:gd name="connsiteY17" fmla="*/ 123154 h 2243427"/>
                <a:gd name="connsiteX18" fmla="*/ 285230 w 5989830"/>
                <a:gd name="connsiteY18" fmla="*/ 140928 h 2243427"/>
                <a:gd name="connsiteX19" fmla="*/ 294143 w 5989830"/>
                <a:gd name="connsiteY19" fmla="*/ 140928 h 2243427"/>
                <a:gd name="connsiteX20" fmla="*/ 294143 w 5989830"/>
                <a:gd name="connsiteY20" fmla="*/ 175208 h 2243427"/>
                <a:gd name="connsiteX21" fmla="*/ 407471 w 5989830"/>
                <a:gd name="connsiteY21" fmla="*/ 175208 h 2243427"/>
                <a:gd name="connsiteX22" fmla="*/ 407471 w 5989830"/>
                <a:gd name="connsiteY22" fmla="*/ 192983 h 2243427"/>
                <a:gd name="connsiteX23" fmla="*/ 420205 w 5989830"/>
                <a:gd name="connsiteY23" fmla="*/ 192983 h 2243427"/>
                <a:gd name="connsiteX24" fmla="*/ 420205 w 5989830"/>
                <a:gd name="connsiteY24" fmla="*/ 228532 h 2243427"/>
                <a:gd name="connsiteX25" fmla="*/ 440579 w 5989830"/>
                <a:gd name="connsiteY25" fmla="*/ 228532 h 2243427"/>
                <a:gd name="connsiteX26" fmla="*/ 440579 w 5989830"/>
                <a:gd name="connsiteY26" fmla="*/ 246307 h 2243427"/>
                <a:gd name="connsiteX27" fmla="*/ 449492 w 5989830"/>
                <a:gd name="connsiteY27" fmla="*/ 246307 h 2243427"/>
                <a:gd name="connsiteX28" fmla="*/ 449492 w 5989830"/>
                <a:gd name="connsiteY28" fmla="*/ 264082 h 2243427"/>
                <a:gd name="connsiteX29" fmla="*/ 453312 w 5989830"/>
                <a:gd name="connsiteY29" fmla="*/ 264082 h 2243427"/>
                <a:gd name="connsiteX30" fmla="*/ 453312 w 5989830"/>
                <a:gd name="connsiteY30" fmla="*/ 281857 h 2243427"/>
                <a:gd name="connsiteX31" fmla="*/ 487692 w 5989830"/>
                <a:gd name="connsiteY31" fmla="*/ 281857 h 2243427"/>
                <a:gd name="connsiteX32" fmla="*/ 487692 w 5989830"/>
                <a:gd name="connsiteY32" fmla="*/ 298362 h 2243427"/>
                <a:gd name="connsiteX33" fmla="*/ 513159 w 5989830"/>
                <a:gd name="connsiteY33" fmla="*/ 298362 h 2243427"/>
                <a:gd name="connsiteX34" fmla="*/ 513159 w 5989830"/>
                <a:gd name="connsiteY34" fmla="*/ 316137 h 2243427"/>
                <a:gd name="connsiteX35" fmla="*/ 516979 w 5989830"/>
                <a:gd name="connsiteY35" fmla="*/ 316137 h 2243427"/>
                <a:gd name="connsiteX36" fmla="*/ 516979 w 5989830"/>
                <a:gd name="connsiteY36" fmla="*/ 333911 h 2243427"/>
                <a:gd name="connsiteX37" fmla="*/ 681241 w 5989830"/>
                <a:gd name="connsiteY37" fmla="*/ 333911 h 2243427"/>
                <a:gd name="connsiteX38" fmla="*/ 681241 w 5989830"/>
                <a:gd name="connsiteY38" fmla="*/ 351686 h 2243427"/>
                <a:gd name="connsiteX39" fmla="*/ 705435 w 5989830"/>
                <a:gd name="connsiteY39" fmla="*/ 351686 h 2243427"/>
                <a:gd name="connsiteX40" fmla="*/ 705435 w 5989830"/>
                <a:gd name="connsiteY40" fmla="*/ 369461 h 2243427"/>
                <a:gd name="connsiteX41" fmla="*/ 710528 w 5989830"/>
                <a:gd name="connsiteY41" fmla="*/ 369461 h 2243427"/>
                <a:gd name="connsiteX42" fmla="*/ 727082 w 5989830"/>
                <a:gd name="connsiteY42" fmla="*/ 369461 h 2243427"/>
                <a:gd name="connsiteX43" fmla="*/ 727082 w 5989830"/>
                <a:gd name="connsiteY43" fmla="*/ 387236 h 2243427"/>
                <a:gd name="connsiteX44" fmla="*/ 739815 w 5989830"/>
                <a:gd name="connsiteY44" fmla="*/ 387236 h 2243427"/>
                <a:gd name="connsiteX45" fmla="*/ 739815 w 5989830"/>
                <a:gd name="connsiteY45" fmla="*/ 405010 h 2243427"/>
                <a:gd name="connsiteX46" fmla="*/ 853143 w 5989830"/>
                <a:gd name="connsiteY46" fmla="*/ 405010 h 2243427"/>
                <a:gd name="connsiteX47" fmla="*/ 856963 w 5989830"/>
                <a:gd name="connsiteY47" fmla="*/ 405010 h 2243427"/>
                <a:gd name="connsiteX48" fmla="*/ 856963 w 5989830"/>
                <a:gd name="connsiteY48" fmla="*/ 422785 h 2243427"/>
                <a:gd name="connsiteX49" fmla="*/ 941004 w 5989830"/>
                <a:gd name="connsiteY49" fmla="*/ 422785 h 2243427"/>
                <a:gd name="connsiteX50" fmla="*/ 941004 w 5989830"/>
                <a:gd name="connsiteY50" fmla="*/ 440560 h 2243427"/>
                <a:gd name="connsiteX51" fmla="*/ 946098 w 5989830"/>
                <a:gd name="connsiteY51" fmla="*/ 440560 h 2243427"/>
                <a:gd name="connsiteX52" fmla="*/ 946098 w 5989830"/>
                <a:gd name="connsiteY52" fmla="*/ 476109 h 2243427"/>
                <a:gd name="connsiteX53" fmla="*/ 949918 w 5989830"/>
                <a:gd name="connsiteY53" fmla="*/ 476109 h 2243427"/>
                <a:gd name="connsiteX54" fmla="*/ 949918 w 5989830"/>
                <a:gd name="connsiteY54" fmla="*/ 511659 h 2243427"/>
                <a:gd name="connsiteX55" fmla="*/ 979205 w 5989830"/>
                <a:gd name="connsiteY55" fmla="*/ 511659 h 2243427"/>
                <a:gd name="connsiteX56" fmla="*/ 979205 w 5989830"/>
                <a:gd name="connsiteY56" fmla="*/ 529434 h 2243427"/>
                <a:gd name="connsiteX57" fmla="*/ 988118 w 5989830"/>
                <a:gd name="connsiteY57" fmla="*/ 529434 h 2243427"/>
                <a:gd name="connsiteX58" fmla="*/ 988118 w 5989830"/>
                <a:gd name="connsiteY58" fmla="*/ 547208 h 2243427"/>
                <a:gd name="connsiteX59" fmla="*/ 1079799 w 5989830"/>
                <a:gd name="connsiteY59" fmla="*/ 547208 h 2243427"/>
                <a:gd name="connsiteX60" fmla="*/ 1079799 w 5989830"/>
                <a:gd name="connsiteY60" fmla="*/ 564983 h 2243427"/>
                <a:gd name="connsiteX61" fmla="*/ 1101446 w 5989830"/>
                <a:gd name="connsiteY61" fmla="*/ 564983 h 2243427"/>
                <a:gd name="connsiteX62" fmla="*/ 1101446 w 5989830"/>
                <a:gd name="connsiteY62" fmla="*/ 582758 h 2243427"/>
                <a:gd name="connsiteX63" fmla="*/ 1134553 w 5989830"/>
                <a:gd name="connsiteY63" fmla="*/ 582758 h 2243427"/>
                <a:gd name="connsiteX64" fmla="*/ 1134553 w 5989830"/>
                <a:gd name="connsiteY64" fmla="*/ 600533 h 2243427"/>
                <a:gd name="connsiteX65" fmla="*/ 1160020 w 5989830"/>
                <a:gd name="connsiteY65" fmla="*/ 600533 h 2243427"/>
                <a:gd name="connsiteX66" fmla="*/ 1160020 w 5989830"/>
                <a:gd name="connsiteY66" fmla="*/ 637352 h 2243427"/>
                <a:gd name="connsiteX67" fmla="*/ 1181667 w 5989830"/>
                <a:gd name="connsiteY67" fmla="*/ 637352 h 2243427"/>
                <a:gd name="connsiteX68" fmla="*/ 1181667 w 5989830"/>
                <a:gd name="connsiteY68" fmla="*/ 672901 h 2243427"/>
                <a:gd name="connsiteX69" fmla="*/ 1185487 w 5989830"/>
                <a:gd name="connsiteY69" fmla="*/ 672901 h 2243427"/>
                <a:gd name="connsiteX70" fmla="*/ 1185487 w 5989830"/>
                <a:gd name="connsiteY70" fmla="*/ 690676 h 2243427"/>
                <a:gd name="connsiteX71" fmla="*/ 1198221 w 5989830"/>
                <a:gd name="connsiteY71" fmla="*/ 690676 h 2243427"/>
                <a:gd name="connsiteX72" fmla="*/ 1198221 w 5989830"/>
                <a:gd name="connsiteY72" fmla="*/ 708451 h 2243427"/>
                <a:gd name="connsiteX73" fmla="*/ 1202041 w 5989830"/>
                <a:gd name="connsiteY73" fmla="*/ 708451 h 2243427"/>
                <a:gd name="connsiteX74" fmla="*/ 1202041 w 5989830"/>
                <a:gd name="connsiteY74" fmla="*/ 745270 h 2243427"/>
                <a:gd name="connsiteX75" fmla="*/ 1210954 w 5989830"/>
                <a:gd name="connsiteY75" fmla="*/ 745270 h 2243427"/>
                <a:gd name="connsiteX76" fmla="*/ 1210954 w 5989830"/>
                <a:gd name="connsiteY76" fmla="*/ 763045 h 2243427"/>
                <a:gd name="connsiteX77" fmla="*/ 1337016 w 5989830"/>
                <a:gd name="connsiteY77" fmla="*/ 763045 h 2243427"/>
                <a:gd name="connsiteX78" fmla="*/ 1337016 w 5989830"/>
                <a:gd name="connsiteY78" fmla="*/ 780819 h 2243427"/>
                <a:gd name="connsiteX79" fmla="*/ 1391770 w 5989830"/>
                <a:gd name="connsiteY79" fmla="*/ 780819 h 2243427"/>
                <a:gd name="connsiteX80" fmla="*/ 1391770 w 5989830"/>
                <a:gd name="connsiteY80" fmla="*/ 798594 h 2243427"/>
                <a:gd name="connsiteX81" fmla="*/ 1408323 w 5989830"/>
                <a:gd name="connsiteY81" fmla="*/ 798594 h 2243427"/>
                <a:gd name="connsiteX82" fmla="*/ 1408323 w 5989830"/>
                <a:gd name="connsiteY82" fmla="*/ 816369 h 2243427"/>
                <a:gd name="connsiteX83" fmla="*/ 1412143 w 5989830"/>
                <a:gd name="connsiteY83" fmla="*/ 816369 h 2243427"/>
                <a:gd name="connsiteX84" fmla="*/ 1412143 w 5989830"/>
                <a:gd name="connsiteY84" fmla="*/ 834144 h 2243427"/>
                <a:gd name="connsiteX85" fmla="*/ 1496184 w 5989830"/>
                <a:gd name="connsiteY85" fmla="*/ 834144 h 2243427"/>
                <a:gd name="connsiteX86" fmla="*/ 1496184 w 5989830"/>
                <a:gd name="connsiteY86" fmla="*/ 853188 h 2243427"/>
                <a:gd name="connsiteX87" fmla="*/ 1534385 w 5989830"/>
                <a:gd name="connsiteY87" fmla="*/ 853188 h 2243427"/>
                <a:gd name="connsiteX88" fmla="*/ 1534385 w 5989830"/>
                <a:gd name="connsiteY88" fmla="*/ 870963 h 2243427"/>
                <a:gd name="connsiteX89" fmla="*/ 1651533 w 5989830"/>
                <a:gd name="connsiteY89" fmla="*/ 870963 h 2243427"/>
                <a:gd name="connsiteX90" fmla="*/ 1651533 w 5989830"/>
                <a:gd name="connsiteY90" fmla="*/ 906512 h 2243427"/>
                <a:gd name="connsiteX91" fmla="*/ 1655353 w 5989830"/>
                <a:gd name="connsiteY91" fmla="*/ 906512 h 2243427"/>
                <a:gd name="connsiteX92" fmla="*/ 1655353 w 5989830"/>
                <a:gd name="connsiteY92" fmla="*/ 942062 h 2243427"/>
                <a:gd name="connsiteX93" fmla="*/ 1673180 w 5989830"/>
                <a:gd name="connsiteY93" fmla="*/ 942062 h 2243427"/>
                <a:gd name="connsiteX94" fmla="*/ 1673180 w 5989830"/>
                <a:gd name="connsiteY94" fmla="*/ 961106 h 2243427"/>
                <a:gd name="connsiteX95" fmla="*/ 1680820 w 5989830"/>
                <a:gd name="connsiteY95" fmla="*/ 961106 h 2243427"/>
                <a:gd name="connsiteX96" fmla="*/ 1680820 w 5989830"/>
                <a:gd name="connsiteY96" fmla="*/ 978881 h 2243427"/>
                <a:gd name="connsiteX97" fmla="*/ 1764861 w 5989830"/>
                <a:gd name="connsiteY97" fmla="*/ 978881 h 2243427"/>
                <a:gd name="connsiteX98" fmla="*/ 1764861 w 5989830"/>
                <a:gd name="connsiteY98" fmla="*/ 996656 h 2243427"/>
                <a:gd name="connsiteX99" fmla="*/ 1777594 w 5989830"/>
                <a:gd name="connsiteY99" fmla="*/ 996656 h 2243427"/>
                <a:gd name="connsiteX100" fmla="*/ 1777594 w 5989830"/>
                <a:gd name="connsiteY100" fmla="*/ 1014430 h 2243427"/>
                <a:gd name="connsiteX101" fmla="*/ 1866729 w 5989830"/>
                <a:gd name="connsiteY101" fmla="*/ 1014430 h 2243427"/>
                <a:gd name="connsiteX102" fmla="*/ 1866729 w 5989830"/>
                <a:gd name="connsiteY102" fmla="*/ 1032205 h 2243427"/>
                <a:gd name="connsiteX103" fmla="*/ 1887102 w 5989830"/>
                <a:gd name="connsiteY103" fmla="*/ 1032205 h 2243427"/>
                <a:gd name="connsiteX104" fmla="*/ 1887102 w 5989830"/>
                <a:gd name="connsiteY104" fmla="*/ 1049980 h 2243427"/>
                <a:gd name="connsiteX105" fmla="*/ 1912569 w 5989830"/>
                <a:gd name="connsiteY105" fmla="*/ 1049980 h 2243427"/>
                <a:gd name="connsiteX106" fmla="*/ 1912569 w 5989830"/>
                <a:gd name="connsiteY106" fmla="*/ 1067755 h 2243427"/>
                <a:gd name="connsiteX107" fmla="*/ 2013164 w 5989830"/>
                <a:gd name="connsiteY107" fmla="*/ 1067755 h 2243427"/>
                <a:gd name="connsiteX108" fmla="*/ 2029717 w 5989830"/>
                <a:gd name="connsiteY108" fmla="*/ 1067755 h 2243427"/>
                <a:gd name="connsiteX109" fmla="*/ 2029717 w 5989830"/>
                <a:gd name="connsiteY109" fmla="*/ 1086799 h 2243427"/>
                <a:gd name="connsiteX110" fmla="*/ 2064098 w 5989830"/>
                <a:gd name="connsiteY110" fmla="*/ 1086799 h 2243427"/>
                <a:gd name="connsiteX111" fmla="*/ 2064098 w 5989830"/>
                <a:gd name="connsiteY111" fmla="*/ 1104574 h 2243427"/>
                <a:gd name="connsiteX112" fmla="*/ 2067918 w 5989830"/>
                <a:gd name="connsiteY112" fmla="*/ 1104574 h 2243427"/>
                <a:gd name="connsiteX113" fmla="*/ 2067918 w 5989830"/>
                <a:gd name="connsiteY113" fmla="*/ 1122348 h 2243427"/>
                <a:gd name="connsiteX114" fmla="*/ 2097205 w 5989830"/>
                <a:gd name="connsiteY114" fmla="*/ 1122348 h 2243427"/>
                <a:gd name="connsiteX115" fmla="*/ 2097205 w 5989830"/>
                <a:gd name="connsiteY115" fmla="*/ 1141393 h 2243427"/>
                <a:gd name="connsiteX116" fmla="*/ 2118852 w 5989830"/>
                <a:gd name="connsiteY116" fmla="*/ 1141393 h 2243427"/>
                <a:gd name="connsiteX117" fmla="*/ 2118852 w 5989830"/>
                <a:gd name="connsiteY117" fmla="*/ 1159168 h 2243427"/>
                <a:gd name="connsiteX118" fmla="*/ 2122672 w 5989830"/>
                <a:gd name="connsiteY118" fmla="*/ 1159168 h 2243427"/>
                <a:gd name="connsiteX119" fmla="*/ 2122672 w 5989830"/>
                <a:gd name="connsiteY119" fmla="*/ 1176942 h 2243427"/>
                <a:gd name="connsiteX120" fmla="*/ 2130312 w 5989830"/>
                <a:gd name="connsiteY120" fmla="*/ 1176942 h 2243427"/>
                <a:gd name="connsiteX121" fmla="*/ 2130312 w 5989830"/>
                <a:gd name="connsiteY121" fmla="*/ 1194717 h 2243427"/>
                <a:gd name="connsiteX122" fmla="*/ 2139225 w 5989830"/>
                <a:gd name="connsiteY122" fmla="*/ 1194717 h 2243427"/>
                <a:gd name="connsiteX123" fmla="*/ 2139225 w 5989830"/>
                <a:gd name="connsiteY123" fmla="*/ 1213761 h 2243427"/>
                <a:gd name="connsiteX124" fmla="*/ 2206713 w 5989830"/>
                <a:gd name="connsiteY124" fmla="*/ 1213761 h 2243427"/>
                <a:gd name="connsiteX125" fmla="*/ 2206713 w 5989830"/>
                <a:gd name="connsiteY125" fmla="*/ 1231536 h 2243427"/>
                <a:gd name="connsiteX126" fmla="*/ 2341688 w 5989830"/>
                <a:gd name="connsiteY126" fmla="*/ 1231536 h 2243427"/>
                <a:gd name="connsiteX127" fmla="*/ 2353148 w 5989830"/>
                <a:gd name="connsiteY127" fmla="*/ 1231536 h 2243427"/>
                <a:gd name="connsiteX128" fmla="*/ 2358241 w 5989830"/>
                <a:gd name="connsiteY128" fmla="*/ 1231536 h 2243427"/>
                <a:gd name="connsiteX129" fmla="*/ 2358241 w 5989830"/>
                <a:gd name="connsiteY129" fmla="*/ 1250581 h 2243427"/>
                <a:gd name="connsiteX130" fmla="*/ 2370975 w 5989830"/>
                <a:gd name="connsiteY130" fmla="*/ 1250581 h 2243427"/>
                <a:gd name="connsiteX131" fmla="*/ 2370975 w 5989830"/>
                <a:gd name="connsiteY131" fmla="*/ 1268355 h 2243427"/>
                <a:gd name="connsiteX132" fmla="*/ 2425729 w 5989830"/>
                <a:gd name="connsiteY132" fmla="*/ 1268355 h 2243427"/>
                <a:gd name="connsiteX133" fmla="*/ 2425729 w 5989830"/>
                <a:gd name="connsiteY133" fmla="*/ 1287400 h 2243427"/>
                <a:gd name="connsiteX134" fmla="*/ 2564524 w 5989830"/>
                <a:gd name="connsiteY134" fmla="*/ 1287400 h 2243427"/>
                <a:gd name="connsiteX135" fmla="*/ 2575984 w 5989830"/>
                <a:gd name="connsiteY135" fmla="*/ 1287400 h 2243427"/>
                <a:gd name="connsiteX136" fmla="*/ 2575984 w 5989830"/>
                <a:gd name="connsiteY136" fmla="*/ 1306444 h 2243427"/>
                <a:gd name="connsiteX137" fmla="*/ 2593811 w 5989830"/>
                <a:gd name="connsiteY137" fmla="*/ 1306444 h 2243427"/>
                <a:gd name="connsiteX138" fmla="*/ 2593811 w 5989830"/>
                <a:gd name="connsiteY138" fmla="*/ 1344533 h 2243427"/>
                <a:gd name="connsiteX139" fmla="*/ 2606544 w 5989830"/>
                <a:gd name="connsiteY139" fmla="*/ 1344533 h 2243427"/>
                <a:gd name="connsiteX140" fmla="*/ 2606544 w 5989830"/>
                <a:gd name="connsiteY140" fmla="*/ 1363577 h 2243427"/>
                <a:gd name="connsiteX141" fmla="*/ 2714779 w 5989830"/>
                <a:gd name="connsiteY141" fmla="*/ 1363577 h 2243427"/>
                <a:gd name="connsiteX142" fmla="*/ 2714779 w 5989830"/>
                <a:gd name="connsiteY142" fmla="*/ 1383891 h 2243427"/>
                <a:gd name="connsiteX143" fmla="*/ 2774626 w 5989830"/>
                <a:gd name="connsiteY143" fmla="*/ 1383891 h 2243427"/>
                <a:gd name="connsiteX144" fmla="*/ 2774626 w 5989830"/>
                <a:gd name="connsiteY144" fmla="*/ 1402936 h 2243427"/>
                <a:gd name="connsiteX145" fmla="*/ 2803913 w 5989830"/>
                <a:gd name="connsiteY145" fmla="*/ 1402936 h 2243427"/>
                <a:gd name="connsiteX146" fmla="*/ 2803913 w 5989830"/>
                <a:gd name="connsiteY146" fmla="*/ 1421980 h 2243427"/>
                <a:gd name="connsiteX147" fmla="*/ 2828107 w 5989830"/>
                <a:gd name="connsiteY147" fmla="*/ 1421980 h 2243427"/>
                <a:gd name="connsiteX148" fmla="*/ 2828107 w 5989830"/>
                <a:gd name="connsiteY148" fmla="*/ 1441024 h 2243427"/>
                <a:gd name="connsiteX149" fmla="*/ 2840840 w 5989830"/>
                <a:gd name="connsiteY149" fmla="*/ 1441024 h 2243427"/>
                <a:gd name="connsiteX150" fmla="*/ 2853574 w 5989830"/>
                <a:gd name="connsiteY150" fmla="*/ 1441024 h 2243427"/>
                <a:gd name="connsiteX151" fmla="*/ 2853574 w 5989830"/>
                <a:gd name="connsiteY151" fmla="*/ 1460069 h 2243427"/>
                <a:gd name="connsiteX152" fmla="*/ 2984729 w 5989830"/>
                <a:gd name="connsiteY152" fmla="*/ 1460069 h 2243427"/>
                <a:gd name="connsiteX153" fmla="*/ 2984729 w 5989830"/>
                <a:gd name="connsiteY153" fmla="*/ 1479113 h 2243427"/>
                <a:gd name="connsiteX154" fmla="*/ 3005102 w 5989830"/>
                <a:gd name="connsiteY154" fmla="*/ 1479113 h 2243427"/>
                <a:gd name="connsiteX155" fmla="*/ 3005102 w 5989830"/>
                <a:gd name="connsiteY155" fmla="*/ 1498157 h 2243427"/>
                <a:gd name="connsiteX156" fmla="*/ 3072590 w 5989830"/>
                <a:gd name="connsiteY156" fmla="*/ 1498157 h 2243427"/>
                <a:gd name="connsiteX157" fmla="*/ 3072590 w 5989830"/>
                <a:gd name="connsiteY157" fmla="*/ 1517202 h 2243427"/>
                <a:gd name="connsiteX158" fmla="*/ 3185918 w 5989830"/>
                <a:gd name="connsiteY158" fmla="*/ 1517202 h 2243427"/>
                <a:gd name="connsiteX159" fmla="*/ 3185918 w 5989830"/>
                <a:gd name="connsiteY159" fmla="*/ 1537516 h 2243427"/>
                <a:gd name="connsiteX160" fmla="*/ 3249585 w 5989830"/>
                <a:gd name="connsiteY160" fmla="*/ 1537516 h 2243427"/>
                <a:gd name="connsiteX161" fmla="*/ 3249585 w 5989830"/>
                <a:gd name="connsiteY161" fmla="*/ 1556560 h 2243427"/>
                <a:gd name="connsiteX162" fmla="*/ 3295426 w 5989830"/>
                <a:gd name="connsiteY162" fmla="*/ 1556560 h 2243427"/>
                <a:gd name="connsiteX163" fmla="*/ 3295426 w 5989830"/>
                <a:gd name="connsiteY163" fmla="*/ 1575605 h 2243427"/>
                <a:gd name="connsiteX164" fmla="*/ 3299246 w 5989830"/>
                <a:gd name="connsiteY164" fmla="*/ 1575605 h 2243427"/>
                <a:gd name="connsiteX165" fmla="*/ 3303066 w 5989830"/>
                <a:gd name="connsiteY165" fmla="*/ 1575605 h 2243427"/>
                <a:gd name="connsiteX166" fmla="*/ 3311979 w 5989830"/>
                <a:gd name="connsiteY166" fmla="*/ 1575605 h 2243427"/>
                <a:gd name="connsiteX167" fmla="*/ 3311979 w 5989830"/>
                <a:gd name="connsiteY167" fmla="*/ 1595919 h 2243427"/>
                <a:gd name="connsiteX168" fmla="*/ 3337446 w 5989830"/>
                <a:gd name="connsiteY168" fmla="*/ 1595919 h 2243427"/>
                <a:gd name="connsiteX169" fmla="*/ 3337446 w 5989830"/>
                <a:gd name="connsiteY169" fmla="*/ 1614963 h 2243427"/>
                <a:gd name="connsiteX170" fmla="*/ 3379467 w 5989830"/>
                <a:gd name="connsiteY170" fmla="*/ 1614963 h 2243427"/>
                <a:gd name="connsiteX171" fmla="*/ 3379467 w 5989830"/>
                <a:gd name="connsiteY171" fmla="*/ 1635277 h 2243427"/>
                <a:gd name="connsiteX172" fmla="*/ 3396020 w 5989830"/>
                <a:gd name="connsiteY172" fmla="*/ 1635277 h 2243427"/>
                <a:gd name="connsiteX173" fmla="*/ 3396020 w 5989830"/>
                <a:gd name="connsiteY173" fmla="*/ 1655591 h 2243427"/>
                <a:gd name="connsiteX174" fmla="*/ 3430401 w 5989830"/>
                <a:gd name="connsiteY174" fmla="*/ 1655591 h 2243427"/>
                <a:gd name="connsiteX175" fmla="*/ 3430401 w 5989830"/>
                <a:gd name="connsiteY175" fmla="*/ 1674635 h 2243427"/>
                <a:gd name="connsiteX176" fmla="*/ 3438041 w 5989830"/>
                <a:gd name="connsiteY176" fmla="*/ 1674635 h 2243427"/>
                <a:gd name="connsiteX177" fmla="*/ 3438041 w 5989830"/>
                <a:gd name="connsiteY177" fmla="*/ 1694949 h 2243427"/>
                <a:gd name="connsiteX178" fmla="*/ 3505528 w 5989830"/>
                <a:gd name="connsiteY178" fmla="*/ 1694949 h 2243427"/>
                <a:gd name="connsiteX179" fmla="*/ 3530995 w 5989830"/>
                <a:gd name="connsiteY179" fmla="*/ 1694949 h 2243427"/>
                <a:gd name="connsiteX180" fmla="*/ 3530995 w 5989830"/>
                <a:gd name="connsiteY180" fmla="*/ 1715263 h 2243427"/>
                <a:gd name="connsiteX181" fmla="*/ 3538635 w 5989830"/>
                <a:gd name="connsiteY181" fmla="*/ 1715263 h 2243427"/>
                <a:gd name="connsiteX182" fmla="*/ 3538635 w 5989830"/>
                <a:gd name="connsiteY182" fmla="*/ 1734308 h 2243427"/>
                <a:gd name="connsiteX183" fmla="*/ 3547549 w 5989830"/>
                <a:gd name="connsiteY183" fmla="*/ 1734308 h 2243427"/>
                <a:gd name="connsiteX184" fmla="*/ 3564102 w 5989830"/>
                <a:gd name="connsiteY184" fmla="*/ 1734308 h 2243427"/>
                <a:gd name="connsiteX185" fmla="*/ 3564102 w 5989830"/>
                <a:gd name="connsiteY185" fmla="*/ 1755891 h 2243427"/>
                <a:gd name="connsiteX186" fmla="*/ 3774205 w 5989830"/>
                <a:gd name="connsiteY186" fmla="*/ 1755891 h 2243427"/>
                <a:gd name="connsiteX187" fmla="*/ 3774205 w 5989830"/>
                <a:gd name="connsiteY187" fmla="*/ 1776205 h 2243427"/>
                <a:gd name="connsiteX188" fmla="*/ 3790758 w 5989830"/>
                <a:gd name="connsiteY188" fmla="*/ 1776205 h 2243427"/>
                <a:gd name="connsiteX189" fmla="*/ 3863339 w 5989830"/>
                <a:gd name="connsiteY189" fmla="*/ 1776205 h 2243427"/>
                <a:gd name="connsiteX190" fmla="*/ 3867159 w 5989830"/>
                <a:gd name="connsiteY190" fmla="*/ 1776205 h 2243427"/>
                <a:gd name="connsiteX191" fmla="*/ 3874799 w 5989830"/>
                <a:gd name="connsiteY191" fmla="*/ 1776205 h 2243427"/>
                <a:gd name="connsiteX192" fmla="*/ 3879893 w 5989830"/>
                <a:gd name="connsiteY192" fmla="*/ 1776205 h 2243427"/>
                <a:gd name="connsiteX193" fmla="*/ 3887533 w 5989830"/>
                <a:gd name="connsiteY193" fmla="*/ 1776205 h 2243427"/>
                <a:gd name="connsiteX194" fmla="*/ 3892626 w 5989830"/>
                <a:gd name="connsiteY194" fmla="*/ 1776205 h 2243427"/>
                <a:gd name="connsiteX195" fmla="*/ 3896446 w 5989830"/>
                <a:gd name="connsiteY195" fmla="*/ 1776205 h 2243427"/>
                <a:gd name="connsiteX196" fmla="*/ 3900266 w 5989830"/>
                <a:gd name="connsiteY196" fmla="*/ 1776205 h 2243427"/>
                <a:gd name="connsiteX197" fmla="*/ 3921913 w 5989830"/>
                <a:gd name="connsiteY197" fmla="*/ 1776205 h 2243427"/>
                <a:gd name="connsiteX198" fmla="*/ 3921913 w 5989830"/>
                <a:gd name="connsiteY198" fmla="*/ 1800328 h 2243427"/>
                <a:gd name="connsiteX199" fmla="*/ 3934646 w 5989830"/>
                <a:gd name="connsiteY199" fmla="*/ 1800328 h 2243427"/>
                <a:gd name="connsiteX200" fmla="*/ 3934646 w 5989830"/>
                <a:gd name="connsiteY200" fmla="*/ 1824451 h 2243427"/>
                <a:gd name="connsiteX201" fmla="*/ 4026328 w 5989830"/>
                <a:gd name="connsiteY201" fmla="*/ 1824451 h 2243427"/>
                <a:gd name="connsiteX202" fmla="*/ 4026328 w 5989830"/>
                <a:gd name="connsiteY202" fmla="*/ 1848574 h 2243427"/>
                <a:gd name="connsiteX203" fmla="*/ 4199503 w 5989830"/>
                <a:gd name="connsiteY203" fmla="*/ 1848574 h 2243427"/>
                <a:gd name="connsiteX204" fmla="*/ 4199503 w 5989830"/>
                <a:gd name="connsiteY204" fmla="*/ 1872697 h 2243427"/>
                <a:gd name="connsiteX205" fmla="*/ 4216057 w 5989830"/>
                <a:gd name="connsiteY205" fmla="*/ 1872697 h 2243427"/>
                <a:gd name="connsiteX206" fmla="*/ 4228790 w 5989830"/>
                <a:gd name="connsiteY206" fmla="*/ 1872697 h 2243427"/>
                <a:gd name="connsiteX207" fmla="*/ 4228790 w 5989830"/>
                <a:gd name="connsiteY207" fmla="*/ 1896820 h 2243427"/>
                <a:gd name="connsiteX208" fmla="*/ 4232610 w 5989830"/>
                <a:gd name="connsiteY208" fmla="*/ 1896820 h 2243427"/>
                <a:gd name="connsiteX209" fmla="*/ 4245344 w 5989830"/>
                <a:gd name="connsiteY209" fmla="*/ 1896820 h 2243427"/>
                <a:gd name="connsiteX210" fmla="*/ 4258077 w 5989830"/>
                <a:gd name="connsiteY210" fmla="*/ 1896820 h 2243427"/>
                <a:gd name="connsiteX211" fmla="*/ 4270811 w 5989830"/>
                <a:gd name="connsiteY211" fmla="*/ 1896820 h 2243427"/>
                <a:gd name="connsiteX212" fmla="*/ 4400692 w 5989830"/>
                <a:gd name="connsiteY212" fmla="*/ 1896820 h 2243427"/>
                <a:gd name="connsiteX213" fmla="*/ 4400692 w 5989830"/>
                <a:gd name="connsiteY213" fmla="*/ 1923482 h 2243427"/>
                <a:gd name="connsiteX214" fmla="*/ 4438893 w 5989830"/>
                <a:gd name="connsiteY214" fmla="*/ 1923482 h 2243427"/>
                <a:gd name="connsiteX215" fmla="*/ 4438893 w 5989830"/>
                <a:gd name="connsiteY215" fmla="*/ 1951413 h 2243427"/>
                <a:gd name="connsiteX216" fmla="*/ 4556041 w 5989830"/>
                <a:gd name="connsiteY216" fmla="*/ 1951413 h 2243427"/>
                <a:gd name="connsiteX217" fmla="*/ 4556041 w 5989830"/>
                <a:gd name="connsiteY217" fmla="*/ 1978076 h 2243427"/>
                <a:gd name="connsiteX218" fmla="*/ 4568774 w 5989830"/>
                <a:gd name="connsiteY218" fmla="*/ 1978076 h 2243427"/>
                <a:gd name="connsiteX219" fmla="*/ 4577687 w 5989830"/>
                <a:gd name="connsiteY219" fmla="*/ 1978076 h 2243427"/>
                <a:gd name="connsiteX220" fmla="*/ 4590421 w 5989830"/>
                <a:gd name="connsiteY220" fmla="*/ 1978076 h 2243427"/>
                <a:gd name="connsiteX221" fmla="*/ 4594241 w 5989830"/>
                <a:gd name="connsiteY221" fmla="*/ 1978076 h 2243427"/>
                <a:gd name="connsiteX222" fmla="*/ 4598061 w 5989830"/>
                <a:gd name="connsiteY222" fmla="*/ 1978076 h 2243427"/>
                <a:gd name="connsiteX223" fmla="*/ 4606975 w 5989830"/>
                <a:gd name="connsiteY223" fmla="*/ 1978076 h 2243427"/>
                <a:gd name="connsiteX224" fmla="*/ 4606975 w 5989830"/>
                <a:gd name="connsiteY224" fmla="*/ 2013625 h 2243427"/>
                <a:gd name="connsiteX225" fmla="*/ 4669369 w 5989830"/>
                <a:gd name="connsiteY225" fmla="*/ 2013625 h 2243427"/>
                <a:gd name="connsiteX226" fmla="*/ 4669369 w 5989830"/>
                <a:gd name="connsiteY226" fmla="*/ 2049175 h 2243427"/>
                <a:gd name="connsiteX227" fmla="*/ 4787790 w 5989830"/>
                <a:gd name="connsiteY227" fmla="*/ 2049175 h 2243427"/>
                <a:gd name="connsiteX228" fmla="*/ 4787790 w 5989830"/>
                <a:gd name="connsiteY228" fmla="*/ 2084724 h 2243427"/>
                <a:gd name="connsiteX229" fmla="*/ 4930405 w 5989830"/>
                <a:gd name="connsiteY229" fmla="*/ 2084724 h 2243427"/>
                <a:gd name="connsiteX230" fmla="*/ 4934225 w 5989830"/>
                <a:gd name="connsiteY230" fmla="*/ 2084724 h 2243427"/>
                <a:gd name="connsiteX231" fmla="*/ 4939319 w 5989830"/>
                <a:gd name="connsiteY231" fmla="*/ 2084724 h 2243427"/>
                <a:gd name="connsiteX232" fmla="*/ 4939319 w 5989830"/>
                <a:gd name="connsiteY232" fmla="*/ 2122813 h 2243427"/>
                <a:gd name="connsiteX233" fmla="*/ 4943139 w 5989830"/>
                <a:gd name="connsiteY233" fmla="*/ 2122813 h 2243427"/>
                <a:gd name="connsiteX234" fmla="*/ 4946958 w 5989830"/>
                <a:gd name="connsiteY234" fmla="*/ 2122813 h 2243427"/>
                <a:gd name="connsiteX235" fmla="*/ 4952052 w 5989830"/>
                <a:gd name="connsiteY235" fmla="*/ 2122813 h 2243427"/>
                <a:gd name="connsiteX236" fmla="*/ 4959692 w 5989830"/>
                <a:gd name="connsiteY236" fmla="*/ 2122813 h 2243427"/>
                <a:gd name="connsiteX237" fmla="*/ 5056466 w 5989830"/>
                <a:gd name="connsiteY237" fmla="*/ 2122813 h 2243427"/>
                <a:gd name="connsiteX238" fmla="*/ 5275483 w 5989830"/>
                <a:gd name="connsiteY238" fmla="*/ 2122813 h 2243427"/>
                <a:gd name="connsiteX239" fmla="*/ 5292036 w 5989830"/>
                <a:gd name="connsiteY239" fmla="*/ 2122813 h 2243427"/>
                <a:gd name="connsiteX240" fmla="*/ 5295856 w 5989830"/>
                <a:gd name="connsiteY240" fmla="*/ 2122813 h 2243427"/>
                <a:gd name="connsiteX241" fmla="*/ 5300950 w 5989830"/>
                <a:gd name="connsiteY241" fmla="*/ 2122813 h 2243427"/>
                <a:gd name="connsiteX242" fmla="*/ 5312410 w 5989830"/>
                <a:gd name="connsiteY242" fmla="*/ 2122813 h 2243427"/>
                <a:gd name="connsiteX243" fmla="*/ 5330236 w 5989830"/>
                <a:gd name="connsiteY243" fmla="*/ 2122813 h 2243427"/>
                <a:gd name="connsiteX244" fmla="*/ 5493225 w 5989830"/>
                <a:gd name="connsiteY244" fmla="*/ 2122813 h 2243427"/>
                <a:gd name="connsiteX245" fmla="*/ 5493225 w 5989830"/>
                <a:gd name="connsiteY245" fmla="*/ 2243427 h 2243427"/>
                <a:gd name="connsiteX246" fmla="*/ 5628200 w 5989830"/>
                <a:gd name="connsiteY246" fmla="*/ 2243427 h 2243427"/>
                <a:gd name="connsiteX247" fmla="*/ 5632020 w 5989830"/>
                <a:gd name="connsiteY247" fmla="*/ 2243427 h 2243427"/>
                <a:gd name="connsiteX248" fmla="*/ 5653667 w 5989830"/>
                <a:gd name="connsiteY248" fmla="*/ 2243427 h 2243427"/>
                <a:gd name="connsiteX249" fmla="*/ 5980917 w 5989830"/>
                <a:gd name="connsiteY249" fmla="*/ 2243427 h 2243427"/>
                <a:gd name="connsiteX250" fmla="*/ 5989831 w 5989830"/>
                <a:gd name="connsiteY250" fmla="*/ 2243427 h 224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5989830" h="2243427">
                  <a:moveTo>
                    <a:pt x="0" y="0"/>
                  </a:moveTo>
                  <a:lnTo>
                    <a:pt x="3820" y="0"/>
                  </a:lnTo>
                  <a:lnTo>
                    <a:pt x="84041" y="0"/>
                  </a:lnTo>
                  <a:lnTo>
                    <a:pt x="84041" y="16505"/>
                  </a:lnTo>
                  <a:lnTo>
                    <a:pt x="129882" y="16505"/>
                  </a:lnTo>
                  <a:lnTo>
                    <a:pt x="129882" y="34280"/>
                  </a:lnTo>
                  <a:lnTo>
                    <a:pt x="159169" y="34280"/>
                  </a:lnTo>
                  <a:lnTo>
                    <a:pt x="168082" y="34280"/>
                  </a:lnTo>
                  <a:lnTo>
                    <a:pt x="168082" y="52055"/>
                  </a:lnTo>
                  <a:lnTo>
                    <a:pt x="176995" y="52055"/>
                  </a:lnTo>
                  <a:lnTo>
                    <a:pt x="176995" y="69829"/>
                  </a:lnTo>
                  <a:lnTo>
                    <a:pt x="193549" y="69829"/>
                  </a:lnTo>
                  <a:lnTo>
                    <a:pt x="193549" y="87604"/>
                  </a:lnTo>
                  <a:lnTo>
                    <a:pt x="197369" y="87604"/>
                  </a:lnTo>
                  <a:lnTo>
                    <a:pt x="197369" y="105379"/>
                  </a:lnTo>
                  <a:lnTo>
                    <a:pt x="235569" y="105379"/>
                  </a:lnTo>
                  <a:lnTo>
                    <a:pt x="235569" y="123154"/>
                  </a:lnTo>
                  <a:lnTo>
                    <a:pt x="285230" y="123154"/>
                  </a:lnTo>
                  <a:lnTo>
                    <a:pt x="285230" y="140928"/>
                  </a:lnTo>
                  <a:lnTo>
                    <a:pt x="294143" y="140928"/>
                  </a:lnTo>
                  <a:lnTo>
                    <a:pt x="294143" y="175208"/>
                  </a:lnTo>
                  <a:lnTo>
                    <a:pt x="407471" y="175208"/>
                  </a:lnTo>
                  <a:lnTo>
                    <a:pt x="407471" y="192983"/>
                  </a:lnTo>
                  <a:lnTo>
                    <a:pt x="420205" y="192983"/>
                  </a:lnTo>
                  <a:lnTo>
                    <a:pt x="420205" y="228532"/>
                  </a:lnTo>
                  <a:lnTo>
                    <a:pt x="440579" y="228532"/>
                  </a:lnTo>
                  <a:lnTo>
                    <a:pt x="440579" y="246307"/>
                  </a:lnTo>
                  <a:lnTo>
                    <a:pt x="449492" y="246307"/>
                  </a:lnTo>
                  <a:lnTo>
                    <a:pt x="449492" y="264082"/>
                  </a:lnTo>
                  <a:lnTo>
                    <a:pt x="453312" y="264082"/>
                  </a:lnTo>
                  <a:lnTo>
                    <a:pt x="453312" y="281857"/>
                  </a:lnTo>
                  <a:lnTo>
                    <a:pt x="487692" y="281857"/>
                  </a:lnTo>
                  <a:lnTo>
                    <a:pt x="487692" y="298362"/>
                  </a:lnTo>
                  <a:lnTo>
                    <a:pt x="513159" y="298362"/>
                  </a:lnTo>
                  <a:lnTo>
                    <a:pt x="513159" y="316137"/>
                  </a:lnTo>
                  <a:lnTo>
                    <a:pt x="516979" y="316137"/>
                  </a:lnTo>
                  <a:lnTo>
                    <a:pt x="516979" y="333911"/>
                  </a:lnTo>
                  <a:lnTo>
                    <a:pt x="681241" y="333911"/>
                  </a:lnTo>
                  <a:lnTo>
                    <a:pt x="681241" y="351686"/>
                  </a:lnTo>
                  <a:lnTo>
                    <a:pt x="705435" y="351686"/>
                  </a:lnTo>
                  <a:lnTo>
                    <a:pt x="705435" y="369461"/>
                  </a:lnTo>
                  <a:lnTo>
                    <a:pt x="710528" y="369461"/>
                  </a:lnTo>
                  <a:lnTo>
                    <a:pt x="727082" y="369461"/>
                  </a:lnTo>
                  <a:lnTo>
                    <a:pt x="727082" y="387236"/>
                  </a:lnTo>
                  <a:lnTo>
                    <a:pt x="739815" y="387236"/>
                  </a:lnTo>
                  <a:lnTo>
                    <a:pt x="739815" y="405010"/>
                  </a:lnTo>
                  <a:lnTo>
                    <a:pt x="853143" y="405010"/>
                  </a:lnTo>
                  <a:lnTo>
                    <a:pt x="856963" y="405010"/>
                  </a:lnTo>
                  <a:lnTo>
                    <a:pt x="856963" y="422785"/>
                  </a:lnTo>
                  <a:lnTo>
                    <a:pt x="941004" y="422785"/>
                  </a:lnTo>
                  <a:lnTo>
                    <a:pt x="941004" y="440560"/>
                  </a:lnTo>
                  <a:lnTo>
                    <a:pt x="946098" y="440560"/>
                  </a:lnTo>
                  <a:lnTo>
                    <a:pt x="946098" y="476109"/>
                  </a:lnTo>
                  <a:lnTo>
                    <a:pt x="949918" y="476109"/>
                  </a:lnTo>
                  <a:lnTo>
                    <a:pt x="949918" y="511659"/>
                  </a:lnTo>
                  <a:lnTo>
                    <a:pt x="979205" y="511659"/>
                  </a:lnTo>
                  <a:lnTo>
                    <a:pt x="979205" y="529434"/>
                  </a:lnTo>
                  <a:lnTo>
                    <a:pt x="988118" y="529434"/>
                  </a:lnTo>
                  <a:lnTo>
                    <a:pt x="988118" y="547208"/>
                  </a:lnTo>
                  <a:lnTo>
                    <a:pt x="1079799" y="547208"/>
                  </a:lnTo>
                  <a:lnTo>
                    <a:pt x="1079799" y="564983"/>
                  </a:lnTo>
                  <a:lnTo>
                    <a:pt x="1101446" y="564983"/>
                  </a:lnTo>
                  <a:lnTo>
                    <a:pt x="1101446" y="582758"/>
                  </a:lnTo>
                  <a:lnTo>
                    <a:pt x="1134553" y="582758"/>
                  </a:lnTo>
                  <a:lnTo>
                    <a:pt x="1134553" y="600533"/>
                  </a:lnTo>
                  <a:lnTo>
                    <a:pt x="1160020" y="600533"/>
                  </a:lnTo>
                  <a:lnTo>
                    <a:pt x="1160020" y="637352"/>
                  </a:lnTo>
                  <a:lnTo>
                    <a:pt x="1181667" y="637352"/>
                  </a:lnTo>
                  <a:lnTo>
                    <a:pt x="1181667" y="672901"/>
                  </a:lnTo>
                  <a:lnTo>
                    <a:pt x="1185487" y="672901"/>
                  </a:lnTo>
                  <a:lnTo>
                    <a:pt x="1185487" y="690676"/>
                  </a:lnTo>
                  <a:lnTo>
                    <a:pt x="1198221" y="690676"/>
                  </a:lnTo>
                  <a:lnTo>
                    <a:pt x="1198221" y="708451"/>
                  </a:lnTo>
                  <a:lnTo>
                    <a:pt x="1202041" y="708451"/>
                  </a:lnTo>
                  <a:lnTo>
                    <a:pt x="1202041" y="745270"/>
                  </a:lnTo>
                  <a:lnTo>
                    <a:pt x="1210954" y="745270"/>
                  </a:lnTo>
                  <a:lnTo>
                    <a:pt x="1210954" y="763045"/>
                  </a:lnTo>
                  <a:lnTo>
                    <a:pt x="1337016" y="763045"/>
                  </a:lnTo>
                  <a:lnTo>
                    <a:pt x="1337016" y="780819"/>
                  </a:lnTo>
                  <a:lnTo>
                    <a:pt x="1391770" y="780819"/>
                  </a:lnTo>
                  <a:lnTo>
                    <a:pt x="1391770" y="798594"/>
                  </a:lnTo>
                  <a:lnTo>
                    <a:pt x="1408323" y="798594"/>
                  </a:lnTo>
                  <a:lnTo>
                    <a:pt x="1408323" y="816369"/>
                  </a:lnTo>
                  <a:lnTo>
                    <a:pt x="1412143" y="816369"/>
                  </a:lnTo>
                  <a:lnTo>
                    <a:pt x="1412143" y="834144"/>
                  </a:lnTo>
                  <a:lnTo>
                    <a:pt x="1496184" y="834144"/>
                  </a:lnTo>
                  <a:lnTo>
                    <a:pt x="1496184" y="853188"/>
                  </a:lnTo>
                  <a:lnTo>
                    <a:pt x="1534385" y="853188"/>
                  </a:lnTo>
                  <a:lnTo>
                    <a:pt x="1534385" y="870963"/>
                  </a:lnTo>
                  <a:lnTo>
                    <a:pt x="1651533" y="870963"/>
                  </a:lnTo>
                  <a:lnTo>
                    <a:pt x="1651533" y="906512"/>
                  </a:lnTo>
                  <a:lnTo>
                    <a:pt x="1655353" y="906512"/>
                  </a:lnTo>
                  <a:lnTo>
                    <a:pt x="1655353" y="942062"/>
                  </a:lnTo>
                  <a:lnTo>
                    <a:pt x="1673180" y="942062"/>
                  </a:lnTo>
                  <a:lnTo>
                    <a:pt x="1673180" y="961106"/>
                  </a:lnTo>
                  <a:lnTo>
                    <a:pt x="1680820" y="961106"/>
                  </a:lnTo>
                  <a:lnTo>
                    <a:pt x="1680820" y="978881"/>
                  </a:lnTo>
                  <a:lnTo>
                    <a:pt x="1764861" y="978881"/>
                  </a:lnTo>
                  <a:lnTo>
                    <a:pt x="1764861" y="996656"/>
                  </a:lnTo>
                  <a:lnTo>
                    <a:pt x="1777594" y="996656"/>
                  </a:lnTo>
                  <a:lnTo>
                    <a:pt x="1777594" y="1014430"/>
                  </a:lnTo>
                  <a:lnTo>
                    <a:pt x="1866729" y="1014430"/>
                  </a:lnTo>
                  <a:lnTo>
                    <a:pt x="1866729" y="1032205"/>
                  </a:lnTo>
                  <a:lnTo>
                    <a:pt x="1887102" y="1032205"/>
                  </a:lnTo>
                  <a:lnTo>
                    <a:pt x="1887102" y="1049980"/>
                  </a:lnTo>
                  <a:lnTo>
                    <a:pt x="1912569" y="1049980"/>
                  </a:lnTo>
                  <a:lnTo>
                    <a:pt x="1912569" y="1067755"/>
                  </a:lnTo>
                  <a:lnTo>
                    <a:pt x="2013164" y="1067755"/>
                  </a:lnTo>
                  <a:lnTo>
                    <a:pt x="2029717" y="1067755"/>
                  </a:lnTo>
                  <a:lnTo>
                    <a:pt x="2029717" y="1086799"/>
                  </a:lnTo>
                  <a:lnTo>
                    <a:pt x="2064098" y="1086799"/>
                  </a:lnTo>
                  <a:lnTo>
                    <a:pt x="2064098" y="1104574"/>
                  </a:lnTo>
                  <a:lnTo>
                    <a:pt x="2067918" y="1104574"/>
                  </a:lnTo>
                  <a:lnTo>
                    <a:pt x="2067918" y="1122348"/>
                  </a:lnTo>
                  <a:lnTo>
                    <a:pt x="2097205" y="1122348"/>
                  </a:lnTo>
                  <a:lnTo>
                    <a:pt x="2097205" y="1141393"/>
                  </a:lnTo>
                  <a:lnTo>
                    <a:pt x="2118852" y="1141393"/>
                  </a:lnTo>
                  <a:lnTo>
                    <a:pt x="2118852" y="1159168"/>
                  </a:lnTo>
                  <a:lnTo>
                    <a:pt x="2122672" y="1159168"/>
                  </a:lnTo>
                  <a:lnTo>
                    <a:pt x="2122672" y="1176942"/>
                  </a:lnTo>
                  <a:lnTo>
                    <a:pt x="2130312" y="1176942"/>
                  </a:lnTo>
                  <a:lnTo>
                    <a:pt x="2130312" y="1194717"/>
                  </a:lnTo>
                  <a:lnTo>
                    <a:pt x="2139225" y="1194717"/>
                  </a:lnTo>
                  <a:lnTo>
                    <a:pt x="2139225" y="1213761"/>
                  </a:lnTo>
                  <a:lnTo>
                    <a:pt x="2206713" y="1213761"/>
                  </a:lnTo>
                  <a:lnTo>
                    <a:pt x="2206713" y="1231536"/>
                  </a:lnTo>
                  <a:lnTo>
                    <a:pt x="2341688" y="1231536"/>
                  </a:lnTo>
                  <a:lnTo>
                    <a:pt x="2353148" y="1231536"/>
                  </a:lnTo>
                  <a:lnTo>
                    <a:pt x="2358241" y="1231536"/>
                  </a:lnTo>
                  <a:lnTo>
                    <a:pt x="2358241" y="1250581"/>
                  </a:lnTo>
                  <a:lnTo>
                    <a:pt x="2370975" y="1250581"/>
                  </a:lnTo>
                  <a:lnTo>
                    <a:pt x="2370975" y="1268355"/>
                  </a:lnTo>
                  <a:lnTo>
                    <a:pt x="2425729" y="1268355"/>
                  </a:lnTo>
                  <a:lnTo>
                    <a:pt x="2425729" y="1287400"/>
                  </a:lnTo>
                  <a:lnTo>
                    <a:pt x="2564524" y="1287400"/>
                  </a:lnTo>
                  <a:lnTo>
                    <a:pt x="2575984" y="1287400"/>
                  </a:lnTo>
                  <a:lnTo>
                    <a:pt x="2575984" y="1306444"/>
                  </a:lnTo>
                  <a:lnTo>
                    <a:pt x="2593811" y="1306444"/>
                  </a:lnTo>
                  <a:lnTo>
                    <a:pt x="2593811" y="1344533"/>
                  </a:lnTo>
                  <a:lnTo>
                    <a:pt x="2606544" y="1344533"/>
                  </a:lnTo>
                  <a:lnTo>
                    <a:pt x="2606544" y="1363577"/>
                  </a:lnTo>
                  <a:lnTo>
                    <a:pt x="2714779" y="1363577"/>
                  </a:lnTo>
                  <a:lnTo>
                    <a:pt x="2714779" y="1383891"/>
                  </a:lnTo>
                  <a:lnTo>
                    <a:pt x="2774626" y="1383891"/>
                  </a:lnTo>
                  <a:lnTo>
                    <a:pt x="2774626" y="1402936"/>
                  </a:lnTo>
                  <a:lnTo>
                    <a:pt x="2803913" y="1402936"/>
                  </a:lnTo>
                  <a:lnTo>
                    <a:pt x="2803913" y="1421980"/>
                  </a:lnTo>
                  <a:lnTo>
                    <a:pt x="2828107" y="1421980"/>
                  </a:lnTo>
                  <a:lnTo>
                    <a:pt x="2828107" y="1441024"/>
                  </a:lnTo>
                  <a:lnTo>
                    <a:pt x="2840840" y="1441024"/>
                  </a:lnTo>
                  <a:lnTo>
                    <a:pt x="2853574" y="1441024"/>
                  </a:lnTo>
                  <a:lnTo>
                    <a:pt x="2853574" y="1460069"/>
                  </a:lnTo>
                  <a:lnTo>
                    <a:pt x="2984729" y="1460069"/>
                  </a:lnTo>
                  <a:lnTo>
                    <a:pt x="2984729" y="1479113"/>
                  </a:lnTo>
                  <a:lnTo>
                    <a:pt x="3005102" y="1479113"/>
                  </a:lnTo>
                  <a:lnTo>
                    <a:pt x="3005102" y="1498157"/>
                  </a:lnTo>
                  <a:lnTo>
                    <a:pt x="3072590" y="1498157"/>
                  </a:lnTo>
                  <a:lnTo>
                    <a:pt x="3072590" y="1517202"/>
                  </a:lnTo>
                  <a:lnTo>
                    <a:pt x="3185918" y="1517202"/>
                  </a:lnTo>
                  <a:lnTo>
                    <a:pt x="3185918" y="1537516"/>
                  </a:lnTo>
                  <a:lnTo>
                    <a:pt x="3249585" y="1537516"/>
                  </a:lnTo>
                  <a:lnTo>
                    <a:pt x="3249585" y="1556560"/>
                  </a:lnTo>
                  <a:lnTo>
                    <a:pt x="3295426" y="1556560"/>
                  </a:lnTo>
                  <a:lnTo>
                    <a:pt x="3295426" y="1575605"/>
                  </a:lnTo>
                  <a:lnTo>
                    <a:pt x="3299246" y="1575605"/>
                  </a:lnTo>
                  <a:lnTo>
                    <a:pt x="3303066" y="1575605"/>
                  </a:lnTo>
                  <a:lnTo>
                    <a:pt x="3311979" y="1575605"/>
                  </a:lnTo>
                  <a:lnTo>
                    <a:pt x="3311979" y="1595919"/>
                  </a:lnTo>
                  <a:lnTo>
                    <a:pt x="3337446" y="1595919"/>
                  </a:lnTo>
                  <a:lnTo>
                    <a:pt x="3337446" y="1614963"/>
                  </a:lnTo>
                  <a:lnTo>
                    <a:pt x="3379467" y="1614963"/>
                  </a:lnTo>
                  <a:lnTo>
                    <a:pt x="3379467" y="1635277"/>
                  </a:lnTo>
                  <a:lnTo>
                    <a:pt x="3396020" y="1635277"/>
                  </a:lnTo>
                  <a:lnTo>
                    <a:pt x="3396020" y="1655591"/>
                  </a:lnTo>
                  <a:lnTo>
                    <a:pt x="3430401" y="1655591"/>
                  </a:lnTo>
                  <a:lnTo>
                    <a:pt x="3430401" y="1674635"/>
                  </a:lnTo>
                  <a:lnTo>
                    <a:pt x="3438041" y="1674635"/>
                  </a:lnTo>
                  <a:lnTo>
                    <a:pt x="3438041" y="1694949"/>
                  </a:lnTo>
                  <a:lnTo>
                    <a:pt x="3505528" y="1694949"/>
                  </a:lnTo>
                  <a:lnTo>
                    <a:pt x="3530995" y="1694949"/>
                  </a:lnTo>
                  <a:lnTo>
                    <a:pt x="3530995" y="1715263"/>
                  </a:lnTo>
                  <a:lnTo>
                    <a:pt x="3538635" y="1715263"/>
                  </a:lnTo>
                  <a:lnTo>
                    <a:pt x="3538635" y="1734308"/>
                  </a:lnTo>
                  <a:lnTo>
                    <a:pt x="3547549" y="1734308"/>
                  </a:lnTo>
                  <a:lnTo>
                    <a:pt x="3564102" y="1734308"/>
                  </a:lnTo>
                  <a:lnTo>
                    <a:pt x="3564102" y="1755891"/>
                  </a:lnTo>
                  <a:lnTo>
                    <a:pt x="3774205" y="1755891"/>
                  </a:lnTo>
                  <a:lnTo>
                    <a:pt x="3774205" y="1776205"/>
                  </a:lnTo>
                  <a:lnTo>
                    <a:pt x="3790758" y="1776205"/>
                  </a:lnTo>
                  <a:lnTo>
                    <a:pt x="3863339" y="1776205"/>
                  </a:lnTo>
                  <a:lnTo>
                    <a:pt x="3867159" y="1776205"/>
                  </a:lnTo>
                  <a:lnTo>
                    <a:pt x="3874799" y="1776205"/>
                  </a:lnTo>
                  <a:lnTo>
                    <a:pt x="3879893" y="1776205"/>
                  </a:lnTo>
                  <a:lnTo>
                    <a:pt x="3887533" y="1776205"/>
                  </a:lnTo>
                  <a:lnTo>
                    <a:pt x="3892626" y="1776205"/>
                  </a:lnTo>
                  <a:lnTo>
                    <a:pt x="3896446" y="1776205"/>
                  </a:lnTo>
                  <a:lnTo>
                    <a:pt x="3900266" y="1776205"/>
                  </a:lnTo>
                  <a:lnTo>
                    <a:pt x="3921913" y="1776205"/>
                  </a:lnTo>
                  <a:lnTo>
                    <a:pt x="3921913" y="1800328"/>
                  </a:lnTo>
                  <a:lnTo>
                    <a:pt x="3934646" y="1800328"/>
                  </a:lnTo>
                  <a:lnTo>
                    <a:pt x="3934646" y="1824451"/>
                  </a:lnTo>
                  <a:lnTo>
                    <a:pt x="4026328" y="1824451"/>
                  </a:lnTo>
                  <a:lnTo>
                    <a:pt x="4026328" y="1848574"/>
                  </a:lnTo>
                  <a:lnTo>
                    <a:pt x="4199503" y="1848574"/>
                  </a:lnTo>
                  <a:lnTo>
                    <a:pt x="4199503" y="1872697"/>
                  </a:lnTo>
                  <a:lnTo>
                    <a:pt x="4216057" y="1872697"/>
                  </a:lnTo>
                  <a:lnTo>
                    <a:pt x="4228790" y="1872697"/>
                  </a:lnTo>
                  <a:lnTo>
                    <a:pt x="4228790" y="1896820"/>
                  </a:lnTo>
                  <a:lnTo>
                    <a:pt x="4232610" y="1896820"/>
                  </a:lnTo>
                  <a:lnTo>
                    <a:pt x="4245344" y="1896820"/>
                  </a:lnTo>
                  <a:lnTo>
                    <a:pt x="4258077" y="1896820"/>
                  </a:lnTo>
                  <a:lnTo>
                    <a:pt x="4270811" y="1896820"/>
                  </a:lnTo>
                  <a:lnTo>
                    <a:pt x="4400692" y="1896820"/>
                  </a:lnTo>
                  <a:lnTo>
                    <a:pt x="4400692" y="1923482"/>
                  </a:lnTo>
                  <a:lnTo>
                    <a:pt x="4438893" y="1923482"/>
                  </a:lnTo>
                  <a:lnTo>
                    <a:pt x="4438893" y="1951413"/>
                  </a:lnTo>
                  <a:lnTo>
                    <a:pt x="4556041" y="1951413"/>
                  </a:lnTo>
                  <a:lnTo>
                    <a:pt x="4556041" y="1978076"/>
                  </a:lnTo>
                  <a:lnTo>
                    <a:pt x="4568774" y="1978076"/>
                  </a:lnTo>
                  <a:lnTo>
                    <a:pt x="4577687" y="1978076"/>
                  </a:lnTo>
                  <a:lnTo>
                    <a:pt x="4590421" y="1978076"/>
                  </a:lnTo>
                  <a:lnTo>
                    <a:pt x="4594241" y="1978076"/>
                  </a:lnTo>
                  <a:lnTo>
                    <a:pt x="4598061" y="1978076"/>
                  </a:lnTo>
                  <a:lnTo>
                    <a:pt x="4606975" y="1978076"/>
                  </a:lnTo>
                  <a:lnTo>
                    <a:pt x="4606975" y="2013625"/>
                  </a:lnTo>
                  <a:lnTo>
                    <a:pt x="4669369" y="2013625"/>
                  </a:lnTo>
                  <a:lnTo>
                    <a:pt x="4669369" y="2049175"/>
                  </a:lnTo>
                  <a:lnTo>
                    <a:pt x="4787790" y="2049175"/>
                  </a:lnTo>
                  <a:lnTo>
                    <a:pt x="4787790" y="2084724"/>
                  </a:lnTo>
                  <a:lnTo>
                    <a:pt x="4930405" y="2084724"/>
                  </a:lnTo>
                  <a:lnTo>
                    <a:pt x="4934225" y="2084724"/>
                  </a:lnTo>
                  <a:lnTo>
                    <a:pt x="4939319" y="2084724"/>
                  </a:lnTo>
                  <a:lnTo>
                    <a:pt x="4939319" y="2122813"/>
                  </a:lnTo>
                  <a:lnTo>
                    <a:pt x="4943139" y="2122813"/>
                  </a:lnTo>
                  <a:lnTo>
                    <a:pt x="4946958" y="2122813"/>
                  </a:lnTo>
                  <a:lnTo>
                    <a:pt x="4952052" y="2122813"/>
                  </a:lnTo>
                  <a:lnTo>
                    <a:pt x="4959692" y="2122813"/>
                  </a:lnTo>
                  <a:lnTo>
                    <a:pt x="5056466" y="2122813"/>
                  </a:lnTo>
                  <a:lnTo>
                    <a:pt x="5275483" y="2122813"/>
                  </a:lnTo>
                  <a:lnTo>
                    <a:pt x="5292036" y="2122813"/>
                  </a:lnTo>
                  <a:lnTo>
                    <a:pt x="5295856" y="2122813"/>
                  </a:lnTo>
                  <a:lnTo>
                    <a:pt x="5300950" y="2122813"/>
                  </a:lnTo>
                  <a:lnTo>
                    <a:pt x="5312410" y="2122813"/>
                  </a:lnTo>
                  <a:lnTo>
                    <a:pt x="5330236" y="2122813"/>
                  </a:lnTo>
                  <a:lnTo>
                    <a:pt x="5493225" y="2122813"/>
                  </a:lnTo>
                  <a:lnTo>
                    <a:pt x="5493225" y="2243427"/>
                  </a:lnTo>
                  <a:lnTo>
                    <a:pt x="5628200" y="2243427"/>
                  </a:lnTo>
                  <a:lnTo>
                    <a:pt x="5632020" y="2243427"/>
                  </a:lnTo>
                  <a:lnTo>
                    <a:pt x="5653667" y="2243427"/>
                  </a:lnTo>
                  <a:lnTo>
                    <a:pt x="5980917" y="2243427"/>
                  </a:lnTo>
                  <a:lnTo>
                    <a:pt x="5989831" y="2243427"/>
                  </a:lnTo>
                </a:path>
              </a:pathLst>
            </a:custGeom>
            <a:noFill/>
            <a:ln w="25400"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6" name="Freeform 106">
              <a:extLst>
                <a:ext uri="{FF2B5EF4-FFF2-40B4-BE49-F238E27FC236}">
                  <a16:creationId xmlns:a16="http://schemas.microsoft.com/office/drawing/2014/main" id="{456F4CEA-5DA3-8877-048A-A902C9789D07}"/>
                </a:ext>
              </a:extLst>
            </p:cNvPr>
            <p:cNvSpPr/>
            <p:nvPr/>
          </p:nvSpPr>
          <p:spPr>
            <a:xfrm>
              <a:off x="1117193" y="854076"/>
              <a:ext cx="12733" cy="12696"/>
            </a:xfrm>
            <a:custGeom>
              <a:avLst/>
              <a:gdLst/>
              <a:ahLst/>
              <a:cxnLst/>
              <a:rect l="l" t="t" r="r" b="b"/>
              <a:pathLst>
                <a:path w="12733" h="12696"/>
              </a:pathLst>
            </a:custGeom>
            <a:noFill/>
            <a:ln w="15875" cap="flat">
              <a:solidFill>
                <a:schemeClr val="accent5">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grpSp>
      <p:grpSp>
        <p:nvGrpSpPr>
          <p:cNvPr id="247" name="Graphic 4">
            <a:extLst>
              <a:ext uri="{FF2B5EF4-FFF2-40B4-BE49-F238E27FC236}">
                <a16:creationId xmlns:a16="http://schemas.microsoft.com/office/drawing/2014/main" id="{FADCB430-22F7-2CA1-3431-9AEC9E1DD500}"/>
              </a:ext>
            </a:extLst>
          </p:cNvPr>
          <p:cNvGrpSpPr/>
          <p:nvPr/>
        </p:nvGrpSpPr>
        <p:grpSpPr>
          <a:xfrm>
            <a:off x="1230219" y="1474003"/>
            <a:ext cx="4295787" cy="1861108"/>
            <a:chOff x="1229247" y="937871"/>
            <a:chExt cx="5316229" cy="2771591"/>
          </a:xfrm>
          <a:noFill/>
        </p:grpSpPr>
        <p:sp>
          <p:nvSpPr>
            <p:cNvPr id="248" name="Freeform 108">
              <a:extLst>
                <a:ext uri="{FF2B5EF4-FFF2-40B4-BE49-F238E27FC236}">
                  <a16:creationId xmlns:a16="http://schemas.microsoft.com/office/drawing/2014/main" id="{486369DE-92BA-1806-E17D-691664DE1ACA}"/>
                </a:ext>
              </a:extLst>
            </p:cNvPr>
            <p:cNvSpPr/>
            <p:nvPr/>
          </p:nvSpPr>
          <p:spPr>
            <a:xfrm>
              <a:off x="1233067" y="937871"/>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9" name="Freeform 109">
              <a:extLst>
                <a:ext uri="{FF2B5EF4-FFF2-40B4-BE49-F238E27FC236}">
                  <a16:creationId xmlns:a16="http://schemas.microsoft.com/office/drawing/2014/main" id="{4F515C52-EC49-55D3-A6EB-D9AC63C2BD22}"/>
                </a:ext>
              </a:extLst>
            </p:cNvPr>
            <p:cNvSpPr/>
            <p:nvPr/>
          </p:nvSpPr>
          <p:spPr>
            <a:xfrm>
              <a:off x="2305227" y="1440642"/>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50" name="Freeform 110">
              <a:extLst>
                <a:ext uri="{FF2B5EF4-FFF2-40B4-BE49-F238E27FC236}">
                  <a16:creationId xmlns:a16="http://schemas.microsoft.com/office/drawing/2014/main" id="{F1AC31DE-2C87-E663-227F-1F0E1C597148}"/>
                </a:ext>
              </a:extLst>
            </p:cNvPr>
            <p:cNvSpPr/>
            <p:nvPr/>
          </p:nvSpPr>
          <p:spPr>
            <a:xfrm>
              <a:off x="2418555" y="1511741"/>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51" name="Freeform 111">
              <a:extLst>
                <a:ext uri="{FF2B5EF4-FFF2-40B4-BE49-F238E27FC236}">
                  <a16:creationId xmlns:a16="http://schemas.microsoft.com/office/drawing/2014/main" id="{1A85A9FD-F2D3-E216-7CA8-0CA8AA8A94A5}"/>
                </a:ext>
              </a:extLst>
            </p:cNvPr>
            <p:cNvSpPr/>
            <p:nvPr/>
          </p:nvSpPr>
          <p:spPr>
            <a:xfrm>
              <a:off x="2427468" y="1511741"/>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52" name="Freeform 112">
              <a:extLst>
                <a:ext uri="{FF2B5EF4-FFF2-40B4-BE49-F238E27FC236}">
                  <a16:creationId xmlns:a16="http://schemas.microsoft.com/office/drawing/2014/main" id="{AD1EC216-85E3-AD7B-A36B-D31F875D4D9D}"/>
                </a:ext>
              </a:extLst>
            </p:cNvPr>
            <p:cNvSpPr/>
            <p:nvPr/>
          </p:nvSpPr>
          <p:spPr>
            <a:xfrm>
              <a:off x="2641390" y="1585379"/>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53" name="Freeform 113">
              <a:extLst>
                <a:ext uri="{FF2B5EF4-FFF2-40B4-BE49-F238E27FC236}">
                  <a16:creationId xmlns:a16="http://schemas.microsoft.com/office/drawing/2014/main" id="{44DD9B54-A3AE-8A9A-A447-B60B36067339}"/>
                </a:ext>
              </a:extLst>
            </p:cNvPr>
            <p:cNvSpPr/>
            <p:nvPr/>
          </p:nvSpPr>
          <p:spPr>
            <a:xfrm>
              <a:off x="2855313" y="1695837"/>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54" name="Freeform 114">
              <a:extLst>
                <a:ext uri="{FF2B5EF4-FFF2-40B4-BE49-F238E27FC236}">
                  <a16:creationId xmlns:a16="http://schemas.microsoft.com/office/drawing/2014/main" id="{12944FB5-5327-1DB8-FF98-CFB15D53DFDB}"/>
                </a:ext>
              </a:extLst>
            </p:cNvPr>
            <p:cNvSpPr/>
            <p:nvPr/>
          </p:nvSpPr>
          <p:spPr>
            <a:xfrm>
              <a:off x="2889693" y="1807564"/>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55" name="Freeform 115">
              <a:extLst>
                <a:ext uri="{FF2B5EF4-FFF2-40B4-BE49-F238E27FC236}">
                  <a16:creationId xmlns:a16="http://schemas.microsoft.com/office/drawing/2014/main" id="{440F8F96-2123-F8AF-2364-BDD40D9EBF85}"/>
                </a:ext>
              </a:extLst>
            </p:cNvPr>
            <p:cNvSpPr/>
            <p:nvPr/>
          </p:nvSpPr>
          <p:spPr>
            <a:xfrm>
              <a:off x="3556928" y="2201148"/>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56" name="Freeform 116">
              <a:extLst>
                <a:ext uri="{FF2B5EF4-FFF2-40B4-BE49-F238E27FC236}">
                  <a16:creationId xmlns:a16="http://schemas.microsoft.com/office/drawing/2014/main" id="{8E083413-3E58-6B79-5FA6-3119B747D310}"/>
                </a:ext>
              </a:extLst>
            </p:cNvPr>
            <p:cNvSpPr/>
            <p:nvPr/>
          </p:nvSpPr>
          <p:spPr>
            <a:xfrm>
              <a:off x="3562021" y="2201148"/>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57" name="Freeform 117">
              <a:extLst>
                <a:ext uri="{FF2B5EF4-FFF2-40B4-BE49-F238E27FC236}">
                  <a16:creationId xmlns:a16="http://schemas.microsoft.com/office/drawing/2014/main" id="{1D58388C-6868-AB97-2D82-1D45AA14542A}"/>
                </a:ext>
              </a:extLst>
            </p:cNvPr>
            <p:cNvSpPr/>
            <p:nvPr/>
          </p:nvSpPr>
          <p:spPr>
            <a:xfrm>
              <a:off x="3595128" y="2278595"/>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58" name="Freeform 118">
              <a:extLst>
                <a:ext uri="{FF2B5EF4-FFF2-40B4-BE49-F238E27FC236}">
                  <a16:creationId xmlns:a16="http://schemas.microsoft.com/office/drawing/2014/main" id="{F0FA354F-DEEE-6875-6AED-5D54DA3837E6}"/>
                </a:ext>
              </a:extLst>
            </p:cNvPr>
            <p:cNvSpPr/>
            <p:nvPr/>
          </p:nvSpPr>
          <p:spPr>
            <a:xfrm>
              <a:off x="3826878" y="237508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59" name="Freeform 119">
              <a:extLst>
                <a:ext uri="{FF2B5EF4-FFF2-40B4-BE49-F238E27FC236}">
                  <a16:creationId xmlns:a16="http://schemas.microsoft.com/office/drawing/2014/main" id="{A6F01870-8306-FFA7-C3B1-E7159513FBC5}"/>
                </a:ext>
              </a:extLst>
            </p:cNvPr>
            <p:cNvSpPr/>
            <p:nvPr/>
          </p:nvSpPr>
          <p:spPr>
            <a:xfrm>
              <a:off x="4007693" y="2414444"/>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0" name="Freeform 120">
              <a:extLst>
                <a:ext uri="{FF2B5EF4-FFF2-40B4-BE49-F238E27FC236}">
                  <a16:creationId xmlns:a16="http://schemas.microsoft.com/office/drawing/2014/main" id="{8011FD39-1832-147B-A89B-E23952DFF51D}"/>
                </a:ext>
              </a:extLst>
            </p:cNvPr>
            <p:cNvSpPr/>
            <p:nvPr/>
          </p:nvSpPr>
          <p:spPr>
            <a:xfrm>
              <a:off x="4036980" y="2414444"/>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1" name="Freeform 121">
              <a:extLst>
                <a:ext uri="{FF2B5EF4-FFF2-40B4-BE49-F238E27FC236}">
                  <a16:creationId xmlns:a16="http://schemas.microsoft.com/office/drawing/2014/main" id="{4065AB12-C6E5-C6E9-4129-8BB7DE5B46AC}"/>
                </a:ext>
              </a:extLst>
            </p:cNvPr>
            <p:cNvSpPr/>
            <p:nvPr/>
          </p:nvSpPr>
          <p:spPr>
            <a:xfrm>
              <a:off x="4040800" y="2434758"/>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2" name="Freeform 122">
              <a:extLst>
                <a:ext uri="{FF2B5EF4-FFF2-40B4-BE49-F238E27FC236}">
                  <a16:creationId xmlns:a16="http://schemas.microsoft.com/office/drawing/2014/main" id="{C8D4F323-B77B-CE45-705F-CB67FDCDD0C9}"/>
                </a:ext>
              </a:extLst>
            </p:cNvPr>
            <p:cNvSpPr/>
            <p:nvPr/>
          </p:nvSpPr>
          <p:spPr>
            <a:xfrm>
              <a:off x="4053534" y="247538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3" name="Freeform 123">
              <a:extLst>
                <a:ext uri="{FF2B5EF4-FFF2-40B4-BE49-F238E27FC236}">
                  <a16:creationId xmlns:a16="http://schemas.microsoft.com/office/drawing/2014/main" id="{BFA9FB9A-B93E-CFA3-098F-30D746F88CF2}"/>
                </a:ext>
              </a:extLst>
            </p:cNvPr>
            <p:cNvSpPr/>
            <p:nvPr/>
          </p:nvSpPr>
          <p:spPr>
            <a:xfrm>
              <a:off x="4057354" y="247538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4" name="Freeform 124">
              <a:extLst>
                <a:ext uri="{FF2B5EF4-FFF2-40B4-BE49-F238E27FC236}">
                  <a16:creationId xmlns:a16="http://schemas.microsoft.com/office/drawing/2014/main" id="{DC1E1A0E-20D4-B037-B21B-52CCB20BFDE9}"/>
                </a:ext>
              </a:extLst>
            </p:cNvPr>
            <p:cNvSpPr/>
            <p:nvPr/>
          </p:nvSpPr>
          <p:spPr>
            <a:xfrm>
              <a:off x="4062447" y="2475386"/>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5" name="Freeform 125">
              <a:extLst>
                <a:ext uri="{FF2B5EF4-FFF2-40B4-BE49-F238E27FC236}">
                  <a16:creationId xmlns:a16="http://schemas.microsoft.com/office/drawing/2014/main" id="{C1F04478-38C6-0BC9-0661-FA5004AD807E}"/>
                </a:ext>
              </a:extLst>
            </p:cNvPr>
            <p:cNvSpPr/>
            <p:nvPr/>
          </p:nvSpPr>
          <p:spPr>
            <a:xfrm>
              <a:off x="4296743" y="2538868"/>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6" name="Freeform 126">
              <a:extLst>
                <a:ext uri="{FF2B5EF4-FFF2-40B4-BE49-F238E27FC236}">
                  <a16:creationId xmlns:a16="http://schemas.microsoft.com/office/drawing/2014/main" id="{F2908487-DC3E-F675-CF4E-7FFCC46EE1EC}"/>
                </a:ext>
              </a:extLst>
            </p:cNvPr>
            <p:cNvSpPr/>
            <p:nvPr/>
          </p:nvSpPr>
          <p:spPr>
            <a:xfrm>
              <a:off x="4305657" y="2538868"/>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7" name="Freeform 127">
              <a:extLst>
                <a:ext uri="{FF2B5EF4-FFF2-40B4-BE49-F238E27FC236}">
                  <a16:creationId xmlns:a16="http://schemas.microsoft.com/office/drawing/2014/main" id="{CE82B39A-6B41-03DD-7D6D-3AB4DBAC73AB}"/>
                </a:ext>
              </a:extLst>
            </p:cNvPr>
            <p:cNvSpPr/>
            <p:nvPr/>
          </p:nvSpPr>
          <p:spPr>
            <a:xfrm>
              <a:off x="4422805" y="2625202"/>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8" name="Freeform 128">
              <a:extLst>
                <a:ext uri="{FF2B5EF4-FFF2-40B4-BE49-F238E27FC236}">
                  <a16:creationId xmlns:a16="http://schemas.microsoft.com/office/drawing/2014/main" id="{09FC5551-B267-0D9C-A0B5-9EC9B168EA34}"/>
                </a:ext>
              </a:extLst>
            </p:cNvPr>
            <p:cNvSpPr/>
            <p:nvPr/>
          </p:nvSpPr>
          <p:spPr>
            <a:xfrm>
              <a:off x="4734775" y="2758513"/>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9" name="Freeform 129">
              <a:extLst>
                <a:ext uri="{FF2B5EF4-FFF2-40B4-BE49-F238E27FC236}">
                  <a16:creationId xmlns:a16="http://schemas.microsoft.com/office/drawing/2014/main" id="{AA304334-0128-FA0F-4644-D4F3441CD396}"/>
                </a:ext>
              </a:extLst>
            </p:cNvPr>
            <p:cNvSpPr/>
            <p:nvPr/>
          </p:nvSpPr>
          <p:spPr>
            <a:xfrm>
              <a:off x="5003452" y="2915946"/>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70" name="Freeform 130">
              <a:extLst>
                <a:ext uri="{FF2B5EF4-FFF2-40B4-BE49-F238E27FC236}">
                  <a16:creationId xmlns:a16="http://schemas.microsoft.com/office/drawing/2014/main" id="{CAF2E691-8558-7660-6531-B1A47A25E5A1}"/>
                </a:ext>
              </a:extLst>
            </p:cNvPr>
            <p:cNvSpPr/>
            <p:nvPr/>
          </p:nvSpPr>
          <p:spPr>
            <a:xfrm>
              <a:off x="5104046" y="293880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71" name="Freeform 131">
              <a:extLst>
                <a:ext uri="{FF2B5EF4-FFF2-40B4-BE49-F238E27FC236}">
                  <a16:creationId xmlns:a16="http://schemas.microsoft.com/office/drawing/2014/main" id="{F0AAF006-17F1-E0E9-B433-7B4E97866CB1}"/>
                </a:ext>
              </a:extLst>
            </p:cNvPr>
            <p:cNvSpPr/>
            <p:nvPr/>
          </p:nvSpPr>
          <p:spPr>
            <a:xfrm>
              <a:off x="5109140" y="293880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72" name="Freeform 132">
              <a:extLst>
                <a:ext uri="{FF2B5EF4-FFF2-40B4-BE49-F238E27FC236}">
                  <a16:creationId xmlns:a16="http://schemas.microsoft.com/office/drawing/2014/main" id="{31E1729D-9796-CB82-A348-EC021695A3C7}"/>
                </a:ext>
              </a:extLst>
            </p:cNvPr>
            <p:cNvSpPr/>
            <p:nvPr/>
          </p:nvSpPr>
          <p:spPr>
            <a:xfrm>
              <a:off x="5112960" y="293880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73" name="Freeform 133">
              <a:extLst>
                <a:ext uri="{FF2B5EF4-FFF2-40B4-BE49-F238E27FC236}">
                  <a16:creationId xmlns:a16="http://schemas.microsoft.com/office/drawing/2014/main" id="{07980D53-F640-2AC1-9A40-688C4B98387E}"/>
                </a:ext>
              </a:extLst>
            </p:cNvPr>
            <p:cNvSpPr/>
            <p:nvPr/>
          </p:nvSpPr>
          <p:spPr>
            <a:xfrm>
              <a:off x="5112960" y="293880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74" name="Freeform 134">
              <a:extLst>
                <a:ext uri="{FF2B5EF4-FFF2-40B4-BE49-F238E27FC236}">
                  <a16:creationId xmlns:a16="http://schemas.microsoft.com/office/drawing/2014/main" id="{0BD54BD6-576D-8C05-6384-331CB299F2BB}"/>
                </a:ext>
              </a:extLst>
            </p:cNvPr>
            <p:cNvSpPr/>
            <p:nvPr/>
          </p:nvSpPr>
          <p:spPr>
            <a:xfrm>
              <a:off x="5112960" y="293880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75" name="Freeform 135">
              <a:extLst>
                <a:ext uri="{FF2B5EF4-FFF2-40B4-BE49-F238E27FC236}">
                  <a16:creationId xmlns:a16="http://schemas.microsoft.com/office/drawing/2014/main" id="{492F20C7-6D33-623A-EA29-C63E57FEB6E0}"/>
                </a:ext>
              </a:extLst>
            </p:cNvPr>
            <p:cNvSpPr/>
            <p:nvPr/>
          </p:nvSpPr>
          <p:spPr>
            <a:xfrm>
              <a:off x="5125693" y="293880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76" name="Freeform 136">
              <a:extLst>
                <a:ext uri="{FF2B5EF4-FFF2-40B4-BE49-F238E27FC236}">
                  <a16:creationId xmlns:a16="http://schemas.microsoft.com/office/drawing/2014/main" id="{E4D633F8-19AE-203A-2BB0-7A0E0EC4C15D}"/>
                </a:ext>
              </a:extLst>
            </p:cNvPr>
            <p:cNvSpPr/>
            <p:nvPr/>
          </p:nvSpPr>
          <p:spPr>
            <a:xfrm>
              <a:off x="5142247" y="2938800"/>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77" name="Freeform 137">
              <a:extLst>
                <a:ext uri="{FF2B5EF4-FFF2-40B4-BE49-F238E27FC236}">
                  <a16:creationId xmlns:a16="http://schemas.microsoft.com/office/drawing/2014/main" id="{13AC4AB0-43B1-519A-2286-5CB8BA6D7F2F}"/>
                </a:ext>
              </a:extLst>
            </p:cNvPr>
            <p:cNvSpPr/>
            <p:nvPr/>
          </p:nvSpPr>
          <p:spPr>
            <a:xfrm>
              <a:off x="5356169" y="3101312"/>
              <a:ext cx="12733" cy="45706"/>
            </a:xfrm>
            <a:custGeom>
              <a:avLst/>
              <a:gdLst>
                <a:gd name="connsiteX0" fmla="*/ 0 w 12733"/>
                <a:gd name="connsiteY0" fmla="*/ 45707 h 45706"/>
                <a:gd name="connsiteX1" fmla="*/ 0 w 12733"/>
                <a:gd name="connsiteY1" fmla="*/ 0 h 45706"/>
              </a:gdLst>
              <a:ahLst/>
              <a:cxnLst>
                <a:cxn ang="0">
                  <a:pos x="connsiteX0" y="connsiteY0"/>
                </a:cxn>
                <a:cxn ang="0">
                  <a:pos x="connsiteX1" y="connsiteY1"/>
                </a:cxn>
              </a:cxnLst>
              <a:rect l="l" t="t" r="r" b="b"/>
              <a:pathLst>
                <a:path w="12733" h="45706">
                  <a:moveTo>
                    <a:pt x="0" y="45707"/>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78" name="Freeform 138">
              <a:extLst>
                <a:ext uri="{FF2B5EF4-FFF2-40B4-BE49-F238E27FC236}">
                  <a16:creationId xmlns:a16="http://schemas.microsoft.com/office/drawing/2014/main" id="{089195D8-7F4C-41C7-A186-2D14D3C53CF2}"/>
                </a:ext>
              </a:extLst>
            </p:cNvPr>
            <p:cNvSpPr/>
            <p:nvPr/>
          </p:nvSpPr>
          <p:spPr>
            <a:xfrm>
              <a:off x="5465677" y="3213039"/>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79" name="Freeform 139">
              <a:extLst>
                <a:ext uri="{FF2B5EF4-FFF2-40B4-BE49-F238E27FC236}">
                  <a16:creationId xmlns:a16="http://schemas.microsoft.com/office/drawing/2014/main" id="{6F9E4F79-389B-7A1B-8737-1418FF0A34CB}"/>
                </a:ext>
              </a:extLst>
            </p:cNvPr>
            <p:cNvSpPr/>
            <p:nvPr/>
          </p:nvSpPr>
          <p:spPr>
            <a:xfrm>
              <a:off x="5465677" y="3213039"/>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80" name="Freeform 140">
              <a:extLst>
                <a:ext uri="{FF2B5EF4-FFF2-40B4-BE49-F238E27FC236}">
                  <a16:creationId xmlns:a16="http://schemas.microsoft.com/office/drawing/2014/main" id="{FE369CA8-6706-12CA-EF87-A5C84F34F005}"/>
                </a:ext>
              </a:extLst>
            </p:cNvPr>
            <p:cNvSpPr/>
            <p:nvPr/>
          </p:nvSpPr>
          <p:spPr>
            <a:xfrm>
              <a:off x="5465677" y="3213039"/>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81" name="Freeform 141">
              <a:extLst>
                <a:ext uri="{FF2B5EF4-FFF2-40B4-BE49-F238E27FC236}">
                  <a16:creationId xmlns:a16="http://schemas.microsoft.com/office/drawing/2014/main" id="{E8D5C74B-269B-80B4-F1A3-5F3A898833CB}"/>
                </a:ext>
              </a:extLst>
            </p:cNvPr>
            <p:cNvSpPr/>
            <p:nvPr/>
          </p:nvSpPr>
          <p:spPr>
            <a:xfrm>
              <a:off x="5474591" y="3213039"/>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82" name="Freeform 142">
              <a:extLst>
                <a:ext uri="{FF2B5EF4-FFF2-40B4-BE49-F238E27FC236}">
                  <a16:creationId xmlns:a16="http://schemas.microsoft.com/office/drawing/2014/main" id="{2991AAC6-60F7-A203-B14E-6FC1D033963D}"/>
                </a:ext>
              </a:extLst>
            </p:cNvPr>
            <p:cNvSpPr/>
            <p:nvPr/>
          </p:nvSpPr>
          <p:spPr>
            <a:xfrm>
              <a:off x="5810755" y="3470772"/>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83" name="Freeform 143">
              <a:extLst>
                <a:ext uri="{FF2B5EF4-FFF2-40B4-BE49-F238E27FC236}">
                  <a16:creationId xmlns:a16="http://schemas.microsoft.com/office/drawing/2014/main" id="{2A594C76-7171-4B5B-9964-8CF66DDB442D}"/>
                </a:ext>
              </a:extLst>
            </p:cNvPr>
            <p:cNvSpPr/>
            <p:nvPr/>
          </p:nvSpPr>
          <p:spPr>
            <a:xfrm>
              <a:off x="5814575" y="3470772"/>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84" name="Freeform 144">
              <a:extLst>
                <a:ext uri="{FF2B5EF4-FFF2-40B4-BE49-F238E27FC236}">
                  <a16:creationId xmlns:a16="http://schemas.microsoft.com/office/drawing/2014/main" id="{8DAA4425-A78A-F76A-A363-F246E25D4CE7}"/>
                </a:ext>
              </a:extLst>
            </p:cNvPr>
            <p:cNvSpPr/>
            <p:nvPr/>
          </p:nvSpPr>
          <p:spPr>
            <a:xfrm>
              <a:off x="6146918" y="3544411"/>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85" name="Freeform 145">
              <a:extLst>
                <a:ext uri="{FF2B5EF4-FFF2-40B4-BE49-F238E27FC236}">
                  <a16:creationId xmlns:a16="http://schemas.microsoft.com/office/drawing/2014/main" id="{E88EDC09-7CCC-5856-C23B-08AC5BB661A9}"/>
                </a:ext>
              </a:extLst>
            </p:cNvPr>
            <p:cNvSpPr/>
            <p:nvPr/>
          </p:nvSpPr>
          <p:spPr>
            <a:xfrm>
              <a:off x="6155832" y="3544411"/>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86" name="Freeform 146">
              <a:extLst>
                <a:ext uri="{FF2B5EF4-FFF2-40B4-BE49-F238E27FC236}">
                  <a16:creationId xmlns:a16="http://schemas.microsoft.com/office/drawing/2014/main" id="{8929D7E7-5BF2-8A85-DE7E-6690D5AF8910}"/>
                </a:ext>
              </a:extLst>
            </p:cNvPr>
            <p:cNvSpPr/>
            <p:nvPr/>
          </p:nvSpPr>
          <p:spPr>
            <a:xfrm>
              <a:off x="6167292" y="3544411"/>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87" name="Freeform 147">
              <a:extLst>
                <a:ext uri="{FF2B5EF4-FFF2-40B4-BE49-F238E27FC236}">
                  <a16:creationId xmlns:a16="http://schemas.microsoft.com/office/drawing/2014/main" id="{76703ABE-E4B3-DAAA-BF02-B59B976C6ECA}"/>
                </a:ext>
              </a:extLst>
            </p:cNvPr>
            <p:cNvSpPr/>
            <p:nvPr/>
          </p:nvSpPr>
          <p:spPr>
            <a:xfrm>
              <a:off x="6176206" y="3544411"/>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88" name="Freeform 148">
              <a:extLst>
                <a:ext uri="{FF2B5EF4-FFF2-40B4-BE49-F238E27FC236}">
                  <a16:creationId xmlns:a16="http://schemas.microsoft.com/office/drawing/2014/main" id="{BE354FDB-7A97-9F2C-CCA5-18221B8231E6}"/>
                </a:ext>
              </a:extLst>
            </p:cNvPr>
            <p:cNvSpPr/>
            <p:nvPr/>
          </p:nvSpPr>
          <p:spPr>
            <a:xfrm>
              <a:off x="6205493" y="3544411"/>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89" name="Freeform 149">
              <a:extLst>
                <a:ext uri="{FF2B5EF4-FFF2-40B4-BE49-F238E27FC236}">
                  <a16:creationId xmlns:a16="http://schemas.microsoft.com/office/drawing/2014/main" id="{D59DD340-DFCC-D9FA-DC9B-A2A2986EA759}"/>
                </a:ext>
              </a:extLst>
            </p:cNvPr>
            <p:cNvSpPr/>
            <p:nvPr/>
          </p:nvSpPr>
          <p:spPr>
            <a:xfrm>
              <a:off x="6499636" y="3663755"/>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90" name="Freeform 150">
              <a:extLst>
                <a:ext uri="{FF2B5EF4-FFF2-40B4-BE49-F238E27FC236}">
                  <a16:creationId xmlns:a16="http://schemas.microsoft.com/office/drawing/2014/main" id="{4E159DC4-D0BA-A47B-6E7E-72054BC3506A}"/>
                </a:ext>
              </a:extLst>
            </p:cNvPr>
            <p:cNvSpPr/>
            <p:nvPr/>
          </p:nvSpPr>
          <p:spPr>
            <a:xfrm>
              <a:off x="6508549" y="3663755"/>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91" name="Freeform 151">
              <a:extLst>
                <a:ext uri="{FF2B5EF4-FFF2-40B4-BE49-F238E27FC236}">
                  <a16:creationId xmlns:a16="http://schemas.microsoft.com/office/drawing/2014/main" id="{CA15D95C-E3AC-303E-0777-27E5D0868F1D}"/>
                </a:ext>
              </a:extLst>
            </p:cNvPr>
            <p:cNvSpPr/>
            <p:nvPr/>
          </p:nvSpPr>
          <p:spPr>
            <a:xfrm>
              <a:off x="6516190" y="3663755"/>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92" name="Freeform 152">
              <a:extLst>
                <a:ext uri="{FF2B5EF4-FFF2-40B4-BE49-F238E27FC236}">
                  <a16:creationId xmlns:a16="http://schemas.microsoft.com/office/drawing/2014/main" id="{28CFCEA6-5D45-5A4F-0D23-D1404B256CA4}"/>
                </a:ext>
              </a:extLst>
            </p:cNvPr>
            <p:cNvSpPr/>
            <p:nvPr/>
          </p:nvSpPr>
          <p:spPr>
            <a:xfrm>
              <a:off x="6516190" y="3663755"/>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93" name="Freeform 153">
              <a:extLst>
                <a:ext uri="{FF2B5EF4-FFF2-40B4-BE49-F238E27FC236}">
                  <a16:creationId xmlns:a16="http://schemas.microsoft.com/office/drawing/2014/main" id="{229D4020-2875-4F7E-BB94-950080716102}"/>
                </a:ext>
              </a:extLst>
            </p:cNvPr>
            <p:cNvSpPr/>
            <p:nvPr/>
          </p:nvSpPr>
          <p:spPr>
            <a:xfrm>
              <a:off x="6528923" y="3663755"/>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94" name="Freeform 154">
              <a:extLst>
                <a:ext uri="{FF2B5EF4-FFF2-40B4-BE49-F238E27FC236}">
                  <a16:creationId xmlns:a16="http://schemas.microsoft.com/office/drawing/2014/main" id="{A7281001-79D1-D969-27C1-EEB4B171017F}"/>
                </a:ext>
              </a:extLst>
            </p:cNvPr>
            <p:cNvSpPr/>
            <p:nvPr/>
          </p:nvSpPr>
          <p:spPr>
            <a:xfrm>
              <a:off x="6541656" y="3663755"/>
              <a:ext cx="12733" cy="45706"/>
            </a:xfrm>
            <a:custGeom>
              <a:avLst/>
              <a:gdLst>
                <a:gd name="connsiteX0" fmla="*/ 0 w 12733"/>
                <a:gd name="connsiteY0" fmla="*/ 45706 h 45706"/>
                <a:gd name="connsiteX1" fmla="*/ 0 w 12733"/>
                <a:gd name="connsiteY1" fmla="*/ 0 h 45706"/>
              </a:gdLst>
              <a:ahLst/>
              <a:cxnLst>
                <a:cxn ang="0">
                  <a:pos x="connsiteX0" y="connsiteY0"/>
                </a:cxn>
                <a:cxn ang="0">
                  <a:pos x="connsiteX1" y="connsiteY1"/>
                </a:cxn>
              </a:cxnLst>
              <a:rect l="l" t="t" r="r" b="b"/>
              <a:pathLst>
                <a:path w="12733" h="45706">
                  <a:moveTo>
                    <a:pt x="0" y="45706"/>
                  </a:moveTo>
                  <a:lnTo>
                    <a:pt x="0" y="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95" name="Freeform 155">
              <a:extLst>
                <a:ext uri="{FF2B5EF4-FFF2-40B4-BE49-F238E27FC236}">
                  <a16:creationId xmlns:a16="http://schemas.microsoft.com/office/drawing/2014/main" id="{30AC45FA-7CFA-9C17-0D8D-7E24C2254E71}"/>
                </a:ext>
              </a:extLst>
            </p:cNvPr>
            <p:cNvSpPr/>
            <p:nvPr/>
          </p:nvSpPr>
          <p:spPr>
            <a:xfrm>
              <a:off x="6541656" y="3704383"/>
              <a:ext cx="3820" cy="1269"/>
            </a:xfrm>
            <a:custGeom>
              <a:avLst/>
              <a:gdLst>
                <a:gd name="connsiteX0" fmla="*/ 3820 w 3820"/>
                <a:gd name="connsiteY0" fmla="*/ 0 h 1269"/>
                <a:gd name="connsiteX1" fmla="*/ 0 w 3820"/>
                <a:gd name="connsiteY1" fmla="*/ 1270 h 1269"/>
              </a:gdLst>
              <a:ahLst/>
              <a:cxnLst>
                <a:cxn ang="0">
                  <a:pos x="connsiteX0" y="connsiteY0"/>
                </a:cxn>
                <a:cxn ang="0">
                  <a:pos x="connsiteX1" y="connsiteY1"/>
                </a:cxn>
              </a:cxnLst>
              <a:rect l="l" t="t" r="r" b="b"/>
              <a:pathLst>
                <a:path w="3820" h="1269">
                  <a:moveTo>
                    <a:pt x="3820" y="0"/>
                  </a:moveTo>
                  <a:lnTo>
                    <a:pt x="0" y="1270"/>
                  </a:lnTo>
                </a:path>
              </a:pathLst>
            </a:custGeom>
            <a:ln w="15875"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96" name="Freeform 156">
              <a:extLst>
                <a:ext uri="{FF2B5EF4-FFF2-40B4-BE49-F238E27FC236}">
                  <a16:creationId xmlns:a16="http://schemas.microsoft.com/office/drawing/2014/main" id="{C42FD9C4-8ED4-00FD-6233-BB72F8C38BEA}"/>
                </a:ext>
              </a:extLst>
            </p:cNvPr>
            <p:cNvSpPr/>
            <p:nvPr/>
          </p:nvSpPr>
          <p:spPr>
            <a:xfrm>
              <a:off x="1229247" y="981038"/>
              <a:ext cx="5312409" cy="2724615"/>
            </a:xfrm>
            <a:custGeom>
              <a:avLst/>
              <a:gdLst>
                <a:gd name="connsiteX0" fmla="*/ 0 w 5312409"/>
                <a:gd name="connsiteY0" fmla="*/ 0 h 2724615"/>
                <a:gd name="connsiteX1" fmla="*/ 3820 w 5312409"/>
                <a:gd name="connsiteY1" fmla="*/ 0 h 2724615"/>
                <a:gd name="connsiteX2" fmla="*/ 38200 w 5312409"/>
                <a:gd name="connsiteY2" fmla="*/ 0 h 2724615"/>
                <a:gd name="connsiteX3" fmla="*/ 38200 w 5312409"/>
                <a:gd name="connsiteY3" fmla="*/ 17775 h 2724615"/>
                <a:gd name="connsiteX4" fmla="*/ 129882 w 5312409"/>
                <a:gd name="connsiteY4" fmla="*/ 17775 h 2724615"/>
                <a:gd name="connsiteX5" fmla="*/ 129882 w 5312409"/>
                <a:gd name="connsiteY5" fmla="*/ 35550 h 2724615"/>
                <a:gd name="connsiteX6" fmla="*/ 138795 w 5312409"/>
                <a:gd name="connsiteY6" fmla="*/ 35550 h 2724615"/>
                <a:gd name="connsiteX7" fmla="*/ 138795 w 5312409"/>
                <a:gd name="connsiteY7" fmla="*/ 53324 h 2724615"/>
                <a:gd name="connsiteX8" fmla="*/ 168082 w 5312409"/>
                <a:gd name="connsiteY8" fmla="*/ 53324 h 2724615"/>
                <a:gd name="connsiteX9" fmla="*/ 168082 w 5312409"/>
                <a:gd name="connsiteY9" fmla="*/ 71099 h 2724615"/>
                <a:gd name="connsiteX10" fmla="*/ 243210 w 5312409"/>
                <a:gd name="connsiteY10" fmla="*/ 71099 h 2724615"/>
                <a:gd name="connsiteX11" fmla="*/ 243210 w 5312409"/>
                <a:gd name="connsiteY11" fmla="*/ 88874 h 2724615"/>
                <a:gd name="connsiteX12" fmla="*/ 248303 w 5312409"/>
                <a:gd name="connsiteY12" fmla="*/ 88874 h 2724615"/>
                <a:gd name="connsiteX13" fmla="*/ 248303 w 5312409"/>
                <a:gd name="connsiteY13" fmla="*/ 106648 h 2724615"/>
                <a:gd name="connsiteX14" fmla="*/ 268677 w 5312409"/>
                <a:gd name="connsiteY14" fmla="*/ 106648 h 2724615"/>
                <a:gd name="connsiteX15" fmla="*/ 268677 w 5312409"/>
                <a:gd name="connsiteY15" fmla="*/ 125693 h 2724615"/>
                <a:gd name="connsiteX16" fmla="*/ 352718 w 5312409"/>
                <a:gd name="connsiteY16" fmla="*/ 125693 h 2724615"/>
                <a:gd name="connsiteX17" fmla="*/ 352718 w 5312409"/>
                <a:gd name="connsiteY17" fmla="*/ 143468 h 2724615"/>
                <a:gd name="connsiteX18" fmla="*/ 394738 w 5312409"/>
                <a:gd name="connsiteY18" fmla="*/ 143468 h 2724615"/>
                <a:gd name="connsiteX19" fmla="*/ 394738 w 5312409"/>
                <a:gd name="connsiteY19" fmla="*/ 161242 h 2724615"/>
                <a:gd name="connsiteX20" fmla="*/ 478779 w 5312409"/>
                <a:gd name="connsiteY20" fmla="*/ 161242 h 2724615"/>
                <a:gd name="connsiteX21" fmla="*/ 478779 w 5312409"/>
                <a:gd name="connsiteY21" fmla="*/ 179017 h 2724615"/>
                <a:gd name="connsiteX22" fmla="*/ 482599 w 5312409"/>
                <a:gd name="connsiteY22" fmla="*/ 179017 h 2724615"/>
                <a:gd name="connsiteX23" fmla="*/ 482599 w 5312409"/>
                <a:gd name="connsiteY23" fmla="*/ 196792 h 2724615"/>
                <a:gd name="connsiteX24" fmla="*/ 495333 w 5312409"/>
                <a:gd name="connsiteY24" fmla="*/ 196792 h 2724615"/>
                <a:gd name="connsiteX25" fmla="*/ 495333 w 5312409"/>
                <a:gd name="connsiteY25" fmla="*/ 214567 h 2724615"/>
                <a:gd name="connsiteX26" fmla="*/ 513159 w 5312409"/>
                <a:gd name="connsiteY26" fmla="*/ 214567 h 2724615"/>
                <a:gd name="connsiteX27" fmla="*/ 513159 w 5312409"/>
                <a:gd name="connsiteY27" fmla="*/ 232341 h 2724615"/>
                <a:gd name="connsiteX28" fmla="*/ 567913 w 5312409"/>
                <a:gd name="connsiteY28" fmla="*/ 232341 h 2724615"/>
                <a:gd name="connsiteX29" fmla="*/ 567913 w 5312409"/>
                <a:gd name="connsiteY29" fmla="*/ 250116 h 2724615"/>
                <a:gd name="connsiteX30" fmla="*/ 663415 w 5312409"/>
                <a:gd name="connsiteY30" fmla="*/ 250116 h 2724615"/>
                <a:gd name="connsiteX31" fmla="*/ 663415 w 5312409"/>
                <a:gd name="connsiteY31" fmla="*/ 267891 h 2724615"/>
                <a:gd name="connsiteX32" fmla="*/ 688882 w 5312409"/>
                <a:gd name="connsiteY32" fmla="*/ 267891 h 2724615"/>
                <a:gd name="connsiteX33" fmla="*/ 688882 w 5312409"/>
                <a:gd name="connsiteY33" fmla="*/ 286935 h 2724615"/>
                <a:gd name="connsiteX34" fmla="*/ 693975 w 5312409"/>
                <a:gd name="connsiteY34" fmla="*/ 286935 h 2724615"/>
                <a:gd name="connsiteX35" fmla="*/ 693975 w 5312409"/>
                <a:gd name="connsiteY35" fmla="*/ 304710 h 2724615"/>
                <a:gd name="connsiteX36" fmla="*/ 697795 w 5312409"/>
                <a:gd name="connsiteY36" fmla="*/ 304710 h 2724615"/>
                <a:gd name="connsiteX37" fmla="*/ 697795 w 5312409"/>
                <a:gd name="connsiteY37" fmla="*/ 322485 h 2724615"/>
                <a:gd name="connsiteX38" fmla="*/ 701615 w 5312409"/>
                <a:gd name="connsiteY38" fmla="*/ 322485 h 2724615"/>
                <a:gd name="connsiteX39" fmla="*/ 701615 w 5312409"/>
                <a:gd name="connsiteY39" fmla="*/ 340259 h 2724615"/>
                <a:gd name="connsiteX40" fmla="*/ 705435 w 5312409"/>
                <a:gd name="connsiteY40" fmla="*/ 340259 h 2724615"/>
                <a:gd name="connsiteX41" fmla="*/ 705435 w 5312409"/>
                <a:gd name="connsiteY41" fmla="*/ 358034 h 2724615"/>
                <a:gd name="connsiteX42" fmla="*/ 710528 w 5312409"/>
                <a:gd name="connsiteY42" fmla="*/ 358034 h 2724615"/>
                <a:gd name="connsiteX43" fmla="*/ 710528 w 5312409"/>
                <a:gd name="connsiteY43" fmla="*/ 375809 h 2724615"/>
                <a:gd name="connsiteX44" fmla="*/ 886251 w 5312409"/>
                <a:gd name="connsiteY44" fmla="*/ 375809 h 2724615"/>
                <a:gd name="connsiteX45" fmla="*/ 886251 w 5312409"/>
                <a:gd name="connsiteY45" fmla="*/ 393584 h 2724615"/>
                <a:gd name="connsiteX46" fmla="*/ 933364 w 5312409"/>
                <a:gd name="connsiteY46" fmla="*/ 393584 h 2724615"/>
                <a:gd name="connsiteX47" fmla="*/ 933364 w 5312409"/>
                <a:gd name="connsiteY47" fmla="*/ 411359 h 2724615"/>
                <a:gd name="connsiteX48" fmla="*/ 937184 w 5312409"/>
                <a:gd name="connsiteY48" fmla="*/ 411359 h 2724615"/>
                <a:gd name="connsiteX49" fmla="*/ 937184 w 5312409"/>
                <a:gd name="connsiteY49" fmla="*/ 429133 h 2724615"/>
                <a:gd name="connsiteX50" fmla="*/ 949918 w 5312409"/>
                <a:gd name="connsiteY50" fmla="*/ 429133 h 2724615"/>
                <a:gd name="connsiteX51" fmla="*/ 949918 w 5312409"/>
                <a:gd name="connsiteY51" fmla="*/ 448178 h 2724615"/>
                <a:gd name="connsiteX52" fmla="*/ 995758 w 5312409"/>
                <a:gd name="connsiteY52" fmla="*/ 448178 h 2724615"/>
                <a:gd name="connsiteX53" fmla="*/ 995758 w 5312409"/>
                <a:gd name="connsiteY53" fmla="*/ 465952 h 2724615"/>
                <a:gd name="connsiteX54" fmla="*/ 1008492 w 5312409"/>
                <a:gd name="connsiteY54" fmla="*/ 465952 h 2724615"/>
                <a:gd name="connsiteX55" fmla="*/ 1008492 w 5312409"/>
                <a:gd name="connsiteY55" fmla="*/ 483727 h 2724615"/>
                <a:gd name="connsiteX56" fmla="*/ 1021225 w 5312409"/>
                <a:gd name="connsiteY56" fmla="*/ 483727 h 2724615"/>
                <a:gd name="connsiteX57" fmla="*/ 1021225 w 5312409"/>
                <a:gd name="connsiteY57" fmla="*/ 501502 h 2724615"/>
                <a:gd name="connsiteX58" fmla="*/ 1075979 w 5312409"/>
                <a:gd name="connsiteY58" fmla="*/ 501502 h 2724615"/>
                <a:gd name="connsiteX59" fmla="*/ 1101446 w 5312409"/>
                <a:gd name="connsiteY59" fmla="*/ 501502 h 2724615"/>
                <a:gd name="connsiteX60" fmla="*/ 1101446 w 5312409"/>
                <a:gd name="connsiteY60" fmla="*/ 519277 h 2724615"/>
                <a:gd name="connsiteX61" fmla="*/ 1168934 w 5312409"/>
                <a:gd name="connsiteY61" fmla="*/ 519277 h 2724615"/>
                <a:gd name="connsiteX62" fmla="*/ 1168934 w 5312409"/>
                <a:gd name="connsiteY62" fmla="*/ 537051 h 2724615"/>
                <a:gd name="connsiteX63" fmla="*/ 1181667 w 5312409"/>
                <a:gd name="connsiteY63" fmla="*/ 537051 h 2724615"/>
                <a:gd name="connsiteX64" fmla="*/ 1181667 w 5312409"/>
                <a:gd name="connsiteY64" fmla="*/ 556096 h 2724615"/>
                <a:gd name="connsiteX65" fmla="*/ 1189307 w 5312409"/>
                <a:gd name="connsiteY65" fmla="*/ 556096 h 2724615"/>
                <a:gd name="connsiteX66" fmla="*/ 1189307 w 5312409"/>
                <a:gd name="connsiteY66" fmla="*/ 573870 h 2724615"/>
                <a:gd name="connsiteX67" fmla="*/ 1198221 w 5312409"/>
                <a:gd name="connsiteY67" fmla="*/ 573870 h 2724615"/>
                <a:gd name="connsiteX68" fmla="*/ 1264435 w 5312409"/>
                <a:gd name="connsiteY68" fmla="*/ 573870 h 2724615"/>
                <a:gd name="connsiteX69" fmla="*/ 1264435 w 5312409"/>
                <a:gd name="connsiteY69" fmla="*/ 591645 h 2724615"/>
                <a:gd name="connsiteX70" fmla="*/ 1298815 w 5312409"/>
                <a:gd name="connsiteY70" fmla="*/ 591645 h 2724615"/>
                <a:gd name="connsiteX71" fmla="*/ 1298815 w 5312409"/>
                <a:gd name="connsiteY71" fmla="*/ 610690 h 2724615"/>
                <a:gd name="connsiteX72" fmla="*/ 1337016 w 5312409"/>
                <a:gd name="connsiteY72" fmla="*/ 610690 h 2724615"/>
                <a:gd name="connsiteX73" fmla="*/ 1337016 w 5312409"/>
                <a:gd name="connsiteY73" fmla="*/ 628464 h 2724615"/>
                <a:gd name="connsiteX74" fmla="*/ 1412143 w 5312409"/>
                <a:gd name="connsiteY74" fmla="*/ 628464 h 2724615"/>
                <a:gd name="connsiteX75" fmla="*/ 1412143 w 5312409"/>
                <a:gd name="connsiteY75" fmla="*/ 646239 h 2724615"/>
                <a:gd name="connsiteX76" fmla="*/ 1415963 w 5312409"/>
                <a:gd name="connsiteY76" fmla="*/ 646239 h 2724615"/>
                <a:gd name="connsiteX77" fmla="*/ 1415963 w 5312409"/>
                <a:gd name="connsiteY77" fmla="*/ 665283 h 2724615"/>
                <a:gd name="connsiteX78" fmla="*/ 1421057 w 5312409"/>
                <a:gd name="connsiteY78" fmla="*/ 665283 h 2724615"/>
                <a:gd name="connsiteX79" fmla="*/ 1421057 w 5312409"/>
                <a:gd name="connsiteY79" fmla="*/ 684328 h 2724615"/>
                <a:gd name="connsiteX80" fmla="*/ 1428697 w 5312409"/>
                <a:gd name="connsiteY80" fmla="*/ 684328 h 2724615"/>
                <a:gd name="connsiteX81" fmla="*/ 1428697 w 5312409"/>
                <a:gd name="connsiteY81" fmla="*/ 702103 h 2724615"/>
                <a:gd name="connsiteX82" fmla="*/ 1437610 w 5312409"/>
                <a:gd name="connsiteY82" fmla="*/ 702103 h 2724615"/>
                <a:gd name="connsiteX83" fmla="*/ 1437610 w 5312409"/>
                <a:gd name="connsiteY83" fmla="*/ 721147 h 2724615"/>
                <a:gd name="connsiteX84" fmla="*/ 1521651 w 5312409"/>
                <a:gd name="connsiteY84" fmla="*/ 721147 h 2724615"/>
                <a:gd name="connsiteX85" fmla="*/ 1521651 w 5312409"/>
                <a:gd name="connsiteY85" fmla="*/ 757966 h 2724615"/>
                <a:gd name="connsiteX86" fmla="*/ 1626066 w 5312409"/>
                <a:gd name="connsiteY86" fmla="*/ 757966 h 2724615"/>
                <a:gd name="connsiteX87" fmla="*/ 1631159 w 5312409"/>
                <a:gd name="connsiteY87" fmla="*/ 757966 h 2724615"/>
                <a:gd name="connsiteX88" fmla="*/ 1631159 w 5312409"/>
                <a:gd name="connsiteY88" fmla="*/ 794785 h 2724615"/>
                <a:gd name="connsiteX89" fmla="*/ 1634979 w 5312409"/>
                <a:gd name="connsiteY89" fmla="*/ 794785 h 2724615"/>
                <a:gd name="connsiteX90" fmla="*/ 1634979 w 5312409"/>
                <a:gd name="connsiteY90" fmla="*/ 813830 h 2724615"/>
                <a:gd name="connsiteX91" fmla="*/ 1647713 w 5312409"/>
                <a:gd name="connsiteY91" fmla="*/ 813830 h 2724615"/>
                <a:gd name="connsiteX92" fmla="*/ 1647713 w 5312409"/>
                <a:gd name="connsiteY92" fmla="*/ 850649 h 2724615"/>
                <a:gd name="connsiteX93" fmla="*/ 1655353 w 5312409"/>
                <a:gd name="connsiteY93" fmla="*/ 850649 h 2724615"/>
                <a:gd name="connsiteX94" fmla="*/ 1655353 w 5312409"/>
                <a:gd name="connsiteY94" fmla="*/ 869693 h 2724615"/>
                <a:gd name="connsiteX95" fmla="*/ 1660446 w 5312409"/>
                <a:gd name="connsiteY95" fmla="*/ 869693 h 2724615"/>
                <a:gd name="connsiteX96" fmla="*/ 1664266 w 5312409"/>
                <a:gd name="connsiteY96" fmla="*/ 869693 h 2724615"/>
                <a:gd name="connsiteX97" fmla="*/ 1664266 w 5312409"/>
                <a:gd name="connsiteY97" fmla="*/ 887468 h 2724615"/>
                <a:gd name="connsiteX98" fmla="*/ 1685913 w 5312409"/>
                <a:gd name="connsiteY98" fmla="*/ 887468 h 2724615"/>
                <a:gd name="connsiteX99" fmla="*/ 1685913 w 5312409"/>
                <a:gd name="connsiteY99" fmla="*/ 906512 h 2724615"/>
                <a:gd name="connsiteX100" fmla="*/ 1761041 w 5312409"/>
                <a:gd name="connsiteY100" fmla="*/ 906512 h 2724615"/>
                <a:gd name="connsiteX101" fmla="*/ 1761041 w 5312409"/>
                <a:gd name="connsiteY101" fmla="*/ 925557 h 2724615"/>
                <a:gd name="connsiteX102" fmla="*/ 1782688 w 5312409"/>
                <a:gd name="connsiteY102" fmla="*/ 925557 h 2724615"/>
                <a:gd name="connsiteX103" fmla="*/ 1782688 w 5312409"/>
                <a:gd name="connsiteY103" fmla="*/ 944601 h 2724615"/>
                <a:gd name="connsiteX104" fmla="*/ 1803061 w 5312409"/>
                <a:gd name="connsiteY104" fmla="*/ 944601 h 2724615"/>
                <a:gd name="connsiteX105" fmla="*/ 1803061 w 5312409"/>
                <a:gd name="connsiteY105" fmla="*/ 962376 h 2724615"/>
                <a:gd name="connsiteX106" fmla="*/ 1883282 w 5312409"/>
                <a:gd name="connsiteY106" fmla="*/ 962376 h 2724615"/>
                <a:gd name="connsiteX107" fmla="*/ 1883282 w 5312409"/>
                <a:gd name="connsiteY107" fmla="*/ 981420 h 2724615"/>
                <a:gd name="connsiteX108" fmla="*/ 1887102 w 5312409"/>
                <a:gd name="connsiteY108" fmla="*/ 981420 h 2724615"/>
                <a:gd name="connsiteX109" fmla="*/ 1887102 w 5312409"/>
                <a:gd name="connsiteY109" fmla="*/ 1000464 h 2724615"/>
                <a:gd name="connsiteX110" fmla="*/ 1896016 w 5312409"/>
                <a:gd name="connsiteY110" fmla="*/ 1000464 h 2724615"/>
                <a:gd name="connsiteX111" fmla="*/ 1896016 w 5312409"/>
                <a:gd name="connsiteY111" fmla="*/ 1019509 h 2724615"/>
                <a:gd name="connsiteX112" fmla="*/ 1958410 w 5312409"/>
                <a:gd name="connsiteY112" fmla="*/ 1019509 h 2724615"/>
                <a:gd name="connsiteX113" fmla="*/ 1958410 w 5312409"/>
                <a:gd name="connsiteY113" fmla="*/ 1038553 h 2724615"/>
                <a:gd name="connsiteX114" fmla="*/ 2067918 w 5312409"/>
                <a:gd name="connsiteY114" fmla="*/ 1038553 h 2724615"/>
                <a:gd name="connsiteX115" fmla="*/ 2067918 w 5312409"/>
                <a:gd name="connsiteY115" fmla="*/ 1056328 h 2724615"/>
                <a:gd name="connsiteX116" fmla="*/ 2084471 w 5312409"/>
                <a:gd name="connsiteY116" fmla="*/ 1056328 h 2724615"/>
                <a:gd name="connsiteX117" fmla="*/ 2084471 w 5312409"/>
                <a:gd name="connsiteY117" fmla="*/ 1075372 h 2724615"/>
                <a:gd name="connsiteX118" fmla="*/ 2097205 w 5312409"/>
                <a:gd name="connsiteY118" fmla="*/ 1075372 h 2724615"/>
                <a:gd name="connsiteX119" fmla="*/ 2097205 w 5312409"/>
                <a:gd name="connsiteY119" fmla="*/ 1094417 h 2724615"/>
                <a:gd name="connsiteX120" fmla="*/ 2109938 w 5312409"/>
                <a:gd name="connsiteY120" fmla="*/ 1094417 h 2724615"/>
                <a:gd name="connsiteX121" fmla="*/ 2109938 w 5312409"/>
                <a:gd name="connsiteY121" fmla="*/ 1113461 h 2724615"/>
                <a:gd name="connsiteX122" fmla="*/ 2113758 w 5312409"/>
                <a:gd name="connsiteY122" fmla="*/ 1113461 h 2724615"/>
                <a:gd name="connsiteX123" fmla="*/ 2113758 w 5312409"/>
                <a:gd name="connsiteY123" fmla="*/ 1131236 h 2724615"/>
                <a:gd name="connsiteX124" fmla="*/ 2122672 w 5312409"/>
                <a:gd name="connsiteY124" fmla="*/ 1131236 h 2724615"/>
                <a:gd name="connsiteX125" fmla="*/ 2122672 w 5312409"/>
                <a:gd name="connsiteY125" fmla="*/ 1150280 h 2724615"/>
                <a:gd name="connsiteX126" fmla="*/ 2177426 w 5312409"/>
                <a:gd name="connsiteY126" fmla="*/ 1150280 h 2724615"/>
                <a:gd name="connsiteX127" fmla="*/ 2177426 w 5312409"/>
                <a:gd name="connsiteY127" fmla="*/ 1169325 h 2724615"/>
                <a:gd name="connsiteX128" fmla="*/ 2185066 w 5312409"/>
                <a:gd name="connsiteY128" fmla="*/ 1169325 h 2724615"/>
                <a:gd name="connsiteX129" fmla="*/ 2185066 w 5312409"/>
                <a:gd name="connsiteY129" fmla="*/ 1188369 h 2724615"/>
                <a:gd name="connsiteX130" fmla="*/ 2190159 w 5312409"/>
                <a:gd name="connsiteY130" fmla="*/ 1188369 h 2724615"/>
                <a:gd name="connsiteX131" fmla="*/ 2190159 w 5312409"/>
                <a:gd name="connsiteY131" fmla="*/ 1206144 h 2724615"/>
                <a:gd name="connsiteX132" fmla="*/ 2236000 w 5312409"/>
                <a:gd name="connsiteY132" fmla="*/ 1206144 h 2724615"/>
                <a:gd name="connsiteX133" fmla="*/ 2236000 w 5312409"/>
                <a:gd name="connsiteY133" fmla="*/ 1225188 h 2724615"/>
                <a:gd name="connsiteX134" fmla="*/ 2244913 w 5312409"/>
                <a:gd name="connsiteY134" fmla="*/ 1225188 h 2724615"/>
                <a:gd name="connsiteX135" fmla="*/ 2244913 w 5312409"/>
                <a:gd name="connsiteY135" fmla="*/ 1244232 h 2724615"/>
                <a:gd name="connsiteX136" fmla="*/ 2311127 w 5312409"/>
                <a:gd name="connsiteY136" fmla="*/ 1244232 h 2724615"/>
                <a:gd name="connsiteX137" fmla="*/ 2311127 w 5312409"/>
                <a:gd name="connsiteY137" fmla="*/ 1263277 h 2724615"/>
                <a:gd name="connsiteX138" fmla="*/ 2328954 w 5312409"/>
                <a:gd name="connsiteY138" fmla="*/ 1263277 h 2724615"/>
                <a:gd name="connsiteX139" fmla="*/ 2332774 w 5312409"/>
                <a:gd name="connsiteY139" fmla="*/ 1263277 h 2724615"/>
                <a:gd name="connsiteX140" fmla="*/ 2353148 w 5312409"/>
                <a:gd name="connsiteY140" fmla="*/ 1263277 h 2724615"/>
                <a:gd name="connsiteX141" fmla="*/ 2353148 w 5312409"/>
                <a:gd name="connsiteY141" fmla="*/ 1301366 h 2724615"/>
                <a:gd name="connsiteX142" fmla="*/ 2365881 w 5312409"/>
                <a:gd name="connsiteY142" fmla="*/ 1301366 h 2724615"/>
                <a:gd name="connsiteX143" fmla="*/ 2365881 w 5312409"/>
                <a:gd name="connsiteY143" fmla="*/ 1339454 h 2724615"/>
                <a:gd name="connsiteX144" fmla="*/ 2442282 w 5312409"/>
                <a:gd name="connsiteY144" fmla="*/ 1339454 h 2724615"/>
                <a:gd name="connsiteX145" fmla="*/ 2442282 w 5312409"/>
                <a:gd name="connsiteY145" fmla="*/ 1358499 h 2724615"/>
                <a:gd name="connsiteX146" fmla="*/ 2497036 w 5312409"/>
                <a:gd name="connsiteY146" fmla="*/ 1358499 h 2724615"/>
                <a:gd name="connsiteX147" fmla="*/ 2497036 w 5312409"/>
                <a:gd name="connsiteY147" fmla="*/ 1378813 h 2724615"/>
                <a:gd name="connsiteX148" fmla="*/ 2542877 w 5312409"/>
                <a:gd name="connsiteY148" fmla="*/ 1378813 h 2724615"/>
                <a:gd name="connsiteX149" fmla="*/ 2542877 w 5312409"/>
                <a:gd name="connsiteY149" fmla="*/ 1397857 h 2724615"/>
                <a:gd name="connsiteX150" fmla="*/ 2568344 w 5312409"/>
                <a:gd name="connsiteY150" fmla="*/ 1397857 h 2724615"/>
                <a:gd name="connsiteX151" fmla="*/ 2568344 w 5312409"/>
                <a:gd name="connsiteY151" fmla="*/ 1416901 h 2724615"/>
                <a:gd name="connsiteX152" fmla="*/ 2597631 w 5312409"/>
                <a:gd name="connsiteY152" fmla="*/ 1416901 h 2724615"/>
                <a:gd name="connsiteX153" fmla="*/ 2597631 w 5312409"/>
                <a:gd name="connsiteY153" fmla="*/ 1435946 h 2724615"/>
                <a:gd name="connsiteX154" fmla="*/ 2652385 w 5312409"/>
                <a:gd name="connsiteY154" fmla="*/ 1435946 h 2724615"/>
                <a:gd name="connsiteX155" fmla="*/ 2652385 w 5312409"/>
                <a:gd name="connsiteY155" fmla="*/ 1456260 h 2724615"/>
                <a:gd name="connsiteX156" fmla="*/ 2698225 w 5312409"/>
                <a:gd name="connsiteY156" fmla="*/ 1456260 h 2724615"/>
                <a:gd name="connsiteX157" fmla="*/ 2698225 w 5312409"/>
                <a:gd name="connsiteY157" fmla="*/ 1475304 h 2724615"/>
                <a:gd name="connsiteX158" fmla="*/ 2778446 w 5312409"/>
                <a:gd name="connsiteY158" fmla="*/ 1475304 h 2724615"/>
                <a:gd name="connsiteX159" fmla="*/ 2807733 w 5312409"/>
                <a:gd name="connsiteY159" fmla="*/ 1475304 h 2724615"/>
                <a:gd name="connsiteX160" fmla="*/ 2811553 w 5312409"/>
                <a:gd name="connsiteY160" fmla="*/ 1475304 h 2724615"/>
                <a:gd name="connsiteX161" fmla="*/ 2811553 w 5312409"/>
                <a:gd name="connsiteY161" fmla="*/ 1495618 h 2724615"/>
                <a:gd name="connsiteX162" fmla="*/ 2816647 w 5312409"/>
                <a:gd name="connsiteY162" fmla="*/ 1495618 h 2724615"/>
                <a:gd name="connsiteX163" fmla="*/ 2816647 w 5312409"/>
                <a:gd name="connsiteY163" fmla="*/ 1536246 h 2724615"/>
                <a:gd name="connsiteX164" fmla="*/ 2824287 w 5312409"/>
                <a:gd name="connsiteY164" fmla="*/ 1536246 h 2724615"/>
                <a:gd name="connsiteX165" fmla="*/ 2828107 w 5312409"/>
                <a:gd name="connsiteY165" fmla="*/ 1536246 h 2724615"/>
                <a:gd name="connsiteX166" fmla="*/ 2833200 w 5312409"/>
                <a:gd name="connsiteY166" fmla="*/ 1536246 h 2724615"/>
                <a:gd name="connsiteX167" fmla="*/ 2837020 w 5312409"/>
                <a:gd name="connsiteY167" fmla="*/ 1536246 h 2724615"/>
                <a:gd name="connsiteX168" fmla="*/ 2837020 w 5312409"/>
                <a:gd name="connsiteY168" fmla="*/ 1557830 h 2724615"/>
                <a:gd name="connsiteX169" fmla="*/ 2908328 w 5312409"/>
                <a:gd name="connsiteY169" fmla="*/ 1557830 h 2724615"/>
                <a:gd name="connsiteX170" fmla="*/ 2908328 w 5312409"/>
                <a:gd name="connsiteY170" fmla="*/ 1578144 h 2724615"/>
                <a:gd name="connsiteX171" fmla="*/ 3059856 w 5312409"/>
                <a:gd name="connsiteY171" fmla="*/ 1578144 h 2724615"/>
                <a:gd name="connsiteX172" fmla="*/ 3059856 w 5312409"/>
                <a:gd name="connsiteY172" fmla="*/ 1599727 h 2724615"/>
                <a:gd name="connsiteX173" fmla="*/ 3068770 w 5312409"/>
                <a:gd name="connsiteY173" fmla="*/ 1599727 h 2724615"/>
                <a:gd name="connsiteX174" fmla="*/ 3076410 w 5312409"/>
                <a:gd name="connsiteY174" fmla="*/ 1599727 h 2724615"/>
                <a:gd name="connsiteX175" fmla="*/ 3081503 w 5312409"/>
                <a:gd name="connsiteY175" fmla="*/ 1599727 h 2724615"/>
                <a:gd name="connsiteX176" fmla="*/ 3081503 w 5312409"/>
                <a:gd name="connsiteY176" fmla="*/ 1621311 h 2724615"/>
                <a:gd name="connsiteX177" fmla="*/ 3101877 w 5312409"/>
                <a:gd name="connsiteY177" fmla="*/ 1621311 h 2724615"/>
                <a:gd name="connsiteX178" fmla="*/ 3101877 w 5312409"/>
                <a:gd name="connsiteY178" fmla="*/ 1642895 h 2724615"/>
                <a:gd name="connsiteX179" fmla="*/ 3152811 w 5312409"/>
                <a:gd name="connsiteY179" fmla="*/ 1642895 h 2724615"/>
                <a:gd name="connsiteX180" fmla="*/ 3152811 w 5312409"/>
                <a:gd name="connsiteY180" fmla="*/ 1665748 h 2724615"/>
                <a:gd name="connsiteX181" fmla="*/ 3189738 w 5312409"/>
                <a:gd name="connsiteY181" fmla="*/ 1665748 h 2724615"/>
                <a:gd name="connsiteX182" fmla="*/ 3189738 w 5312409"/>
                <a:gd name="connsiteY182" fmla="*/ 1687331 h 2724615"/>
                <a:gd name="connsiteX183" fmla="*/ 3194831 w 5312409"/>
                <a:gd name="connsiteY183" fmla="*/ 1687331 h 2724615"/>
                <a:gd name="connsiteX184" fmla="*/ 3291605 w 5312409"/>
                <a:gd name="connsiteY184" fmla="*/ 1687331 h 2724615"/>
                <a:gd name="connsiteX185" fmla="*/ 3291605 w 5312409"/>
                <a:gd name="connsiteY185" fmla="*/ 1731768 h 2724615"/>
                <a:gd name="connsiteX186" fmla="*/ 3333626 w 5312409"/>
                <a:gd name="connsiteY186" fmla="*/ 1731768 h 2724615"/>
                <a:gd name="connsiteX187" fmla="*/ 3333626 w 5312409"/>
                <a:gd name="connsiteY187" fmla="*/ 1753352 h 2724615"/>
                <a:gd name="connsiteX188" fmla="*/ 3438041 w 5312409"/>
                <a:gd name="connsiteY188" fmla="*/ 1753352 h 2724615"/>
                <a:gd name="connsiteX189" fmla="*/ 3438041 w 5312409"/>
                <a:gd name="connsiteY189" fmla="*/ 1774936 h 2724615"/>
                <a:gd name="connsiteX190" fmla="*/ 3476241 w 5312409"/>
                <a:gd name="connsiteY190" fmla="*/ 1774936 h 2724615"/>
                <a:gd name="connsiteX191" fmla="*/ 3476241 w 5312409"/>
                <a:gd name="connsiteY191" fmla="*/ 1797789 h 2724615"/>
                <a:gd name="connsiteX192" fmla="*/ 3492795 w 5312409"/>
                <a:gd name="connsiteY192" fmla="*/ 1797789 h 2724615"/>
                <a:gd name="connsiteX193" fmla="*/ 3492795 w 5312409"/>
                <a:gd name="connsiteY193" fmla="*/ 1819373 h 2724615"/>
                <a:gd name="connsiteX194" fmla="*/ 3505528 w 5312409"/>
                <a:gd name="connsiteY194" fmla="*/ 1819373 h 2724615"/>
                <a:gd name="connsiteX195" fmla="*/ 3543729 w 5312409"/>
                <a:gd name="connsiteY195" fmla="*/ 1819373 h 2724615"/>
                <a:gd name="connsiteX196" fmla="*/ 3543729 w 5312409"/>
                <a:gd name="connsiteY196" fmla="*/ 1842226 h 2724615"/>
                <a:gd name="connsiteX197" fmla="*/ 3664697 w 5312409"/>
                <a:gd name="connsiteY197" fmla="*/ 1842226 h 2724615"/>
                <a:gd name="connsiteX198" fmla="*/ 3664697 w 5312409"/>
                <a:gd name="connsiteY198" fmla="*/ 1865079 h 2724615"/>
                <a:gd name="connsiteX199" fmla="*/ 3669790 w 5312409"/>
                <a:gd name="connsiteY199" fmla="*/ 1865079 h 2724615"/>
                <a:gd name="connsiteX200" fmla="*/ 3669790 w 5312409"/>
                <a:gd name="connsiteY200" fmla="*/ 1887932 h 2724615"/>
                <a:gd name="connsiteX201" fmla="*/ 3699077 w 5312409"/>
                <a:gd name="connsiteY201" fmla="*/ 1887932 h 2724615"/>
                <a:gd name="connsiteX202" fmla="*/ 3699077 w 5312409"/>
                <a:gd name="connsiteY202" fmla="*/ 1909516 h 2724615"/>
                <a:gd name="connsiteX203" fmla="*/ 3711810 w 5312409"/>
                <a:gd name="connsiteY203" fmla="*/ 1909516 h 2724615"/>
                <a:gd name="connsiteX204" fmla="*/ 3711810 w 5312409"/>
                <a:gd name="connsiteY204" fmla="*/ 1932369 h 2724615"/>
                <a:gd name="connsiteX205" fmla="*/ 3737277 w 5312409"/>
                <a:gd name="connsiteY205" fmla="*/ 1932369 h 2724615"/>
                <a:gd name="connsiteX206" fmla="*/ 3737277 w 5312409"/>
                <a:gd name="connsiteY206" fmla="*/ 1955222 h 2724615"/>
                <a:gd name="connsiteX207" fmla="*/ 3748738 w 5312409"/>
                <a:gd name="connsiteY207" fmla="*/ 1955222 h 2724615"/>
                <a:gd name="connsiteX208" fmla="*/ 3748738 w 5312409"/>
                <a:gd name="connsiteY208" fmla="*/ 1978076 h 2724615"/>
                <a:gd name="connsiteX209" fmla="*/ 3774205 w 5312409"/>
                <a:gd name="connsiteY209" fmla="*/ 1978076 h 2724615"/>
                <a:gd name="connsiteX210" fmla="*/ 3816225 w 5312409"/>
                <a:gd name="connsiteY210" fmla="*/ 1978076 h 2724615"/>
                <a:gd name="connsiteX211" fmla="*/ 3816225 w 5312409"/>
                <a:gd name="connsiteY211" fmla="*/ 2000929 h 2724615"/>
                <a:gd name="connsiteX212" fmla="*/ 3874799 w 5312409"/>
                <a:gd name="connsiteY212" fmla="*/ 2000929 h 2724615"/>
                <a:gd name="connsiteX213" fmla="*/ 3879893 w 5312409"/>
                <a:gd name="connsiteY213" fmla="*/ 2000929 h 2724615"/>
                <a:gd name="connsiteX214" fmla="*/ 3883712 w 5312409"/>
                <a:gd name="connsiteY214" fmla="*/ 2000929 h 2724615"/>
                <a:gd name="connsiteX215" fmla="*/ 3896446 w 5312409"/>
                <a:gd name="connsiteY215" fmla="*/ 2000929 h 2724615"/>
                <a:gd name="connsiteX216" fmla="*/ 3913000 w 5312409"/>
                <a:gd name="connsiteY216" fmla="*/ 2000929 h 2724615"/>
                <a:gd name="connsiteX217" fmla="*/ 3916820 w 5312409"/>
                <a:gd name="connsiteY217" fmla="*/ 2000929 h 2724615"/>
                <a:gd name="connsiteX218" fmla="*/ 3916820 w 5312409"/>
                <a:gd name="connsiteY218" fmla="*/ 2054253 h 2724615"/>
                <a:gd name="connsiteX219" fmla="*/ 3921913 w 5312409"/>
                <a:gd name="connsiteY219" fmla="*/ 2054253 h 2724615"/>
                <a:gd name="connsiteX220" fmla="*/ 3921913 w 5312409"/>
                <a:gd name="connsiteY220" fmla="*/ 2082185 h 2724615"/>
                <a:gd name="connsiteX221" fmla="*/ 4005954 w 5312409"/>
                <a:gd name="connsiteY221" fmla="*/ 2082185 h 2724615"/>
                <a:gd name="connsiteX222" fmla="*/ 4005954 w 5312409"/>
                <a:gd name="connsiteY222" fmla="*/ 2108847 h 2724615"/>
                <a:gd name="connsiteX223" fmla="*/ 4022508 w 5312409"/>
                <a:gd name="connsiteY223" fmla="*/ 2108847 h 2724615"/>
                <a:gd name="connsiteX224" fmla="*/ 4022508 w 5312409"/>
                <a:gd name="connsiteY224" fmla="*/ 2135509 h 2724615"/>
                <a:gd name="connsiteX225" fmla="*/ 4064528 w 5312409"/>
                <a:gd name="connsiteY225" fmla="*/ 2135509 h 2724615"/>
                <a:gd name="connsiteX226" fmla="*/ 4064528 w 5312409"/>
                <a:gd name="connsiteY226" fmla="*/ 2162171 h 2724615"/>
                <a:gd name="connsiteX227" fmla="*/ 4128195 w 5312409"/>
                <a:gd name="connsiteY227" fmla="*/ 2162171 h 2724615"/>
                <a:gd name="connsiteX228" fmla="*/ 4148569 w 5312409"/>
                <a:gd name="connsiteY228" fmla="*/ 2162171 h 2724615"/>
                <a:gd name="connsiteX229" fmla="*/ 4148569 w 5312409"/>
                <a:gd name="connsiteY229" fmla="*/ 2190103 h 2724615"/>
                <a:gd name="connsiteX230" fmla="*/ 4216057 w 5312409"/>
                <a:gd name="connsiteY230" fmla="*/ 2190103 h 2724615"/>
                <a:gd name="connsiteX231" fmla="*/ 4216057 w 5312409"/>
                <a:gd name="connsiteY231" fmla="*/ 2218035 h 2724615"/>
                <a:gd name="connsiteX232" fmla="*/ 4219877 w 5312409"/>
                <a:gd name="connsiteY232" fmla="*/ 2218035 h 2724615"/>
                <a:gd name="connsiteX233" fmla="*/ 4219877 w 5312409"/>
                <a:gd name="connsiteY233" fmla="*/ 2273898 h 2724615"/>
                <a:gd name="connsiteX234" fmla="*/ 4236430 w 5312409"/>
                <a:gd name="connsiteY234" fmla="*/ 2273898 h 2724615"/>
                <a:gd name="connsiteX235" fmla="*/ 4245344 w 5312409"/>
                <a:gd name="connsiteY235" fmla="*/ 2273898 h 2724615"/>
                <a:gd name="connsiteX236" fmla="*/ 4278451 w 5312409"/>
                <a:gd name="connsiteY236" fmla="*/ 2273898 h 2724615"/>
                <a:gd name="connsiteX237" fmla="*/ 4278451 w 5312409"/>
                <a:gd name="connsiteY237" fmla="*/ 2306909 h 2724615"/>
                <a:gd name="connsiteX238" fmla="*/ 4380318 w 5312409"/>
                <a:gd name="connsiteY238" fmla="*/ 2306909 h 2724615"/>
                <a:gd name="connsiteX239" fmla="*/ 4380318 w 5312409"/>
                <a:gd name="connsiteY239" fmla="*/ 2338649 h 2724615"/>
                <a:gd name="connsiteX240" fmla="*/ 4391779 w 5312409"/>
                <a:gd name="connsiteY240" fmla="*/ 2338649 h 2724615"/>
                <a:gd name="connsiteX241" fmla="*/ 4391779 w 5312409"/>
                <a:gd name="connsiteY241" fmla="*/ 2371659 h 2724615"/>
                <a:gd name="connsiteX242" fmla="*/ 4396872 w 5312409"/>
                <a:gd name="connsiteY242" fmla="*/ 2371659 h 2724615"/>
                <a:gd name="connsiteX243" fmla="*/ 4396872 w 5312409"/>
                <a:gd name="connsiteY243" fmla="*/ 2403400 h 2724615"/>
                <a:gd name="connsiteX244" fmla="*/ 4484733 w 5312409"/>
                <a:gd name="connsiteY244" fmla="*/ 2403400 h 2724615"/>
                <a:gd name="connsiteX245" fmla="*/ 4484733 w 5312409"/>
                <a:gd name="connsiteY245" fmla="*/ 2435141 h 2724615"/>
                <a:gd name="connsiteX246" fmla="*/ 4514020 w 5312409"/>
                <a:gd name="connsiteY246" fmla="*/ 2435141 h 2724615"/>
                <a:gd name="connsiteX247" fmla="*/ 4514020 w 5312409"/>
                <a:gd name="connsiteY247" fmla="*/ 2499891 h 2724615"/>
                <a:gd name="connsiteX248" fmla="*/ 4568774 w 5312409"/>
                <a:gd name="connsiteY248" fmla="*/ 2499891 h 2724615"/>
                <a:gd name="connsiteX249" fmla="*/ 4568774 w 5312409"/>
                <a:gd name="connsiteY249" fmla="*/ 2532902 h 2724615"/>
                <a:gd name="connsiteX250" fmla="*/ 4581508 w 5312409"/>
                <a:gd name="connsiteY250" fmla="*/ 2532902 h 2724615"/>
                <a:gd name="connsiteX251" fmla="*/ 4585328 w 5312409"/>
                <a:gd name="connsiteY251" fmla="*/ 2532902 h 2724615"/>
                <a:gd name="connsiteX252" fmla="*/ 4619708 w 5312409"/>
                <a:gd name="connsiteY252" fmla="*/ 2532902 h 2724615"/>
                <a:gd name="connsiteX253" fmla="*/ 4619708 w 5312409"/>
                <a:gd name="connsiteY253" fmla="*/ 2569721 h 2724615"/>
                <a:gd name="connsiteX254" fmla="*/ 4716483 w 5312409"/>
                <a:gd name="connsiteY254" fmla="*/ 2569721 h 2724615"/>
                <a:gd name="connsiteX255" fmla="*/ 4716483 w 5312409"/>
                <a:gd name="connsiteY255" fmla="*/ 2606540 h 2724615"/>
                <a:gd name="connsiteX256" fmla="*/ 4917672 w 5312409"/>
                <a:gd name="connsiteY256" fmla="*/ 2606540 h 2724615"/>
                <a:gd name="connsiteX257" fmla="*/ 4926585 w 5312409"/>
                <a:gd name="connsiteY257" fmla="*/ 2606540 h 2724615"/>
                <a:gd name="connsiteX258" fmla="*/ 4939319 w 5312409"/>
                <a:gd name="connsiteY258" fmla="*/ 2606540 h 2724615"/>
                <a:gd name="connsiteX259" fmla="*/ 4946958 w 5312409"/>
                <a:gd name="connsiteY259" fmla="*/ 2606540 h 2724615"/>
                <a:gd name="connsiteX260" fmla="*/ 4976246 w 5312409"/>
                <a:gd name="connsiteY260" fmla="*/ 2606540 h 2724615"/>
                <a:gd name="connsiteX261" fmla="*/ 5031000 w 5312409"/>
                <a:gd name="connsiteY261" fmla="*/ 2606540 h 2724615"/>
                <a:gd name="connsiteX262" fmla="*/ 5031000 w 5312409"/>
                <a:gd name="connsiteY262" fmla="*/ 2664943 h 2724615"/>
                <a:gd name="connsiteX263" fmla="*/ 5241102 w 5312409"/>
                <a:gd name="connsiteY263" fmla="*/ 2664943 h 2724615"/>
                <a:gd name="connsiteX264" fmla="*/ 5241102 w 5312409"/>
                <a:gd name="connsiteY264" fmla="*/ 2724615 h 2724615"/>
                <a:gd name="connsiteX265" fmla="*/ 5270389 w 5312409"/>
                <a:gd name="connsiteY265" fmla="*/ 2724615 h 2724615"/>
                <a:gd name="connsiteX266" fmla="*/ 5279302 w 5312409"/>
                <a:gd name="connsiteY266" fmla="*/ 2724615 h 2724615"/>
                <a:gd name="connsiteX267" fmla="*/ 5288216 w 5312409"/>
                <a:gd name="connsiteY267" fmla="*/ 2724615 h 2724615"/>
                <a:gd name="connsiteX268" fmla="*/ 5300950 w 5312409"/>
                <a:gd name="connsiteY268" fmla="*/ 2724615 h 2724615"/>
                <a:gd name="connsiteX269" fmla="*/ 5312410 w 5312409"/>
                <a:gd name="connsiteY269" fmla="*/ 2724615 h 2724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5312409" h="2724615">
                  <a:moveTo>
                    <a:pt x="0" y="0"/>
                  </a:moveTo>
                  <a:lnTo>
                    <a:pt x="3820" y="0"/>
                  </a:lnTo>
                  <a:lnTo>
                    <a:pt x="38200" y="0"/>
                  </a:lnTo>
                  <a:lnTo>
                    <a:pt x="38200" y="17775"/>
                  </a:lnTo>
                  <a:lnTo>
                    <a:pt x="129882" y="17775"/>
                  </a:lnTo>
                  <a:lnTo>
                    <a:pt x="129882" y="35550"/>
                  </a:lnTo>
                  <a:lnTo>
                    <a:pt x="138795" y="35550"/>
                  </a:lnTo>
                  <a:lnTo>
                    <a:pt x="138795" y="53324"/>
                  </a:lnTo>
                  <a:lnTo>
                    <a:pt x="168082" y="53324"/>
                  </a:lnTo>
                  <a:lnTo>
                    <a:pt x="168082" y="71099"/>
                  </a:lnTo>
                  <a:lnTo>
                    <a:pt x="243210" y="71099"/>
                  </a:lnTo>
                  <a:lnTo>
                    <a:pt x="243210" y="88874"/>
                  </a:lnTo>
                  <a:lnTo>
                    <a:pt x="248303" y="88874"/>
                  </a:lnTo>
                  <a:lnTo>
                    <a:pt x="248303" y="106648"/>
                  </a:lnTo>
                  <a:lnTo>
                    <a:pt x="268677" y="106648"/>
                  </a:lnTo>
                  <a:lnTo>
                    <a:pt x="268677" y="125693"/>
                  </a:lnTo>
                  <a:lnTo>
                    <a:pt x="352718" y="125693"/>
                  </a:lnTo>
                  <a:lnTo>
                    <a:pt x="352718" y="143468"/>
                  </a:lnTo>
                  <a:lnTo>
                    <a:pt x="394738" y="143468"/>
                  </a:lnTo>
                  <a:lnTo>
                    <a:pt x="394738" y="161242"/>
                  </a:lnTo>
                  <a:lnTo>
                    <a:pt x="478779" y="161242"/>
                  </a:lnTo>
                  <a:lnTo>
                    <a:pt x="478779" y="179017"/>
                  </a:lnTo>
                  <a:lnTo>
                    <a:pt x="482599" y="179017"/>
                  </a:lnTo>
                  <a:lnTo>
                    <a:pt x="482599" y="196792"/>
                  </a:lnTo>
                  <a:lnTo>
                    <a:pt x="495333" y="196792"/>
                  </a:lnTo>
                  <a:lnTo>
                    <a:pt x="495333" y="214567"/>
                  </a:lnTo>
                  <a:lnTo>
                    <a:pt x="513159" y="214567"/>
                  </a:lnTo>
                  <a:lnTo>
                    <a:pt x="513159" y="232341"/>
                  </a:lnTo>
                  <a:lnTo>
                    <a:pt x="567913" y="232341"/>
                  </a:lnTo>
                  <a:lnTo>
                    <a:pt x="567913" y="250116"/>
                  </a:lnTo>
                  <a:lnTo>
                    <a:pt x="663415" y="250116"/>
                  </a:lnTo>
                  <a:lnTo>
                    <a:pt x="663415" y="267891"/>
                  </a:lnTo>
                  <a:lnTo>
                    <a:pt x="688882" y="267891"/>
                  </a:lnTo>
                  <a:lnTo>
                    <a:pt x="688882" y="286935"/>
                  </a:lnTo>
                  <a:lnTo>
                    <a:pt x="693975" y="286935"/>
                  </a:lnTo>
                  <a:lnTo>
                    <a:pt x="693975" y="304710"/>
                  </a:lnTo>
                  <a:lnTo>
                    <a:pt x="697795" y="304710"/>
                  </a:lnTo>
                  <a:lnTo>
                    <a:pt x="697795" y="322485"/>
                  </a:lnTo>
                  <a:lnTo>
                    <a:pt x="701615" y="322485"/>
                  </a:lnTo>
                  <a:lnTo>
                    <a:pt x="701615" y="340259"/>
                  </a:lnTo>
                  <a:lnTo>
                    <a:pt x="705435" y="340259"/>
                  </a:lnTo>
                  <a:lnTo>
                    <a:pt x="705435" y="358034"/>
                  </a:lnTo>
                  <a:lnTo>
                    <a:pt x="710528" y="358034"/>
                  </a:lnTo>
                  <a:lnTo>
                    <a:pt x="710528" y="375809"/>
                  </a:lnTo>
                  <a:lnTo>
                    <a:pt x="886251" y="375809"/>
                  </a:lnTo>
                  <a:lnTo>
                    <a:pt x="886251" y="393584"/>
                  </a:lnTo>
                  <a:lnTo>
                    <a:pt x="933364" y="393584"/>
                  </a:lnTo>
                  <a:lnTo>
                    <a:pt x="933364" y="411359"/>
                  </a:lnTo>
                  <a:lnTo>
                    <a:pt x="937184" y="411359"/>
                  </a:lnTo>
                  <a:lnTo>
                    <a:pt x="937184" y="429133"/>
                  </a:lnTo>
                  <a:lnTo>
                    <a:pt x="949918" y="429133"/>
                  </a:lnTo>
                  <a:lnTo>
                    <a:pt x="949918" y="448178"/>
                  </a:lnTo>
                  <a:lnTo>
                    <a:pt x="995758" y="448178"/>
                  </a:lnTo>
                  <a:lnTo>
                    <a:pt x="995758" y="465952"/>
                  </a:lnTo>
                  <a:lnTo>
                    <a:pt x="1008492" y="465952"/>
                  </a:lnTo>
                  <a:lnTo>
                    <a:pt x="1008492" y="483727"/>
                  </a:lnTo>
                  <a:lnTo>
                    <a:pt x="1021225" y="483727"/>
                  </a:lnTo>
                  <a:lnTo>
                    <a:pt x="1021225" y="501502"/>
                  </a:lnTo>
                  <a:lnTo>
                    <a:pt x="1075979" y="501502"/>
                  </a:lnTo>
                  <a:lnTo>
                    <a:pt x="1101446" y="501502"/>
                  </a:lnTo>
                  <a:lnTo>
                    <a:pt x="1101446" y="519277"/>
                  </a:lnTo>
                  <a:lnTo>
                    <a:pt x="1168934" y="519277"/>
                  </a:lnTo>
                  <a:lnTo>
                    <a:pt x="1168934" y="537051"/>
                  </a:lnTo>
                  <a:lnTo>
                    <a:pt x="1181667" y="537051"/>
                  </a:lnTo>
                  <a:lnTo>
                    <a:pt x="1181667" y="556096"/>
                  </a:lnTo>
                  <a:lnTo>
                    <a:pt x="1189307" y="556096"/>
                  </a:lnTo>
                  <a:lnTo>
                    <a:pt x="1189307" y="573870"/>
                  </a:lnTo>
                  <a:lnTo>
                    <a:pt x="1198221" y="573870"/>
                  </a:lnTo>
                  <a:lnTo>
                    <a:pt x="1264435" y="573870"/>
                  </a:lnTo>
                  <a:lnTo>
                    <a:pt x="1264435" y="591645"/>
                  </a:lnTo>
                  <a:lnTo>
                    <a:pt x="1298815" y="591645"/>
                  </a:lnTo>
                  <a:lnTo>
                    <a:pt x="1298815" y="610690"/>
                  </a:lnTo>
                  <a:lnTo>
                    <a:pt x="1337016" y="610690"/>
                  </a:lnTo>
                  <a:lnTo>
                    <a:pt x="1337016" y="628464"/>
                  </a:lnTo>
                  <a:lnTo>
                    <a:pt x="1412143" y="628464"/>
                  </a:lnTo>
                  <a:lnTo>
                    <a:pt x="1412143" y="646239"/>
                  </a:lnTo>
                  <a:lnTo>
                    <a:pt x="1415963" y="646239"/>
                  </a:lnTo>
                  <a:lnTo>
                    <a:pt x="1415963" y="665283"/>
                  </a:lnTo>
                  <a:lnTo>
                    <a:pt x="1421057" y="665283"/>
                  </a:lnTo>
                  <a:lnTo>
                    <a:pt x="1421057" y="684328"/>
                  </a:lnTo>
                  <a:lnTo>
                    <a:pt x="1428697" y="684328"/>
                  </a:lnTo>
                  <a:lnTo>
                    <a:pt x="1428697" y="702103"/>
                  </a:lnTo>
                  <a:lnTo>
                    <a:pt x="1437610" y="702103"/>
                  </a:lnTo>
                  <a:lnTo>
                    <a:pt x="1437610" y="721147"/>
                  </a:lnTo>
                  <a:lnTo>
                    <a:pt x="1521651" y="721147"/>
                  </a:lnTo>
                  <a:lnTo>
                    <a:pt x="1521651" y="757966"/>
                  </a:lnTo>
                  <a:lnTo>
                    <a:pt x="1626066" y="757966"/>
                  </a:lnTo>
                  <a:lnTo>
                    <a:pt x="1631159" y="757966"/>
                  </a:lnTo>
                  <a:lnTo>
                    <a:pt x="1631159" y="794785"/>
                  </a:lnTo>
                  <a:lnTo>
                    <a:pt x="1634979" y="794785"/>
                  </a:lnTo>
                  <a:lnTo>
                    <a:pt x="1634979" y="813830"/>
                  </a:lnTo>
                  <a:lnTo>
                    <a:pt x="1647713" y="813830"/>
                  </a:lnTo>
                  <a:lnTo>
                    <a:pt x="1647713" y="850649"/>
                  </a:lnTo>
                  <a:lnTo>
                    <a:pt x="1655353" y="850649"/>
                  </a:lnTo>
                  <a:lnTo>
                    <a:pt x="1655353" y="869693"/>
                  </a:lnTo>
                  <a:lnTo>
                    <a:pt x="1660446" y="869693"/>
                  </a:lnTo>
                  <a:lnTo>
                    <a:pt x="1664266" y="869693"/>
                  </a:lnTo>
                  <a:lnTo>
                    <a:pt x="1664266" y="887468"/>
                  </a:lnTo>
                  <a:lnTo>
                    <a:pt x="1685913" y="887468"/>
                  </a:lnTo>
                  <a:lnTo>
                    <a:pt x="1685913" y="906512"/>
                  </a:lnTo>
                  <a:lnTo>
                    <a:pt x="1761041" y="906512"/>
                  </a:lnTo>
                  <a:lnTo>
                    <a:pt x="1761041" y="925557"/>
                  </a:lnTo>
                  <a:lnTo>
                    <a:pt x="1782688" y="925557"/>
                  </a:lnTo>
                  <a:lnTo>
                    <a:pt x="1782688" y="944601"/>
                  </a:lnTo>
                  <a:lnTo>
                    <a:pt x="1803061" y="944601"/>
                  </a:lnTo>
                  <a:lnTo>
                    <a:pt x="1803061" y="962376"/>
                  </a:lnTo>
                  <a:lnTo>
                    <a:pt x="1883282" y="962376"/>
                  </a:lnTo>
                  <a:lnTo>
                    <a:pt x="1883282" y="981420"/>
                  </a:lnTo>
                  <a:lnTo>
                    <a:pt x="1887102" y="981420"/>
                  </a:lnTo>
                  <a:lnTo>
                    <a:pt x="1887102" y="1000464"/>
                  </a:lnTo>
                  <a:lnTo>
                    <a:pt x="1896016" y="1000464"/>
                  </a:lnTo>
                  <a:lnTo>
                    <a:pt x="1896016" y="1019509"/>
                  </a:lnTo>
                  <a:lnTo>
                    <a:pt x="1958410" y="1019509"/>
                  </a:lnTo>
                  <a:lnTo>
                    <a:pt x="1958410" y="1038553"/>
                  </a:lnTo>
                  <a:lnTo>
                    <a:pt x="2067918" y="1038553"/>
                  </a:lnTo>
                  <a:lnTo>
                    <a:pt x="2067918" y="1056328"/>
                  </a:lnTo>
                  <a:lnTo>
                    <a:pt x="2084471" y="1056328"/>
                  </a:lnTo>
                  <a:lnTo>
                    <a:pt x="2084471" y="1075372"/>
                  </a:lnTo>
                  <a:lnTo>
                    <a:pt x="2097205" y="1075372"/>
                  </a:lnTo>
                  <a:lnTo>
                    <a:pt x="2097205" y="1094417"/>
                  </a:lnTo>
                  <a:lnTo>
                    <a:pt x="2109938" y="1094417"/>
                  </a:lnTo>
                  <a:lnTo>
                    <a:pt x="2109938" y="1113461"/>
                  </a:lnTo>
                  <a:lnTo>
                    <a:pt x="2113758" y="1113461"/>
                  </a:lnTo>
                  <a:lnTo>
                    <a:pt x="2113758" y="1131236"/>
                  </a:lnTo>
                  <a:lnTo>
                    <a:pt x="2122672" y="1131236"/>
                  </a:lnTo>
                  <a:lnTo>
                    <a:pt x="2122672" y="1150280"/>
                  </a:lnTo>
                  <a:lnTo>
                    <a:pt x="2177426" y="1150280"/>
                  </a:lnTo>
                  <a:lnTo>
                    <a:pt x="2177426" y="1169325"/>
                  </a:lnTo>
                  <a:lnTo>
                    <a:pt x="2185066" y="1169325"/>
                  </a:lnTo>
                  <a:lnTo>
                    <a:pt x="2185066" y="1188369"/>
                  </a:lnTo>
                  <a:lnTo>
                    <a:pt x="2190159" y="1188369"/>
                  </a:lnTo>
                  <a:lnTo>
                    <a:pt x="2190159" y="1206144"/>
                  </a:lnTo>
                  <a:lnTo>
                    <a:pt x="2236000" y="1206144"/>
                  </a:lnTo>
                  <a:lnTo>
                    <a:pt x="2236000" y="1225188"/>
                  </a:lnTo>
                  <a:lnTo>
                    <a:pt x="2244913" y="1225188"/>
                  </a:lnTo>
                  <a:lnTo>
                    <a:pt x="2244913" y="1244232"/>
                  </a:lnTo>
                  <a:lnTo>
                    <a:pt x="2311127" y="1244232"/>
                  </a:lnTo>
                  <a:lnTo>
                    <a:pt x="2311127" y="1263277"/>
                  </a:lnTo>
                  <a:lnTo>
                    <a:pt x="2328954" y="1263277"/>
                  </a:lnTo>
                  <a:lnTo>
                    <a:pt x="2332774" y="1263277"/>
                  </a:lnTo>
                  <a:lnTo>
                    <a:pt x="2353148" y="1263277"/>
                  </a:lnTo>
                  <a:lnTo>
                    <a:pt x="2353148" y="1301366"/>
                  </a:lnTo>
                  <a:lnTo>
                    <a:pt x="2365881" y="1301366"/>
                  </a:lnTo>
                  <a:lnTo>
                    <a:pt x="2365881" y="1339454"/>
                  </a:lnTo>
                  <a:lnTo>
                    <a:pt x="2442282" y="1339454"/>
                  </a:lnTo>
                  <a:lnTo>
                    <a:pt x="2442282" y="1358499"/>
                  </a:lnTo>
                  <a:lnTo>
                    <a:pt x="2497036" y="1358499"/>
                  </a:lnTo>
                  <a:lnTo>
                    <a:pt x="2497036" y="1378813"/>
                  </a:lnTo>
                  <a:lnTo>
                    <a:pt x="2542877" y="1378813"/>
                  </a:lnTo>
                  <a:lnTo>
                    <a:pt x="2542877" y="1397857"/>
                  </a:lnTo>
                  <a:lnTo>
                    <a:pt x="2568344" y="1397857"/>
                  </a:lnTo>
                  <a:lnTo>
                    <a:pt x="2568344" y="1416901"/>
                  </a:lnTo>
                  <a:lnTo>
                    <a:pt x="2597631" y="1416901"/>
                  </a:lnTo>
                  <a:lnTo>
                    <a:pt x="2597631" y="1435946"/>
                  </a:lnTo>
                  <a:lnTo>
                    <a:pt x="2652385" y="1435946"/>
                  </a:lnTo>
                  <a:lnTo>
                    <a:pt x="2652385" y="1456260"/>
                  </a:lnTo>
                  <a:lnTo>
                    <a:pt x="2698225" y="1456260"/>
                  </a:lnTo>
                  <a:lnTo>
                    <a:pt x="2698225" y="1475304"/>
                  </a:lnTo>
                  <a:lnTo>
                    <a:pt x="2778446" y="1475304"/>
                  </a:lnTo>
                  <a:lnTo>
                    <a:pt x="2807733" y="1475304"/>
                  </a:lnTo>
                  <a:lnTo>
                    <a:pt x="2811553" y="1475304"/>
                  </a:lnTo>
                  <a:lnTo>
                    <a:pt x="2811553" y="1495618"/>
                  </a:lnTo>
                  <a:lnTo>
                    <a:pt x="2816647" y="1495618"/>
                  </a:lnTo>
                  <a:lnTo>
                    <a:pt x="2816647" y="1536246"/>
                  </a:lnTo>
                  <a:lnTo>
                    <a:pt x="2824287" y="1536246"/>
                  </a:lnTo>
                  <a:lnTo>
                    <a:pt x="2828107" y="1536246"/>
                  </a:lnTo>
                  <a:lnTo>
                    <a:pt x="2833200" y="1536246"/>
                  </a:lnTo>
                  <a:lnTo>
                    <a:pt x="2837020" y="1536246"/>
                  </a:lnTo>
                  <a:lnTo>
                    <a:pt x="2837020" y="1557830"/>
                  </a:lnTo>
                  <a:lnTo>
                    <a:pt x="2908328" y="1557830"/>
                  </a:lnTo>
                  <a:lnTo>
                    <a:pt x="2908328" y="1578144"/>
                  </a:lnTo>
                  <a:lnTo>
                    <a:pt x="3059856" y="1578144"/>
                  </a:lnTo>
                  <a:lnTo>
                    <a:pt x="3059856" y="1599727"/>
                  </a:lnTo>
                  <a:lnTo>
                    <a:pt x="3068770" y="1599727"/>
                  </a:lnTo>
                  <a:lnTo>
                    <a:pt x="3076410" y="1599727"/>
                  </a:lnTo>
                  <a:lnTo>
                    <a:pt x="3081503" y="1599727"/>
                  </a:lnTo>
                  <a:lnTo>
                    <a:pt x="3081503" y="1621311"/>
                  </a:lnTo>
                  <a:lnTo>
                    <a:pt x="3101877" y="1621311"/>
                  </a:lnTo>
                  <a:lnTo>
                    <a:pt x="3101877" y="1642895"/>
                  </a:lnTo>
                  <a:lnTo>
                    <a:pt x="3152811" y="1642895"/>
                  </a:lnTo>
                  <a:lnTo>
                    <a:pt x="3152811" y="1665748"/>
                  </a:lnTo>
                  <a:lnTo>
                    <a:pt x="3189738" y="1665748"/>
                  </a:lnTo>
                  <a:lnTo>
                    <a:pt x="3189738" y="1687331"/>
                  </a:lnTo>
                  <a:lnTo>
                    <a:pt x="3194831" y="1687331"/>
                  </a:lnTo>
                  <a:lnTo>
                    <a:pt x="3291605" y="1687331"/>
                  </a:lnTo>
                  <a:lnTo>
                    <a:pt x="3291605" y="1731768"/>
                  </a:lnTo>
                  <a:lnTo>
                    <a:pt x="3333626" y="1731768"/>
                  </a:lnTo>
                  <a:lnTo>
                    <a:pt x="3333626" y="1753352"/>
                  </a:lnTo>
                  <a:lnTo>
                    <a:pt x="3438041" y="1753352"/>
                  </a:lnTo>
                  <a:lnTo>
                    <a:pt x="3438041" y="1774936"/>
                  </a:lnTo>
                  <a:lnTo>
                    <a:pt x="3476241" y="1774936"/>
                  </a:lnTo>
                  <a:lnTo>
                    <a:pt x="3476241" y="1797789"/>
                  </a:lnTo>
                  <a:lnTo>
                    <a:pt x="3492795" y="1797789"/>
                  </a:lnTo>
                  <a:lnTo>
                    <a:pt x="3492795" y="1819373"/>
                  </a:lnTo>
                  <a:lnTo>
                    <a:pt x="3505528" y="1819373"/>
                  </a:lnTo>
                  <a:lnTo>
                    <a:pt x="3543729" y="1819373"/>
                  </a:lnTo>
                  <a:lnTo>
                    <a:pt x="3543729" y="1842226"/>
                  </a:lnTo>
                  <a:lnTo>
                    <a:pt x="3664697" y="1842226"/>
                  </a:lnTo>
                  <a:lnTo>
                    <a:pt x="3664697" y="1865079"/>
                  </a:lnTo>
                  <a:lnTo>
                    <a:pt x="3669790" y="1865079"/>
                  </a:lnTo>
                  <a:lnTo>
                    <a:pt x="3669790" y="1887932"/>
                  </a:lnTo>
                  <a:lnTo>
                    <a:pt x="3699077" y="1887932"/>
                  </a:lnTo>
                  <a:lnTo>
                    <a:pt x="3699077" y="1909516"/>
                  </a:lnTo>
                  <a:lnTo>
                    <a:pt x="3711810" y="1909516"/>
                  </a:lnTo>
                  <a:lnTo>
                    <a:pt x="3711810" y="1932369"/>
                  </a:lnTo>
                  <a:lnTo>
                    <a:pt x="3737277" y="1932369"/>
                  </a:lnTo>
                  <a:lnTo>
                    <a:pt x="3737277" y="1955222"/>
                  </a:lnTo>
                  <a:lnTo>
                    <a:pt x="3748738" y="1955222"/>
                  </a:lnTo>
                  <a:lnTo>
                    <a:pt x="3748738" y="1978076"/>
                  </a:lnTo>
                  <a:lnTo>
                    <a:pt x="3774205" y="1978076"/>
                  </a:lnTo>
                  <a:lnTo>
                    <a:pt x="3816225" y="1978076"/>
                  </a:lnTo>
                  <a:lnTo>
                    <a:pt x="3816225" y="2000929"/>
                  </a:lnTo>
                  <a:lnTo>
                    <a:pt x="3874799" y="2000929"/>
                  </a:lnTo>
                  <a:lnTo>
                    <a:pt x="3879893" y="2000929"/>
                  </a:lnTo>
                  <a:lnTo>
                    <a:pt x="3883712" y="2000929"/>
                  </a:lnTo>
                  <a:lnTo>
                    <a:pt x="3896446" y="2000929"/>
                  </a:lnTo>
                  <a:lnTo>
                    <a:pt x="3913000" y="2000929"/>
                  </a:lnTo>
                  <a:lnTo>
                    <a:pt x="3916820" y="2000929"/>
                  </a:lnTo>
                  <a:lnTo>
                    <a:pt x="3916820" y="2054253"/>
                  </a:lnTo>
                  <a:lnTo>
                    <a:pt x="3921913" y="2054253"/>
                  </a:lnTo>
                  <a:lnTo>
                    <a:pt x="3921913" y="2082185"/>
                  </a:lnTo>
                  <a:lnTo>
                    <a:pt x="4005954" y="2082185"/>
                  </a:lnTo>
                  <a:lnTo>
                    <a:pt x="4005954" y="2108847"/>
                  </a:lnTo>
                  <a:lnTo>
                    <a:pt x="4022508" y="2108847"/>
                  </a:lnTo>
                  <a:lnTo>
                    <a:pt x="4022508" y="2135509"/>
                  </a:lnTo>
                  <a:lnTo>
                    <a:pt x="4064528" y="2135509"/>
                  </a:lnTo>
                  <a:lnTo>
                    <a:pt x="4064528" y="2162171"/>
                  </a:lnTo>
                  <a:lnTo>
                    <a:pt x="4128195" y="2162171"/>
                  </a:lnTo>
                  <a:lnTo>
                    <a:pt x="4148569" y="2162171"/>
                  </a:lnTo>
                  <a:lnTo>
                    <a:pt x="4148569" y="2190103"/>
                  </a:lnTo>
                  <a:lnTo>
                    <a:pt x="4216057" y="2190103"/>
                  </a:lnTo>
                  <a:lnTo>
                    <a:pt x="4216057" y="2218035"/>
                  </a:lnTo>
                  <a:lnTo>
                    <a:pt x="4219877" y="2218035"/>
                  </a:lnTo>
                  <a:lnTo>
                    <a:pt x="4219877" y="2273898"/>
                  </a:lnTo>
                  <a:lnTo>
                    <a:pt x="4236430" y="2273898"/>
                  </a:lnTo>
                  <a:lnTo>
                    <a:pt x="4245344" y="2273898"/>
                  </a:lnTo>
                  <a:lnTo>
                    <a:pt x="4278451" y="2273898"/>
                  </a:lnTo>
                  <a:lnTo>
                    <a:pt x="4278451" y="2306909"/>
                  </a:lnTo>
                  <a:lnTo>
                    <a:pt x="4380318" y="2306909"/>
                  </a:lnTo>
                  <a:lnTo>
                    <a:pt x="4380318" y="2338649"/>
                  </a:lnTo>
                  <a:lnTo>
                    <a:pt x="4391779" y="2338649"/>
                  </a:lnTo>
                  <a:lnTo>
                    <a:pt x="4391779" y="2371659"/>
                  </a:lnTo>
                  <a:lnTo>
                    <a:pt x="4396872" y="2371659"/>
                  </a:lnTo>
                  <a:lnTo>
                    <a:pt x="4396872" y="2403400"/>
                  </a:lnTo>
                  <a:lnTo>
                    <a:pt x="4484733" y="2403400"/>
                  </a:lnTo>
                  <a:lnTo>
                    <a:pt x="4484733" y="2435141"/>
                  </a:lnTo>
                  <a:lnTo>
                    <a:pt x="4514020" y="2435141"/>
                  </a:lnTo>
                  <a:lnTo>
                    <a:pt x="4514020" y="2499891"/>
                  </a:lnTo>
                  <a:lnTo>
                    <a:pt x="4568774" y="2499891"/>
                  </a:lnTo>
                  <a:lnTo>
                    <a:pt x="4568774" y="2532902"/>
                  </a:lnTo>
                  <a:lnTo>
                    <a:pt x="4581508" y="2532902"/>
                  </a:lnTo>
                  <a:lnTo>
                    <a:pt x="4585328" y="2532902"/>
                  </a:lnTo>
                  <a:lnTo>
                    <a:pt x="4619708" y="2532902"/>
                  </a:lnTo>
                  <a:lnTo>
                    <a:pt x="4619708" y="2569721"/>
                  </a:lnTo>
                  <a:lnTo>
                    <a:pt x="4716483" y="2569721"/>
                  </a:lnTo>
                  <a:lnTo>
                    <a:pt x="4716483" y="2606540"/>
                  </a:lnTo>
                  <a:lnTo>
                    <a:pt x="4917672" y="2606540"/>
                  </a:lnTo>
                  <a:lnTo>
                    <a:pt x="4926585" y="2606540"/>
                  </a:lnTo>
                  <a:lnTo>
                    <a:pt x="4939319" y="2606540"/>
                  </a:lnTo>
                  <a:lnTo>
                    <a:pt x="4946958" y="2606540"/>
                  </a:lnTo>
                  <a:lnTo>
                    <a:pt x="4976246" y="2606540"/>
                  </a:lnTo>
                  <a:lnTo>
                    <a:pt x="5031000" y="2606540"/>
                  </a:lnTo>
                  <a:lnTo>
                    <a:pt x="5031000" y="2664943"/>
                  </a:lnTo>
                  <a:lnTo>
                    <a:pt x="5241102" y="2664943"/>
                  </a:lnTo>
                  <a:lnTo>
                    <a:pt x="5241102" y="2724615"/>
                  </a:lnTo>
                  <a:lnTo>
                    <a:pt x="5270389" y="2724615"/>
                  </a:lnTo>
                  <a:lnTo>
                    <a:pt x="5279302" y="2724615"/>
                  </a:lnTo>
                  <a:lnTo>
                    <a:pt x="5288216" y="2724615"/>
                  </a:lnTo>
                  <a:lnTo>
                    <a:pt x="5300950" y="2724615"/>
                  </a:lnTo>
                  <a:lnTo>
                    <a:pt x="5312410" y="2724615"/>
                  </a:lnTo>
                </a:path>
              </a:pathLst>
            </a:custGeom>
            <a:noFill/>
            <a:ln w="254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grpSp>
      <p:sp>
        <p:nvSpPr>
          <p:cNvPr id="297" name="TextBox 296">
            <a:extLst>
              <a:ext uri="{FF2B5EF4-FFF2-40B4-BE49-F238E27FC236}">
                <a16:creationId xmlns:a16="http://schemas.microsoft.com/office/drawing/2014/main" id="{723D2F90-9855-4D4D-A763-BECE093AF59F}"/>
              </a:ext>
            </a:extLst>
          </p:cNvPr>
          <p:cNvSpPr txBox="1"/>
          <p:nvPr/>
        </p:nvSpPr>
        <p:spPr>
          <a:xfrm>
            <a:off x="1241794" y="3785238"/>
            <a:ext cx="493485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Months</a:t>
            </a:r>
            <a:endParaRPr kumimoji="0" lang="en-GB" sz="14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300" name="TextBox 299">
            <a:extLst>
              <a:ext uri="{FF2B5EF4-FFF2-40B4-BE49-F238E27FC236}">
                <a16:creationId xmlns:a16="http://schemas.microsoft.com/office/drawing/2014/main" id="{78D6E1BF-7CCE-4A1C-79E4-CA2A47F4723F}"/>
              </a:ext>
            </a:extLst>
          </p:cNvPr>
          <p:cNvSpPr txBox="1"/>
          <p:nvPr/>
        </p:nvSpPr>
        <p:spPr>
          <a:xfrm>
            <a:off x="1036370"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78</a:t>
            </a:r>
            <a:b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73</a:t>
            </a:r>
          </a:p>
        </p:txBody>
      </p:sp>
      <p:sp>
        <p:nvSpPr>
          <p:cNvPr id="301" name="TextBox 300">
            <a:extLst>
              <a:ext uri="{FF2B5EF4-FFF2-40B4-BE49-F238E27FC236}">
                <a16:creationId xmlns:a16="http://schemas.microsoft.com/office/drawing/2014/main" id="{4BAB4BEF-74B7-44B5-F380-AF017C01A4FD}"/>
              </a:ext>
            </a:extLst>
          </p:cNvPr>
          <p:cNvSpPr txBox="1"/>
          <p:nvPr/>
        </p:nvSpPr>
        <p:spPr>
          <a:xfrm>
            <a:off x="1344636"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65</a:t>
            </a:r>
            <a:b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64</a:t>
            </a:r>
          </a:p>
        </p:txBody>
      </p:sp>
      <p:sp>
        <p:nvSpPr>
          <p:cNvPr id="302" name="TextBox 301">
            <a:extLst>
              <a:ext uri="{FF2B5EF4-FFF2-40B4-BE49-F238E27FC236}">
                <a16:creationId xmlns:a16="http://schemas.microsoft.com/office/drawing/2014/main" id="{CB3C2CE0-EFEA-12D1-1695-7F79778E0681}"/>
              </a:ext>
            </a:extLst>
          </p:cNvPr>
          <p:cNvSpPr txBox="1"/>
          <p:nvPr/>
        </p:nvSpPr>
        <p:spPr>
          <a:xfrm>
            <a:off x="2270367"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123</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126</a:t>
            </a:r>
          </a:p>
        </p:txBody>
      </p:sp>
      <p:sp>
        <p:nvSpPr>
          <p:cNvPr id="303" name="TextBox 302">
            <a:extLst>
              <a:ext uri="{FF2B5EF4-FFF2-40B4-BE49-F238E27FC236}">
                <a16:creationId xmlns:a16="http://schemas.microsoft.com/office/drawing/2014/main" id="{AF2A2BCE-4F82-BD35-9E57-A1351DB5B813}"/>
              </a:ext>
            </a:extLst>
          </p:cNvPr>
          <p:cNvSpPr txBox="1"/>
          <p:nvPr/>
        </p:nvSpPr>
        <p:spPr>
          <a:xfrm>
            <a:off x="1653370"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51</a:t>
            </a:r>
            <a:b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51</a:t>
            </a:r>
          </a:p>
        </p:txBody>
      </p:sp>
      <p:sp>
        <p:nvSpPr>
          <p:cNvPr id="304" name="TextBox 303">
            <a:extLst>
              <a:ext uri="{FF2B5EF4-FFF2-40B4-BE49-F238E27FC236}">
                <a16:creationId xmlns:a16="http://schemas.microsoft.com/office/drawing/2014/main" id="{40242D42-F9F1-35D5-48CF-1811EECCA717}"/>
              </a:ext>
            </a:extLst>
          </p:cNvPr>
          <p:cNvSpPr txBox="1"/>
          <p:nvPr/>
        </p:nvSpPr>
        <p:spPr>
          <a:xfrm>
            <a:off x="1959711"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39</a:t>
            </a:r>
            <a:b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42</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305" name="TextBox 304">
            <a:extLst>
              <a:ext uri="{FF2B5EF4-FFF2-40B4-BE49-F238E27FC236}">
                <a16:creationId xmlns:a16="http://schemas.microsoft.com/office/drawing/2014/main" id="{2DDD1CEC-4EF7-7970-20B4-0DC51F200D93}"/>
              </a:ext>
            </a:extLst>
          </p:cNvPr>
          <p:cNvSpPr txBox="1"/>
          <p:nvPr/>
        </p:nvSpPr>
        <p:spPr>
          <a:xfrm>
            <a:off x="2572680" y="4042180"/>
            <a:ext cx="42105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112</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110</a:t>
            </a: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306" name="TextBox 305">
            <a:extLst>
              <a:ext uri="{FF2B5EF4-FFF2-40B4-BE49-F238E27FC236}">
                <a16:creationId xmlns:a16="http://schemas.microsoft.com/office/drawing/2014/main" id="{EF8C8EBE-1D72-0EC9-CD21-015B9D001C84}"/>
              </a:ext>
            </a:extLst>
          </p:cNvPr>
          <p:cNvSpPr txBox="1"/>
          <p:nvPr/>
        </p:nvSpPr>
        <p:spPr>
          <a:xfrm>
            <a:off x="3193697" y="4042180"/>
            <a:ext cx="415749"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90</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83</a:t>
            </a: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307" name="TextBox 306">
            <a:extLst>
              <a:ext uri="{FF2B5EF4-FFF2-40B4-BE49-F238E27FC236}">
                <a16:creationId xmlns:a16="http://schemas.microsoft.com/office/drawing/2014/main" id="{88EF2480-F6E4-066A-B2BF-228E9C637FCA}"/>
              </a:ext>
            </a:extLst>
          </p:cNvPr>
          <p:cNvSpPr txBox="1"/>
          <p:nvPr/>
        </p:nvSpPr>
        <p:spPr>
          <a:xfrm>
            <a:off x="2887456"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102</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98</a:t>
            </a: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308" name="TextBox 307">
            <a:extLst>
              <a:ext uri="{FF2B5EF4-FFF2-40B4-BE49-F238E27FC236}">
                <a16:creationId xmlns:a16="http://schemas.microsoft.com/office/drawing/2014/main" id="{ADBC0C46-7023-CE93-387F-3C28AFF69B26}"/>
              </a:ext>
            </a:extLst>
          </p:cNvPr>
          <p:cNvSpPr txBox="1"/>
          <p:nvPr/>
        </p:nvSpPr>
        <p:spPr>
          <a:xfrm>
            <a:off x="3504702" y="4042180"/>
            <a:ext cx="415278"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82</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69</a:t>
            </a: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309" name="TextBox 308">
            <a:extLst>
              <a:ext uri="{FF2B5EF4-FFF2-40B4-BE49-F238E27FC236}">
                <a16:creationId xmlns:a16="http://schemas.microsoft.com/office/drawing/2014/main" id="{EC2DD78B-89C6-0951-090F-357A80600D2E}"/>
              </a:ext>
            </a:extLst>
          </p:cNvPr>
          <p:cNvSpPr txBox="1"/>
          <p:nvPr/>
        </p:nvSpPr>
        <p:spPr>
          <a:xfrm>
            <a:off x="3810499" y="4042180"/>
            <a:ext cx="418875"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70</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59</a:t>
            </a:r>
          </a:p>
        </p:txBody>
      </p:sp>
      <p:sp>
        <p:nvSpPr>
          <p:cNvPr id="310" name="TextBox 309">
            <a:extLst>
              <a:ext uri="{FF2B5EF4-FFF2-40B4-BE49-F238E27FC236}">
                <a16:creationId xmlns:a16="http://schemas.microsoft.com/office/drawing/2014/main" id="{CBB7DA6B-D0EC-D373-DA5B-C3DAC58E9AD9}"/>
              </a:ext>
            </a:extLst>
          </p:cNvPr>
          <p:cNvSpPr txBox="1"/>
          <p:nvPr/>
        </p:nvSpPr>
        <p:spPr>
          <a:xfrm>
            <a:off x="4117382"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63</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47</a:t>
            </a: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311" name="TextBox 310">
            <a:extLst>
              <a:ext uri="{FF2B5EF4-FFF2-40B4-BE49-F238E27FC236}">
                <a16:creationId xmlns:a16="http://schemas.microsoft.com/office/drawing/2014/main" id="{CF755FDD-8603-F1E2-8CB2-0F8AC8853BBB}"/>
              </a:ext>
            </a:extLst>
          </p:cNvPr>
          <p:cNvSpPr txBox="1"/>
          <p:nvPr/>
        </p:nvSpPr>
        <p:spPr>
          <a:xfrm>
            <a:off x="4428506"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49</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29</a:t>
            </a:r>
          </a:p>
        </p:txBody>
      </p:sp>
      <p:sp>
        <p:nvSpPr>
          <p:cNvPr id="312" name="TextBox 311">
            <a:extLst>
              <a:ext uri="{FF2B5EF4-FFF2-40B4-BE49-F238E27FC236}">
                <a16:creationId xmlns:a16="http://schemas.microsoft.com/office/drawing/2014/main" id="{D877E3C7-6900-AD76-4B77-69526344E72A}"/>
              </a:ext>
            </a:extLst>
          </p:cNvPr>
          <p:cNvSpPr txBox="1"/>
          <p:nvPr/>
        </p:nvSpPr>
        <p:spPr>
          <a:xfrm>
            <a:off x="4735315"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31</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15</a:t>
            </a:r>
          </a:p>
        </p:txBody>
      </p:sp>
      <p:sp>
        <p:nvSpPr>
          <p:cNvPr id="313" name="TextBox 312">
            <a:extLst>
              <a:ext uri="{FF2B5EF4-FFF2-40B4-BE49-F238E27FC236}">
                <a16:creationId xmlns:a16="http://schemas.microsoft.com/office/drawing/2014/main" id="{4A8DB060-28A2-CD3E-C69B-31AF7C6365FB}"/>
              </a:ext>
            </a:extLst>
          </p:cNvPr>
          <p:cNvSpPr txBox="1"/>
          <p:nvPr/>
        </p:nvSpPr>
        <p:spPr>
          <a:xfrm>
            <a:off x="5043114"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17</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8</a:t>
            </a:r>
          </a:p>
        </p:txBody>
      </p:sp>
      <p:sp>
        <p:nvSpPr>
          <p:cNvPr id="314" name="TextBox 313">
            <a:extLst>
              <a:ext uri="{FF2B5EF4-FFF2-40B4-BE49-F238E27FC236}">
                <a16:creationId xmlns:a16="http://schemas.microsoft.com/office/drawing/2014/main" id="{E163C0D3-44E6-0829-5907-DC6D194D717E}"/>
              </a:ext>
            </a:extLst>
          </p:cNvPr>
          <p:cNvSpPr txBox="1"/>
          <p:nvPr/>
        </p:nvSpPr>
        <p:spPr>
          <a:xfrm>
            <a:off x="5661047"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2</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0</a:t>
            </a: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315" name="TextBox 314">
            <a:extLst>
              <a:ext uri="{FF2B5EF4-FFF2-40B4-BE49-F238E27FC236}">
                <a16:creationId xmlns:a16="http://schemas.microsoft.com/office/drawing/2014/main" id="{392B092D-635D-E335-5825-1A24F7933061}"/>
              </a:ext>
            </a:extLst>
          </p:cNvPr>
          <p:cNvSpPr txBox="1"/>
          <p:nvPr/>
        </p:nvSpPr>
        <p:spPr>
          <a:xfrm>
            <a:off x="5352781"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8</a:t>
            </a:r>
            <a:b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b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0</a:t>
            </a: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316" name="TextBox 315">
            <a:extLst>
              <a:ext uri="{FF2B5EF4-FFF2-40B4-BE49-F238E27FC236}">
                <a16:creationId xmlns:a16="http://schemas.microsoft.com/office/drawing/2014/main" id="{C25D1F8F-1D5C-7F46-9523-4C09B2377CFD}"/>
              </a:ext>
            </a:extLst>
          </p:cNvPr>
          <p:cNvSpPr txBox="1"/>
          <p:nvPr/>
        </p:nvSpPr>
        <p:spPr>
          <a:xfrm>
            <a:off x="5969780" y="4042180"/>
            <a:ext cx="415474" cy="400110"/>
          </a:xfrm>
          <a:prstGeom prst="rect">
            <a:avLst/>
          </a:prstGeom>
          <a:noFill/>
        </p:spPr>
        <p:txBody>
          <a:bodyPr wrap="square" rtlCol="0" anchor="b">
            <a:spAutoFit/>
          </a:bodyPr>
          <a:lstStyle/>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0</a:t>
            </a:r>
          </a:p>
          <a:p>
            <a:pPr marL="0" marR="0" lvl="0" indent="0" algn="ctr" defTabSz="121914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0</a:t>
            </a:r>
          </a:p>
        </p:txBody>
      </p:sp>
      <p:cxnSp>
        <p:nvCxnSpPr>
          <p:cNvPr id="317" name="Straight Connector 316">
            <a:extLst>
              <a:ext uri="{FF2B5EF4-FFF2-40B4-BE49-F238E27FC236}">
                <a16:creationId xmlns:a16="http://schemas.microsoft.com/office/drawing/2014/main" id="{FC4D741D-8A63-EBAB-3885-1182A7CFBF93}"/>
              </a:ext>
            </a:extLst>
          </p:cNvPr>
          <p:cNvCxnSpPr>
            <a:cxnSpLocks/>
          </p:cNvCxnSpPr>
          <p:nvPr/>
        </p:nvCxnSpPr>
        <p:spPr>
          <a:xfrm flipH="1">
            <a:off x="1243641" y="2527323"/>
            <a:ext cx="4950511" cy="0"/>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0EAEBC1E-6BA8-DFFA-664E-465554AFFA6A}"/>
              </a:ext>
            </a:extLst>
          </p:cNvPr>
          <p:cNvCxnSpPr>
            <a:cxnSpLocks/>
          </p:cNvCxnSpPr>
          <p:nvPr/>
        </p:nvCxnSpPr>
        <p:spPr>
          <a:xfrm flipV="1">
            <a:off x="3711137" y="2266171"/>
            <a:ext cx="0" cy="1289045"/>
          </a:xfrm>
          <a:prstGeom prst="line">
            <a:avLst/>
          </a:prstGeom>
          <a:noFill/>
          <a:ln w="12700" cap="rnd" cmpd="sng" algn="ctr">
            <a:solidFill>
              <a:schemeClr val="tx1"/>
            </a:solidFill>
            <a:prstDash val="dash"/>
            <a:miter lim="800000"/>
          </a:ln>
          <a:effectLst/>
        </p:spPr>
      </p:cxnSp>
      <p:cxnSp>
        <p:nvCxnSpPr>
          <p:cNvPr id="319" name="Straight Connector 318">
            <a:extLst>
              <a:ext uri="{FF2B5EF4-FFF2-40B4-BE49-F238E27FC236}">
                <a16:creationId xmlns:a16="http://schemas.microsoft.com/office/drawing/2014/main" id="{9F0B109F-2D89-C9D1-C334-4E61E1A7917D}"/>
              </a:ext>
            </a:extLst>
          </p:cNvPr>
          <p:cNvCxnSpPr>
            <a:cxnSpLocks/>
          </p:cNvCxnSpPr>
          <p:nvPr/>
        </p:nvCxnSpPr>
        <p:spPr>
          <a:xfrm flipV="1">
            <a:off x="4945581" y="2651934"/>
            <a:ext cx="0" cy="903282"/>
          </a:xfrm>
          <a:prstGeom prst="line">
            <a:avLst/>
          </a:prstGeom>
          <a:noFill/>
          <a:ln w="12700" cap="rnd" cmpd="sng" algn="ctr">
            <a:solidFill>
              <a:schemeClr val="tx1"/>
            </a:solidFill>
            <a:prstDash val="dash"/>
            <a:miter lim="800000"/>
          </a:ln>
          <a:effectLst/>
        </p:spPr>
      </p:cxnSp>
      <p:sp>
        <p:nvSpPr>
          <p:cNvPr id="323" name="TextBox 322">
            <a:extLst>
              <a:ext uri="{FF2B5EF4-FFF2-40B4-BE49-F238E27FC236}">
                <a16:creationId xmlns:a16="http://schemas.microsoft.com/office/drawing/2014/main" id="{DF3C1CDF-AFB4-4EC2-C232-EF5365207FF6}"/>
              </a:ext>
            </a:extLst>
          </p:cNvPr>
          <p:cNvSpPr txBox="1"/>
          <p:nvPr/>
        </p:nvSpPr>
        <p:spPr>
          <a:xfrm>
            <a:off x="1318450" y="3184001"/>
            <a:ext cx="1432401"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n follow-up: </a:t>
            </a:r>
            <a:b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7.8 months</a:t>
            </a:r>
          </a:p>
        </p:txBody>
      </p:sp>
      <p:grpSp>
        <p:nvGrpSpPr>
          <p:cNvPr id="337" name="Group 336">
            <a:extLst>
              <a:ext uri="{FF2B5EF4-FFF2-40B4-BE49-F238E27FC236}">
                <a16:creationId xmlns:a16="http://schemas.microsoft.com/office/drawing/2014/main" id="{3438F0E4-D480-9544-E24B-EBC9F848F4E6}"/>
              </a:ext>
            </a:extLst>
          </p:cNvPr>
          <p:cNvGrpSpPr/>
          <p:nvPr/>
        </p:nvGrpSpPr>
        <p:grpSpPr>
          <a:xfrm>
            <a:off x="6828939" y="1155473"/>
            <a:ext cx="4573259" cy="2124000"/>
            <a:chOff x="7175715" y="1066058"/>
            <a:chExt cx="4573259" cy="2124000"/>
          </a:xfrm>
        </p:grpSpPr>
        <p:sp>
          <p:nvSpPr>
            <p:cNvPr id="338" name="TextBox 337">
              <a:extLst>
                <a:ext uri="{FF2B5EF4-FFF2-40B4-BE49-F238E27FC236}">
                  <a16:creationId xmlns:a16="http://schemas.microsoft.com/office/drawing/2014/main" id="{97904F4B-1CC3-928A-A8A0-C1A3687DBD2A}"/>
                </a:ext>
              </a:extLst>
            </p:cNvPr>
            <p:cNvSpPr txBox="1"/>
            <p:nvPr/>
          </p:nvSpPr>
          <p:spPr>
            <a:xfrm>
              <a:off x="7175715" y="1066058"/>
              <a:ext cx="4573259" cy="2124000"/>
            </a:xfrm>
            <a:prstGeom prst="rect">
              <a:avLst/>
            </a:prstGeom>
            <a:solidFill>
              <a:schemeClr val="accent1">
                <a:lumMod val="20000"/>
                <a:lumOff val="80000"/>
                <a:alpha val="48266"/>
              </a:schemeClr>
            </a:solidFill>
            <a:ln>
              <a:noFill/>
            </a:ln>
          </p:spPr>
          <p:txBody>
            <a:bodyPr wrap="square" lIns="0" tIns="0" rIns="0" bIns="0" rtlCol="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9" name="TextBox 338">
              <a:extLst>
                <a:ext uri="{FF2B5EF4-FFF2-40B4-BE49-F238E27FC236}">
                  <a16:creationId xmlns:a16="http://schemas.microsoft.com/office/drawing/2014/main" id="{DCFB3454-611D-17FA-C836-58E1BDAEBCF3}"/>
                </a:ext>
              </a:extLst>
            </p:cNvPr>
            <p:cNvSpPr txBox="1"/>
            <p:nvPr/>
          </p:nvSpPr>
          <p:spPr>
            <a:xfrm>
              <a:off x="7176087" y="1141390"/>
              <a:ext cx="4572887" cy="1428180"/>
            </a:xfrm>
            <a:prstGeom prst="rect">
              <a:avLst/>
            </a:prstGeom>
            <a:noFill/>
          </p:spPr>
          <p:txBody>
            <a:bodyPr wrap="square" lIns="180000" tIns="180000" rIns="108000" bIns="180000" anchor="t" anchorCtr="0">
              <a:noAutofit/>
            </a:bodyPr>
            <a:lstStyle/>
            <a:p>
              <a:pPr marL="541338"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ong patients </a:t>
              </a:r>
              <a:r>
                <a:rPr kumimoji="0" lang="en-GB" sz="1500" b="1" i="0" u="sng"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with</a:t>
              </a:r>
              <a:r>
                <a:rPr kumimoji="0" lang="en-GB" sz="15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 a history </a:t>
              </a: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f </a:t>
              </a:r>
              <a:b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ain metastases at screening:</a:t>
              </a:r>
              <a:r>
                <a:rPr kumimoji="0" lang="en-GB" sz="15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3</a:t>
              </a:r>
            </a:p>
            <a:p>
              <a:pPr marL="171450" marR="0" lvl="0" indent="-171450" algn="l" defTabSz="914400" rtl="0" eaLnBrk="1" fontAlgn="auto" latinLnBrk="0" hangingPunct="1">
                <a:lnSpc>
                  <a:spcPct val="100000"/>
                </a:lnSpc>
                <a:spcBef>
                  <a:spcPts val="0"/>
                </a:spcBef>
                <a:spcAft>
                  <a:spcPts val="20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Brain MRI (or CT if MRI contraindicated) at baseline and every 8 weeks (±1 week) for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the first 30 months, then every 12 weeks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1 week) until PD by BICR</a:t>
              </a:r>
            </a:p>
            <a:p>
              <a:pPr marL="171450" marR="0" lvl="0" indent="-171450" algn="l" defTabSz="914400" rtl="0" eaLnBrk="1" fontAlgn="auto" latinLnBrk="0" hangingPunct="1">
                <a:lnSpc>
                  <a:spcPct val="100000"/>
                </a:lnSpc>
                <a:spcBef>
                  <a:spcPts val="0"/>
                </a:spcBef>
                <a:spcAft>
                  <a:spcPts val="20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16 scheduled scans in the first 120 weeks</a:t>
              </a:r>
            </a:p>
          </p:txBody>
        </p:sp>
        <p:pic>
          <p:nvPicPr>
            <p:cNvPr id="340" name="Graphic 339">
              <a:extLst>
                <a:ext uri="{FF2B5EF4-FFF2-40B4-BE49-F238E27FC236}">
                  <a16:creationId xmlns:a16="http://schemas.microsoft.com/office/drawing/2014/main" id="{C5A8F022-B53A-D33D-EAE3-587A17B4D481}"/>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7281277" y="1252076"/>
              <a:ext cx="537603" cy="537603"/>
            </a:xfrm>
            <a:prstGeom prst="rect">
              <a:avLst/>
            </a:prstGeom>
          </p:spPr>
        </p:pic>
      </p:grpSp>
      <p:grpSp>
        <p:nvGrpSpPr>
          <p:cNvPr id="346" name="Group 345">
            <a:extLst>
              <a:ext uri="{FF2B5EF4-FFF2-40B4-BE49-F238E27FC236}">
                <a16:creationId xmlns:a16="http://schemas.microsoft.com/office/drawing/2014/main" id="{8315E3ED-0C71-9A7D-97A2-7615EFE0F373}"/>
              </a:ext>
            </a:extLst>
          </p:cNvPr>
          <p:cNvGrpSpPr/>
          <p:nvPr/>
        </p:nvGrpSpPr>
        <p:grpSpPr>
          <a:xfrm>
            <a:off x="4384831" y="1433671"/>
            <a:ext cx="2019659" cy="478674"/>
            <a:chOff x="7266356" y="3398730"/>
            <a:chExt cx="2019659" cy="478674"/>
          </a:xfrm>
        </p:grpSpPr>
        <p:sp>
          <p:nvSpPr>
            <p:cNvPr id="347" name="Rectangle 346">
              <a:extLst>
                <a:ext uri="{FF2B5EF4-FFF2-40B4-BE49-F238E27FC236}">
                  <a16:creationId xmlns:a16="http://schemas.microsoft.com/office/drawing/2014/main" id="{4F290B29-2571-3661-67A8-C352B5BD71B6}"/>
                </a:ext>
              </a:extLst>
            </p:cNvPr>
            <p:cNvSpPr/>
            <p:nvPr/>
          </p:nvSpPr>
          <p:spPr>
            <a:xfrm>
              <a:off x="7266356" y="3479681"/>
              <a:ext cx="108000" cy="108000"/>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 name="Rectangle 347">
              <a:extLst>
                <a:ext uri="{FF2B5EF4-FFF2-40B4-BE49-F238E27FC236}">
                  <a16:creationId xmlns:a16="http://schemas.microsoft.com/office/drawing/2014/main" id="{07D2D6AE-5E46-FD35-726B-16DCC592193F}"/>
                </a:ext>
              </a:extLst>
            </p:cNvPr>
            <p:cNvSpPr/>
            <p:nvPr/>
          </p:nvSpPr>
          <p:spPr>
            <a:xfrm>
              <a:off x="7266356" y="3681356"/>
              <a:ext cx="108000" cy="108000"/>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 name="TextBox 348">
              <a:extLst>
                <a:ext uri="{FF2B5EF4-FFF2-40B4-BE49-F238E27FC236}">
                  <a16:creationId xmlns:a16="http://schemas.microsoft.com/office/drawing/2014/main" id="{3408C2EA-6858-4A10-BE55-E85DCDEDF8D6}"/>
                </a:ext>
              </a:extLst>
            </p:cNvPr>
            <p:cNvSpPr txBox="1"/>
            <p:nvPr/>
          </p:nvSpPr>
          <p:spPr>
            <a:xfrm>
              <a:off x="7467247" y="3398730"/>
              <a:ext cx="1818768" cy="276999"/>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mivantamab</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azertinib</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0" name="TextBox 349">
              <a:extLst>
                <a:ext uri="{FF2B5EF4-FFF2-40B4-BE49-F238E27FC236}">
                  <a16:creationId xmlns:a16="http://schemas.microsoft.com/office/drawing/2014/main" id="{D64CC316-DE76-E341-2981-3CE7578BD952}"/>
                </a:ext>
              </a:extLst>
            </p:cNvPr>
            <p:cNvSpPr txBox="1"/>
            <p:nvPr/>
          </p:nvSpPr>
          <p:spPr>
            <a:xfrm>
              <a:off x="7467247" y="3600405"/>
              <a:ext cx="869790" cy="276999"/>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 name="Group 2">
            <a:extLst>
              <a:ext uri="{FF2B5EF4-FFF2-40B4-BE49-F238E27FC236}">
                <a16:creationId xmlns:a16="http://schemas.microsoft.com/office/drawing/2014/main" id="{D8DBB777-C339-E0E1-49A0-0CA87E9EFC47}"/>
              </a:ext>
            </a:extLst>
          </p:cNvPr>
          <p:cNvGrpSpPr/>
          <p:nvPr/>
        </p:nvGrpSpPr>
        <p:grpSpPr>
          <a:xfrm>
            <a:off x="4471627" y="3215536"/>
            <a:ext cx="543739" cy="307777"/>
            <a:chOff x="2277930" y="2301092"/>
            <a:chExt cx="543739" cy="307777"/>
          </a:xfrm>
        </p:grpSpPr>
        <p:sp>
          <p:nvSpPr>
            <p:cNvPr id="10" name="Freeform: Shape 9">
              <a:extLst>
                <a:ext uri="{FF2B5EF4-FFF2-40B4-BE49-F238E27FC236}">
                  <a16:creationId xmlns:a16="http://schemas.microsoft.com/office/drawing/2014/main" id="{A43E6124-167A-8225-310E-FE2A7B7E59FF}"/>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74C39EAB-3615-BE17-05A5-AFA68BE54320}"/>
                </a:ext>
              </a:extLst>
            </p:cNvPr>
            <p:cNvSpPr txBox="1"/>
            <p:nvPr/>
          </p:nvSpPr>
          <p:spPr>
            <a:xfrm flipH="1">
              <a:off x="2277930" y="2301092"/>
              <a:ext cx="543739"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8%</a:t>
              </a:r>
            </a:p>
          </p:txBody>
        </p:sp>
      </p:grpSp>
      <p:grpSp>
        <p:nvGrpSpPr>
          <p:cNvPr id="12" name="Group 11">
            <a:extLst>
              <a:ext uri="{FF2B5EF4-FFF2-40B4-BE49-F238E27FC236}">
                <a16:creationId xmlns:a16="http://schemas.microsoft.com/office/drawing/2014/main" id="{C7713802-3E94-6AD9-2706-217D43D7034A}"/>
              </a:ext>
            </a:extLst>
          </p:cNvPr>
          <p:cNvGrpSpPr/>
          <p:nvPr/>
        </p:nvGrpSpPr>
        <p:grpSpPr>
          <a:xfrm>
            <a:off x="4874110" y="2436197"/>
            <a:ext cx="553357" cy="307777"/>
            <a:chOff x="2269991" y="2308819"/>
            <a:chExt cx="553357" cy="307777"/>
          </a:xfrm>
        </p:grpSpPr>
        <p:sp>
          <p:nvSpPr>
            <p:cNvPr id="13" name="Freeform: Shape 12">
              <a:extLst>
                <a:ext uri="{FF2B5EF4-FFF2-40B4-BE49-F238E27FC236}">
                  <a16:creationId xmlns:a16="http://schemas.microsoft.com/office/drawing/2014/main" id="{AA8DCF26-5AAE-A028-EB91-7177A7849BCA}"/>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007CB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30ABD621-2E8B-7435-D4FE-87D629C12D73}"/>
                </a:ext>
              </a:extLst>
            </p:cNvPr>
            <p:cNvSpPr txBox="1"/>
            <p:nvPr/>
          </p:nvSpPr>
          <p:spPr>
            <a:xfrm flipH="1">
              <a:off x="2269991" y="2308819"/>
              <a:ext cx="553357"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6%</a:t>
              </a:r>
            </a:p>
          </p:txBody>
        </p:sp>
      </p:grpSp>
      <p:grpSp>
        <p:nvGrpSpPr>
          <p:cNvPr id="15" name="Group 14">
            <a:extLst>
              <a:ext uri="{FF2B5EF4-FFF2-40B4-BE49-F238E27FC236}">
                <a16:creationId xmlns:a16="http://schemas.microsoft.com/office/drawing/2014/main" id="{F0DD6A52-41AD-3F29-35AD-7F7B3C5AF813}"/>
              </a:ext>
            </a:extLst>
          </p:cNvPr>
          <p:cNvGrpSpPr/>
          <p:nvPr/>
        </p:nvGrpSpPr>
        <p:grpSpPr>
          <a:xfrm>
            <a:off x="3643301" y="2127397"/>
            <a:ext cx="543739" cy="307777"/>
            <a:chOff x="2269991" y="2305644"/>
            <a:chExt cx="543739" cy="307777"/>
          </a:xfrm>
        </p:grpSpPr>
        <p:sp>
          <p:nvSpPr>
            <p:cNvPr id="16" name="Freeform: Shape 15">
              <a:extLst>
                <a:ext uri="{FF2B5EF4-FFF2-40B4-BE49-F238E27FC236}">
                  <a16:creationId xmlns:a16="http://schemas.microsoft.com/office/drawing/2014/main" id="{E1E0EC1B-3C85-216B-4959-76506562E995}"/>
                </a:ext>
              </a:extLst>
            </p:cNvPr>
            <p:cNvSpPr/>
            <p:nvPr/>
          </p:nvSpPr>
          <p:spPr>
            <a:xfrm flipH="1">
              <a:off x="2328739" y="2330988"/>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007CB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1934932D-57C4-8230-140F-86242DF6A75B}"/>
                </a:ext>
              </a:extLst>
            </p:cNvPr>
            <p:cNvSpPr txBox="1"/>
            <p:nvPr/>
          </p:nvSpPr>
          <p:spPr>
            <a:xfrm flipH="1">
              <a:off x="2269991" y="2305644"/>
              <a:ext cx="543739"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1%</a:t>
              </a:r>
            </a:p>
          </p:txBody>
        </p:sp>
      </p:grpSp>
      <p:grpSp>
        <p:nvGrpSpPr>
          <p:cNvPr id="18" name="Group 17">
            <a:extLst>
              <a:ext uri="{FF2B5EF4-FFF2-40B4-BE49-F238E27FC236}">
                <a16:creationId xmlns:a16="http://schemas.microsoft.com/office/drawing/2014/main" id="{0B34FEA2-5C7B-FE11-F7A5-58AB0229288A}"/>
              </a:ext>
            </a:extLst>
          </p:cNvPr>
          <p:cNvGrpSpPr/>
          <p:nvPr/>
        </p:nvGrpSpPr>
        <p:grpSpPr>
          <a:xfrm>
            <a:off x="3235031" y="2620510"/>
            <a:ext cx="559769" cy="307777"/>
            <a:chOff x="2276341" y="2301092"/>
            <a:chExt cx="559769" cy="307777"/>
          </a:xfrm>
        </p:grpSpPr>
        <p:sp>
          <p:nvSpPr>
            <p:cNvPr id="19" name="Freeform: Shape 18">
              <a:extLst>
                <a:ext uri="{FF2B5EF4-FFF2-40B4-BE49-F238E27FC236}">
                  <a16:creationId xmlns:a16="http://schemas.microsoft.com/office/drawing/2014/main" id="{2C998478-772E-D60C-FBA0-9FA2225093CF}"/>
                </a:ext>
              </a:extLst>
            </p:cNvPr>
            <p:cNvSpPr/>
            <p:nvPr/>
          </p:nvSpPr>
          <p:spPr>
            <a:xfrm>
              <a:off x="2286839" y="2323853"/>
              <a:ext cx="471407" cy="276999"/>
            </a:xfrm>
            <a:custGeom>
              <a:avLst/>
              <a:gdLst>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167564 w 652773"/>
                <a:gd name="connsiteY6" fmla="*/ 217031 h 433517"/>
                <a:gd name="connsiteX7" fmla="*/ 0 w 652773"/>
                <a:gd name="connsiteY7" fmla="*/ 545 h 433517"/>
                <a:gd name="connsiteX8" fmla="*/ 221886 w 652773"/>
                <a:gd name="connsiteY8" fmla="*/ 545 h 433517"/>
                <a:gd name="connsiteX0" fmla="*/ 221886 w 652773"/>
                <a:gd name="connsiteY0" fmla="*/ 0 h 433517"/>
                <a:gd name="connsiteX1" fmla="*/ 652773 w 652773"/>
                <a:gd name="connsiteY1" fmla="*/ 0 h 433517"/>
                <a:gd name="connsiteX2" fmla="*/ 652773 w 652773"/>
                <a:gd name="connsiteY2" fmla="*/ 430887 h 433517"/>
                <a:gd name="connsiteX3" fmla="*/ 339296 w 652773"/>
                <a:gd name="connsiteY3" fmla="*/ 430887 h 433517"/>
                <a:gd name="connsiteX4" fmla="*/ 337260 w 652773"/>
                <a:gd name="connsiteY4" fmla="*/ 433517 h 433517"/>
                <a:gd name="connsiteX5" fmla="*/ 0 w 652773"/>
                <a:gd name="connsiteY5" fmla="*/ 433517 h 433517"/>
                <a:gd name="connsiteX6" fmla="*/ 85363 w 652773"/>
                <a:gd name="connsiteY6" fmla="*/ 207094 h 433517"/>
                <a:gd name="connsiteX7" fmla="*/ 0 w 652773"/>
                <a:gd name="connsiteY7" fmla="*/ 545 h 433517"/>
                <a:gd name="connsiteX8" fmla="*/ 221886 w 652773"/>
                <a:gd name="connsiteY8" fmla="*/ 545 h 433517"/>
                <a:gd name="connsiteX9" fmla="*/ 221886 w 652773"/>
                <a:gd name="connsiteY9" fmla="*/ 0 h 43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773" h="433517">
                  <a:moveTo>
                    <a:pt x="221886" y="0"/>
                  </a:moveTo>
                  <a:lnTo>
                    <a:pt x="652773" y="0"/>
                  </a:lnTo>
                  <a:lnTo>
                    <a:pt x="652773" y="430887"/>
                  </a:lnTo>
                  <a:lnTo>
                    <a:pt x="339296" y="430887"/>
                  </a:lnTo>
                  <a:lnTo>
                    <a:pt x="337260" y="433517"/>
                  </a:lnTo>
                  <a:lnTo>
                    <a:pt x="0" y="433517"/>
                  </a:lnTo>
                  <a:lnTo>
                    <a:pt x="85363" y="207094"/>
                  </a:lnTo>
                  <a:lnTo>
                    <a:pt x="0" y="545"/>
                  </a:lnTo>
                  <a:lnTo>
                    <a:pt x="221886" y="545"/>
                  </a:lnTo>
                  <a:lnTo>
                    <a:pt x="221886" y="0"/>
                  </a:lnTo>
                  <a:close/>
                </a:path>
              </a:pathLst>
            </a:custGeom>
            <a:solidFill>
              <a:srgbClr val="541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125AB547-8CBA-D697-215E-673F14E9E333}"/>
                </a:ext>
              </a:extLst>
            </p:cNvPr>
            <p:cNvSpPr txBox="1"/>
            <p:nvPr/>
          </p:nvSpPr>
          <p:spPr>
            <a:xfrm flipH="1">
              <a:off x="2276341" y="2301092"/>
              <a:ext cx="559769" cy="307777"/>
            </a:xfrm>
            <a:prstGeom prst="rect">
              <a:avLst/>
            </a:prstGeom>
          </p:spPr>
          <p:txBody>
            <a:bodyPr vert="horz" wrap="non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8%</a:t>
              </a:r>
            </a:p>
          </p:txBody>
        </p:sp>
      </p:grpSp>
      <p:sp>
        <p:nvSpPr>
          <p:cNvPr id="21" name="TextBox 20">
            <a:extLst>
              <a:ext uri="{FF2B5EF4-FFF2-40B4-BE49-F238E27FC236}">
                <a16:creationId xmlns:a16="http://schemas.microsoft.com/office/drawing/2014/main" id="{0010066B-CB11-8F91-D774-6D29B332CCD0}"/>
              </a:ext>
            </a:extLst>
          </p:cNvPr>
          <p:cNvSpPr txBox="1"/>
          <p:nvPr/>
        </p:nvSpPr>
        <p:spPr>
          <a:xfrm>
            <a:off x="6828939" y="3371119"/>
            <a:ext cx="4573259" cy="1872000"/>
          </a:xfrm>
          <a:prstGeom prst="rect">
            <a:avLst/>
          </a:prstGeom>
          <a:solidFill>
            <a:schemeClr val="accent6">
              <a:lumMod val="20000"/>
              <a:lumOff val="80000"/>
              <a:alpha val="48266"/>
            </a:schemeClr>
          </a:solidFill>
          <a:ln>
            <a:noFill/>
          </a:ln>
        </p:spPr>
        <p:txBody>
          <a:bodyPr wrap="square" lIns="0" tIns="0" rIns="0" bIns="0" rtlCol="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3" name="Graphic 22">
            <a:extLst>
              <a:ext uri="{FF2B5EF4-FFF2-40B4-BE49-F238E27FC236}">
                <a16:creationId xmlns:a16="http://schemas.microsoft.com/office/drawing/2014/main" id="{7619FD8A-98E9-07E5-7A66-D18C57DBE50E}"/>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6969069" y="3570601"/>
            <a:ext cx="500028" cy="500028"/>
          </a:xfrm>
          <a:prstGeom prst="rect">
            <a:avLst/>
          </a:prstGeom>
        </p:spPr>
      </p:pic>
      <p:sp>
        <p:nvSpPr>
          <p:cNvPr id="24" name="TextBox 23">
            <a:extLst>
              <a:ext uri="{FF2B5EF4-FFF2-40B4-BE49-F238E27FC236}">
                <a16:creationId xmlns:a16="http://schemas.microsoft.com/office/drawing/2014/main" id="{01E83AF5-BC9B-E6FB-EDA0-D0CB56EE0200}"/>
              </a:ext>
            </a:extLst>
          </p:cNvPr>
          <p:cNvSpPr txBox="1"/>
          <p:nvPr/>
        </p:nvSpPr>
        <p:spPr>
          <a:xfrm>
            <a:off x="6848361" y="3426672"/>
            <a:ext cx="4572887" cy="1428180"/>
          </a:xfrm>
          <a:prstGeom prst="rect">
            <a:avLst/>
          </a:prstGeom>
          <a:noFill/>
        </p:spPr>
        <p:txBody>
          <a:bodyPr wrap="square" lIns="180000" tIns="180000" rIns="108000" bIns="180000" anchor="t" anchorCtr="0">
            <a:noAutofit/>
          </a:bodyPr>
          <a:lstStyle/>
          <a:p>
            <a:pPr marL="541338"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ong patients </a:t>
            </a:r>
            <a:r>
              <a:rPr kumimoji="0" lang="en-GB" sz="1500" b="1" i="0" u="sng"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without</a:t>
            </a:r>
            <a:r>
              <a:rPr kumimoji="0" lang="en-GB" sz="1500" b="1"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 a history </a:t>
            </a: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f </a:t>
            </a:r>
            <a:b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ain metastases at screening:</a:t>
            </a:r>
            <a:r>
              <a:rPr kumimoji="0" lang="en-GB" sz="15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3</a:t>
            </a:r>
          </a:p>
          <a:p>
            <a:pPr marL="171450" marR="0" lvl="0" indent="-171450" algn="l" defTabSz="914400" rtl="0" eaLnBrk="1" fontAlgn="auto" latinLnBrk="0" hangingPunct="1">
              <a:lnSpc>
                <a:spcPct val="100000"/>
              </a:lnSpc>
              <a:spcBef>
                <a:spcPts val="0"/>
              </a:spcBef>
              <a:spcAft>
                <a:spcPts val="200"/>
              </a:spcAft>
              <a:buClr>
                <a:srgbClr val="54198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Brain MRI (or CT if MRI contraindicated)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at baseline and every 24 weeks (±1 week)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until PD by BICR</a:t>
            </a:r>
          </a:p>
          <a:p>
            <a:pPr marL="171450" marR="0" lvl="0" indent="-171450" algn="l" defTabSz="914400" rtl="0" eaLnBrk="1" fontAlgn="auto" latinLnBrk="0" hangingPunct="1">
              <a:lnSpc>
                <a:spcPct val="100000"/>
              </a:lnSpc>
              <a:spcBef>
                <a:spcPts val="0"/>
              </a:spcBef>
              <a:spcAft>
                <a:spcPts val="200"/>
              </a:spcAft>
              <a:buClr>
                <a:srgbClr val="54198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6 scheduled scans in the first 120 weeks</a:t>
            </a:r>
          </a:p>
        </p:txBody>
      </p:sp>
      <p:sp>
        <p:nvSpPr>
          <p:cNvPr id="22" name="Rectangle: Rounded Corners 21">
            <a:extLst>
              <a:ext uri="{FF2B5EF4-FFF2-40B4-BE49-F238E27FC236}">
                <a16:creationId xmlns:a16="http://schemas.microsoft.com/office/drawing/2014/main" id="{59746729-363D-8C0D-4261-AB83721DA3AD}"/>
              </a:ext>
            </a:extLst>
          </p:cNvPr>
          <p:cNvSpPr/>
          <p:nvPr/>
        </p:nvSpPr>
        <p:spPr>
          <a:xfrm>
            <a:off x="9972136" y="203659"/>
            <a:ext cx="1698075"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RIPOSA</a:t>
            </a:r>
          </a:p>
        </p:txBody>
      </p:sp>
      <p:grpSp>
        <p:nvGrpSpPr>
          <p:cNvPr id="25" name="Group 24">
            <a:extLst>
              <a:ext uri="{FF2B5EF4-FFF2-40B4-BE49-F238E27FC236}">
                <a16:creationId xmlns:a16="http://schemas.microsoft.com/office/drawing/2014/main" id="{E921FAFB-B0EA-9B79-2ED5-8E2AF98638C8}"/>
              </a:ext>
            </a:extLst>
          </p:cNvPr>
          <p:cNvGrpSpPr/>
          <p:nvPr/>
        </p:nvGrpSpPr>
        <p:grpSpPr>
          <a:xfrm>
            <a:off x="11442807" y="48345"/>
            <a:ext cx="645342" cy="645342"/>
            <a:chOff x="11442807" y="48345"/>
            <a:chExt cx="645342" cy="645342"/>
          </a:xfrm>
        </p:grpSpPr>
        <p:sp>
          <p:nvSpPr>
            <p:cNvPr id="26" name="Oval 25">
              <a:extLst>
                <a:ext uri="{FF2B5EF4-FFF2-40B4-BE49-F238E27FC236}">
                  <a16:creationId xmlns:a16="http://schemas.microsoft.com/office/drawing/2014/main" id="{D6BC6EA3-17BD-ED2C-2627-FBAFFFB1BFAF}"/>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27" name="Graphic 26" descr="Signal outline">
              <a:extLst>
                <a:ext uri="{FF2B5EF4-FFF2-40B4-BE49-F238E27FC236}">
                  <a16:creationId xmlns:a16="http://schemas.microsoft.com/office/drawing/2014/main" id="{F2FE521D-17CB-77CA-FED6-0C9625C302B9}"/>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1492045" y="96048"/>
              <a:ext cx="506740" cy="506740"/>
            </a:xfrm>
            <a:prstGeom prst="rect">
              <a:avLst/>
            </a:prstGeom>
          </p:spPr>
        </p:pic>
      </p:grpSp>
    </p:spTree>
    <p:extLst>
      <p:ext uri="{BB962C8B-B14F-4D97-AF65-F5344CB8AC3E}">
        <p14:creationId xmlns:p14="http://schemas.microsoft.com/office/powerpoint/2010/main" val="16891161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8CD30-CDC1-8BB8-AA38-4C3F242EFAC6}"/>
            </a:ext>
          </a:extLst>
        </p:cNvPr>
        <p:cNvGrpSpPr/>
        <p:nvPr/>
      </p:nvGrpSpPr>
      <p:grpSpPr>
        <a:xfrm>
          <a:off x="0" y="0"/>
          <a:ext cx="0" cy="0"/>
          <a:chOff x="0" y="0"/>
          <a:chExt cx="0" cy="0"/>
        </a:xfrm>
      </p:grpSpPr>
      <p:grpSp>
        <p:nvGrpSpPr>
          <p:cNvPr id="26" name="Group 25">
            <a:extLst>
              <a:ext uri="{FF2B5EF4-FFF2-40B4-BE49-F238E27FC236}">
                <a16:creationId xmlns:a16="http://schemas.microsoft.com/office/drawing/2014/main" id="{ED00922D-75BA-C483-D57B-64374CB6C071}"/>
              </a:ext>
            </a:extLst>
          </p:cNvPr>
          <p:cNvGrpSpPr/>
          <p:nvPr/>
        </p:nvGrpSpPr>
        <p:grpSpPr>
          <a:xfrm>
            <a:off x="0" y="5471208"/>
            <a:ext cx="11758910" cy="1026586"/>
            <a:chOff x="-1" y="5183761"/>
            <a:chExt cx="11758910" cy="1026586"/>
          </a:xfrm>
        </p:grpSpPr>
        <p:sp>
          <p:nvSpPr>
            <p:cNvPr id="27" name="Rectangle 26">
              <a:extLst>
                <a:ext uri="{FF2B5EF4-FFF2-40B4-BE49-F238E27FC236}">
                  <a16:creationId xmlns:a16="http://schemas.microsoft.com/office/drawing/2014/main" id="{146AE2B9-BEDC-593E-59FC-6A09E3002956}"/>
                </a:ext>
              </a:extLst>
            </p:cNvPr>
            <p:cNvSpPr/>
            <p:nvPr/>
          </p:nvSpPr>
          <p:spPr>
            <a:xfrm>
              <a:off x="296883" y="5325052"/>
              <a:ext cx="11462026" cy="720000"/>
            </a:xfrm>
            <a:prstGeom prst="rect">
              <a:avLst/>
            </a:prstGeom>
            <a:gradFill flip="none" rotWithShape="1">
              <a:gsLst>
                <a:gs pos="8000">
                  <a:schemeClr val="bg1"/>
                </a:gs>
                <a:gs pos="0">
                  <a:schemeClr val="accent1"/>
                </a:gs>
                <a:gs pos="90000">
                  <a:schemeClr val="bg1"/>
                </a:gs>
                <a:gs pos="99000">
                  <a:schemeClr val="accent1"/>
                </a:gs>
              </a:gsLst>
              <a:lin ang="0" scaled="1"/>
              <a:tileRect/>
            </a:gra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8" name="Group 27">
              <a:extLst>
                <a:ext uri="{FF2B5EF4-FFF2-40B4-BE49-F238E27FC236}">
                  <a16:creationId xmlns:a16="http://schemas.microsoft.com/office/drawing/2014/main" id="{BDB28AA7-BE07-928F-67BD-1F6AD5058713}"/>
                </a:ext>
              </a:extLst>
            </p:cNvPr>
            <p:cNvGrpSpPr/>
            <p:nvPr/>
          </p:nvGrpSpPr>
          <p:grpSpPr>
            <a:xfrm>
              <a:off x="-1" y="5183761"/>
              <a:ext cx="425473" cy="1026586"/>
              <a:chOff x="0" y="5282896"/>
              <a:chExt cx="436762" cy="1241728"/>
            </a:xfrm>
          </p:grpSpPr>
          <p:sp>
            <p:nvSpPr>
              <p:cNvPr id="31" name="Freeform 14">
                <a:extLst>
                  <a:ext uri="{FF2B5EF4-FFF2-40B4-BE49-F238E27FC236}">
                    <a16:creationId xmlns:a16="http://schemas.microsoft.com/office/drawing/2014/main" id="{1612209B-B857-15E9-83A7-AB7340A618A0}"/>
                  </a:ext>
                </a:extLst>
              </p:cNvPr>
              <p:cNvSpPr>
                <a:spLocks/>
              </p:cNvSpPr>
              <p:nvPr/>
            </p:nvSpPr>
            <p:spPr bwMode="auto">
              <a:xfrm>
                <a:off x="17982" y="5313808"/>
                <a:ext cx="393085" cy="1197236"/>
              </a:xfrm>
              <a:custGeom>
                <a:avLst/>
                <a:gdLst>
                  <a:gd name="T0" fmla="*/ 153 w 153"/>
                  <a:gd name="T1" fmla="*/ 0 h 1032"/>
                  <a:gd name="T2" fmla="*/ 150 w 153"/>
                  <a:gd name="T3" fmla="*/ 1032 h 1032"/>
                  <a:gd name="T4" fmla="*/ 0 w 153"/>
                  <a:gd name="T5" fmla="*/ 1032 h 1032"/>
                  <a:gd name="T6" fmla="*/ 0 w 153"/>
                  <a:gd name="T7" fmla="*/ 0 h 1032"/>
                  <a:gd name="T8" fmla="*/ 153 w 153"/>
                  <a:gd name="T9" fmla="*/ 0 h 1032"/>
                </a:gdLst>
                <a:ahLst/>
                <a:cxnLst>
                  <a:cxn ang="0">
                    <a:pos x="T0" y="T1"/>
                  </a:cxn>
                  <a:cxn ang="0">
                    <a:pos x="T2" y="T3"/>
                  </a:cxn>
                  <a:cxn ang="0">
                    <a:pos x="T4" y="T5"/>
                  </a:cxn>
                  <a:cxn ang="0">
                    <a:pos x="T6" y="T7"/>
                  </a:cxn>
                  <a:cxn ang="0">
                    <a:pos x="T8" y="T9"/>
                  </a:cxn>
                </a:cxnLst>
                <a:rect l="0" t="0" r="r" b="b"/>
                <a:pathLst>
                  <a:path w="153" h="1032">
                    <a:moveTo>
                      <a:pt x="153" y="0"/>
                    </a:moveTo>
                    <a:lnTo>
                      <a:pt x="150" y="1032"/>
                    </a:lnTo>
                    <a:lnTo>
                      <a:pt x="0" y="1032"/>
                    </a:lnTo>
                    <a:lnTo>
                      <a:pt x="0" y="0"/>
                    </a:lnTo>
                    <a:lnTo>
                      <a:pt x="153" y="0"/>
                    </a:lnTo>
                    <a:close/>
                  </a:path>
                </a:pathLst>
              </a:custGeom>
              <a:gradFill flip="none" rotWithShape="1">
                <a:gsLst>
                  <a:gs pos="0">
                    <a:sysClr val="window" lastClr="FFFFFF">
                      <a:alpha val="0"/>
                    </a:sysClr>
                  </a:gs>
                  <a:gs pos="50000">
                    <a:sysClr val="window" lastClr="FFFFFF"/>
                  </a:gs>
                  <a:gs pos="100000">
                    <a:sysClr val="window" lastClr="FFFFFF">
                      <a:alpha val="0"/>
                    </a:sysClr>
                  </a:gs>
                </a:gsLst>
                <a:lin ang="5400000" scaled="0"/>
                <a:tileRect/>
              </a:gradFill>
              <a:ln w="12700" cap="flat" cmpd="sng" algn="ctr">
                <a:noFill/>
                <a:prstDash val="solid"/>
                <a:miter lim="800000"/>
              </a:ln>
              <a:effectLst>
                <a:outerShdw blurRad="101600" dist="88900" sx="95000" sy="95000" algn="tl" rotWithShape="0">
                  <a:prstClr val="black">
                    <a:alpha val="5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Rectangle 31">
                <a:extLst>
                  <a:ext uri="{FF2B5EF4-FFF2-40B4-BE49-F238E27FC236}">
                    <a16:creationId xmlns:a16="http://schemas.microsoft.com/office/drawing/2014/main" id="{340140B0-289F-E029-6CFA-84F3E924A935}"/>
                  </a:ext>
                </a:extLst>
              </p:cNvPr>
              <p:cNvSpPr/>
              <p:nvPr/>
            </p:nvSpPr>
            <p:spPr>
              <a:xfrm>
                <a:off x="0" y="5282896"/>
                <a:ext cx="436762" cy="1241728"/>
              </a:xfrm>
              <a:prstGeom prst="rect">
                <a:avLst/>
              </a:prstGeom>
              <a:solidFill>
                <a:srgbClr val="F6F5F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UA"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29" name="Picture 2" descr="Data Icon 2500462">
              <a:extLst>
                <a:ext uri="{FF2B5EF4-FFF2-40B4-BE49-F238E27FC236}">
                  <a16:creationId xmlns:a16="http://schemas.microsoft.com/office/drawing/2014/main" id="{5991CCDF-28AA-A9B3-543C-1BC5620CA4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03282" y="5239419"/>
              <a:ext cx="891266" cy="89126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FA9BCFF8-5A35-5C94-6580-04275DAD7819}"/>
                </a:ext>
              </a:extLst>
            </p:cNvPr>
            <p:cNvSpPr txBox="1"/>
            <p:nvPr/>
          </p:nvSpPr>
          <p:spPr>
            <a:xfrm>
              <a:off x="1178969" y="5370780"/>
              <a:ext cx="963006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sistance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complexity </a:t>
              </a: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 pathogenic alterations)</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 </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s </a:t>
              </a:r>
              <a:r>
                <a:rPr kumimoji="0" lang="en-GB" sz="18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significantly lower </a:t>
              </a:r>
              <a:b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llowing 1L amivantamab + lazertinib vs osimertinib treatment </a:t>
              </a: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0.02)</a:t>
              </a:r>
            </a:p>
          </p:txBody>
        </p:sp>
      </p:grpSp>
      <p:sp>
        <p:nvSpPr>
          <p:cNvPr id="2" name="Title 1">
            <a:extLst>
              <a:ext uri="{FF2B5EF4-FFF2-40B4-BE49-F238E27FC236}">
                <a16:creationId xmlns:a16="http://schemas.microsoft.com/office/drawing/2014/main" id="{6B5EAD9C-0DDC-7A25-A31C-1792F7CA2C33}"/>
              </a:ext>
            </a:extLst>
          </p:cNvPr>
          <p:cNvSpPr>
            <a:spLocks noGrp="1"/>
          </p:cNvSpPr>
          <p:nvPr>
            <p:ph type="title"/>
          </p:nvPr>
        </p:nvSpPr>
        <p:spPr/>
        <p:txBody>
          <a:bodyPr/>
          <a:lstStyle/>
          <a:p>
            <a:r>
              <a:rPr lang="en-GB" noProof="0" dirty="0" err="1"/>
              <a:t>Amivantamab</a:t>
            </a:r>
            <a:r>
              <a:rPr lang="en-GB" noProof="0" dirty="0"/>
              <a:t> + </a:t>
            </a:r>
            <a:r>
              <a:rPr lang="en-GB" noProof="0" dirty="0" err="1"/>
              <a:t>lazertinib</a:t>
            </a:r>
            <a:r>
              <a:rPr lang="en-GB" noProof="0" dirty="0"/>
              <a:t>: Resistance mechanisms (plasma)</a:t>
            </a:r>
          </a:p>
        </p:txBody>
      </p:sp>
      <p:sp>
        <p:nvSpPr>
          <p:cNvPr id="4" name="Text Placeholder 3">
            <a:extLst>
              <a:ext uri="{FF2B5EF4-FFF2-40B4-BE49-F238E27FC236}">
                <a16:creationId xmlns:a16="http://schemas.microsoft.com/office/drawing/2014/main" id="{80D3EC72-A6CB-7CC7-EA02-E443087958E3}"/>
              </a:ext>
            </a:extLst>
          </p:cNvPr>
          <p:cNvSpPr>
            <a:spLocks noGrp="1"/>
          </p:cNvSpPr>
          <p:nvPr>
            <p:ph type="body" sz="quarter" idx="13"/>
          </p:nvPr>
        </p:nvSpPr>
        <p:spPr>
          <a:xfrm>
            <a:off x="6419848" y="6524625"/>
            <a:ext cx="5339062" cy="230832"/>
          </a:xfrm>
        </p:spPr>
        <p:txBody>
          <a:bodyPr/>
          <a:lstStyle/>
          <a:p>
            <a:r>
              <a:rPr lang="en-GB" dirty="0"/>
              <a:t>*Differences between other pathways were not statistically significant.</a:t>
            </a:r>
          </a:p>
          <a:p>
            <a:r>
              <a:rPr lang="en-GB" dirty="0"/>
              <a:t>1L, first-line; amp, amplification.</a:t>
            </a:r>
            <a:endParaRPr lang="en-GB" noProof="0" dirty="0"/>
          </a:p>
        </p:txBody>
      </p:sp>
      <p:sp>
        <p:nvSpPr>
          <p:cNvPr id="5" name="Text Placeholder 4">
            <a:extLst>
              <a:ext uri="{FF2B5EF4-FFF2-40B4-BE49-F238E27FC236}">
                <a16:creationId xmlns:a16="http://schemas.microsoft.com/office/drawing/2014/main" id="{BFA0C74E-2042-640B-8849-3D9C5A8D8996}"/>
              </a:ext>
            </a:extLst>
          </p:cNvPr>
          <p:cNvSpPr>
            <a:spLocks noGrp="1"/>
          </p:cNvSpPr>
          <p:nvPr>
            <p:ph type="body" sz="quarter" idx="15"/>
          </p:nvPr>
        </p:nvSpPr>
        <p:spPr>
          <a:xfrm>
            <a:off x="442912" y="6524625"/>
            <a:ext cx="2384107" cy="230832"/>
          </a:xfrm>
        </p:spPr>
        <p:txBody>
          <a:bodyPr/>
          <a:lstStyle/>
          <a:p>
            <a:r>
              <a:rPr lang="en-GB" noProof="0" dirty="0"/>
              <a:t>Hayashi H, et al. Presented at WCLC 2025: PT1.03.06.</a:t>
            </a:r>
          </a:p>
        </p:txBody>
      </p:sp>
      <p:sp>
        <p:nvSpPr>
          <p:cNvPr id="10" name="Rectangle 9">
            <a:extLst>
              <a:ext uri="{FF2B5EF4-FFF2-40B4-BE49-F238E27FC236}">
                <a16:creationId xmlns:a16="http://schemas.microsoft.com/office/drawing/2014/main" id="{722A83AF-6774-6B72-0C90-8E432CC8814F}"/>
              </a:ext>
            </a:extLst>
          </p:cNvPr>
          <p:cNvSpPr/>
          <p:nvPr/>
        </p:nvSpPr>
        <p:spPr>
          <a:xfrm>
            <a:off x="435968" y="1045018"/>
            <a:ext cx="5983882" cy="4410675"/>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BD543A3E-8701-EFDE-42F2-F49EECBECE60}"/>
              </a:ext>
            </a:extLst>
          </p:cNvPr>
          <p:cNvSpPr txBox="1"/>
          <p:nvPr/>
        </p:nvSpPr>
        <p:spPr>
          <a:xfrm>
            <a:off x="435966" y="1045019"/>
            <a:ext cx="5983882" cy="355276"/>
          </a:xfrm>
          <a:prstGeom prst="rect">
            <a:avLst/>
          </a:prstGeom>
          <a:gradFill>
            <a:gsLst>
              <a:gs pos="0">
                <a:schemeClr val="accent6"/>
              </a:gs>
              <a:gs pos="100000">
                <a:schemeClr val="accent6"/>
              </a:gs>
              <a:gs pos="93000">
                <a:schemeClr val="accent5">
                  <a:lumMod val="50000"/>
                </a:schemeClr>
              </a:gs>
              <a:gs pos="7000">
                <a:schemeClr val="accent5">
                  <a:lumMod val="50000"/>
                </a:schemeClr>
              </a:gs>
            </a:gsLst>
            <a:lin ang="0" scaled="1"/>
          </a:gradFill>
        </p:spPr>
        <p:txBody>
          <a:bodyPr wrap="square" lIns="108000" tIns="54000" rIns="108000" bIns="54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ET-</a:t>
            </a: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nd </a:t>
            </a:r>
            <a:r>
              <a:rPr kumimoji="0" lang="en-GB" sz="1600" b="1"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GFR</a:t>
            </a: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pendent resistance</a:t>
            </a:r>
            <a:endParaRPr kumimoji="0" lang="en-GB" sz="1600" b="1"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14" name="Content Placeholder 6">
            <a:extLst>
              <a:ext uri="{FF2B5EF4-FFF2-40B4-BE49-F238E27FC236}">
                <a16:creationId xmlns:a16="http://schemas.microsoft.com/office/drawing/2014/main" id="{E948582C-2AF0-2650-830F-F603B4710071}"/>
              </a:ext>
            </a:extLst>
          </p:cNvPr>
          <p:cNvGraphicFramePr>
            <a:graphicFrameLocks/>
          </p:cNvGraphicFramePr>
          <p:nvPr/>
        </p:nvGraphicFramePr>
        <p:xfrm>
          <a:off x="919135" y="1277109"/>
          <a:ext cx="5176865" cy="4053945"/>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C04BD6F7-F63C-73CD-F9D0-484D4055D293}"/>
              </a:ext>
            </a:extLst>
          </p:cNvPr>
          <p:cNvSpPr txBox="1"/>
          <p:nvPr/>
        </p:nvSpPr>
        <p:spPr>
          <a:xfrm>
            <a:off x="4538265" y="2854648"/>
            <a:ext cx="67890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0.01</a:t>
            </a:r>
          </a:p>
        </p:txBody>
      </p:sp>
      <p:sp>
        <p:nvSpPr>
          <p:cNvPr id="18" name="TextBox 17">
            <a:extLst>
              <a:ext uri="{FF2B5EF4-FFF2-40B4-BE49-F238E27FC236}">
                <a16:creationId xmlns:a16="http://schemas.microsoft.com/office/drawing/2014/main" id="{AB4D2D19-7552-3036-7229-A4C85936F2ED}"/>
              </a:ext>
            </a:extLst>
          </p:cNvPr>
          <p:cNvSpPr txBox="1"/>
          <p:nvPr/>
        </p:nvSpPr>
        <p:spPr>
          <a:xfrm>
            <a:off x="2105059" y="2160630"/>
            <a:ext cx="73316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0.002</a:t>
            </a:r>
          </a:p>
        </p:txBody>
      </p:sp>
      <p:cxnSp>
        <p:nvCxnSpPr>
          <p:cNvPr id="19" name="Straight Connector 18">
            <a:extLst>
              <a:ext uri="{FF2B5EF4-FFF2-40B4-BE49-F238E27FC236}">
                <a16:creationId xmlns:a16="http://schemas.microsoft.com/office/drawing/2014/main" id="{9BA0ABE0-BDF3-D032-E628-F870B7A8D58C}"/>
              </a:ext>
            </a:extLst>
          </p:cNvPr>
          <p:cNvCxnSpPr>
            <a:cxnSpLocks/>
          </p:cNvCxnSpPr>
          <p:nvPr/>
        </p:nvCxnSpPr>
        <p:spPr>
          <a:xfrm>
            <a:off x="1252523" y="1886259"/>
            <a:ext cx="0" cy="2754428"/>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5CFCB9-EF4A-D1E4-608A-9276C735AA88}"/>
              </a:ext>
            </a:extLst>
          </p:cNvPr>
          <p:cNvCxnSpPr>
            <a:cxnSpLocks/>
          </p:cNvCxnSpPr>
          <p:nvPr/>
        </p:nvCxnSpPr>
        <p:spPr>
          <a:xfrm>
            <a:off x="1199259" y="4635849"/>
            <a:ext cx="4680000" cy="0"/>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9815302-0B94-8406-399D-F14841B33F81}"/>
              </a:ext>
            </a:extLst>
          </p:cNvPr>
          <p:cNvSpPr txBox="1"/>
          <p:nvPr/>
        </p:nvSpPr>
        <p:spPr>
          <a:xfrm rot="16200000">
            <a:off x="242760" y="3155260"/>
            <a:ext cx="1002437" cy="19178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tients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grpSp>
        <p:nvGrpSpPr>
          <p:cNvPr id="6" name="Group 5">
            <a:extLst>
              <a:ext uri="{FF2B5EF4-FFF2-40B4-BE49-F238E27FC236}">
                <a16:creationId xmlns:a16="http://schemas.microsoft.com/office/drawing/2014/main" id="{008582CB-0F64-747E-0CBC-823F1B2C9EB4}"/>
              </a:ext>
            </a:extLst>
          </p:cNvPr>
          <p:cNvGrpSpPr/>
          <p:nvPr/>
        </p:nvGrpSpPr>
        <p:grpSpPr>
          <a:xfrm>
            <a:off x="4513124" y="3090204"/>
            <a:ext cx="743988" cy="1044000"/>
            <a:chOff x="4392474" y="2943395"/>
            <a:chExt cx="577349" cy="1044000"/>
          </a:xfrm>
        </p:grpSpPr>
        <p:cxnSp>
          <p:nvCxnSpPr>
            <p:cNvPr id="15" name="Straight Connector 14">
              <a:extLst>
                <a:ext uri="{FF2B5EF4-FFF2-40B4-BE49-F238E27FC236}">
                  <a16:creationId xmlns:a16="http://schemas.microsoft.com/office/drawing/2014/main" id="{D5138098-4346-F328-A213-E99751F52509}"/>
                </a:ext>
              </a:extLst>
            </p:cNvPr>
            <p:cNvCxnSpPr>
              <a:cxnSpLocks/>
            </p:cNvCxnSpPr>
            <p:nvPr/>
          </p:nvCxnSpPr>
          <p:spPr>
            <a:xfrm>
              <a:off x="4397240" y="2943395"/>
              <a:ext cx="0" cy="209125"/>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9423BD0-0C10-4937-71D4-9E721E07A570}"/>
                </a:ext>
              </a:extLst>
            </p:cNvPr>
            <p:cNvCxnSpPr>
              <a:cxnSpLocks/>
            </p:cNvCxnSpPr>
            <p:nvPr/>
          </p:nvCxnSpPr>
          <p:spPr>
            <a:xfrm>
              <a:off x="4392474" y="2943395"/>
              <a:ext cx="577349"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8D11FF5-37C1-7115-4DC7-31A6CF962B37}"/>
                </a:ext>
              </a:extLst>
            </p:cNvPr>
            <p:cNvCxnSpPr>
              <a:cxnSpLocks/>
            </p:cNvCxnSpPr>
            <p:nvPr/>
          </p:nvCxnSpPr>
          <p:spPr>
            <a:xfrm>
              <a:off x="4968423" y="2943395"/>
              <a:ext cx="0" cy="1044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1B23EA0B-2583-79E1-CF49-1BB37F8B94AD}"/>
              </a:ext>
            </a:extLst>
          </p:cNvPr>
          <p:cNvGrpSpPr/>
          <p:nvPr/>
        </p:nvGrpSpPr>
        <p:grpSpPr>
          <a:xfrm>
            <a:off x="2100912" y="2388678"/>
            <a:ext cx="733168" cy="1476000"/>
            <a:chOff x="1823914" y="2241869"/>
            <a:chExt cx="630147" cy="1476000"/>
          </a:xfrm>
        </p:grpSpPr>
        <p:grpSp>
          <p:nvGrpSpPr>
            <p:cNvPr id="22" name="Group 21">
              <a:extLst>
                <a:ext uri="{FF2B5EF4-FFF2-40B4-BE49-F238E27FC236}">
                  <a16:creationId xmlns:a16="http://schemas.microsoft.com/office/drawing/2014/main" id="{1ADE9156-E25C-1016-CE39-EFD25B7553DD}"/>
                </a:ext>
              </a:extLst>
            </p:cNvPr>
            <p:cNvGrpSpPr/>
            <p:nvPr/>
          </p:nvGrpSpPr>
          <p:grpSpPr>
            <a:xfrm>
              <a:off x="1823914" y="2241869"/>
              <a:ext cx="630147" cy="169281"/>
              <a:chOff x="1733856" y="1731597"/>
              <a:chExt cx="504165" cy="146274"/>
            </a:xfrm>
          </p:grpSpPr>
          <p:cxnSp>
            <p:nvCxnSpPr>
              <p:cNvPr id="23" name="Straight Connector 22">
                <a:extLst>
                  <a:ext uri="{FF2B5EF4-FFF2-40B4-BE49-F238E27FC236}">
                    <a16:creationId xmlns:a16="http://schemas.microsoft.com/office/drawing/2014/main" id="{BF1D178B-EAB3-7FC8-B4BC-A36DEBC32B06}"/>
                  </a:ext>
                </a:extLst>
              </p:cNvPr>
              <p:cNvCxnSpPr>
                <a:cxnSpLocks/>
              </p:cNvCxnSpPr>
              <p:nvPr/>
            </p:nvCxnSpPr>
            <p:spPr>
              <a:xfrm>
                <a:off x="1733856" y="1731597"/>
                <a:ext cx="504165"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04A3F15-F67C-9DF0-6A7F-3F4CBAD4813A}"/>
                  </a:ext>
                </a:extLst>
              </p:cNvPr>
              <p:cNvCxnSpPr>
                <a:cxnSpLocks/>
              </p:cNvCxnSpPr>
              <p:nvPr/>
            </p:nvCxnSpPr>
            <p:spPr>
              <a:xfrm>
                <a:off x="1739571" y="1731597"/>
                <a:ext cx="0" cy="146274"/>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B9469285-595F-1B7C-20ED-E41F6E4B75FA}"/>
                </a:ext>
              </a:extLst>
            </p:cNvPr>
            <p:cNvCxnSpPr>
              <a:cxnSpLocks/>
            </p:cNvCxnSpPr>
            <p:nvPr/>
          </p:nvCxnSpPr>
          <p:spPr>
            <a:xfrm>
              <a:off x="2452480" y="2241869"/>
              <a:ext cx="0" cy="147600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40B58D31-1D34-0285-97D6-A5EEE6986C6B}"/>
              </a:ext>
            </a:extLst>
          </p:cNvPr>
          <p:cNvGrpSpPr/>
          <p:nvPr/>
        </p:nvGrpSpPr>
        <p:grpSpPr>
          <a:xfrm>
            <a:off x="1346209" y="5163414"/>
            <a:ext cx="1602663" cy="184666"/>
            <a:chOff x="967195" y="4686405"/>
            <a:chExt cx="1602663" cy="184666"/>
          </a:xfrm>
        </p:grpSpPr>
        <p:sp>
          <p:nvSpPr>
            <p:cNvPr id="38" name="Rectangle 37">
              <a:extLst>
                <a:ext uri="{FF2B5EF4-FFF2-40B4-BE49-F238E27FC236}">
                  <a16:creationId xmlns:a16="http://schemas.microsoft.com/office/drawing/2014/main" id="{9A8107EF-15D8-399B-633A-E295E6C8D5FA}"/>
                </a:ext>
              </a:extLst>
            </p:cNvPr>
            <p:cNvSpPr/>
            <p:nvPr/>
          </p:nvSpPr>
          <p:spPr>
            <a:xfrm>
              <a:off x="967195" y="4706738"/>
              <a:ext cx="180000" cy="14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E62A6894-E030-131D-148D-67F72A2107F8}"/>
                </a:ext>
              </a:extLst>
            </p:cNvPr>
            <p:cNvSpPr txBox="1"/>
            <p:nvPr/>
          </p:nvSpPr>
          <p:spPr>
            <a:xfrm>
              <a:off x="1218526" y="4686405"/>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 (n=198)</a:t>
              </a:r>
            </a:p>
          </p:txBody>
        </p:sp>
      </p:grpSp>
      <p:grpSp>
        <p:nvGrpSpPr>
          <p:cNvPr id="40" name="Group 39">
            <a:extLst>
              <a:ext uri="{FF2B5EF4-FFF2-40B4-BE49-F238E27FC236}">
                <a16:creationId xmlns:a16="http://schemas.microsoft.com/office/drawing/2014/main" id="{E80FC7F7-AE13-055F-2171-804AE5B48795}"/>
              </a:ext>
            </a:extLst>
          </p:cNvPr>
          <p:cNvGrpSpPr/>
          <p:nvPr/>
        </p:nvGrpSpPr>
        <p:grpSpPr>
          <a:xfrm>
            <a:off x="3037201" y="5163414"/>
            <a:ext cx="2553243" cy="184666"/>
            <a:chOff x="967195" y="4686405"/>
            <a:chExt cx="2553243" cy="184666"/>
          </a:xfrm>
        </p:grpSpPr>
        <p:sp>
          <p:nvSpPr>
            <p:cNvPr id="41" name="Rectangle 40">
              <a:extLst>
                <a:ext uri="{FF2B5EF4-FFF2-40B4-BE49-F238E27FC236}">
                  <a16:creationId xmlns:a16="http://schemas.microsoft.com/office/drawing/2014/main" id="{BE69B0C4-5B09-88F9-A5F7-1411D52CFF0A}"/>
                </a:ext>
              </a:extLst>
            </p:cNvPr>
            <p:cNvSpPr/>
            <p:nvPr/>
          </p:nvSpPr>
          <p:spPr>
            <a:xfrm>
              <a:off x="967195" y="4706738"/>
              <a:ext cx="180000" cy="144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BEB34269-ED51-11B8-E9CB-50D7BB2D006B}"/>
                </a:ext>
              </a:extLst>
            </p:cNvPr>
            <p:cNvSpPr txBox="1"/>
            <p:nvPr/>
          </p:nvSpPr>
          <p:spPr>
            <a:xfrm>
              <a:off x="1218526" y="4686405"/>
              <a:ext cx="230191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ivantamab + lazertinib (n=148)</a:t>
              </a:r>
            </a:p>
          </p:txBody>
        </p:sp>
      </p:grpSp>
      <p:cxnSp>
        <p:nvCxnSpPr>
          <p:cNvPr id="50" name="Straight Connector 49">
            <a:extLst>
              <a:ext uri="{FF2B5EF4-FFF2-40B4-BE49-F238E27FC236}">
                <a16:creationId xmlns:a16="http://schemas.microsoft.com/office/drawing/2014/main" id="{6A1A80B1-C0EB-4763-84DD-C2DD07321AAA}"/>
              </a:ext>
            </a:extLst>
          </p:cNvPr>
          <p:cNvCxnSpPr>
            <a:cxnSpLocks/>
          </p:cNvCxnSpPr>
          <p:nvPr/>
        </p:nvCxnSpPr>
        <p:spPr>
          <a:xfrm>
            <a:off x="1201378" y="3941725"/>
            <a:ext cx="49026" cy="0"/>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3FB0A7F-D82D-9716-B26C-6AC2D890C2EF}"/>
              </a:ext>
            </a:extLst>
          </p:cNvPr>
          <p:cNvCxnSpPr>
            <a:cxnSpLocks/>
          </p:cNvCxnSpPr>
          <p:nvPr/>
        </p:nvCxnSpPr>
        <p:spPr>
          <a:xfrm>
            <a:off x="1201378" y="3254331"/>
            <a:ext cx="49026" cy="0"/>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9B939E9-0531-0829-66CD-862DD17F8DE0}"/>
              </a:ext>
            </a:extLst>
          </p:cNvPr>
          <p:cNvCxnSpPr>
            <a:cxnSpLocks/>
          </p:cNvCxnSpPr>
          <p:nvPr/>
        </p:nvCxnSpPr>
        <p:spPr>
          <a:xfrm>
            <a:off x="1201378" y="2566942"/>
            <a:ext cx="49026" cy="0"/>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57BFD8C-E753-4167-C7B6-89CC0ECDB081}"/>
              </a:ext>
            </a:extLst>
          </p:cNvPr>
          <p:cNvCxnSpPr>
            <a:cxnSpLocks/>
          </p:cNvCxnSpPr>
          <p:nvPr/>
        </p:nvCxnSpPr>
        <p:spPr>
          <a:xfrm>
            <a:off x="1199635" y="1890522"/>
            <a:ext cx="61200" cy="0"/>
          </a:xfrm>
          <a:prstGeom prst="line">
            <a:avLst/>
          </a:prstGeom>
          <a:ln w="190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C411D5A-AB34-EE8B-BECF-1BCDC02029F6}"/>
              </a:ext>
            </a:extLst>
          </p:cNvPr>
          <p:cNvSpPr txBox="1"/>
          <p:nvPr/>
        </p:nvSpPr>
        <p:spPr>
          <a:xfrm>
            <a:off x="6690290" y="1775205"/>
            <a:ext cx="5065742" cy="1824221"/>
          </a:xfrm>
          <a:prstGeom prst="rect">
            <a:avLst/>
          </a:prstGeom>
          <a:solidFill>
            <a:schemeClr val="accent1">
              <a:lumMod val="20000"/>
              <a:lumOff val="80000"/>
              <a:alpha val="48266"/>
            </a:schemeClr>
          </a:solidFill>
          <a:ln>
            <a:noFill/>
          </a:ln>
        </p:spPr>
        <p:txBody>
          <a:bodyPr wrap="square" lIns="828000" tIns="72000" rIns="180000" bIns="72000" rtlCol="0" anchor="ctr" anchorCtr="0">
            <a:noAutofit/>
          </a:bodyPr>
          <a:lstStyle/>
          <a:p>
            <a:pPr marL="0" marR="0" lvl="0" indent="0" algn="l" defTabSz="914400" rtl="0" eaLnBrk="1" fontAlgn="auto" latinLnBrk="0" hangingPunct="1">
              <a:lnSpc>
                <a:spcPct val="100000"/>
              </a:lnSpc>
              <a:spcBef>
                <a:spcPts val="800"/>
              </a:spcBef>
              <a:spcAft>
                <a:spcPts val="0"/>
              </a:spcAft>
              <a:buClr>
                <a:srgbClr val="EB1700"/>
              </a:buClr>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ivantamab + lazertinib significantly reduced the incidence of </a:t>
            </a:r>
            <a:r>
              <a:rPr kumimoji="0" lang="en-GB" sz="16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acquired </a:t>
            </a:r>
            <a:r>
              <a:rPr kumimoji="0" lang="en-GB" sz="1600" b="1" i="1"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MET</a:t>
            </a:r>
            <a:r>
              <a:rPr kumimoji="0" lang="en-GB" sz="16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 </a:t>
            </a:r>
            <a:br>
              <a:rPr kumimoji="0" lang="en-GB" sz="16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br>
            <a:r>
              <a:rPr kumimoji="0" lang="en-GB" sz="16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amp </a:t>
            </a: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d </a:t>
            </a:r>
            <a:r>
              <a:rPr kumimoji="0" lang="en-GB" sz="1600" b="1" i="1"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EGFR</a:t>
            </a:r>
            <a:r>
              <a:rPr kumimoji="0" lang="en-GB" sz="1600" b="1" i="0" u="none" strike="noStrike" kern="1200" cap="none" spc="0" normalizeH="0" baseline="0" noProof="0" dirty="0">
                <a:ln>
                  <a:noFill/>
                </a:ln>
                <a:solidFill>
                  <a:srgbClr val="EB1700"/>
                </a:solidFill>
                <a:effectLst/>
                <a:uLnTx/>
                <a:uFillTx/>
                <a:latin typeface="Arial" panose="020B0604020202020204" pitchFamily="34" charset="0"/>
                <a:ea typeface="+mn-ea"/>
                <a:cs typeface="Arial" panose="020B0604020202020204" pitchFamily="34" charset="0"/>
              </a:rPr>
              <a:t> resistance mutations </a:t>
            </a: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s osimertinib, highlighting that the combination therapy may change the underlying biology of </a:t>
            </a:r>
            <a:r>
              <a:rPr kumimoji="0" lang="en-GB" sz="1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GFR</a:t>
            </a: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utant NSCLC</a:t>
            </a:r>
          </a:p>
        </p:txBody>
      </p:sp>
      <p:sp>
        <p:nvSpPr>
          <p:cNvPr id="33" name="TextBox 32">
            <a:extLst>
              <a:ext uri="{FF2B5EF4-FFF2-40B4-BE49-F238E27FC236}">
                <a16:creationId xmlns:a16="http://schemas.microsoft.com/office/drawing/2014/main" id="{870A9130-6602-2186-DAFF-2E7521BA32A7}"/>
              </a:ext>
            </a:extLst>
          </p:cNvPr>
          <p:cNvSpPr txBox="1"/>
          <p:nvPr/>
        </p:nvSpPr>
        <p:spPr>
          <a:xfrm>
            <a:off x="6690290" y="3693777"/>
            <a:ext cx="5065742" cy="1138096"/>
          </a:xfrm>
          <a:prstGeom prst="rect">
            <a:avLst/>
          </a:prstGeom>
          <a:solidFill>
            <a:schemeClr val="accent6">
              <a:lumMod val="20000"/>
              <a:lumOff val="80000"/>
              <a:alpha val="48266"/>
            </a:schemeClr>
          </a:solidFill>
          <a:ln>
            <a:noFill/>
          </a:ln>
        </p:spPr>
        <p:txBody>
          <a:bodyPr wrap="square" lIns="828000" tIns="72000" rIns="180000" bIns="72000" rtlCol="0" anchor="ctr" anchorCtr="0">
            <a:noAutofit/>
          </a:bodyPr>
          <a:lstStyle/>
          <a:p>
            <a:pPr marL="0" marR="0" lvl="0" indent="0" algn="l" defTabSz="914400" rtl="0" eaLnBrk="1" fontAlgn="auto" latinLnBrk="0" hangingPunct="1">
              <a:lnSpc>
                <a:spcPct val="100000"/>
              </a:lnSpc>
              <a:spcBef>
                <a:spcPts val="800"/>
              </a:spcBef>
              <a:spcAft>
                <a:spcPts val="0"/>
              </a:spcAft>
              <a:buClr>
                <a:srgbClr val="EB1700"/>
              </a:buClr>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meaningful increases in </a:t>
            </a:r>
            <a:r>
              <a:rPr kumimoji="0" lang="en-GB" sz="1600" b="1" i="0" u="none" strike="noStrike" kern="1200" cap="none" spc="0" normalizeH="0" baseline="0" noProof="0" dirty="0">
                <a:ln>
                  <a:noFill/>
                </a:ln>
                <a:solidFill>
                  <a:srgbClr val="541980"/>
                </a:solidFill>
                <a:effectLst/>
                <a:uLnTx/>
                <a:uFillTx/>
                <a:latin typeface="Arial" panose="020B0604020202020204" pitchFamily="34" charset="0"/>
                <a:ea typeface="+mn-ea"/>
                <a:cs typeface="Arial" panose="020B0604020202020204" pitchFamily="34" charset="0"/>
              </a:rPr>
              <a:t>other molecular escape pathways</a:t>
            </a: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ere observed with amivantamab + lazertinib</a:t>
            </a:r>
            <a:r>
              <a:rPr kumimoji="0" lang="en-GB"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pic>
        <p:nvPicPr>
          <p:cNvPr id="34" name="Graphic 33">
            <a:extLst>
              <a:ext uri="{FF2B5EF4-FFF2-40B4-BE49-F238E27FC236}">
                <a16:creationId xmlns:a16="http://schemas.microsoft.com/office/drawing/2014/main" id="{80BE99F7-47AD-7D95-E36A-55995C88FD93}"/>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6690290" y="3873371"/>
            <a:ext cx="756000" cy="756000"/>
          </a:xfrm>
          <a:prstGeom prst="rect">
            <a:avLst/>
          </a:prstGeom>
        </p:spPr>
      </p:pic>
      <p:pic>
        <p:nvPicPr>
          <p:cNvPr id="44" name="Graphic 43">
            <a:extLst>
              <a:ext uri="{FF2B5EF4-FFF2-40B4-BE49-F238E27FC236}">
                <a16:creationId xmlns:a16="http://schemas.microsoft.com/office/drawing/2014/main" id="{04B9CA84-83A9-8A60-6222-BC4020309809}"/>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6732762" y="2350570"/>
            <a:ext cx="720000" cy="720000"/>
          </a:xfrm>
          <a:prstGeom prst="rect">
            <a:avLst/>
          </a:prstGeom>
        </p:spPr>
      </p:pic>
      <p:sp>
        <p:nvSpPr>
          <p:cNvPr id="8" name="Right Bracket 7">
            <a:extLst>
              <a:ext uri="{FF2B5EF4-FFF2-40B4-BE49-F238E27FC236}">
                <a16:creationId xmlns:a16="http://schemas.microsoft.com/office/drawing/2014/main" id="{55FCD4E4-7822-EDA5-2DFB-0FB078E15456}"/>
              </a:ext>
            </a:extLst>
          </p:cNvPr>
          <p:cNvSpPr/>
          <p:nvPr/>
        </p:nvSpPr>
        <p:spPr>
          <a:xfrm rot="16200000">
            <a:off x="2433964" y="1492552"/>
            <a:ext cx="115021" cy="1289314"/>
          </a:xfrm>
          <a:prstGeom prst="rightBracket">
            <a:avLst>
              <a:gd name="adj" fmla="val 0"/>
            </a:avLst>
          </a:prstGeom>
          <a:ln w="19050">
            <a:solidFill>
              <a:schemeClr val="accent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Right Bracket 8">
            <a:extLst>
              <a:ext uri="{FF2B5EF4-FFF2-40B4-BE49-F238E27FC236}">
                <a16:creationId xmlns:a16="http://schemas.microsoft.com/office/drawing/2014/main" id="{282EEAAF-672E-D925-F7EB-1CC37B9FCEA6}"/>
              </a:ext>
            </a:extLst>
          </p:cNvPr>
          <p:cNvSpPr/>
          <p:nvPr/>
        </p:nvSpPr>
        <p:spPr>
          <a:xfrm rot="16200000">
            <a:off x="4837768" y="2188318"/>
            <a:ext cx="115021" cy="1289314"/>
          </a:xfrm>
          <a:prstGeom prst="rightBracket">
            <a:avLst>
              <a:gd name="adj" fmla="val 0"/>
            </a:avLst>
          </a:prstGeom>
          <a:ln w="19050">
            <a:solidFill>
              <a:schemeClr val="accent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CD39D4E1-BAA5-92C1-48CD-C1CC13B92499}"/>
              </a:ext>
            </a:extLst>
          </p:cNvPr>
          <p:cNvSpPr txBox="1"/>
          <p:nvPr/>
        </p:nvSpPr>
        <p:spPr>
          <a:xfrm>
            <a:off x="1869788" y="1597880"/>
            <a:ext cx="1273582" cy="436043"/>
          </a:xfrm>
          <a:prstGeom prst="downArrow">
            <a:avLst>
              <a:gd name="adj1" fmla="val 100000"/>
              <a:gd name="adj2" fmla="val 31601"/>
            </a:avLst>
          </a:prstGeom>
          <a:solidFill>
            <a:schemeClr val="accent1"/>
          </a:solidFill>
          <a:ln w="19050">
            <a:noFill/>
            <a:prstDash val="sysDot"/>
          </a:ln>
        </p:spPr>
        <p:txBody>
          <a:bodyPr wrap="square" lIns="0" tIns="7200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fold </a:t>
            </a:r>
            <a:b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duction</a:t>
            </a:r>
          </a:p>
        </p:txBody>
      </p:sp>
      <p:sp>
        <p:nvSpPr>
          <p:cNvPr id="25" name="TextBox 24">
            <a:extLst>
              <a:ext uri="{FF2B5EF4-FFF2-40B4-BE49-F238E27FC236}">
                <a16:creationId xmlns:a16="http://schemas.microsoft.com/office/drawing/2014/main" id="{42E7F202-DCF6-69DA-4703-E16A0B741A0B}"/>
              </a:ext>
            </a:extLst>
          </p:cNvPr>
          <p:cNvSpPr txBox="1"/>
          <p:nvPr/>
        </p:nvSpPr>
        <p:spPr>
          <a:xfrm>
            <a:off x="4272329" y="2301749"/>
            <a:ext cx="1273582" cy="436043"/>
          </a:xfrm>
          <a:prstGeom prst="downArrow">
            <a:avLst>
              <a:gd name="adj1" fmla="val 100000"/>
              <a:gd name="adj2" fmla="val 31601"/>
            </a:avLst>
          </a:prstGeom>
          <a:solidFill>
            <a:schemeClr val="accent1"/>
          </a:solidFill>
          <a:ln w="19050">
            <a:noFill/>
            <a:prstDash val="sysDot"/>
          </a:ln>
        </p:spPr>
        <p:txBody>
          <a:bodyPr wrap="square" lIns="0" tIns="7200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fold </a:t>
            </a:r>
            <a:b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duction</a:t>
            </a:r>
          </a:p>
        </p:txBody>
      </p:sp>
      <p:sp>
        <p:nvSpPr>
          <p:cNvPr id="43" name="Rectangle: Rounded Corners 42">
            <a:extLst>
              <a:ext uri="{FF2B5EF4-FFF2-40B4-BE49-F238E27FC236}">
                <a16:creationId xmlns:a16="http://schemas.microsoft.com/office/drawing/2014/main" id="{6497B327-2A3E-3BCB-203C-B066E6B51C68}"/>
              </a:ext>
            </a:extLst>
          </p:cNvPr>
          <p:cNvSpPr/>
          <p:nvPr/>
        </p:nvSpPr>
        <p:spPr>
          <a:xfrm>
            <a:off x="9972136" y="203659"/>
            <a:ext cx="1698075"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RIPOSA</a:t>
            </a:r>
          </a:p>
        </p:txBody>
      </p:sp>
      <p:grpSp>
        <p:nvGrpSpPr>
          <p:cNvPr id="45" name="Group 44">
            <a:extLst>
              <a:ext uri="{FF2B5EF4-FFF2-40B4-BE49-F238E27FC236}">
                <a16:creationId xmlns:a16="http://schemas.microsoft.com/office/drawing/2014/main" id="{536FEF0C-2141-D775-1D87-76D3E0E70F0A}"/>
              </a:ext>
            </a:extLst>
          </p:cNvPr>
          <p:cNvGrpSpPr/>
          <p:nvPr/>
        </p:nvGrpSpPr>
        <p:grpSpPr>
          <a:xfrm>
            <a:off x="11442807" y="48345"/>
            <a:ext cx="645342" cy="645342"/>
            <a:chOff x="11442807" y="48345"/>
            <a:chExt cx="645342" cy="645342"/>
          </a:xfrm>
        </p:grpSpPr>
        <p:sp>
          <p:nvSpPr>
            <p:cNvPr id="46" name="Oval 45">
              <a:extLst>
                <a:ext uri="{FF2B5EF4-FFF2-40B4-BE49-F238E27FC236}">
                  <a16:creationId xmlns:a16="http://schemas.microsoft.com/office/drawing/2014/main" id="{35047FCA-E9A1-CFCC-5D97-268AD36DB854}"/>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47" name="Graphic 46" descr="Signal outline">
              <a:extLst>
                <a:ext uri="{FF2B5EF4-FFF2-40B4-BE49-F238E27FC236}">
                  <a16:creationId xmlns:a16="http://schemas.microsoft.com/office/drawing/2014/main" id="{1D4D2DA8-3A06-8CCD-761E-F45F1F5B055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1492045" y="96048"/>
              <a:ext cx="506740" cy="506740"/>
            </a:xfrm>
            <a:prstGeom prst="rect">
              <a:avLst/>
            </a:prstGeom>
          </p:spPr>
        </p:pic>
      </p:grpSp>
    </p:spTree>
    <p:extLst>
      <p:ext uri="{BB962C8B-B14F-4D97-AF65-F5344CB8AC3E}">
        <p14:creationId xmlns:p14="http://schemas.microsoft.com/office/powerpoint/2010/main" val="19446508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7C38B-C6C1-C7B2-6FE3-7AB721D73969}"/>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7919AED5-EA59-351D-0457-861D8F98A71C}"/>
              </a:ext>
            </a:extLst>
          </p:cNvPr>
          <p:cNvSpPr>
            <a:spLocks noGrp="1"/>
          </p:cNvSpPr>
          <p:nvPr>
            <p:ph type="body" sz="quarter" idx="13"/>
          </p:nvPr>
        </p:nvSpPr>
        <p:spPr>
          <a:xfrm>
            <a:off x="6702725" y="6537445"/>
            <a:ext cx="5056184" cy="218011"/>
          </a:xfrm>
        </p:spPr>
        <p:txBody>
          <a:bodyPr/>
          <a:lstStyle/>
          <a:p>
            <a:r>
              <a:rPr lang="en-GB" dirty="0"/>
              <a:t>*</a:t>
            </a:r>
            <a:r>
              <a:rPr lang="en-GB" noProof="0" dirty="0"/>
              <a:t>VTE is a grouped term, which included pulmonary embolism, deep vein thrombosis, </a:t>
            </a:r>
            <a:br>
              <a:rPr lang="en-GB" noProof="0" dirty="0"/>
            </a:br>
            <a:r>
              <a:rPr lang="en-GB" noProof="0" dirty="0"/>
              <a:t>limb venous thrombosis, venous thrombosis, thrombosis, superficial vein thrombosis, </a:t>
            </a:r>
            <a:br>
              <a:rPr lang="en-GB" noProof="0" dirty="0"/>
            </a:br>
            <a:r>
              <a:rPr lang="en-GB" noProof="0" dirty="0"/>
              <a:t>thrombophlebitis, embolism, venous embolism, jugular vein thrombosis, sigmoid sinus </a:t>
            </a:r>
            <a:br>
              <a:rPr lang="en-GB" noProof="0" dirty="0"/>
            </a:br>
            <a:r>
              <a:rPr lang="en-GB" noProof="0" dirty="0"/>
              <a:t>thrombosis, axillary vein thrombosis, pulmonary infarction, vena cava thrombosis, </a:t>
            </a:r>
            <a:br>
              <a:rPr lang="en-GB" noProof="0" dirty="0"/>
            </a:br>
            <a:r>
              <a:rPr lang="en-GB" noProof="0" dirty="0"/>
              <a:t>central venous catheterisation, portal vein thrombosis, post thrombotic syndrome, </a:t>
            </a:r>
            <a:br>
              <a:rPr lang="en-GB" noProof="0" dirty="0"/>
            </a:br>
            <a:r>
              <a:rPr lang="en-GB" noProof="0" dirty="0"/>
              <a:t>pulmonary thrombosis, superior sagittal sinus thrombosis, transverse sinus </a:t>
            </a:r>
            <a:br>
              <a:rPr lang="en-GB" noProof="0" dirty="0"/>
            </a:br>
            <a:r>
              <a:rPr lang="en-GB" noProof="0" dirty="0"/>
              <a:t>thrombosis, pelvic venous thrombosis, and superior vena cava syndrome.</a:t>
            </a:r>
          </a:p>
          <a:p>
            <a:r>
              <a:rPr lang="en-GB" noProof="0" dirty="0"/>
              <a:t>AE, adverse event; ALT, alanine aminotransferase; AST, aspartate aminotransferase; </a:t>
            </a:r>
            <a:r>
              <a:rPr lang="en-GB" dirty="0"/>
              <a:t>COVID-19, coronavirus </a:t>
            </a:r>
            <a:br>
              <a:rPr lang="en-GB" dirty="0"/>
            </a:br>
            <a:r>
              <a:rPr lang="en-GB" dirty="0"/>
              <a:t>2019; </a:t>
            </a:r>
            <a:r>
              <a:rPr lang="en-GB" noProof="0" dirty="0"/>
              <a:t>IRR, infusion-related reaction; TEAE, treatment-emergent AE; VTE, venous thromboembolism.</a:t>
            </a:r>
          </a:p>
        </p:txBody>
      </p:sp>
      <p:sp>
        <p:nvSpPr>
          <p:cNvPr id="48" name="TextBox 47">
            <a:extLst>
              <a:ext uri="{FF2B5EF4-FFF2-40B4-BE49-F238E27FC236}">
                <a16:creationId xmlns:a16="http://schemas.microsoft.com/office/drawing/2014/main" id="{DFD7CC2F-7A85-F406-9231-5A5FAEEEBA88}"/>
              </a:ext>
            </a:extLst>
          </p:cNvPr>
          <p:cNvSpPr txBox="1"/>
          <p:nvPr/>
        </p:nvSpPr>
        <p:spPr>
          <a:xfrm>
            <a:off x="7905836" y="1621189"/>
            <a:ext cx="4286164" cy="3753364"/>
          </a:xfrm>
          <a:prstGeom prst="rect">
            <a:avLst/>
          </a:prstGeom>
          <a:gradFill>
            <a:gsLst>
              <a:gs pos="0">
                <a:schemeClr val="bg2">
                  <a:lumMod val="20000"/>
                  <a:lumOff val="80000"/>
                </a:schemeClr>
              </a:gs>
              <a:gs pos="100000">
                <a:srgbClr val="F6F5F4"/>
              </a:gs>
            </a:gsLst>
            <a:lin ang="0" scaled="1"/>
          </a:gradFill>
        </p:spPr>
        <p:txBody>
          <a:bodyPr wrap="square" lIns="324000" tIns="180000" rIns="108000" bIns="180000" anchor="ctr" anchorCtr="0">
            <a:noAutofit/>
          </a:bodyPr>
          <a:lstStyle/>
          <a:p>
            <a:pPr marL="225425" marR="0" lvl="0" indent="-225425" algn="l" defTabSz="914400" rtl="0" eaLnBrk="1" fontAlgn="auto" latinLnBrk="0" hangingPunct="1">
              <a:lnSpc>
                <a:spcPct val="100000"/>
              </a:lnSpc>
              <a:spcBef>
                <a:spcPts val="800"/>
              </a:spcBef>
              <a:spcAft>
                <a:spcPts val="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fety profile was consistent with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primary analysis</a:t>
            </a:r>
            <a:r>
              <a:rPr kumimoji="0" lang="en-GB" sz="15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2</a:t>
            </a:r>
          </a:p>
          <a:p>
            <a:pPr marL="682625" marR="0" lvl="1" indent="-225425" algn="l" defTabSz="914400" rtl="0" eaLnBrk="1" fontAlgn="auto" latinLnBrk="0" hangingPunct="1">
              <a:lnSpc>
                <a:spcPct val="100000"/>
              </a:lnSpc>
              <a:spcBef>
                <a:spcPts val="800"/>
              </a:spcBef>
              <a:spcAft>
                <a:spcPts val="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Es were mostly EGFR- and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T-related and Grades 1–2</a:t>
            </a:r>
          </a:p>
          <a:p>
            <a:pPr marL="225425" marR="0" lvl="0" indent="-225425" algn="l" defTabSz="914400" rtl="0" eaLnBrk="1" fontAlgn="auto" latinLnBrk="0" hangingPunct="1">
              <a:lnSpc>
                <a:spcPct val="100000"/>
              </a:lnSpc>
              <a:spcBef>
                <a:spcPts val="800"/>
              </a:spcBef>
              <a:spcAft>
                <a:spcPts val="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ew were on anticoagulation (5%) at baseline, with VTE (grouped term)</a:t>
            </a:r>
            <a:r>
              <a:rPr kumimoji="0" lang="en-GB" sz="15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ccurring in 40% in the amivantamab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azertinib arm and 11% in the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imertinib arm</a:t>
            </a:r>
            <a:r>
              <a:rPr kumimoji="0" lang="en-GB" sz="15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p>
          <a:p>
            <a:pPr marL="225425" marR="0" lvl="0" indent="-225425" algn="l" defTabSz="914400" rtl="0" eaLnBrk="1" fontAlgn="auto" latinLnBrk="0" hangingPunct="1">
              <a:lnSpc>
                <a:spcPct val="100000"/>
              </a:lnSpc>
              <a:spcBef>
                <a:spcPts val="800"/>
              </a:spcBef>
              <a:spcAft>
                <a:spcPts val="0"/>
              </a:spcAft>
              <a:buClr>
                <a:srgbClr val="EB1700"/>
              </a:buClr>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bsequent studies including SKIPPirr, COCOON, and PALOMA-2/3 have demonstrated reduced incidence of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RRs, dermatologic AEs, and VTEs </a:t>
            </a:r>
            <a:b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th use of prophylactic regimens</a:t>
            </a:r>
            <a:r>
              <a:rPr kumimoji="0" lang="en-GB" sz="15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en-GB" sz="1500" b="0" i="0" u="none" strike="noStrike" kern="1200" cap="none" spc="0" normalizeH="0" baseline="3000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en-GB" sz="15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2" name="Title 1">
            <a:extLst>
              <a:ext uri="{FF2B5EF4-FFF2-40B4-BE49-F238E27FC236}">
                <a16:creationId xmlns:a16="http://schemas.microsoft.com/office/drawing/2014/main" id="{0D9EDD23-3FE8-6C7E-EB3D-AB13770279D3}"/>
              </a:ext>
            </a:extLst>
          </p:cNvPr>
          <p:cNvSpPr>
            <a:spLocks noGrp="1"/>
          </p:cNvSpPr>
          <p:nvPr>
            <p:ph type="title"/>
          </p:nvPr>
        </p:nvSpPr>
        <p:spPr/>
        <p:txBody>
          <a:bodyPr/>
          <a:lstStyle/>
          <a:p>
            <a:r>
              <a:rPr lang="en-GB" noProof="0" dirty="0"/>
              <a:t>Amivantamab + </a:t>
            </a:r>
            <a:r>
              <a:rPr lang="en-GB" noProof="0" dirty="0" err="1"/>
              <a:t>lazertinib</a:t>
            </a:r>
            <a:r>
              <a:rPr lang="en-GB" noProof="0" dirty="0"/>
              <a:t>: Safety profile</a:t>
            </a:r>
          </a:p>
        </p:txBody>
      </p:sp>
      <p:sp>
        <p:nvSpPr>
          <p:cNvPr id="5" name="Text Placeholder 4">
            <a:extLst>
              <a:ext uri="{FF2B5EF4-FFF2-40B4-BE49-F238E27FC236}">
                <a16:creationId xmlns:a16="http://schemas.microsoft.com/office/drawing/2014/main" id="{AF2EE5D0-7CC9-56E4-DF86-520AC2B71F14}"/>
              </a:ext>
            </a:extLst>
          </p:cNvPr>
          <p:cNvSpPr>
            <a:spLocks noGrp="1"/>
          </p:cNvSpPr>
          <p:nvPr>
            <p:ph type="body" sz="quarter" idx="15"/>
          </p:nvPr>
        </p:nvSpPr>
        <p:spPr>
          <a:xfrm>
            <a:off x="442912" y="6524625"/>
            <a:ext cx="4391026" cy="230832"/>
          </a:xfrm>
        </p:spPr>
        <p:txBody>
          <a:bodyPr/>
          <a:lstStyle/>
          <a:p>
            <a:r>
              <a:rPr kumimoji="0" lang="en-GB" b="0" i="0" u="none" strike="noStrike" kern="1200" cap="none" spc="0" normalizeH="0" baseline="0" noProof="0" dirty="0">
                <a:ln>
                  <a:noFill/>
                </a:ln>
                <a:effectLst/>
                <a:uLnTx/>
                <a:uFillTx/>
              </a:rPr>
              <a:t>1. </a:t>
            </a:r>
            <a:r>
              <a:rPr lang="en-GB" noProof="0" dirty="0"/>
              <a:t>Yang JCH, et al. Presented at ELCC 2025: 4O; 2. </a:t>
            </a:r>
            <a:r>
              <a:rPr kumimoji="0" lang="en-GB" b="0" i="0" u="none" strike="noStrike" kern="1200" cap="none" spc="0" normalizeH="0" baseline="0" noProof="0" dirty="0">
                <a:ln>
                  <a:noFill/>
                </a:ln>
                <a:effectLst/>
                <a:uLnTx/>
                <a:uFillTx/>
              </a:rPr>
              <a:t>Cho BC, et al. </a:t>
            </a:r>
            <a:r>
              <a:rPr kumimoji="0" lang="en-GB" b="0" i="1" u="none" strike="noStrike" kern="1200" cap="none" spc="0" normalizeH="0" baseline="0" noProof="0" dirty="0">
                <a:ln>
                  <a:noFill/>
                </a:ln>
                <a:effectLst/>
                <a:uLnTx/>
                <a:uFillTx/>
              </a:rPr>
              <a:t>N Engl J Med. </a:t>
            </a:r>
            <a:r>
              <a:rPr kumimoji="0" lang="en-GB" b="0" i="0" u="none" strike="noStrike" kern="1200" cap="none" spc="0" normalizeH="0" baseline="0" noProof="0" dirty="0">
                <a:ln>
                  <a:noFill/>
                </a:ln>
                <a:effectLst/>
                <a:uLnTx/>
                <a:uFillTx/>
              </a:rPr>
              <a:t>2024;</a:t>
            </a:r>
            <a:r>
              <a:rPr lang="en-GB" i="0" noProof="0" dirty="0">
                <a:effectLst/>
              </a:rPr>
              <a:t>391:1486</a:t>
            </a:r>
            <a:r>
              <a:rPr lang="en-GB" i="0" noProof="0" dirty="0">
                <a:effectLst/>
                <a:ea typeface="Calibri" panose="020F0502020204030204" pitchFamily="34" charset="0"/>
              </a:rPr>
              <a:t>–</a:t>
            </a:r>
            <a:r>
              <a:rPr lang="en-GB" i="0" noProof="0" dirty="0">
                <a:effectLst/>
              </a:rPr>
              <a:t>98; </a:t>
            </a:r>
            <a:br>
              <a:rPr lang="en-GB" i="0" noProof="0" dirty="0">
                <a:effectLst/>
              </a:rPr>
            </a:br>
            <a:r>
              <a:rPr lang="en-GB" i="0" noProof="0" dirty="0">
                <a:effectLst/>
              </a:rPr>
              <a:t>3. </a:t>
            </a:r>
            <a:r>
              <a:rPr lang="it-IT" dirty="0"/>
              <a:t>Spira AI, et al. </a:t>
            </a:r>
            <a:r>
              <a:rPr lang="it-IT" i="1" dirty="0"/>
              <a:t>J Thorac Oncol</a:t>
            </a:r>
            <a:r>
              <a:rPr lang="it-IT" dirty="0"/>
              <a:t>. 2025;20:809</a:t>
            </a:r>
            <a:r>
              <a:rPr lang="it-IT" dirty="0">
                <a:ea typeface="Calibri" panose="020F0502020204030204" pitchFamily="34" charset="0"/>
              </a:rPr>
              <a:t>–</a:t>
            </a:r>
            <a:r>
              <a:rPr lang="it-IT" dirty="0"/>
              <a:t>16; 4. </a:t>
            </a:r>
            <a:r>
              <a:rPr lang="en-GB" dirty="0"/>
              <a:t>Cho BC, et al. </a:t>
            </a:r>
            <a:r>
              <a:rPr lang="en-GB" i="1" dirty="0"/>
              <a:t>J </a:t>
            </a:r>
            <a:r>
              <a:rPr lang="en-GB" i="1" dirty="0" err="1"/>
              <a:t>Thorac</a:t>
            </a:r>
            <a:r>
              <a:rPr lang="en-GB" i="1" dirty="0"/>
              <a:t> Oncol</a:t>
            </a:r>
            <a:r>
              <a:rPr lang="en-GB" dirty="0"/>
              <a:t>. 2025;20:1517</a:t>
            </a:r>
            <a:r>
              <a:rPr lang="en-GB" dirty="0">
                <a:latin typeface="Calibri" panose="020F0502020204030204" pitchFamily="34" charset="0"/>
                <a:ea typeface="Calibri" panose="020F0502020204030204" pitchFamily="34" charset="0"/>
                <a:cs typeface="Calibri" panose="020F0502020204030204" pitchFamily="34" charset="0"/>
              </a:rPr>
              <a:t>–</a:t>
            </a:r>
            <a:r>
              <a:rPr lang="en-GB" dirty="0"/>
              <a:t>30; </a:t>
            </a:r>
            <a:br>
              <a:rPr lang="en-GB" dirty="0"/>
            </a:br>
            <a:r>
              <a:rPr lang="en-GB" dirty="0"/>
              <a:t>5. Lim SM, et al. Presented at ASCO 2024: LBA8612; 6. Leighl NB, et al. </a:t>
            </a:r>
            <a:r>
              <a:rPr lang="en-GB" i="1" dirty="0"/>
              <a:t>J Clin Oncol. </a:t>
            </a:r>
            <a:r>
              <a:rPr lang="en-GB" dirty="0"/>
              <a:t>2024;42:3593</a:t>
            </a:r>
            <a:r>
              <a:rPr lang="en-GB" dirty="0">
                <a:ea typeface="Calibri" panose="020F0502020204030204" pitchFamily="34" charset="0"/>
              </a:rPr>
              <a:t>–</a:t>
            </a:r>
            <a:r>
              <a:rPr lang="en-GB" dirty="0"/>
              <a:t>605</a:t>
            </a:r>
            <a:r>
              <a:rPr lang="en-GB" noProof="0" dirty="0"/>
              <a:t>.</a:t>
            </a:r>
          </a:p>
        </p:txBody>
      </p:sp>
      <p:sp>
        <p:nvSpPr>
          <p:cNvPr id="14" name="Rectangle: Rounded Corners 13">
            <a:extLst>
              <a:ext uri="{FF2B5EF4-FFF2-40B4-BE49-F238E27FC236}">
                <a16:creationId xmlns:a16="http://schemas.microsoft.com/office/drawing/2014/main" id="{FAE32539-79B7-BDC0-5BA6-FFC2D3D72DB7}"/>
              </a:ext>
            </a:extLst>
          </p:cNvPr>
          <p:cNvSpPr/>
          <p:nvPr/>
        </p:nvSpPr>
        <p:spPr>
          <a:xfrm>
            <a:off x="9972136" y="203659"/>
            <a:ext cx="1698075" cy="334714"/>
          </a:xfrm>
          <a:prstGeom prst="roundRect">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RIPOSA</a:t>
            </a:r>
          </a:p>
        </p:txBody>
      </p:sp>
      <p:grpSp>
        <p:nvGrpSpPr>
          <p:cNvPr id="15" name="Group 14">
            <a:extLst>
              <a:ext uri="{FF2B5EF4-FFF2-40B4-BE49-F238E27FC236}">
                <a16:creationId xmlns:a16="http://schemas.microsoft.com/office/drawing/2014/main" id="{EFF7C256-E43B-4F30-116D-AE917EDFDFC2}"/>
              </a:ext>
            </a:extLst>
          </p:cNvPr>
          <p:cNvGrpSpPr/>
          <p:nvPr/>
        </p:nvGrpSpPr>
        <p:grpSpPr>
          <a:xfrm>
            <a:off x="11442807" y="48345"/>
            <a:ext cx="645342" cy="645342"/>
            <a:chOff x="11442807" y="48345"/>
            <a:chExt cx="645342" cy="645342"/>
          </a:xfrm>
        </p:grpSpPr>
        <p:sp>
          <p:nvSpPr>
            <p:cNvPr id="16" name="Oval 15">
              <a:extLst>
                <a:ext uri="{FF2B5EF4-FFF2-40B4-BE49-F238E27FC236}">
                  <a16:creationId xmlns:a16="http://schemas.microsoft.com/office/drawing/2014/main" id="{74035021-6A9E-3348-6B85-3DF2A1D87912}"/>
                </a:ext>
              </a:extLst>
            </p:cNvPr>
            <p:cNvSpPr/>
            <p:nvPr/>
          </p:nvSpPr>
          <p:spPr>
            <a:xfrm>
              <a:off x="11442807" y="48345"/>
              <a:ext cx="645342" cy="645342"/>
            </a:xfrm>
            <a:prstGeom prst="ellipse">
              <a:avLst/>
            </a:prstGeom>
            <a:solidFill>
              <a:schemeClr val="accent4"/>
            </a:solid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Johnson Text"/>
                <a:ea typeface="+mn-ea"/>
                <a:cs typeface="+mn-cs"/>
              </a:endParaRPr>
            </a:p>
          </p:txBody>
        </p:sp>
        <p:pic>
          <p:nvPicPr>
            <p:cNvPr id="17" name="Graphic 16" descr="Signal outline">
              <a:extLst>
                <a:ext uri="{FF2B5EF4-FFF2-40B4-BE49-F238E27FC236}">
                  <a16:creationId xmlns:a16="http://schemas.microsoft.com/office/drawing/2014/main" id="{9AF3493E-BA1B-7787-B8FF-B570F7BC5E55}"/>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492045" y="96048"/>
              <a:ext cx="506740" cy="506740"/>
            </a:xfrm>
            <a:prstGeom prst="rect">
              <a:avLst/>
            </a:prstGeom>
          </p:spPr>
        </p:pic>
      </p:grpSp>
      <p:sp>
        <p:nvSpPr>
          <p:cNvPr id="3" name="Rectangle 2">
            <a:extLst>
              <a:ext uri="{FF2B5EF4-FFF2-40B4-BE49-F238E27FC236}">
                <a16:creationId xmlns:a16="http://schemas.microsoft.com/office/drawing/2014/main" id="{2995EF21-141A-C3B3-76D3-E9B38BF86DAA}"/>
              </a:ext>
            </a:extLst>
          </p:cNvPr>
          <p:cNvSpPr/>
          <p:nvPr/>
        </p:nvSpPr>
        <p:spPr>
          <a:xfrm>
            <a:off x="442800" y="958416"/>
            <a:ext cx="7631525" cy="5339864"/>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0C5634A5-191D-F4D4-B529-84667603D4FA}"/>
              </a:ext>
            </a:extLst>
          </p:cNvPr>
          <p:cNvSpPr txBox="1"/>
          <p:nvPr/>
        </p:nvSpPr>
        <p:spPr>
          <a:xfrm>
            <a:off x="442801" y="958416"/>
            <a:ext cx="7633087" cy="355276"/>
          </a:xfrm>
          <a:prstGeom prst="rect">
            <a:avLst/>
          </a:prstGeom>
          <a:gradFill>
            <a:gsLst>
              <a:gs pos="0">
                <a:schemeClr val="accent6"/>
              </a:gs>
              <a:gs pos="100000">
                <a:schemeClr val="accent6"/>
              </a:gs>
              <a:gs pos="93000">
                <a:schemeClr val="accent5">
                  <a:lumMod val="50000"/>
                </a:schemeClr>
              </a:gs>
              <a:gs pos="7000">
                <a:schemeClr val="accent5">
                  <a:lumMod val="50000"/>
                </a:schemeClr>
              </a:gs>
            </a:gsLst>
            <a:lin ang="0" scaled="1"/>
          </a:gradFill>
        </p:spPr>
        <p:txBody>
          <a:bodyPr wrap="square" lIns="108000" tIns="54000" rIns="108000" bIns="54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ヒラギノ角ゴ ProN W3"/>
                <a:cs typeface="Arial" panose="020B0604020202020204" pitchFamily="34" charset="0"/>
              </a:rPr>
              <a:t>Most common TEAEs </a:t>
            </a: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ヒラギノ角ゴ ProN W3"/>
                <a:cs typeface="Arial" panose="020B0604020202020204" pitchFamily="34" charset="0"/>
              </a:rPr>
              <a:t>(≥20%) </a:t>
            </a: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ヒラギノ角ゴ ProN W3"/>
                <a:cs typeface="Arial" panose="020B0604020202020204" pitchFamily="34" charset="0"/>
              </a:rPr>
              <a:t>by preferred term</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ヒラギノ角ゴ ProN W3"/>
                <a:cs typeface="Arial" panose="020B0604020202020204" pitchFamily="34" charset="0"/>
              </a:rPr>
              <a:t>1</a:t>
            </a:r>
          </a:p>
        </p:txBody>
      </p:sp>
      <p:graphicFrame>
        <p:nvGraphicFramePr>
          <p:cNvPr id="19" name="Chart 18">
            <a:extLst>
              <a:ext uri="{FF2B5EF4-FFF2-40B4-BE49-F238E27FC236}">
                <a16:creationId xmlns:a16="http://schemas.microsoft.com/office/drawing/2014/main" id="{5B686F1F-C4D6-8636-7A34-497509C6DACF}"/>
              </a:ext>
            </a:extLst>
          </p:cNvPr>
          <p:cNvGraphicFramePr/>
          <p:nvPr/>
        </p:nvGraphicFramePr>
        <p:xfrm>
          <a:off x="3872487" y="1510286"/>
          <a:ext cx="3755773" cy="48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hart 19">
            <a:extLst>
              <a:ext uri="{FF2B5EF4-FFF2-40B4-BE49-F238E27FC236}">
                <a16:creationId xmlns:a16="http://schemas.microsoft.com/office/drawing/2014/main" id="{2012D1A9-795B-0F29-9B53-151BA1ED1767}"/>
              </a:ext>
            </a:extLst>
          </p:cNvPr>
          <p:cNvGraphicFramePr/>
          <p:nvPr/>
        </p:nvGraphicFramePr>
        <p:xfrm>
          <a:off x="1580654" y="1567007"/>
          <a:ext cx="3755773" cy="475657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858CD8CF-7534-EB50-7A17-9AC501E859DD}"/>
              </a:ext>
            </a:extLst>
          </p:cNvPr>
          <p:cNvSpPr txBox="1"/>
          <p:nvPr/>
        </p:nvSpPr>
        <p:spPr>
          <a:xfrm>
            <a:off x="4511811" y="6036669"/>
            <a:ext cx="16225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Patients with AEs </a:t>
            </a: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a:t>
            </a:r>
          </a:p>
        </p:txBody>
      </p:sp>
      <p:sp>
        <p:nvSpPr>
          <p:cNvPr id="22" name="Rectangle 21">
            <a:extLst>
              <a:ext uri="{FF2B5EF4-FFF2-40B4-BE49-F238E27FC236}">
                <a16:creationId xmlns:a16="http://schemas.microsoft.com/office/drawing/2014/main" id="{775C4554-DC6D-BE7E-7837-147A7282B937}"/>
              </a:ext>
            </a:extLst>
          </p:cNvPr>
          <p:cNvSpPr/>
          <p:nvPr/>
        </p:nvSpPr>
        <p:spPr>
          <a:xfrm>
            <a:off x="3128044" y="1397857"/>
            <a:ext cx="2151233" cy="223332"/>
          </a:xfrm>
          <a:prstGeom prst="rect">
            <a:avLst/>
          </a:prstGeom>
          <a:solidFill>
            <a:schemeClr val="accent5">
              <a:lumMod val="50000"/>
            </a:schemeClr>
          </a:solidFill>
          <a:ln w="25400" cap="flat" cmpd="sng" algn="ctr">
            <a:noFill/>
            <a:prstDash val="solid"/>
          </a:ln>
          <a:effectLst/>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pitchFamily="34" charset="0"/>
                <a:ea typeface="ヒラギノ角ゴ ProN W3"/>
                <a:cs typeface="Arial" panose="020B0604020202020204" pitchFamily="34" charset="0"/>
              </a:rPr>
              <a:t>Amivantamab + lazertinib</a:t>
            </a:r>
            <a:endParaRPr kumimoji="0" lang="en-GB" sz="1000" b="0" i="0" u="none" strike="noStrike" kern="0" cap="none" spc="0" normalizeH="0" baseline="30000" noProof="0">
              <a:ln>
                <a:noFill/>
              </a:ln>
              <a:solidFill>
                <a:srgbClr val="FFFFFF"/>
              </a:solidFill>
              <a:effectLst/>
              <a:uLnTx/>
              <a:uFillTx/>
              <a:latin typeface="Arial" panose="020B0604020202020204" pitchFamily="34" charset="0"/>
              <a:ea typeface="ヒラギノ角ゴ ProN W3"/>
              <a:cs typeface="Arial" panose="020B0604020202020204" pitchFamily="34" charset="0"/>
            </a:endParaRPr>
          </a:p>
        </p:txBody>
      </p:sp>
      <p:sp>
        <p:nvSpPr>
          <p:cNvPr id="23" name="Rectangle 22">
            <a:extLst>
              <a:ext uri="{FF2B5EF4-FFF2-40B4-BE49-F238E27FC236}">
                <a16:creationId xmlns:a16="http://schemas.microsoft.com/office/drawing/2014/main" id="{6E852447-B20F-79CF-2B88-5248947407B0}"/>
              </a:ext>
            </a:extLst>
          </p:cNvPr>
          <p:cNvSpPr/>
          <p:nvPr/>
        </p:nvSpPr>
        <p:spPr>
          <a:xfrm>
            <a:off x="5296641" y="1397857"/>
            <a:ext cx="2151233" cy="223332"/>
          </a:xfrm>
          <a:prstGeom prst="rect">
            <a:avLst/>
          </a:prstGeom>
          <a:solidFill>
            <a:schemeClr val="accent6"/>
          </a:solidFill>
          <a:ln w="25400" cap="flat" cmpd="sng" algn="ctr">
            <a:noFill/>
            <a:prstDash val="solid"/>
          </a:ln>
          <a:effectLst/>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pitchFamily="34" charset="0"/>
                <a:ea typeface="ヒラギノ角ゴ ProN W3"/>
                <a:cs typeface="Arial" panose="020B0604020202020204" pitchFamily="34" charset="0"/>
              </a:rPr>
              <a:t>Osimertinib </a:t>
            </a:r>
            <a:endParaRPr kumimoji="0" lang="en-GB" sz="1000" b="1" i="0" u="none" strike="noStrike" kern="0" cap="none" spc="0" normalizeH="0" baseline="30000" noProof="0">
              <a:ln>
                <a:noFill/>
              </a:ln>
              <a:solidFill>
                <a:srgbClr val="FFFFFF"/>
              </a:solidFill>
              <a:effectLst/>
              <a:uLnTx/>
              <a:uFillTx/>
              <a:latin typeface="Arial" panose="020B0604020202020204" pitchFamily="34" charset="0"/>
              <a:ea typeface="ヒラギノ角ゴ ProN W3"/>
              <a:cs typeface="Arial" panose="020B0604020202020204" pitchFamily="34" charset="0"/>
            </a:endParaRPr>
          </a:p>
        </p:txBody>
      </p:sp>
      <p:grpSp>
        <p:nvGrpSpPr>
          <p:cNvPr id="24" name="Group 23">
            <a:extLst>
              <a:ext uri="{FF2B5EF4-FFF2-40B4-BE49-F238E27FC236}">
                <a16:creationId xmlns:a16="http://schemas.microsoft.com/office/drawing/2014/main" id="{499FB748-D06A-EA86-63FE-F4CEE8EB04FC}"/>
              </a:ext>
            </a:extLst>
          </p:cNvPr>
          <p:cNvGrpSpPr/>
          <p:nvPr/>
        </p:nvGrpSpPr>
        <p:grpSpPr>
          <a:xfrm>
            <a:off x="2886238" y="5859608"/>
            <a:ext cx="4810216" cy="263135"/>
            <a:chOff x="1864535" y="5970657"/>
            <a:chExt cx="5313958" cy="263135"/>
          </a:xfrm>
        </p:grpSpPr>
        <p:grpSp>
          <p:nvGrpSpPr>
            <p:cNvPr id="25" name="Group 24">
              <a:extLst>
                <a:ext uri="{FF2B5EF4-FFF2-40B4-BE49-F238E27FC236}">
                  <a16:creationId xmlns:a16="http://schemas.microsoft.com/office/drawing/2014/main" id="{27CBF904-D9C8-800B-18B6-2B5C1460657B}"/>
                </a:ext>
              </a:extLst>
            </p:cNvPr>
            <p:cNvGrpSpPr/>
            <p:nvPr/>
          </p:nvGrpSpPr>
          <p:grpSpPr>
            <a:xfrm>
              <a:off x="1864535" y="5970657"/>
              <a:ext cx="439530" cy="263135"/>
              <a:chOff x="1147790" y="3276463"/>
              <a:chExt cx="439530" cy="263135"/>
            </a:xfrm>
          </p:grpSpPr>
          <p:sp>
            <p:nvSpPr>
              <p:cNvPr id="39" name="TextBox 38">
                <a:extLst>
                  <a:ext uri="{FF2B5EF4-FFF2-40B4-BE49-F238E27FC236}">
                    <a16:creationId xmlns:a16="http://schemas.microsoft.com/office/drawing/2014/main" id="{C4DA2EE2-6364-63D5-F66C-13C8396F51F9}"/>
                  </a:ext>
                </a:extLst>
              </p:cNvPr>
              <p:cNvSpPr txBox="1"/>
              <p:nvPr/>
            </p:nvSpPr>
            <p:spPr>
              <a:xfrm>
                <a:off x="1147790" y="3293377"/>
                <a:ext cx="43953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100</a:t>
                </a:r>
              </a:p>
            </p:txBody>
          </p:sp>
          <p:cxnSp>
            <p:nvCxnSpPr>
              <p:cNvPr id="40" name="Straight Connector 39">
                <a:extLst>
                  <a:ext uri="{FF2B5EF4-FFF2-40B4-BE49-F238E27FC236}">
                    <a16:creationId xmlns:a16="http://schemas.microsoft.com/office/drawing/2014/main" id="{AB63E9D5-6208-64E3-228F-464F90DF2A15}"/>
                  </a:ext>
                </a:extLst>
              </p:cNvPr>
              <p:cNvCxnSpPr>
                <a:cxnSpLocks/>
              </p:cNvCxnSpPr>
              <p:nvPr/>
            </p:nvCxnSpPr>
            <p:spPr>
              <a:xfrm>
                <a:off x="1366609" y="3276463"/>
                <a:ext cx="1" cy="64800"/>
              </a:xfrm>
              <a:prstGeom prst="line">
                <a:avLst/>
              </a:prstGeom>
              <a:noFill/>
              <a:ln w="12700" cap="flat" cmpd="sng" algn="ctr">
                <a:solidFill>
                  <a:srgbClr val="465963"/>
                </a:solidFill>
                <a:prstDash val="solid"/>
                <a:miter lim="800000"/>
              </a:ln>
              <a:effectLst/>
            </p:spPr>
          </p:cxnSp>
        </p:grpSp>
        <p:grpSp>
          <p:nvGrpSpPr>
            <p:cNvPr id="26" name="Group 25">
              <a:extLst>
                <a:ext uri="{FF2B5EF4-FFF2-40B4-BE49-F238E27FC236}">
                  <a16:creationId xmlns:a16="http://schemas.microsoft.com/office/drawing/2014/main" id="{AB934DE7-DE08-F21E-D7B8-5D3793F54B45}"/>
                </a:ext>
              </a:extLst>
            </p:cNvPr>
            <p:cNvGrpSpPr/>
            <p:nvPr/>
          </p:nvGrpSpPr>
          <p:grpSpPr>
            <a:xfrm>
              <a:off x="3121207" y="5970657"/>
              <a:ext cx="359842" cy="263135"/>
              <a:chOff x="1187634" y="3276463"/>
              <a:chExt cx="359842" cy="263135"/>
            </a:xfrm>
          </p:grpSpPr>
          <p:sp>
            <p:nvSpPr>
              <p:cNvPr id="37" name="TextBox 36">
                <a:extLst>
                  <a:ext uri="{FF2B5EF4-FFF2-40B4-BE49-F238E27FC236}">
                    <a16:creationId xmlns:a16="http://schemas.microsoft.com/office/drawing/2014/main" id="{0B10052C-63E0-35C6-6CA2-918C804D5CCF}"/>
                  </a:ext>
                </a:extLst>
              </p:cNvPr>
              <p:cNvSpPr txBox="1"/>
              <p:nvPr/>
            </p:nvSpPr>
            <p:spPr>
              <a:xfrm>
                <a:off x="1187634" y="3293377"/>
                <a:ext cx="35984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rPr>
                  <a:t>50</a:t>
                </a:r>
              </a:p>
            </p:txBody>
          </p:sp>
          <p:cxnSp>
            <p:nvCxnSpPr>
              <p:cNvPr id="38" name="Straight Connector 37">
                <a:extLst>
                  <a:ext uri="{FF2B5EF4-FFF2-40B4-BE49-F238E27FC236}">
                    <a16:creationId xmlns:a16="http://schemas.microsoft.com/office/drawing/2014/main" id="{C13ECE01-6EA1-58FB-B92D-18F004F1394D}"/>
                  </a:ext>
                </a:extLst>
              </p:cNvPr>
              <p:cNvCxnSpPr>
                <a:cxnSpLocks/>
              </p:cNvCxnSpPr>
              <p:nvPr/>
            </p:nvCxnSpPr>
            <p:spPr>
              <a:xfrm>
                <a:off x="1366609" y="3276463"/>
                <a:ext cx="1" cy="64800"/>
              </a:xfrm>
              <a:prstGeom prst="line">
                <a:avLst/>
              </a:prstGeom>
              <a:noFill/>
              <a:ln w="12700" cap="flat" cmpd="sng" algn="ctr">
                <a:solidFill>
                  <a:schemeClr val="tx1"/>
                </a:solidFill>
                <a:prstDash val="solid"/>
                <a:miter lim="800000"/>
              </a:ln>
              <a:effectLst/>
            </p:spPr>
          </p:cxnSp>
        </p:grpSp>
        <p:grpSp>
          <p:nvGrpSpPr>
            <p:cNvPr id="27" name="Group 26">
              <a:extLst>
                <a:ext uri="{FF2B5EF4-FFF2-40B4-BE49-F238E27FC236}">
                  <a16:creationId xmlns:a16="http://schemas.microsoft.com/office/drawing/2014/main" id="{74B7D819-4526-4A3F-E4B1-949C4D7D2D3F}"/>
                </a:ext>
              </a:extLst>
            </p:cNvPr>
            <p:cNvGrpSpPr/>
            <p:nvPr/>
          </p:nvGrpSpPr>
          <p:grpSpPr>
            <a:xfrm>
              <a:off x="4380552" y="5970657"/>
              <a:ext cx="281923" cy="263135"/>
              <a:chOff x="1226593" y="3276463"/>
              <a:chExt cx="281923" cy="263135"/>
            </a:xfrm>
          </p:grpSpPr>
          <p:sp>
            <p:nvSpPr>
              <p:cNvPr id="35" name="TextBox 34">
                <a:extLst>
                  <a:ext uri="{FF2B5EF4-FFF2-40B4-BE49-F238E27FC236}">
                    <a16:creationId xmlns:a16="http://schemas.microsoft.com/office/drawing/2014/main" id="{3B6CA44B-E28A-D6A1-E089-9C4944BE055F}"/>
                  </a:ext>
                </a:extLst>
              </p:cNvPr>
              <p:cNvSpPr txBox="1"/>
              <p:nvPr/>
            </p:nvSpPr>
            <p:spPr>
              <a:xfrm>
                <a:off x="1226593" y="3293377"/>
                <a:ext cx="28192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0</a:t>
                </a:r>
              </a:p>
            </p:txBody>
          </p:sp>
          <p:cxnSp>
            <p:nvCxnSpPr>
              <p:cNvPr id="36" name="Straight Connector 35">
                <a:extLst>
                  <a:ext uri="{FF2B5EF4-FFF2-40B4-BE49-F238E27FC236}">
                    <a16:creationId xmlns:a16="http://schemas.microsoft.com/office/drawing/2014/main" id="{0C76C312-64D6-85F4-61D8-36B8AA15E456}"/>
                  </a:ext>
                </a:extLst>
              </p:cNvPr>
              <p:cNvCxnSpPr>
                <a:cxnSpLocks/>
              </p:cNvCxnSpPr>
              <p:nvPr/>
            </p:nvCxnSpPr>
            <p:spPr>
              <a:xfrm>
                <a:off x="1366609" y="3276463"/>
                <a:ext cx="1" cy="64800"/>
              </a:xfrm>
              <a:prstGeom prst="line">
                <a:avLst/>
              </a:prstGeom>
              <a:noFill/>
              <a:ln w="12700" cap="flat" cmpd="sng" algn="ctr">
                <a:solidFill>
                  <a:schemeClr val="tx1"/>
                </a:solidFill>
                <a:prstDash val="solid"/>
                <a:miter lim="800000"/>
              </a:ln>
              <a:effectLst/>
            </p:spPr>
          </p:cxnSp>
        </p:grpSp>
        <p:cxnSp>
          <p:nvCxnSpPr>
            <p:cNvPr id="28" name="Straight Connector 27">
              <a:extLst>
                <a:ext uri="{FF2B5EF4-FFF2-40B4-BE49-F238E27FC236}">
                  <a16:creationId xmlns:a16="http://schemas.microsoft.com/office/drawing/2014/main" id="{AF6F104F-4851-9D66-24A9-9980334A22AC}"/>
                </a:ext>
              </a:extLst>
            </p:cNvPr>
            <p:cNvCxnSpPr>
              <a:cxnSpLocks/>
            </p:cNvCxnSpPr>
            <p:nvPr/>
          </p:nvCxnSpPr>
          <p:spPr>
            <a:xfrm>
              <a:off x="2080916" y="5970657"/>
              <a:ext cx="4880810" cy="0"/>
            </a:xfrm>
            <a:prstGeom prst="line">
              <a:avLst/>
            </a:prstGeom>
            <a:noFill/>
            <a:ln w="12700" cap="flat" cmpd="sng" algn="ctr">
              <a:solidFill>
                <a:schemeClr val="tx1"/>
              </a:solidFill>
              <a:prstDash val="solid"/>
            </a:ln>
            <a:effectLst/>
          </p:spPr>
        </p:cxnSp>
        <p:grpSp>
          <p:nvGrpSpPr>
            <p:cNvPr id="29" name="Group 28">
              <a:extLst>
                <a:ext uri="{FF2B5EF4-FFF2-40B4-BE49-F238E27FC236}">
                  <a16:creationId xmlns:a16="http://schemas.microsoft.com/office/drawing/2014/main" id="{0BFB9B16-D1B6-CE57-DB58-A4AB17E37079}"/>
                </a:ext>
              </a:extLst>
            </p:cNvPr>
            <p:cNvGrpSpPr/>
            <p:nvPr/>
          </p:nvGrpSpPr>
          <p:grpSpPr>
            <a:xfrm>
              <a:off x="5558421" y="5970657"/>
              <a:ext cx="359842" cy="263135"/>
              <a:chOff x="1187634" y="3276463"/>
              <a:chExt cx="359842" cy="263135"/>
            </a:xfrm>
          </p:grpSpPr>
          <p:sp>
            <p:nvSpPr>
              <p:cNvPr id="33" name="TextBox 32">
                <a:extLst>
                  <a:ext uri="{FF2B5EF4-FFF2-40B4-BE49-F238E27FC236}">
                    <a16:creationId xmlns:a16="http://schemas.microsoft.com/office/drawing/2014/main" id="{1D7330E2-F3DC-8B87-284B-12D41B6A44DF}"/>
                  </a:ext>
                </a:extLst>
              </p:cNvPr>
              <p:cNvSpPr txBox="1"/>
              <p:nvPr/>
            </p:nvSpPr>
            <p:spPr>
              <a:xfrm>
                <a:off x="1187634" y="3293377"/>
                <a:ext cx="35984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rPr>
                  <a:t>50</a:t>
                </a:r>
              </a:p>
            </p:txBody>
          </p:sp>
          <p:cxnSp>
            <p:nvCxnSpPr>
              <p:cNvPr id="34" name="Straight Connector 33">
                <a:extLst>
                  <a:ext uri="{FF2B5EF4-FFF2-40B4-BE49-F238E27FC236}">
                    <a16:creationId xmlns:a16="http://schemas.microsoft.com/office/drawing/2014/main" id="{840A0A37-DFAB-39AE-6C4E-D8CBD51332AF}"/>
                  </a:ext>
                </a:extLst>
              </p:cNvPr>
              <p:cNvCxnSpPr>
                <a:cxnSpLocks/>
              </p:cNvCxnSpPr>
              <p:nvPr/>
            </p:nvCxnSpPr>
            <p:spPr>
              <a:xfrm>
                <a:off x="1366609" y="3276463"/>
                <a:ext cx="1" cy="64800"/>
              </a:xfrm>
              <a:prstGeom prst="line">
                <a:avLst/>
              </a:prstGeom>
              <a:noFill/>
              <a:ln w="12700" cap="flat" cmpd="sng" algn="ctr">
                <a:solidFill>
                  <a:schemeClr val="tx1"/>
                </a:solidFill>
                <a:prstDash val="solid"/>
                <a:miter lim="800000"/>
              </a:ln>
              <a:effectLst/>
            </p:spPr>
          </p:cxnSp>
        </p:grpSp>
        <p:grpSp>
          <p:nvGrpSpPr>
            <p:cNvPr id="30" name="Group 29">
              <a:extLst>
                <a:ext uri="{FF2B5EF4-FFF2-40B4-BE49-F238E27FC236}">
                  <a16:creationId xmlns:a16="http://schemas.microsoft.com/office/drawing/2014/main" id="{DE466AAF-B59A-EAB3-DAC7-492B4D4843CE}"/>
                </a:ext>
              </a:extLst>
            </p:cNvPr>
            <p:cNvGrpSpPr/>
            <p:nvPr/>
          </p:nvGrpSpPr>
          <p:grpSpPr>
            <a:xfrm>
              <a:off x="6738963" y="5970657"/>
              <a:ext cx="439530" cy="263135"/>
              <a:chOff x="1147790" y="3276463"/>
              <a:chExt cx="439530" cy="263135"/>
            </a:xfrm>
          </p:grpSpPr>
          <p:sp>
            <p:nvSpPr>
              <p:cNvPr id="31" name="TextBox 30">
                <a:extLst>
                  <a:ext uri="{FF2B5EF4-FFF2-40B4-BE49-F238E27FC236}">
                    <a16:creationId xmlns:a16="http://schemas.microsoft.com/office/drawing/2014/main" id="{6C2890A3-B712-7073-E869-DBB2472624C6}"/>
                  </a:ext>
                </a:extLst>
              </p:cNvPr>
              <p:cNvSpPr txBox="1"/>
              <p:nvPr/>
            </p:nvSpPr>
            <p:spPr>
              <a:xfrm>
                <a:off x="1147790" y="3293377"/>
                <a:ext cx="43953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rPr>
                  <a:t>100</a:t>
                </a:r>
              </a:p>
            </p:txBody>
          </p:sp>
          <p:cxnSp>
            <p:nvCxnSpPr>
              <p:cNvPr id="32" name="Straight Connector 31">
                <a:extLst>
                  <a:ext uri="{FF2B5EF4-FFF2-40B4-BE49-F238E27FC236}">
                    <a16:creationId xmlns:a16="http://schemas.microsoft.com/office/drawing/2014/main" id="{B9118828-E567-3D5D-2F57-96EEFFB9FD76}"/>
                  </a:ext>
                </a:extLst>
              </p:cNvPr>
              <p:cNvCxnSpPr>
                <a:cxnSpLocks/>
              </p:cNvCxnSpPr>
              <p:nvPr/>
            </p:nvCxnSpPr>
            <p:spPr>
              <a:xfrm>
                <a:off x="1366609" y="3276463"/>
                <a:ext cx="1" cy="64800"/>
              </a:xfrm>
              <a:prstGeom prst="line">
                <a:avLst/>
              </a:prstGeom>
              <a:noFill/>
              <a:ln w="12700" cap="flat" cmpd="sng" algn="ctr">
                <a:solidFill>
                  <a:schemeClr val="tx1"/>
                </a:solidFill>
                <a:prstDash val="solid"/>
                <a:miter lim="800000"/>
              </a:ln>
              <a:effectLst/>
            </p:spPr>
          </p:cxnSp>
        </p:grpSp>
      </p:grpSp>
      <p:sp>
        <p:nvSpPr>
          <p:cNvPr id="41" name="TextBox 40">
            <a:extLst>
              <a:ext uri="{FF2B5EF4-FFF2-40B4-BE49-F238E27FC236}">
                <a16:creationId xmlns:a16="http://schemas.microsoft.com/office/drawing/2014/main" id="{41DFF812-5297-B199-02D4-910DE427290F}"/>
              </a:ext>
            </a:extLst>
          </p:cNvPr>
          <p:cNvSpPr txBox="1"/>
          <p:nvPr/>
        </p:nvSpPr>
        <p:spPr>
          <a:xfrm>
            <a:off x="550645" y="3301451"/>
            <a:ext cx="56137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EB1700"/>
                </a:solidFill>
                <a:effectLst/>
                <a:uLnTx/>
                <a:uFillTx/>
                <a:latin typeface="Arial" panose="020B0604020202020204" pitchFamily="34" charset="0"/>
                <a:ea typeface="ヒラギノ角ゴ ProN W3"/>
                <a:cs typeface="Arial" panose="020B0604020202020204" pitchFamily="34" charset="0"/>
              </a:rPr>
              <a:t>Other</a:t>
            </a:r>
            <a:endParaRPr kumimoji="0" lang="en-GB" sz="1100" b="0" i="0" u="none" strike="noStrike" kern="1200" cap="none" spc="0" normalizeH="0" baseline="0" noProof="0" dirty="0">
              <a:ln>
                <a:noFill/>
              </a:ln>
              <a:solidFill>
                <a:srgbClr val="EB1700"/>
              </a:solidFill>
              <a:effectLst/>
              <a:uLnTx/>
              <a:uFillTx/>
              <a:latin typeface="Arial" panose="020B0604020202020204" pitchFamily="34" charset="0"/>
              <a:ea typeface="ヒラギノ角ゴ ProN W3"/>
              <a:cs typeface="Arial" panose="020B0604020202020204" pitchFamily="34" charset="0"/>
            </a:endParaRPr>
          </a:p>
        </p:txBody>
      </p:sp>
      <p:sp>
        <p:nvSpPr>
          <p:cNvPr id="42" name="TextBox 41">
            <a:extLst>
              <a:ext uri="{FF2B5EF4-FFF2-40B4-BE49-F238E27FC236}">
                <a16:creationId xmlns:a16="http://schemas.microsoft.com/office/drawing/2014/main" id="{D81706C9-6CEE-A847-72A2-B0E6741C635A}"/>
              </a:ext>
            </a:extLst>
          </p:cNvPr>
          <p:cNvSpPr txBox="1"/>
          <p:nvPr/>
        </p:nvSpPr>
        <p:spPr>
          <a:xfrm>
            <a:off x="568974" y="1621295"/>
            <a:ext cx="1249060"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B1700"/>
                </a:solidFill>
                <a:effectLst/>
                <a:uLnTx/>
                <a:uFillTx/>
                <a:latin typeface="Arial" panose="020B0604020202020204" pitchFamily="34" charset="0"/>
                <a:ea typeface="ヒラギノ角ゴ ProN W3"/>
                <a:cs typeface="Arial" panose="020B0604020202020204" pitchFamily="34" charset="0"/>
              </a:rPr>
              <a:t>Related to</a:t>
            </a:r>
            <a:br>
              <a:rPr kumimoji="0" lang="en-GB" sz="1100" b="1" i="0" u="none" strike="noStrike" kern="1200" cap="none" spc="0" normalizeH="0" baseline="0" noProof="0">
                <a:ln>
                  <a:noFill/>
                </a:ln>
                <a:solidFill>
                  <a:srgbClr val="EB1700"/>
                </a:solidFill>
                <a:effectLst/>
                <a:uLnTx/>
                <a:uFillTx/>
                <a:latin typeface="Arial" panose="020B0604020202020204" pitchFamily="34" charset="0"/>
                <a:ea typeface="ヒラギノ角ゴ ProN W3"/>
                <a:cs typeface="Arial" panose="020B0604020202020204" pitchFamily="34" charset="0"/>
              </a:rPr>
            </a:br>
            <a:r>
              <a:rPr kumimoji="0" lang="en-GB" sz="1100" b="1" i="0" u="none" strike="noStrike" kern="1200" cap="none" spc="0" normalizeH="0" baseline="0" noProof="0">
                <a:ln>
                  <a:noFill/>
                </a:ln>
                <a:solidFill>
                  <a:srgbClr val="EB1700"/>
                </a:solidFill>
                <a:effectLst/>
                <a:uLnTx/>
                <a:uFillTx/>
                <a:latin typeface="Arial" panose="020B0604020202020204" pitchFamily="34" charset="0"/>
                <a:ea typeface="ヒラギノ角ゴ ProN W3"/>
                <a:cs typeface="Arial" panose="020B0604020202020204" pitchFamily="34" charset="0"/>
              </a:rPr>
              <a:t>EGFR inhibition</a:t>
            </a:r>
            <a:endParaRPr kumimoji="0" lang="en-GB" sz="1100" b="0" i="0" u="none" strike="noStrike" kern="1200" cap="none" spc="0" normalizeH="0" baseline="0" noProof="0">
              <a:ln>
                <a:noFill/>
              </a:ln>
              <a:solidFill>
                <a:srgbClr val="EB1700"/>
              </a:solidFill>
              <a:effectLst/>
              <a:uLnTx/>
              <a:uFillTx/>
              <a:latin typeface="Arial" panose="020B0604020202020204" pitchFamily="34" charset="0"/>
              <a:ea typeface="ヒラギノ角ゴ ProN W3"/>
              <a:cs typeface="Arial" panose="020B0604020202020204" pitchFamily="34" charset="0"/>
            </a:endParaRPr>
          </a:p>
        </p:txBody>
      </p:sp>
      <p:sp>
        <p:nvSpPr>
          <p:cNvPr id="43" name="TextBox 42">
            <a:extLst>
              <a:ext uri="{FF2B5EF4-FFF2-40B4-BE49-F238E27FC236}">
                <a16:creationId xmlns:a16="http://schemas.microsoft.com/office/drawing/2014/main" id="{0152CAD5-E7D4-ECCC-56D8-8D3AF532E8A3}"/>
              </a:ext>
            </a:extLst>
          </p:cNvPr>
          <p:cNvSpPr txBox="1"/>
          <p:nvPr/>
        </p:nvSpPr>
        <p:spPr>
          <a:xfrm>
            <a:off x="552408" y="2907878"/>
            <a:ext cx="1154483"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B1700"/>
                </a:solidFill>
                <a:effectLst/>
                <a:uLnTx/>
                <a:uFillTx/>
                <a:latin typeface="Arial" panose="020B0604020202020204" pitchFamily="34" charset="0"/>
                <a:ea typeface="ヒラギノ角ゴ ProN W3"/>
                <a:cs typeface="Arial" panose="020B0604020202020204" pitchFamily="34" charset="0"/>
              </a:rPr>
              <a:t>Related to</a:t>
            </a:r>
            <a:br>
              <a:rPr kumimoji="0" lang="en-GB" sz="1100" b="1" i="0" u="none" strike="noStrike" kern="1200" cap="none" spc="0" normalizeH="0" baseline="0" noProof="0">
                <a:ln>
                  <a:noFill/>
                </a:ln>
                <a:solidFill>
                  <a:srgbClr val="EB1700"/>
                </a:solidFill>
                <a:effectLst/>
                <a:uLnTx/>
                <a:uFillTx/>
                <a:latin typeface="Arial" panose="020B0604020202020204" pitchFamily="34" charset="0"/>
                <a:ea typeface="ヒラギノ角ゴ ProN W3"/>
                <a:cs typeface="Arial" panose="020B0604020202020204" pitchFamily="34" charset="0"/>
              </a:rPr>
            </a:br>
            <a:r>
              <a:rPr kumimoji="0" lang="en-GB" sz="1100" b="1" i="0" u="none" strike="noStrike" kern="1200" cap="none" spc="0" normalizeH="0" baseline="0" noProof="0">
                <a:ln>
                  <a:noFill/>
                </a:ln>
                <a:solidFill>
                  <a:srgbClr val="EB1700"/>
                </a:solidFill>
                <a:effectLst/>
                <a:uLnTx/>
                <a:uFillTx/>
                <a:latin typeface="Arial" panose="020B0604020202020204" pitchFamily="34" charset="0"/>
                <a:ea typeface="ヒラギノ角ゴ ProN W3"/>
                <a:cs typeface="Arial" panose="020B0604020202020204" pitchFamily="34" charset="0"/>
              </a:rPr>
              <a:t>MET</a:t>
            </a:r>
            <a:r>
              <a:rPr kumimoji="0" lang="en-GB" sz="1100" b="1" i="1" u="none" strike="noStrike" kern="1200" cap="none" spc="0" normalizeH="0" baseline="0" noProof="0">
                <a:ln>
                  <a:noFill/>
                </a:ln>
                <a:solidFill>
                  <a:srgbClr val="EB1700"/>
                </a:solidFill>
                <a:effectLst/>
                <a:uLnTx/>
                <a:uFillTx/>
                <a:latin typeface="Arial" panose="020B0604020202020204" pitchFamily="34" charset="0"/>
                <a:ea typeface="ヒラギノ角ゴ ProN W3"/>
                <a:cs typeface="Arial" panose="020B0604020202020204" pitchFamily="34" charset="0"/>
              </a:rPr>
              <a:t> </a:t>
            </a:r>
            <a:r>
              <a:rPr kumimoji="0" lang="en-GB" sz="1100" b="1" i="0" u="none" strike="noStrike" kern="1200" cap="none" spc="0" normalizeH="0" baseline="0" noProof="0">
                <a:ln>
                  <a:noFill/>
                </a:ln>
                <a:solidFill>
                  <a:srgbClr val="EB1700"/>
                </a:solidFill>
                <a:effectLst/>
                <a:uLnTx/>
                <a:uFillTx/>
                <a:latin typeface="Arial" panose="020B0604020202020204" pitchFamily="34" charset="0"/>
                <a:ea typeface="ヒラギノ角ゴ ProN W3"/>
                <a:cs typeface="Arial" panose="020B0604020202020204" pitchFamily="34" charset="0"/>
              </a:rPr>
              <a:t>inhibition</a:t>
            </a:r>
            <a:endParaRPr kumimoji="0" lang="en-GB" sz="1100" b="0" i="0" u="none" strike="noStrike" kern="1200" cap="none" spc="0" normalizeH="0" baseline="0" noProof="0">
              <a:ln>
                <a:noFill/>
              </a:ln>
              <a:solidFill>
                <a:srgbClr val="EB1700"/>
              </a:solidFill>
              <a:effectLst/>
              <a:uLnTx/>
              <a:uFillTx/>
              <a:latin typeface="Arial" panose="020B0604020202020204" pitchFamily="34" charset="0"/>
              <a:ea typeface="ヒラギノ角ゴ ProN W3"/>
              <a:cs typeface="Arial" panose="020B0604020202020204" pitchFamily="34" charset="0"/>
            </a:endParaRPr>
          </a:p>
        </p:txBody>
      </p:sp>
      <p:grpSp>
        <p:nvGrpSpPr>
          <p:cNvPr id="44" name="Group 43">
            <a:extLst>
              <a:ext uri="{FF2B5EF4-FFF2-40B4-BE49-F238E27FC236}">
                <a16:creationId xmlns:a16="http://schemas.microsoft.com/office/drawing/2014/main" id="{35D33E5F-06E6-DB5B-4561-C6107E57BEE3}"/>
              </a:ext>
            </a:extLst>
          </p:cNvPr>
          <p:cNvGrpSpPr/>
          <p:nvPr/>
        </p:nvGrpSpPr>
        <p:grpSpPr>
          <a:xfrm>
            <a:off x="635581" y="1637695"/>
            <a:ext cx="2356183" cy="1699899"/>
            <a:chOff x="508106" y="1734066"/>
            <a:chExt cx="2117107" cy="1699899"/>
          </a:xfrm>
        </p:grpSpPr>
        <p:cxnSp>
          <p:nvCxnSpPr>
            <p:cNvPr id="45" name="Straight Connector 44">
              <a:extLst>
                <a:ext uri="{FF2B5EF4-FFF2-40B4-BE49-F238E27FC236}">
                  <a16:creationId xmlns:a16="http://schemas.microsoft.com/office/drawing/2014/main" id="{26FFA171-E4FD-E2C0-6FAF-956926B4C3F3}"/>
                </a:ext>
              </a:extLst>
            </p:cNvPr>
            <p:cNvCxnSpPr>
              <a:cxnSpLocks/>
            </p:cNvCxnSpPr>
            <p:nvPr/>
          </p:nvCxnSpPr>
          <p:spPr>
            <a:xfrm flipH="1">
              <a:off x="508106" y="1734066"/>
              <a:ext cx="2117107" cy="0"/>
            </a:xfrm>
            <a:prstGeom prst="line">
              <a:avLst/>
            </a:prstGeom>
            <a:noFill/>
            <a:ln w="12700" cap="flat" cmpd="sng" algn="ctr">
              <a:solidFill>
                <a:schemeClr val="tx1"/>
              </a:solidFill>
              <a:prstDash val="solid"/>
            </a:ln>
            <a:effectLst/>
          </p:spPr>
        </p:cxnSp>
        <p:cxnSp>
          <p:nvCxnSpPr>
            <p:cNvPr id="46" name="Straight Connector 45">
              <a:extLst>
                <a:ext uri="{FF2B5EF4-FFF2-40B4-BE49-F238E27FC236}">
                  <a16:creationId xmlns:a16="http://schemas.microsoft.com/office/drawing/2014/main" id="{882E565C-DFA3-A428-862A-CAD9CD5093B4}"/>
                </a:ext>
              </a:extLst>
            </p:cNvPr>
            <p:cNvCxnSpPr>
              <a:cxnSpLocks/>
            </p:cNvCxnSpPr>
            <p:nvPr/>
          </p:nvCxnSpPr>
          <p:spPr>
            <a:xfrm flipH="1">
              <a:off x="508106" y="3024406"/>
              <a:ext cx="2117107" cy="0"/>
            </a:xfrm>
            <a:prstGeom prst="line">
              <a:avLst/>
            </a:prstGeom>
            <a:noFill/>
            <a:ln w="12700" cap="flat" cmpd="sng" algn="ctr">
              <a:solidFill>
                <a:schemeClr val="tx1"/>
              </a:solidFill>
              <a:prstDash val="solid"/>
            </a:ln>
            <a:effectLst/>
          </p:spPr>
        </p:cxnSp>
        <p:cxnSp>
          <p:nvCxnSpPr>
            <p:cNvPr id="47" name="Straight Connector 46">
              <a:extLst>
                <a:ext uri="{FF2B5EF4-FFF2-40B4-BE49-F238E27FC236}">
                  <a16:creationId xmlns:a16="http://schemas.microsoft.com/office/drawing/2014/main" id="{1AEB9698-64B2-8A58-94C1-4B43983A6753}"/>
                </a:ext>
              </a:extLst>
            </p:cNvPr>
            <p:cNvCxnSpPr>
              <a:cxnSpLocks/>
            </p:cNvCxnSpPr>
            <p:nvPr/>
          </p:nvCxnSpPr>
          <p:spPr>
            <a:xfrm flipH="1">
              <a:off x="508106" y="3433965"/>
              <a:ext cx="2117107" cy="0"/>
            </a:xfrm>
            <a:prstGeom prst="line">
              <a:avLst/>
            </a:prstGeom>
            <a:noFill/>
            <a:ln w="12700" cap="flat" cmpd="sng" algn="ctr">
              <a:solidFill>
                <a:schemeClr val="tx1"/>
              </a:solidFill>
              <a:prstDash val="solid"/>
            </a:ln>
            <a:effectLst/>
          </p:spPr>
        </p:cxnSp>
      </p:grpSp>
      <p:grpSp>
        <p:nvGrpSpPr>
          <p:cNvPr id="49" name="Group 48">
            <a:extLst>
              <a:ext uri="{FF2B5EF4-FFF2-40B4-BE49-F238E27FC236}">
                <a16:creationId xmlns:a16="http://schemas.microsoft.com/office/drawing/2014/main" id="{75D3CB7D-2B32-29C2-4A28-2B4BB87BC831}"/>
              </a:ext>
            </a:extLst>
          </p:cNvPr>
          <p:cNvGrpSpPr/>
          <p:nvPr/>
        </p:nvGrpSpPr>
        <p:grpSpPr>
          <a:xfrm>
            <a:off x="6229528" y="5244426"/>
            <a:ext cx="1202204" cy="484334"/>
            <a:chOff x="5733061" y="5950229"/>
            <a:chExt cx="1202204" cy="484334"/>
          </a:xfrm>
        </p:grpSpPr>
        <p:sp>
          <p:nvSpPr>
            <p:cNvPr id="50" name="TextBox 49">
              <a:extLst>
                <a:ext uri="{FF2B5EF4-FFF2-40B4-BE49-F238E27FC236}">
                  <a16:creationId xmlns:a16="http://schemas.microsoft.com/office/drawing/2014/main" id="{A05C23D8-222D-26ED-395A-1E30B212AD5C}"/>
                </a:ext>
              </a:extLst>
            </p:cNvPr>
            <p:cNvSpPr txBox="1"/>
            <p:nvPr/>
          </p:nvSpPr>
          <p:spPr>
            <a:xfrm>
              <a:off x="6008408" y="5950229"/>
              <a:ext cx="841897" cy="276999"/>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Grade ≥3</a:t>
              </a:r>
            </a:p>
          </p:txBody>
        </p:sp>
        <p:sp>
          <p:nvSpPr>
            <p:cNvPr id="51" name="Rectangle 50">
              <a:extLst>
                <a:ext uri="{FF2B5EF4-FFF2-40B4-BE49-F238E27FC236}">
                  <a16:creationId xmlns:a16="http://schemas.microsoft.com/office/drawing/2014/main" id="{27EC3B1E-3617-C4E3-8869-C4B6153FFD20}"/>
                </a:ext>
              </a:extLst>
            </p:cNvPr>
            <p:cNvSpPr/>
            <p:nvPr/>
          </p:nvSpPr>
          <p:spPr>
            <a:xfrm>
              <a:off x="5903658" y="6041078"/>
              <a:ext cx="124438" cy="108000"/>
            </a:xfrm>
            <a:prstGeom prst="rect">
              <a:avLst/>
            </a:prstGeom>
            <a:solidFill>
              <a:schemeClr val="accent6"/>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sp>
          <p:nvSpPr>
            <p:cNvPr id="84" name="TextBox 83">
              <a:extLst>
                <a:ext uri="{FF2B5EF4-FFF2-40B4-BE49-F238E27FC236}">
                  <a16:creationId xmlns:a16="http://schemas.microsoft.com/office/drawing/2014/main" id="{6F69FFAB-3DC4-590D-1A67-C52D81E39835}"/>
                </a:ext>
              </a:extLst>
            </p:cNvPr>
            <p:cNvSpPr txBox="1"/>
            <p:nvPr/>
          </p:nvSpPr>
          <p:spPr>
            <a:xfrm>
              <a:off x="6008408" y="6157564"/>
              <a:ext cx="926857" cy="276999"/>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pitchFamily="34" charset="0"/>
                  <a:ea typeface="ヒラギノ角ゴ ProN W3"/>
                  <a:cs typeface="Arial" panose="020B0604020202020204" pitchFamily="34" charset="0"/>
                </a:rPr>
                <a:t>Grade 1–2</a:t>
              </a:r>
            </a:p>
          </p:txBody>
        </p:sp>
        <p:sp>
          <p:nvSpPr>
            <p:cNvPr id="85" name="Rectangle 84">
              <a:extLst>
                <a:ext uri="{FF2B5EF4-FFF2-40B4-BE49-F238E27FC236}">
                  <a16:creationId xmlns:a16="http://schemas.microsoft.com/office/drawing/2014/main" id="{752D0B71-34AC-9232-68BA-4C5120F744EA}"/>
                </a:ext>
              </a:extLst>
            </p:cNvPr>
            <p:cNvSpPr/>
            <p:nvPr/>
          </p:nvSpPr>
          <p:spPr>
            <a:xfrm>
              <a:off x="5903658" y="6248413"/>
              <a:ext cx="124438" cy="108000"/>
            </a:xfrm>
            <a:prstGeom prst="rect">
              <a:avLst/>
            </a:prstGeom>
            <a:solidFill>
              <a:schemeClr val="accent6">
                <a:lumMod val="60000"/>
                <a:lumOff val="40000"/>
              </a:schemeClr>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sp>
          <p:nvSpPr>
            <p:cNvPr id="86" name="Rectangle 85">
              <a:extLst>
                <a:ext uri="{FF2B5EF4-FFF2-40B4-BE49-F238E27FC236}">
                  <a16:creationId xmlns:a16="http://schemas.microsoft.com/office/drawing/2014/main" id="{17F64E78-541E-C9C3-6267-878DBA79BAA6}"/>
                </a:ext>
              </a:extLst>
            </p:cNvPr>
            <p:cNvSpPr/>
            <p:nvPr/>
          </p:nvSpPr>
          <p:spPr>
            <a:xfrm>
              <a:off x="5733061" y="6041078"/>
              <a:ext cx="124438" cy="108000"/>
            </a:xfrm>
            <a:prstGeom prst="rect">
              <a:avLst/>
            </a:prstGeom>
            <a:solidFill>
              <a:schemeClr val="accent5">
                <a:lumMod val="50000"/>
              </a:schemeClr>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sp>
          <p:nvSpPr>
            <p:cNvPr id="87" name="Rectangle 86">
              <a:extLst>
                <a:ext uri="{FF2B5EF4-FFF2-40B4-BE49-F238E27FC236}">
                  <a16:creationId xmlns:a16="http://schemas.microsoft.com/office/drawing/2014/main" id="{E709A8CB-9F86-47D5-5DDF-C4F5BF514397}"/>
                </a:ext>
              </a:extLst>
            </p:cNvPr>
            <p:cNvSpPr/>
            <p:nvPr/>
          </p:nvSpPr>
          <p:spPr>
            <a:xfrm>
              <a:off x="5733061" y="6248413"/>
              <a:ext cx="124438" cy="108000"/>
            </a:xfrm>
            <a:prstGeom prst="rect">
              <a:avLst/>
            </a:prstGeom>
            <a:solidFill>
              <a:schemeClr val="accent5">
                <a:lumMod val="75000"/>
              </a:schemeClr>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srgbClr val="000000"/>
                </a:solidFill>
                <a:effectLst/>
                <a:uLnTx/>
                <a:uFillTx/>
                <a:latin typeface="Arial" panose="020B0604020202020204" pitchFamily="34" charset="0"/>
                <a:ea typeface="ヒラギノ角ゴ ProN W3"/>
                <a:cs typeface="Arial" panose="020B0604020202020204" pitchFamily="34" charset="0"/>
              </a:endParaRPr>
            </a:p>
          </p:txBody>
        </p:sp>
      </p:grpSp>
      <p:sp>
        <p:nvSpPr>
          <p:cNvPr id="88" name="Rectangle: Rounded Corners 87">
            <a:extLst>
              <a:ext uri="{FF2B5EF4-FFF2-40B4-BE49-F238E27FC236}">
                <a16:creationId xmlns:a16="http://schemas.microsoft.com/office/drawing/2014/main" id="{08F55928-AE53-5766-8529-38C82EDCF309}"/>
              </a:ext>
            </a:extLst>
          </p:cNvPr>
          <p:cNvSpPr/>
          <p:nvPr/>
        </p:nvSpPr>
        <p:spPr>
          <a:xfrm>
            <a:off x="6422655" y="2708436"/>
            <a:ext cx="1341996" cy="2097315"/>
          </a:xfrm>
          <a:prstGeom prst="roundRect">
            <a:avLst>
              <a:gd name="adj" fmla="val 7359"/>
            </a:avLst>
          </a:prstGeom>
          <a:gradFill flip="none" rotWithShape="1">
            <a:gsLst>
              <a:gs pos="0">
                <a:schemeClr val="accent6"/>
              </a:gs>
              <a:gs pos="100000">
                <a:schemeClr val="accent6"/>
              </a:gs>
              <a:gs pos="100000">
                <a:schemeClr val="accent5">
                  <a:lumMod val="50000"/>
                </a:schemeClr>
              </a:gs>
              <a:gs pos="29000">
                <a:schemeClr val="accent5">
                  <a:lumMod val="50000"/>
                </a:schemeClr>
              </a:gs>
            </a:gsLst>
            <a:lin ang="2700000" scaled="1"/>
            <a:tileRect/>
          </a:gradFill>
          <a:ln w="28575">
            <a:noFill/>
          </a:ln>
          <a:effectLst>
            <a:glow rad="101600">
              <a:schemeClr val="accent5">
                <a:lumMod val="50000"/>
                <a:alpha val="40000"/>
              </a:schemeClr>
            </a:glow>
          </a:effectLst>
        </p:spPr>
        <p:txBody>
          <a:bodyPr wrap="square" lIns="36000" tIns="54000" rIns="36000" bIns="36000" anchor="b" anchorCtr="0">
            <a:noAutofit/>
          </a:bodyPr>
          <a:lstStyle/>
          <a:p>
            <a:pPr marL="0" marR="0" lvl="0" indent="0" algn="ctr" defTabSz="914400" rtl="0" eaLnBrk="0" fontAlgn="base" latinLnBrk="0" hangingPunct="0">
              <a:lnSpc>
                <a:spcPct val="100000"/>
              </a:lnSpc>
              <a:spcBef>
                <a:spcPts val="300"/>
              </a:spcBef>
              <a:spcAft>
                <a:spcPct val="0"/>
              </a:spcAft>
              <a:buClr>
                <a:srgbClr val="6CB643"/>
              </a:buClr>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itial </a:t>
            </a:r>
            <a:b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afety profile assessed </a:t>
            </a: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 absence </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f standardised prophylactic regimens </a:t>
            </a:r>
          </a:p>
        </p:txBody>
      </p:sp>
      <p:pic>
        <p:nvPicPr>
          <p:cNvPr id="89" name="Graphic 88">
            <a:extLst>
              <a:ext uri="{FF2B5EF4-FFF2-40B4-BE49-F238E27FC236}">
                <a16:creationId xmlns:a16="http://schemas.microsoft.com/office/drawing/2014/main" id="{BD631971-1838-4B1C-D533-D65B7D2BAF23}"/>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6797228" y="2689616"/>
            <a:ext cx="612000" cy="612000"/>
          </a:xfrm>
          <a:prstGeom prst="rect">
            <a:avLst/>
          </a:prstGeom>
        </p:spPr>
      </p:pic>
    </p:spTree>
    <p:extLst>
      <p:ext uri="{BB962C8B-B14F-4D97-AF65-F5344CB8AC3E}">
        <p14:creationId xmlns:p14="http://schemas.microsoft.com/office/powerpoint/2010/main" val="35552048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ECFD3-C76E-D644-865C-810AE3A6F550}"/>
              </a:ext>
            </a:extLst>
          </p:cNvPr>
          <p:cNvSpPr>
            <a:spLocks noGrp="1"/>
          </p:cNvSpPr>
          <p:nvPr>
            <p:ph type="title"/>
          </p:nvPr>
        </p:nvSpPr>
        <p:spPr>
          <a:xfrm>
            <a:off x="605368" y="378458"/>
            <a:ext cx="10981266" cy="430887"/>
          </a:xfrm>
        </p:spPr>
        <p:txBody>
          <a:bodyPr/>
          <a:lstStyle/>
          <a:p>
            <a:pPr fontAlgn="base">
              <a:lnSpc>
                <a:spcPct val="100000"/>
              </a:lnSpc>
            </a:pPr>
            <a:r>
              <a:rPr lang="en-GB" b="1" dirty="0">
                <a:solidFill>
                  <a:schemeClr val="tx1"/>
                </a:solidFill>
              </a:rPr>
              <a:t>Association of dose interruptions with progression-free survival</a:t>
            </a:r>
          </a:p>
        </p:txBody>
      </p:sp>
      <p:sp>
        <p:nvSpPr>
          <p:cNvPr id="3" name="Content Placeholder 2">
            <a:extLst>
              <a:ext uri="{FF2B5EF4-FFF2-40B4-BE49-F238E27FC236}">
                <a16:creationId xmlns:a16="http://schemas.microsoft.com/office/drawing/2014/main" id="{5EDBC547-E13E-A43E-9590-BA681E510928}"/>
              </a:ext>
            </a:extLst>
          </p:cNvPr>
          <p:cNvSpPr>
            <a:spLocks noGrp="1"/>
          </p:cNvSpPr>
          <p:nvPr>
            <p:ph sz="quarter" idx="15"/>
          </p:nvPr>
        </p:nvSpPr>
        <p:spPr>
          <a:xfrm>
            <a:off x="601601" y="1385632"/>
            <a:ext cx="10985780" cy="4169411"/>
          </a:xfrm>
        </p:spPr>
        <p:txBody>
          <a:bodyPr vert="horz" lIns="0" tIns="0" rIns="0" bIns="0" rtlCol="0" anchor="t">
            <a:noAutofit/>
          </a:bodyPr>
          <a:lstStyle/>
          <a:p>
            <a:pPr marL="285750" indent="-285750" defTabSz="914400" fontAlgn="auto">
              <a:spcBef>
                <a:spcPts val="1200"/>
              </a:spcBef>
              <a:spcAft>
                <a:spcPts val="0"/>
              </a:spcAft>
              <a:buClrTx/>
              <a:buSzPct val="120000"/>
              <a:buFont typeface="Arial" panose="020B0604020202020204" pitchFamily="34" charset="0"/>
              <a:buChar char="•"/>
              <a:defRPr/>
            </a:pPr>
            <a:r>
              <a:rPr lang="en-US" sz="1500" kern="0">
                <a:solidFill>
                  <a:schemeClr val="tx1"/>
                </a:solidFill>
              </a:rPr>
              <a:t>Median </a:t>
            </a:r>
            <a:r>
              <a:rPr lang="en-US" sz="1500">
                <a:solidFill>
                  <a:schemeClr val="tx1"/>
                </a:solidFill>
                <a:sym typeface="OpenSans"/>
              </a:rPr>
              <a:t>PFS after 4 months was similar between patients with and without dose interruptions </a:t>
            </a:r>
            <a:endParaRPr lang="en-US" sz="1500" kern="0">
              <a:solidFill>
                <a:schemeClr val="tx1"/>
              </a:solidFill>
            </a:endParaRPr>
          </a:p>
          <a:p>
            <a:pPr marL="285750" marR="0" lvl="0" indent="-285750" algn="l" defTabSz="914400" rtl="0" eaLnBrk="1" fontAlgn="auto" latinLnBrk="0" hangingPunct="1">
              <a:lnSpc>
                <a:spcPct val="100000"/>
              </a:lnSpc>
              <a:spcBef>
                <a:spcPts val="1200"/>
              </a:spcBef>
              <a:spcAft>
                <a:spcPts val="0"/>
              </a:spcAft>
              <a:buClrTx/>
              <a:buSzPct val="120000"/>
              <a:buFont typeface="Arial" panose="020B0604020202020204" pitchFamily="34" charset="0"/>
              <a:buChar char="•"/>
              <a:tabLst/>
              <a:defRPr/>
            </a:pPr>
            <a:r>
              <a:rPr lang="en-US" sz="1500" kern="0">
                <a:solidFill>
                  <a:schemeClr val="tx1"/>
                </a:solidFill>
              </a:rPr>
              <a:t>The PFS </a:t>
            </a:r>
            <a:r>
              <a:rPr lang="en-US" sz="1500">
                <a:solidFill>
                  <a:schemeClr val="tx1"/>
                </a:solidFill>
              </a:rPr>
              <a:t>HR by multivariable </a:t>
            </a:r>
            <a:r>
              <a:rPr lang="en-US" sz="1500" err="1">
                <a:solidFill>
                  <a:schemeClr val="tx1"/>
                </a:solidFill>
              </a:rPr>
              <a:t>analysis</a:t>
            </a:r>
            <a:r>
              <a:rPr lang="en-US" sz="1500" baseline="30000" err="1">
                <a:solidFill>
                  <a:schemeClr val="tx1"/>
                </a:solidFill>
              </a:rPr>
              <a:t>a</a:t>
            </a:r>
            <a:r>
              <a:rPr lang="en-US" sz="1500">
                <a:solidFill>
                  <a:schemeClr val="tx1"/>
                </a:solidFill>
              </a:rPr>
              <a:t> adjusting for age, ECOG PS, </a:t>
            </a:r>
            <a:r>
              <a:rPr lang="en-US" sz="1500" i="1">
                <a:solidFill>
                  <a:schemeClr val="tx1"/>
                </a:solidFill>
              </a:rPr>
              <a:t>EGFR</a:t>
            </a:r>
            <a:r>
              <a:rPr lang="en-US" sz="1500">
                <a:solidFill>
                  <a:schemeClr val="tx1"/>
                </a:solidFill>
              </a:rPr>
              <a:t> mutation type, Asian race, and history of brain metastases was </a:t>
            </a:r>
            <a:r>
              <a:rPr lang="en-US" sz="1500" b="1">
                <a:solidFill>
                  <a:schemeClr val="tx1"/>
                </a:solidFill>
              </a:rPr>
              <a:t>1.06</a:t>
            </a:r>
            <a:r>
              <a:rPr lang="en-US" sz="1500">
                <a:solidFill>
                  <a:schemeClr val="tx1"/>
                </a:solidFill>
              </a:rPr>
              <a:t> (95% CI, 0.73–1.44), indicating no significant association of dose interruption with PFS after the </a:t>
            </a:r>
            <a:br>
              <a:rPr lang="en-US" sz="1500">
                <a:solidFill>
                  <a:schemeClr val="tx1"/>
                </a:solidFill>
              </a:rPr>
            </a:br>
            <a:r>
              <a:rPr lang="en-US" sz="1500">
                <a:solidFill>
                  <a:schemeClr val="tx1"/>
                </a:solidFill>
              </a:rPr>
              <a:t>4-month exposure period</a:t>
            </a:r>
            <a:endParaRPr lang="en-US" sz="1500" kern="0">
              <a:solidFill>
                <a:schemeClr val="tx1"/>
              </a:solidFill>
            </a:endParaRPr>
          </a:p>
          <a:p>
            <a:pPr marL="233680" indent="-233680">
              <a:buClrTx/>
            </a:pPr>
            <a:endParaRPr lang="en-GB" sz="1500">
              <a:solidFill>
                <a:schemeClr val="tx1"/>
              </a:solidFill>
            </a:endParaRPr>
          </a:p>
        </p:txBody>
      </p:sp>
      <p:sp>
        <p:nvSpPr>
          <p:cNvPr id="5" name="Slide Number Placeholder 4">
            <a:extLst>
              <a:ext uri="{FF2B5EF4-FFF2-40B4-BE49-F238E27FC236}">
                <a16:creationId xmlns:a16="http://schemas.microsoft.com/office/drawing/2014/main" id="{A57A64B9-F646-890D-301E-9A4FCD9E1AC6}"/>
              </a:ext>
            </a:extLst>
          </p:cNvPr>
          <p:cNvSpPr>
            <a:spLocks noGrp="1"/>
          </p:cNvSpPr>
          <p:nvPr>
            <p:ph type="sldNum" sz="quarter" idx="4"/>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D816501-AAE5-214E-B100-00C3DC5F5E3F}" type="slidenum">
              <a:rPr kumimoji="0" lang="en-US" sz="800" b="0" i="0" u="none" strike="noStrike" kern="1200" cap="none" spc="0" normalizeH="0" baseline="0" noProof="0" smtClean="0">
                <a:ln>
                  <a:noFill/>
                </a:ln>
                <a:solidFill>
                  <a:srgbClr val="F9F7F6"/>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38</a:t>
            </a:fld>
            <a:endParaRPr kumimoji="0" lang="en-US" sz="800" b="0" i="0" u="none" strike="noStrike" kern="1200" cap="none" spc="0" normalizeH="0" baseline="0" noProof="0">
              <a:ln>
                <a:noFill/>
              </a:ln>
              <a:solidFill>
                <a:srgbClr val="F9F7F6"/>
              </a:solidFill>
              <a:effectLst/>
              <a:uLnTx/>
              <a:uFillTx/>
              <a:latin typeface="Johnson Text"/>
              <a:ea typeface="+mn-ea"/>
              <a:cs typeface="+mn-cs"/>
            </a:endParaRPr>
          </a:p>
        </p:txBody>
      </p:sp>
      <p:sp>
        <p:nvSpPr>
          <p:cNvPr id="6" name="Text Placeholder 5">
            <a:extLst>
              <a:ext uri="{FF2B5EF4-FFF2-40B4-BE49-F238E27FC236}">
                <a16:creationId xmlns:a16="http://schemas.microsoft.com/office/drawing/2014/main" id="{CF9940EC-9B57-CF66-681F-8D660DF2115B}"/>
              </a:ext>
            </a:extLst>
          </p:cNvPr>
          <p:cNvSpPr>
            <a:spLocks noGrp="1"/>
          </p:cNvSpPr>
          <p:nvPr>
            <p:ph type="body" sz="quarter" idx="17"/>
          </p:nvPr>
        </p:nvSpPr>
        <p:spPr>
          <a:xfrm>
            <a:off x="774414" y="6323707"/>
            <a:ext cx="8809976" cy="275167"/>
          </a:xfrm>
        </p:spPr>
        <p:txBody>
          <a:bodyPr/>
          <a:lstStyle/>
          <a:p>
            <a:pPr marL="0" lvl="1" indent="0">
              <a:spcBef>
                <a:spcPts val="300"/>
              </a:spcBef>
              <a:buNone/>
            </a:pPr>
            <a:r>
              <a:rPr lang="en-US" sz="750" baseline="30000" err="1">
                <a:solidFill>
                  <a:schemeClr val="tx1"/>
                </a:solidFill>
                <a:sym typeface="OpenSans"/>
              </a:rPr>
              <a:t>a</a:t>
            </a:r>
            <a:r>
              <a:rPr lang="en-US" sz="750" err="1">
                <a:solidFill>
                  <a:schemeClr val="tx1"/>
                </a:solidFill>
              </a:rPr>
              <a:t>Via</a:t>
            </a:r>
            <a:r>
              <a:rPr lang="en-US" sz="750">
                <a:solidFill>
                  <a:schemeClr val="tx1"/>
                </a:solidFill>
              </a:rPr>
              <a:t> multivariate Cox proportional hazards model, only including patients still at risk of PFS at 4 months. </a:t>
            </a:r>
            <a:r>
              <a:rPr lang="en-US" sz="750" baseline="30000" err="1">
                <a:solidFill>
                  <a:schemeClr val="tx1"/>
                </a:solidFill>
              </a:rPr>
              <a:t>b</a:t>
            </a:r>
            <a:r>
              <a:rPr lang="en-US" sz="750" err="1">
                <a:solidFill>
                  <a:schemeClr val="tx1"/>
                </a:solidFill>
              </a:rPr>
              <a:t>Median</a:t>
            </a:r>
            <a:r>
              <a:rPr lang="en-US" sz="750">
                <a:solidFill>
                  <a:schemeClr val="tx1"/>
                </a:solidFill>
              </a:rPr>
              <a:t> follow-up of the MARIPOSA study, as of the clinical cutoff of 11 August 2023, was 22.0 months.</a:t>
            </a:r>
            <a:br>
              <a:rPr lang="en-US" sz="750">
                <a:solidFill>
                  <a:schemeClr val="tx1"/>
                </a:solidFill>
              </a:rPr>
            </a:br>
            <a:r>
              <a:rPr lang="en-US" sz="750">
                <a:solidFill>
                  <a:schemeClr val="tx1"/>
                </a:solidFill>
              </a:rPr>
              <a:t>CI, confidence interval; </a:t>
            </a:r>
            <a:r>
              <a:rPr lang="en-US" sz="750" noProof="0">
                <a:solidFill>
                  <a:schemeClr val="tx1"/>
                </a:solidFill>
              </a:rPr>
              <a:t>EGFR, epidermal growth factor receptor;</a:t>
            </a:r>
            <a:r>
              <a:rPr lang="en-US" sz="750">
                <a:solidFill>
                  <a:schemeClr val="tx1"/>
                </a:solidFill>
              </a:rPr>
              <a:t> ECOG PS, Eastern Cooperative Oncology Group performance status; HR, hazard ratio; NE, not estimable; PFS, progression-free survival.</a:t>
            </a:r>
          </a:p>
        </p:txBody>
      </p:sp>
      <p:sp>
        <p:nvSpPr>
          <p:cNvPr id="12" name="TextBox 11">
            <a:extLst>
              <a:ext uri="{FF2B5EF4-FFF2-40B4-BE49-F238E27FC236}">
                <a16:creationId xmlns:a16="http://schemas.microsoft.com/office/drawing/2014/main" id="{0063282A-08C6-A104-6BC3-18EFA10AED3D}"/>
              </a:ext>
            </a:extLst>
          </p:cNvPr>
          <p:cNvSpPr txBox="1"/>
          <p:nvPr/>
        </p:nvSpPr>
        <p:spPr>
          <a:xfrm rot="16200000">
            <a:off x="383071" y="3940869"/>
            <a:ext cx="2480445" cy="5025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000000"/>
                </a:solidFill>
                <a:effectLst/>
                <a:uLnTx/>
                <a:uFillTx/>
                <a:latin typeface="Johnson Text"/>
                <a:ea typeface="+mn-ea"/>
                <a:cs typeface="+mn-cs"/>
              </a:rPr>
              <a:t>Patients who are  </a:t>
            </a:r>
            <a:br>
              <a:rPr kumimoji="0" lang="en-US" sz="1333" b="1" i="0" u="none" strike="noStrike" kern="1200" cap="none" spc="0" normalizeH="0" baseline="0" noProof="0">
                <a:ln>
                  <a:noFill/>
                </a:ln>
                <a:solidFill>
                  <a:srgbClr val="000000"/>
                </a:solidFill>
                <a:effectLst/>
                <a:uLnTx/>
                <a:uFillTx/>
                <a:latin typeface="Johnson Text"/>
                <a:ea typeface="+mn-ea"/>
                <a:cs typeface="+mn-cs"/>
              </a:rPr>
            </a:br>
            <a:r>
              <a:rPr kumimoji="0" lang="en-US" sz="1333" b="1" i="0" u="none" strike="noStrike" kern="1200" cap="none" spc="0" normalizeH="0" baseline="0" noProof="0">
                <a:ln>
                  <a:noFill/>
                </a:ln>
                <a:solidFill>
                  <a:srgbClr val="000000"/>
                </a:solidFill>
                <a:effectLst/>
                <a:uLnTx/>
                <a:uFillTx/>
                <a:latin typeface="Johnson Text"/>
                <a:ea typeface="+mn-ea"/>
                <a:cs typeface="+mn-cs"/>
              </a:rPr>
              <a:t>progression-free (%)</a:t>
            </a:r>
          </a:p>
        </p:txBody>
      </p:sp>
      <p:sp>
        <p:nvSpPr>
          <p:cNvPr id="13" name="TextBox 12">
            <a:extLst>
              <a:ext uri="{FF2B5EF4-FFF2-40B4-BE49-F238E27FC236}">
                <a16:creationId xmlns:a16="http://schemas.microsoft.com/office/drawing/2014/main" id="{52E68E22-944E-049D-5013-7D0B3330208F}"/>
              </a:ext>
            </a:extLst>
          </p:cNvPr>
          <p:cNvSpPr txBox="1"/>
          <p:nvPr/>
        </p:nvSpPr>
        <p:spPr>
          <a:xfrm>
            <a:off x="426690" y="5784025"/>
            <a:ext cx="1721946" cy="55399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Johnson Text"/>
                <a:ea typeface="+mn-ea"/>
                <a:cs typeface="+mn-cs"/>
              </a:rPr>
              <a:t>No. at risk</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3564"/>
                </a:solidFill>
                <a:effectLst/>
                <a:uLnTx/>
                <a:uFillTx/>
                <a:latin typeface="Johnson Text"/>
                <a:ea typeface="+mn-ea"/>
                <a:cs typeface="+mn-cs"/>
              </a:rPr>
              <a:t>With dose interruption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75000"/>
                  </a:srgbClr>
                </a:solidFill>
                <a:effectLst/>
                <a:uLnTx/>
                <a:uFillTx/>
                <a:latin typeface="Johnson Text"/>
                <a:ea typeface="+mn-ea"/>
                <a:cs typeface="+mn-cs"/>
              </a:rPr>
              <a:t>Without dose interruptions</a:t>
            </a:r>
          </a:p>
        </p:txBody>
      </p:sp>
      <p:sp>
        <p:nvSpPr>
          <p:cNvPr id="14" name="TextBox 13">
            <a:extLst>
              <a:ext uri="{FF2B5EF4-FFF2-40B4-BE49-F238E27FC236}">
                <a16:creationId xmlns:a16="http://schemas.microsoft.com/office/drawing/2014/main" id="{6F4D4A7E-8514-961C-5AE8-512CB733F167}"/>
              </a:ext>
            </a:extLst>
          </p:cNvPr>
          <p:cNvSpPr txBox="1"/>
          <p:nvPr/>
        </p:nvSpPr>
        <p:spPr>
          <a:xfrm>
            <a:off x="2188393" y="5937913"/>
            <a:ext cx="393056"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18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190</a:t>
            </a:r>
          </a:p>
        </p:txBody>
      </p:sp>
      <p:sp>
        <p:nvSpPr>
          <p:cNvPr id="15" name="TextBox 14">
            <a:extLst>
              <a:ext uri="{FF2B5EF4-FFF2-40B4-BE49-F238E27FC236}">
                <a16:creationId xmlns:a16="http://schemas.microsoft.com/office/drawing/2014/main" id="{9E39395E-C98E-08CD-7E0A-55BD3B24BCAF}"/>
              </a:ext>
            </a:extLst>
          </p:cNvPr>
          <p:cNvSpPr txBox="1"/>
          <p:nvPr/>
        </p:nvSpPr>
        <p:spPr>
          <a:xfrm>
            <a:off x="3266770" y="5937913"/>
            <a:ext cx="393056"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18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190</a:t>
            </a:r>
          </a:p>
        </p:txBody>
      </p:sp>
      <p:sp>
        <p:nvSpPr>
          <p:cNvPr id="16" name="TextBox 15">
            <a:extLst>
              <a:ext uri="{FF2B5EF4-FFF2-40B4-BE49-F238E27FC236}">
                <a16:creationId xmlns:a16="http://schemas.microsoft.com/office/drawing/2014/main" id="{C64C5042-2D1F-2E59-E4BB-3AEB3FD65584}"/>
              </a:ext>
            </a:extLst>
          </p:cNvPr>
          <p:cNvSpPr txBox="1"/>
          <p:nvPr/>
        </p:nvSpPr>
        <p:spPr>
          <a:xfrm>
            <a:off x="4366602" y="5937913"/>
            <a:ext cx="38824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1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171</a:t>
            </a:r>
          </a:p>
        </p:txBody>
      </p:sp>
      <p:sp>
        <p:nvSpPr>
          <p:cNvPr id="17" name="TextBox 16">
            <a:extLst>
              <a:ext uri="{FF2B5EF4-FFF2-40B4-BE49-F238E27FC236}">
                <a16:creationId xmlns:a16="http://schemas.microsoft.com/office/drawing/2014/main" id="{6918847F-26C9-5F6F-970F-6B43358A82CE}"/>
              </a:ext>
            </a:extLst>
          </p:cNvPr>
          <p:cNvSpPr txBox="1"/>
          <p:nvPr/>
        </p:nvSpPr>
        <p:spPr>
          <a:xfrm>
            <a:off x="5491804" y="5937913"/>
            <a:ext cx="389851"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13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154</a:t>
            </a:r>
          </a:p>
        </p:txBody>
      </p:sp>
      <p:sp>
        <p:nvSpPr>
          <p:cNvPr id="18" name="TextBox 17">
            <a:extLst>
              <a:ext uri="{FF2B5EF4-FFF2-40B4-BE49-F238E27FC236}">
                <a16:creationId xmlns:a16="http://schemas.microsoft.com/office/drawing/2014/main" id="{18D55150-5DE5-778F-07F9-406C36B09AB7}"/>
              </a:ext>
            </a:extLst>
          </p:cNvPr>
          <p:cNvSpPr txBox="1"/>
          <p:nvPr/>
        </p:nvSpPr>
        <p:spPr>
          <a:xfrm>
            <a:off x="6601161" y="5937913"/>
            <a:ext cx="38504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1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125</a:t>
            </a:r>
          </a:p>
        </p:txBody>
      </p:sp>
      <p:sp>
        <p:nvSpPr>
          <p:cNvPr id="19" name="TextBox 18">
            <a:extLst>
              <a:ext uri="{FF2B5EF4-FFF2-40B4-BE49-F238E27FC236}">
                <a16:creationId xmlns:a16="http://schemas.microsoft.com/office/drawing/2014/main" id="{4365DA6F-9AE5-6840-04CB-F7650E564967}"/>
              </a:ext>
            </a:extLst>
          </p:cNvPr>
          <p:cNvSpPr txBox="1"/>
          <p:nvPr/>
        </p:nvSpPr>
        <p:spPr>
          <a:xfrm>
            <a:off x="7719146" y="5937913"/>
            <a:ext cx="33054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7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79</a:t>
            </a:r>
          </a:p>
        </p:txBody>
      </p:sp>
      <p:sp>
        <p:nvSpPr>
          <p:cNvPr id="20" name="TextBox 19">
            <a:extLst>
              <a:ext uri="{FF2B5EF4-FFF2-40B4-BE49-F238E27FC236}">
                <a16:creationId xmlns:a16="http://schemas.microsoft.com/office/drawing/2014/main" id="{55366A0F-283C-AD5D-2A7C-7108A4FDDAFA}"/>
              </a:ext>
            </a:extLst>
          </p:cNvPr>
          <p:cNvSpPr txBox="1"/>
          <p:nvPr/>
        </p:nvSpPr>
        <p:spPr>
          <a:xfrm>
            <a:off x="8797580" y="5937913"/>
            <a:ext cx="34176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3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33</a:t>
            </a:r>
          </a:p>
        </p:txBody>
      </p:sp>
      <p:sp>
        <p:nvSpPr>
          <p:cNvPr id="21" name="TextBox 20">
            <a:extLst>
              <a:ext uri="{FF2B5EF4-FFF2-40B4-BE49-F238E27FC236}">
                <a16:creationId xmlns:a16="http://schemas.microsoft.com/office/drawing/2014/main" id="{ABE3BCED-4A6F-616D-CF23-DC746BEC395B}"/>
              </a:ext>
            </a:extLst>
          </p:cNvPr>
          <p:cNvSpPr txBox="1"/>
          <p:nvPr/>
        </p:nvSpPr>
        <p:spPr>
          <a:xfrm>
            <a:off x="9923735" y="5937913"/>
            <a:ext cx="263214"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6</a:t>
            </a:r>
          </a:p>
        </p:txBody>
      </p:sp>
      <p:graphicFrame>
        <p:nvGraphicFramePr>
          <p:cNvPr id="22" name="Chart 21">
            <a:extLst>
              <a:ext uri="{FF2B5EF4-FFF2-40B4-BE49-F238E27FC236}">
                <a16:creationId xmlns:a16="http://schemas.microsoft.com/office/drawing/2014/main" id="{61BB409F-95B6-DFD8-BBFF-A87024341FFE}"/>
              </a:ext>
            </a:extLst>
          </p:cNvPr>
          <p:cNvGraphicFramePr/>
          <p:nvPr/>
        </p:nvGraphicFramePr>
        <p:xfrm>
          <a:off x="1706499" y="2837530"/>
          <a:ext cx="8920871" cy="2977661"/>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3B51DF0E-0768-0376-D04E-537BB7BFCFCB}"/>
              </a:ext>
            </a:extLst>
          </p:cNvPr>
          <p:cNvSpPr txBox="1"/>
          <p:nvPr/>
        </p:nvSpPr>
        <p:spPr>
          <a:xfrm>
            <a:off x="9948755" y="4416085"/>
            <a:ext cx="1990997" cy="256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FFFFFF">
                    <a:lumMod val="75000"/>
                  </a:srgbClr>
                </a:solidFill>
                <a:effectLst/>
                <a:uLnTx/>
                <a:uFillTx/>
                <a:latin typeface="Johnson Text"/>
                <a:ea typeface="+mn-ea"/>
                <a:cs typeface="+mn-cs"/>
              </a:rPr>
              <a:t>Without dose interruptions</a:t>
            </a:r>
          </a:p>
        </p:txBody>
      </p:sp>
      <p:sp>
        <p:nvSpPr>
          <p:cNvPr id="24" name="TextBox 23">
            <a:extLst>
              <a:ext uri="{FF2B5EF4-FFF2-40B4-BE49-F238E27FC236}">
                <a16:creationId xmlns:a16="http://schemas.microsoft.com/office/drawing/2014/main" id="{3458DF9E-E76C-44DA-5EDD-619046F14FA4}"/>
              </a:ext>
            </a:extLst>
          </p:cNvPr>
          <p:cNvSpPr txBox="1"/>
          <p:nvPr/>
        </p:nvSpPr>
        <p:spPr>
          <a:xfrm>
            <a:off x="9975642" y="3855237"/>
            <a:ext cx="2079605" cy="256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3564"/>
                </a:solidFill>
                <a:effectLst/>
                <a:uLnTx/>
                <a:uFillTx/>
                <a:latin typeface="Johnson Text"/>
                <a:ea typeface="+mn-ea"/>
                <a:cs typeface="+mn-cs"/>
              </a:rPr>
              <a:t>With dose interruptions</a:t>
            </a:r>
          </a:p>
        </p:txBody>
      </p:sp>
      <p:sp>
        <p:nvSpPr>
          <p:cNvPr id="25" name="TextBox 24">
            <a:extLst>
              <a:ext uri="{FF2B5EF4-FFF2-40B4-BE49-F238E27FC236}">
                <a16:creationId xmlns:a16="http://schemas.microsoft.com/office/drawing/2014/main" id="{0C073885-B628-32CE-1494-AFD1CB8FA3E8}"/>
              </a:ext>
            </a:extLst>
          </p:cNvPr>
          <p:cNvSpPr txBox="1"/>
          <p:nvPr/>
        </p:nvSpPr>
        <p:spPr>
          <a:xfrm>
            <a:off x="8977643" y="4290125"/>
            <a:ext cx="426720" cy="233910"/>
          </a:xfrm>
          <a:prstGeom prst="rect">
            <a:avLst/>
          </a:prstGeom>
          <a:solidFill>
            <a:schemeClr val="bg1">
              <a:lumMod val="75000"/>
            </a:schemeClr>
          </a:solidFill>
        </p:spPr>
        <p:txBody>
          <a:bodyPr wrap="square" lIns="60960" tIns="24384" rIns="60960" bIns="2438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Johnson Text"/>
                <a:ea typeface="+mn-ea"/>
                <a:cs typeface="+mn-cs"/>
              </a:rPr>
              <a:t>52%</a:t>
            </a:r>
          </a:p>
        </p:txBody>
      </p:sp>
      <p:sp>
        <p:nvSpPr>
          <p:cNvPr id="26" name="TextBox 25">
            <a:extLst>
              <a:ext uri="{FF2B5EF4-FFF2-40B4-BE49-F238E27FC236}">
                <a16:creationId xmlns:a16="http://schemas.microsoft.com/office/drawing/2014/main" id="{4A75836E-D77B-D760-96C5-0DCE5BC25E33}"/>
              </a:ext>
            </a:extLst>
          </p:cNvPr>
          <p:cNvSpPr txBox="1"/>
          <p:nvPr/>
        </p:nvSpPr>
        <p:spPr>
          <a:xfrm>
            <a:off x="8977643" y="3715843"/>
            <a:ext cx="426720" cy="233910"/>
          </a:xfrm>
          <a:prstGeom prst="rect">
            <a:avLst/>
          </a:prstGeom>
          <a:solidFill>
            <a:srgbClr val="003564"/>
          </a:solidFill>
        </p:spPr>
        <p:txBody>
          <a:bodyPr wrap="square" lIns="60960" tIns="24384" rIns="60960" bIns="2438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Johnson Text"/>
                <a:ea typeface="+mn-ea"/>
                <a:cs typeface="+mn-cs"/>
              </a:rPr>
              <a:t>52%</a:t>
            </a:r>
          </a:p>
        </p:txBody>
      </p:sp>
      <p:graphicFrame>
        <p:nvGraphicFramePr>
          <p:cNvPr id="27" name="Table 8">
            <a:extLst>
              <a:ext uri="{FF2B5EF4-FFF2-40B4-BE49-F238E27FC236}">
                <a16:creationId xmlns:a16="http://schemas.microsoft.com/office/drawing/2014/main" id="{C4163593-71F4-4DF4-F535-77F55170AFF6}"/>
              </a:ext>
            </a:extLst>
          </p:cNvPr>
          <p:cNvGraphicFramePr>
            <a:graphicFrameLocks noGrp="1"/>
          </p:cNvGraphicFramePr>
          <p:nvPr/>
        </p:nvGraphicFramePr>
        <p:xfrm>
          <a:off x="7500534" y="2661686"/>
          <a:ext cx="3603684" cy="908304"/>
        </p:xfrm>
        <a:graphic>
          <a:graphicData uri="http://schemas.openxmlformats.org/drawingml/2006/table">
            <a:tbl>
              <a:tblPr firstRow="1"/>
              <a:tblGrid>
                <a:gridCol w="2010996">
                  <a:extLst>
                    <a:ext uri="{9D8B030D-6E8A-4147-A177-3AD203B41FA5}">
                      <a16:colId xmlns:a16="http://schemas.microsoft.com/office/drawing/2014/main" val="3609005308"/>
                    </a:ext>
                  </a:extLst>
                </a:gridCol>
                <a:gridCol w="1592688">
                  <a:extLst>
                    <a:ext uri="{9D8B030D-6E8A-4147-A177-3AD203B41FA5}">
                      <a16:colId xmlns:a16="http://schemas.microsoft.com/office/drawing/2014/main" val="3388733588"/>
                    </a:ext>
                  </a:extLst>
                </a:gridCol>
              </a:tblGrid>
              <a:tr h="365760">
                <a:tc>
                  <a:txBody>
                    <a:bodyPr/>
                    <a:lstStyle>
                      <a:lvl1pPr marL="0" algn="l" defTabSz="914396" rtl="0" eaLnBrk="1" latinLnBrk="0" hangingPunct="1">
                        <a:defRPr sz="1800" b="1" kern="1200">
                          <a:solidFill>
                            <a:schemeClr val="lt1"/>
                          </a:solidFill>
                          <a:latin typeface="Arial"/>
                        </a:defRPr>
                      </a:lvl1pPr>
                      <a:lvl2pPr marL="457198" algn="l" defTabSz="914396" rtl="0" eaLnBrk="1" latinLnBrk="0" hangingPunct="1">
                        <a:defRPr sz="1800" b="1" kern="1200">
                          <a:solidFill>
                            <a:schemeClr val="lt1"/>
                          </a:solidFill>
                          <a:latin typeface="Arial"/>
                        </a:defRPr>
                      </a:lvl2pPr>
                      <a:lvl3pPr marL="914396" algn="l" defTabSz="914396" rtl="0" eaLnBrk="1" latinLnBrk="0" hangingPunct="1">
                        <a:defRPr sz="1800" b="1" kern="1200">
                          <a:solidFill>
                            <a:schemeClr val="lt1"/>
                          </a:solidFill>
                          <a:latin typeface="Arial"/>
                        </a:defRPr>
                      </a:lvl3pPr>
                      <a:lvl4pPr marL="1371595" algn="l" defTabSz="914396" rtl="0" eaLnBrk="1" latinLnBrk="0" hangingPunct="1">
                        <a:defRPr sz="1800" b="1" kern="1200">
                          <a:solidFill>
                            <a:schemeClr val="lt1"/>
                          </a:solidFill>
                          <a:latin typeface="Arial"/>
                        </a:defRPr>
                      </a:lvl4pPr>
                      <a:lvl5pPr marL="1828793" algn="l" defTabSz="914396" rtl="0" eaLnBrk="1" latinLnBrk="0" hangingPunct="1">
                        <a:defRPr sz="1800" b="1" kern="1200">
                          <a:solidFill>
                            <a:schemeClr val="lt1"/>
                          </a:solidFill>
                          <a:latin typeface="Arial"/>
                        </a:defRPr>
                      </a:lvl5pPr>
                      <a:lvl6pPr marL="2285991" algn="l" defTabSz="914396" rtl="0" eaLnBrk="1" latinLnBrk="0" hangingPunct="1">
                        <a:defRPr sz="1800" b="1" kern="1200">
                          <a:solidFill>
                            <a:schemeClr val="lt1"/>
                          </a:solidFill>
                          <a:latin typeface="Arial"/>
                        </a:defRPr>
                      </a:lvl6pPr>
                      <a:lvl7pPr marL="2743189" algn="l" defTabSz="914396" rtl="0" eaLnBrk="1" latinLnBrk="0" hangingPunct="1">
                        <a:defRPr sz="1800" b="1" kern="1200">
                          <a:solidFill>
                            <a:schemeClr val="lt1"/>
                          </a:solidFill>
                          <a:latin typeface="Arial"/>
                        </a:defRPr>
                      </a:lvl7pPr>
                      <a:lvl8pPr marL="3200388" algn="l" defTabSz="914396" rtl="0" eaLnBrk="1" latinLnBrk="0" hangingPunct="1">
                        <a:defRPr sz="1800" b="1" kern="1200">
                          <a:solidFill>
                            <a:schemeClr val="lt1"/>
                          </a:solidFill>
                          <a:latin typeface="Arial"/>
                        </a:defRPr>
                      </a:lvl8pPr>
                      <a:lvl9pPr marL="3657586" algn="l" defTabSz="914396" rtl="0" eaLnBrk="1" latinLnBrk="0" hangingPunct="1">
                        <a:defRPr sz="1800" b="1" kern="1200">
                          <a:solidFill>
                            <a:schemeClr val="lt1"/>
                          </a:solidFill>
                          <a:latin typeface="Arial"/>
                        </a:defRPr>
                      </a:lvl9pPr>
                    </a:lstStyle>
                    <a:p>
                      <a:endParaRPr lang="en-US" sz="1200">
                        <a:solidFill>
                          <a:schemeClr val="tx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96" rtl="0" eaLnBrk="1" latinLnBrk="0" hangingPunct="1">
                        <a:defRPr sz="1800" b="1" kern="1200">
                          <a:solidFill>
                            <a:schemeClr val="lt1"/>
                          </a:solidFill>
                          <a:latin typeface="Arial"/>
                        </a:defRPr>
                      </a:lvl1pPr>
                      <a:lvl2pPr marL="457198" algn="l" defTabSz="914396" rtl="0" eaLnBrk="1" latinLnBrk="0" hangingPunct="1">
                        <a:defRPr sz="1800" b="1" kern="1200">
                          <a:solidFill>
                            <a:schemeClr val="lt1"/>
                          </a:solidFill>
                          <a:latin typeface="Arial"/>
                        </a:defRPr>
                      </a:lvl2pPr>
                      <a:lvl3pPr marL="914396" algn="l" defTabSz="914396" rtl="0" eaLnBrk="1" latinLnBrk="0" hangingPunct="1">
                        <a:defRPr sz="1800" b="1" kern="1200">
                          <a:solidFill>
                            <a:schemeClr val="lt1"/>
                          </a:solidFill>
                          <a:latin typeface="Arial"/>
                        </a:defRPr>
                      </a:lvl3pPr>
                      <a:lvl4pPr marL="1371595" algn="l" defTabSz="914396" rtl="0" eaLnBrk="1" latinLnBrk="0" hangingPunct="1">
                        <a:defRPr sz="1800" b="1" kern="1200">
                          <a:solidFill>
                            <a:schemeClr val="lt1"/>
                          </a:solidFill>
                          <a:latin typeface="Arial"/>
                        </a:defRPr>
                      </a:lvl4pPr>
                      <a:lvl5pPr marL="1828793" algn="l" defTabSz="914396" rtl="0" eaLnBrk="1" latinLnBrk="0" hangingPunct="1">
                        <a:defRPr sz="1800" b="1" kern="1200">
                          <a:solidFill>
                            <a:schemeClr val="lt1"/>
                          </a:solidFill>
                          <a:latin typeface="Arial"/>
                        </a:defRPr>
                      </a:lvl5pPr>
                      <a:lvl6pPr marL="2285991" algn="l" defTabSz="914396" rtl="0" eaLnBrk="1" latinLnBrk="0" hangingPunct="1">
                        <a:defRPr sz="1800" b="1" kern="1200">
                          <a:solidFill>
                            <a:schemeClr val="lt1"/>
                          </a:solidFill>
                          <a:latin typeface="Arial"/>
                        </a:defRPr>
                      </a:lvl6pPr>
                      <a:lvl7pPr marL="2743189" algn="l" defTabSz="914396" rtl="0" eaLnBrk="1" latinLnBrk="0" hangingPunct="1">
                        <a:defRPr sz="1800" b="1" kern="1200">
                          <a:solidFill>
                            <a:schemeClr val="lt1"/>
                          </a:solidFill>
                          <a:latin typeface="Arial"/>
                        </a:defRPr>
                      </a:lvl7pPr>
                      <a:lvl8pPr marL="3200388" algn="l" defTabSz="914396" rtl="0" eaLnBrk="1" latinLnBrk="0" hangingPunct="1">
                        <a:defRPr sz="1800" b="1" kern="1200">
                          <a:solidFill>
                            <a:schemeClr val="lt1"/>
                          </a:solidFill>
                          <a:latin typeface="Arial"/>
                        </a:defRPr>
                      </a:lvl8pPr>
                      <a:lvl9pPr marL="3657586" algn="l" defTabSz="914396" rtl="0" eaLnBrk="1" latinLnBrk="0" hangingPunct="1">
                        <a:defRPr sz="1800" b="1" kern="1200">
                          <a:solidFill>
                            <a:schemeClr val="lt1"/>
                          </a:solidFill>
                          <a:latin typeface="Arial"/>
                        </a:defRPr>
                      </a:lvl9pPr>
                    </a:lstStyle>
                    <a:p>
                      <a:pPr algn="ctr"/>
                      <a:r>
                        <a:rPr lang="en-US" sz="1200">
                          <a:solidFill>
                            <a:schemeClr val="tx1"/>
                          </a:solidFill>
                          <a:latin typeface="Arial Narrow" panose="020B0606020202030204" pitchFamily="34" charset="0"/>
                        </a:rPr>
                        <a:t>Median PFS</a:t>
                      </a:r>
                      <a:br>
                        <a:rPr lang="en-US" sz="1200">
                          <a:solidFill>
                            <a:schemeClr val="tx1"/>
                          </a:solidFill>
                          <a:latin typeface="Arial Narrow" panose="020B0606020202030204" pitchFamily="34" charset="0"/>
                        </a:rPr>
                      </a:br>
                      <a:r>
                        <a:rPr lang="en-US" sz="1200">
                          <a:solidFill>
                            <a:schemeClr val="tx1"/>
                          </a:solidFill>
                          <a:latin typeface="Arial Narrow" panose="020B0606020202030204" pitchFamily="34" charset="0"/>
                        </a:rPr>
                        <a:t>(95% CI)</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5754074"/>
                  </a:ext>
                </a:extLst>
              </a:tr>
              <a:tr h="201168">
                <a:tc>
                  <a:txBody>
                    <a:bodyPr/>
                    <a:lstStyle>
                      <a:lvl1pPr marL="0" algn="l" defTabSz="914396" rtl="0" eaLnBrk="1" latinLnBrk="0" hangingPunct="1">
                        <a:defRPr sz="1800" kern="1200">
                          <a:solidFill>
                            <a:schemeClr val="dk1"/>
                          </a:solidFill>
                          <a:latin typeface="Arial"/>
                        </a:defRPr>
                      </a:lvl1pPr>
                      <a:lvl2pPr marL="457198" algn="l" defTabSz="914396" rtl="0" eaLnBrk="1" latinLnBrk="0" hangingPunct="1">
                        <a:defRPr sz="1800" kern="1200">
                          <a:solidFill>
                            <a:schemeClr val="dk1"/>
                          </a:solidFill>
                          <a:latin typeface="Arial"/>
                        </a:defRPr>
                      </a:lvl2pPr>
                      <a:lvl3pPr marL="914396" algn="l" defTabSz="914396" rtl="0" eaLnBrk="1" latinLnBrk="0" hangingPunct="1">
                        <a:defRPr sz="1800" kern="1200">
                          <a:solidFill>
                            <a:schemeClr val="dk1"/>
                          </a:solidFill>
                          <a:latin typeface="Arial"/>
                        </a:defRPr>
                      </a:lvl3pPr>
                      <a:lvl4pPr marL="1371595" algn="l" defTabSz="914396" rtl="0" eaLnBrk="1" latinLnBrk="0" hangingPunct="1">
                        <a:defRPr sz="1800" kern="1200">
                          <a:solidFill>
                            <a:schemeClr val="dk1"/>
                          </a:solidFill>
                          <a:latin typeface="Arial"/>
                        </a:defRPr>
                      </a:lvl4pPr>
                      <a:lvl5pPr marL="1828793" algn="l" defTabSz="914396" rtl="0" eaLnBrk="1" latinLnBrk="0" hangingPunct="1">
                        <a:defRPr sz="1800" kern="1200">
                          <a:solidFill>
                            <a:schemeClr val="dk1"/>
                          </a:solidFill>
                          <a:latin typeface="Arial"/>
                        </a:defRPr>
                      </a:lvl5pPr>
                      <a:lvl6pPr marL="2285991" algn="l" defTabSz="914396" rtl="0" eaLnBrk="1" latinLnBrk="0" hangingPunct="1">
                        <a:defRPr sz="1800" kern="1200">
                          <a:solidFill>
                            <a:schemeClr val="dk1"/>
                          </a:solidFill>
                          <a:latin typeface="Arial"/>
                        </a:defRPr>
                      </a:lvl6pPr>
                      <a:lvl7pPr marL="2743189" algn="l" defTabSz="914396" rtl="0" eaLnBrk="1" latinLnBrk="0" hangingPunct="1">
                        <a:defRPr sz="1800" kern="1200">
                          <a:solidFill>
                            <a:schemeClr val="dk1"/>
                          </a:solidFill>
                          <a:latin typeface="Arial"/>
                        </a:defRPr>
                      </a:lvl7pPr>
                      <a:lvl8pPr marL="3200388" algn="l" defTabSz="914396" rtl="0" eaLnBrk="1" latinLnBrk="0" hangingPunct="1">
                        <a:defRPr sz="1800" kern="1200">
                          <a:solidFill>
                            <a:schemeClr val="dk1"/>
                          </a:solidFill>
                          <a:latin typeface="Arial"/>
                        </a:defRPr>
                      </a:lvl8pPr>
                      <a:lvl9pPr marL="3657586" algn="l" defTabSz="914396" rtl="0" eaLnBrk="1" latinLnBrk="0" hangingPunct="1">
                        <a:defRPr sz="1800" kern="1200">
                          <a:solidFill>
                            <a:schemeClr val="dk1"/>
                          </a:solidFill>
                          <a:latin typeface="Arial"/>
                        </a:defRPr>
                      </a:lvl9pPr>
                    </a:lstStyle>
                    <a:p>
                      <a:r>
                        <a:rPr lang="en-US" sz="1200" b="1">
                          <a:solidFill>
                            <a:srgbClr val="003564"/>
                          </a:solidFill>
                          <a:latin typeface="Arial Narrow" panose="020B0606020202030204" pitchFamily="34" charset="0"/>
                        </a:rPr>
                        <a:t>With dose interruptions</a:t>
                      </a:r>
                    </a:p>
                  </a:txBody>
                  <a:tcPr marL="0" marR="0" marT="9144" marB="914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96" rtl="0" eaLnBrk="1" latinLnBrk="0" hangingPunct="1">
                        <a:defRPr sz="1800" kern="1200">
                          <a:solidFill>
                            <a:schemeClr val="dk1"/>
                          </a:solidFill>
                          <a:latin typeface="Arial"/>
                        </a:defRPr>
                      </a:lvl1pPr>
                      <a:lvl2pPr marL="457198" algn="l" defTabSz="914396" rtl="0" eaLnBrk="1" latinLnBrk="0" hangingPunct="1">
                        <a:defRPr sz="1800" kern="1200">
                          <a:solidFill>
                            <a:schemeClr val="dk1"/>
                          </a:solidFill>
                          <a:latin typeface="Arial"/>
                        </a:defRPr>
                      </a:lvl2pPr>
                      <a:lvl3pPr marL="914396" algn="l" defTabSz="914396" rtl="0" eaLnBrk="1" latinLnBrk="0" hangingPunct="1">
                        <a:defRPr sz="1800" kern="1200">
                          <a:solidFill>
                            <a:schemeClr val="dk1"/>
                          </a:solidFill>
                          <a:latin typeface="Arial"/>
                        </a:defRPr>
                      </a:lvl3pPr>
                      <a:lvl4pPr marL="1371595" algn="l" defTabSz="914396" rtl="0" eaLnBrk="1" latinLnBrk="0" hangingPunct="1">
                        <a:defRPr sz="1800" kern="1200">
                          <a:solidFill>
                            <a:schemeClr val="dk1"/>
                          </a:solidFill>
                          <a:latin typeface="Arial"/>
                        </a:defRPr>
                      </a:lvl4pPr>
                      <a:lvl5pPr marL="1828793" algn="l" defTabSz="914396" rtl="0" eaLnBrk="1" latinLnBrk="0" hangingPunct="1">
                        <a:defRPr sz="1800" kern="1200">
                          <a:solidFill>
                            <a:schemeClr val="dk1"/>
                          </a:solidFill>
                          <a:latin typeface="Arial"/>
                        </a:defRPr>
                      </a:lvl5pPr>
                      <a:lvl6pPr marL="2285991" algn="l" defTabSz="914396" rtl="0" eaLnBrk="1" latinLnBrk="0" hangingPunct="1">
                        <a:defRPr sz="1800" kern="1200">
                          <a:solidFill>
                            <a:schemeClr val="dk1"/>
                          </a:solidFill>
                          <a:latin typeface="Arial"/>
                        </a:defRPr>
                      </a:lvl6pPr>
                      <a:lvl7pPr marL="2743189" algn="l" defTabSz="914396" rtl="0" eaLnBrk="1" latinLnBrk="0" hangingPunct="1">
                        <a:defRPr sz="1800" kern="1200">
                          <a:solidFill>
                            <a:schemeClr val="dk1"/>
                          </a:solidFill>
                          <a:latin typeface="Arial"/>
                        </a:defRPr>
                      </a:lvl7pPr>
                      <a:lvl8pPr marL="3200388" algn="l" defTabSz="914396" rtl="0" eaLnBrk="1" latinLnBrk="0" hangingPunct="1">
                        <a:defRPr sz="1800" kern="1200">
                          <a:solidFill>
                            <a:schemeClr val="dk1"/>
                          </a:solidFill>
                          <a:latin typeface="Arial"/>
                        </a:defRPr>
                      </a:lvl8pPr>
                      <a:lvl9pPr marL="3657586" algn="l" defTabSz="914396" rtl="0" eaLnBrk="1" latinLnBrk="0" hangingPunct="1">
                        <a:defRPr sz="1800" kern="1200">
                          <a:solidFill>
                            <a:schemeClr val="dk1"/>
                          </a:solidFill>
                          <a:latin typeface="Arial"/>
                        </a:defRPr>
                      </a:lvl9pPr>
                    </a:lstStyle>
                    <a:p>
                      <a:pPr algn="ctr"/>
                      <a:r>
                        <a:rPr lang="en-US" sz="1200">
                          <a:solidFill>
                            <a:schemeClr val="tx1"/>
                          </a:solidFill>
                          <a:latin typeface="Arial Narrow" panose="020B0606020202030204" pitchFamily="34" charset="0"/>
                        </a:rPr>
                        <a:t>27.5 mo (20.3–NE)</a:t>
                      </a:r>
                    </a:p>
                  </a:txBody>
                  <a:tcPr marL="0" marR="0" marT="9144" marB="914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0018867"/>
                  </a:ext>
                </a:extLst>
              </a:tr>
              <a:tr h="201168">
                <a:tc>
                  <a:txBody>
                    <a:bodyPr/>
                    <a:lstStyle>
                      <a:lvl1pPr marL="0" algn="l" defTabSz="914396" rtl="0" eaLnBrk="1" latinLnBrk="0" hangingPunct="1">
                        <a:defRPr sz="1800" kern="1200">
                          <a:solidFill>
                            <a:schemeClr val="dk1"/>
                          </a:solidFill>
                          <a:latin typeface="Arial"/>
                        </a:defRPr>
                      </a:lvl1pPr>
                      <a:lvl2pPr marL="457198" algn="l" defTabSz="914396" rtl="0" eaLnBrk="1" latinLnBrk="0" hangingPunct="1">
                        <a:defRPr sz="1800" kern="1200">
                          <a:solidFill>
                            <a:schemeClr val="dk1"/>
                          </a:solidFill>
                          <a:latin typeface="Arial"/>
                        </a:defRPr>
                      </a:lvl2pPr>
                      <a:lvl3pPr marL="914396" algn="l" defTabSz="914396" rtl="0" eaLnBrk="1" latinLnBrk="0" hangingPunct="1">
                        <a:defRPr sz="1800" kern="1200">
                          <a:solidFill>
                            <a:schemeClr val="dk1"/>
                          </a:solidFill>
                          <a:latin typeface="Arial"/>
                        </a:defRPr>
                      </a:lvl3pPr>
                      <a:lvl4pPr marL="1371595" algn="l" defTabSz="914396" rtl="0" eaLnBrk="1" latinLnBrk="0" hangingPunct="1">
                        <a:defRPr sz="1800" kern="1200">
                          <a:solidFill>
                            <a:schemeClr val="dk1"/>
                          </a:solidFill>
                          <a:latin typeface="Arial"/>
                        </a:defRPr>
                      </a:lvl4pPr>
                      <a:lvl5pPr marL="1828793" algn="l" defTabSz="914396" rtl="0" eaLnBrk="1" latinLnBrk="0" hangingPunct="1">
                        <a:defRPr sz="1800" kern="1200">
                          <a:solidFill>
                            <a:schemeClr val="dk1"/>
                          </a:solidFill>
                          <a:latin typeface="Arial"/>
                        </a:defRPr>
                      </a:lvl5pPr>
                      <a:lvl6pPr marL="2285991" algn="l" defTabSz="914396" rtl="0" eaLnBrk="1" latinLnBrk="0" hangingPunct="1">
                        <a:defRPr sz="1800" kern="1200">
                          <a:solidFill>
                            <a:schemeClr val="dk1"/>
                          </a:solidFill>
                          <a:latin typeface="Arial"/>
                        </a:defRPr>
                      </a:lvl6pPr>
                      <a:lvl7pPr marL="2743189" algn="l" defTabSz="914396" rtl="0" eaLnBrk="1" latinLnBrk="0" hangingPunct="1">
                        <a:defRPr sz="1800" kern="1200">
                          <a:solidFill>
                            <a:schemeClr val="dk1"/>
                          </a:solidFill>
                          <a:latin typeface="Arial"/>
                        </a:defRPr>
                      </a:lvl7pPr>
                      <a:lvl8pPr marL="3200388" algn="l" defTabSz="914396" rtl="0" eaLnBrk="1" latinLnBrk="0" hangingPunct="1">
                        <a:defRPr sz="1800" kern="1200">
                          <a:solidFill>
                            <a:schemeClr val="dk1"/>
                          </a:solidFill>
                          <a:latin typeface="Arial"/>
                        </a:defRPr>
                      </a:lvl8pPr>
                      <a:lvl9pPr marL="3657586" algn="l" defTabSz="914396" rtl="0" eaLnBrk="1" latinLnBrk="0" hangingPunct="1">
                        <a:defRPr sz="1800" kern="1200">
                          <a:solidFill>
                            <a:schemeClr val="dk1"/>
                          </a:solidFill>
                          <a:latin typeface="Arial"/>
                        </a:defRPr>
                      </a:lvl9pPr>
                    </a:lstStyle>
                    <a:p>
                      <a:r>
                        <a:rPr lang="en-US" sz="1200" b="1">
                          <a:solidFill>
                            <a:schemeClr val="bg1">
                              <a:lumMod val="75000"/>
                            </a:schemeClr>
                          </a:solidFill>
                          <a:latin typeface="Arial Narrow" panose="020B0606020202030204" pitchFamily="34" charset="0"/>
                        </a:rPr>
                        <a:t>Without dose interruptions</a:t>
                      </a:r>
                    </a:p>
                  </a:txBody>
                  <a:tcPr marL="0" marR="0" marT="9144" marB="914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96" rtl="0" eaLnBrk="1" latinLnBrk="0" hangingPunct="1">
                        <a:defRPr sz="1800" kern="1200">
                          <a:solidFill>
                            <a:schemeClr val="dk1"/>
                          </a:solidFill>
                          <a:latin typeface="Arial"/>
                        </a:defRPr>
                      </a:lvl1pPr>
                      <a:lvl2pPr marL="457198" algn="l" defTabSz="914396" rtl="0" eaLnBrk="1" latinLnBrk="0" hangingPunct="1">
                        <a:defRPr sz="1800" kern="1200">
                          <a:solidFill>
                            <a:schemeClr val="dk1"/>
                          </a:solidFill>
                          <a:latin typeface="Arial"/>
                        </a:defRPr>
                      </a:lvl2pPr>
                      <a:lvl3pPr marL="914396" algn="l" defTabSz="914396" rtl="0" eaLnBrk="1" latinLnBrk="0" hangingPunct="1">
                        <a:defRPr sz="1800" kern="1200">
                          <a:solidFill>
                            <a:schemeClr val="dk1"/>
                          </a:solidFill>
                          <a:latin typeface="Arial"/>
                        </a:defRPr>
                      </a:lvl3pPr>
                      <a:lvl4pPr marL="1371595" algn="l" defTabSz="914396" rtl="0" eaLnBrk="1" latinLnBrk="0" hangingPunct="1">
                        <a:defRPr sz="1800" kern="1200">
                          <a:solidFill>
                            <a:schemeClr val="dk1"/>
                          </a:solidFill>
                          <a:latin typeface="Arial"/>
                        </a:defRPr>
                      </a:lvl4pPr>
                      <a:lvl5pPr marL="1828793" algn="l" defTabSz="914396" rtl="0" eaLnBrk="1" latinLnBrk="0" hangingPunct="1">
                        <a:defRPr sz="1800" kern="1200">
                          <a:solidFill>
                            <a:schemeClr val="dk1"/>
                          </a:solidFill>
                          <a:latin typeface="Arial"/>
                        </a:defRPr>
                      </a:lvl5pPr>
                      <a:lvl6pPr marL="2285991" algn="l" defTabSz="914396" rtl="0" eaLnBrk="1" latinLnBrk="0" hangingPunct="1">
                        <a:defRPr sz="1800" kern="1200">
                          <a:solidFill>
                            <a:schemeClr val="dk1"/>
                          </a:solidFill>
                          <a:latin typeface="Arial"/>
                        </a:defRPr>
                      </a:lvl6pPr>
                      <a:lvl7pPr marL="2743189" algn="l" defTabSz="914396" rtl="0" eaLnBrk="1" latinLnBrk="0" hangingPunct="1">
                        <a:defRPr sz="1800" kern="1200">
                          <a:solidFill>
                            <a:schemeClr val="dk1"/>
                          </a:solidFill>
                          <a:latin typeface="Arial"/>
                        </a:defRPr>
                      </a:lvl7pPr>
                      <a:lvl8pPr marL="3200388" algn="l" defTabSz="914396" rtl="0" eaLnBrk="1" latinLnBrk="0" hangingPunct="1">
                        <a:defRPr sz="1800" kern="1200">
                          <a:solidFill>
                            <a:schemeClr val="dk1"/>
                          </a:solidFill>
                          <a:latin typeface="Arial"/>
                        </a:defRPr>
                      </a:lvl8pPr>
                      <a:lvl9pPr marL="3657586" algn="l" defTabSz="914396" rtl="0" eaLnBrk="1" latinLnBrk="0" hangingPunct="1">
                        <a:defRPr sz="1800" kern="1200">
                          <a:solidFill>
                            <a:schemeClr val="dk1"/>
                          </a:solidFill>
                          <a:latin typeface="Arial"/>
                        </a:defRPr>
                      </a:lvl9pPr>
                    </a:lstStyle>
                    <a:p>
                      <a:pPr algn="ctr"/>
                      <a:r>
                        <a:rPr lang="en-US" sz="1200">
                          <a:solidFill>
                            <a:schemeClr val="tx1"/>
                          </a:solidFill>
                          <a:latin typeface="Arial Narrow" panose="020B0606020202030204" pitchFamily="34" charset="0"/>
                        </a:rPr>
                        <a:t>25.7 mo (22.2–NE)</a:t>
                      </a:r>
                    </a:p>
                  </a:txBody>
                  <a:tcPr marL="0" marR="0" marT="9144" marB="914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14406"/>
                  </a:ext>
                </a:extLst>
              </a:tr>
              <a:tr h="140208">
                <a:tc>
                  <a:txBody>
                    <a:bodyPr/>
                    <a:lstStyle>
                      <a:lvl1pPr marL="0" algn="l" defTabSz="914396" rtl="0" eaLnBrk="1" latinLnBrk="0" hangingPunct="1">
                        <a:defRPr sz="1800" kern="1200">
                          <a:solidFill>
                            <a:schemeClr val="dk1"/>
                          </a:solidFill>
                          <a:latin typeface="Arial"/>
                        </a:defRPr>
                      </a:lvl1pPr>
                      <a:lvl2pPr marL="457198" algn="l" defTabSz="914396" rtl="0" eaLnBrk="1" latinLnBrk="0" hangingPunct="1">
                        <a:defRPr sz="1800" kern="1200">
                          <a:solidFill>
                            <a:schemeClr val="dk1"/>
                          </a:solidFill>
                          <a:latin typeface="Arial"/>
                        </a:defRPr>
                      </a:lvl2pPr>
                      <a:lvl3pPr marL="914396" algn="l" defTabSz="914396" rtl="0" eaLnBrk="1" latinLnBrk="0" hangingPunct="1">
                        <a:defRPr sz="1800" kern="1200">
                          <a:solidFill>
                            <a:schemeClr val="dk1"/>
                          </a:solidFill>
                          <a:latin typeface="Arial"/>
                        </a:defRPr>
                      </a:lvl3pPr>
                      <a:lvl4pPr marL="1371595" algn="l" defTabSz="914396" rtl="0" eaLnBrk="1" latinLnBrk="0" hangingPunct="1">
                        <a:defRPr sz="1800" kern="1200">
                          <a:solidFill>
                            <a:schemeClr val="dk1"/>
                          </a:solidFill>
                          <a:latin typeface="Arial"/>
                        </a:defRPr>
                      </a:lvl4pPr>
                      <a:lvl5pPr marL="1828793" algn="l" defTabSz="914396" rtl="0" eaLnBrk="1" latinLnBrk="0" hangingPunct="1">
                        <a:defRPr sz="1800" kern="1200">
                          <a:solidFill>
                            <a:schemeClr val="dk1"/>
                          </a:solidFill>
                          <a:latin typeface="Arial"/>
                        </a:defRPr>
                      </a:lvl5pPr>
                      <a:lvl6pPr marL="2285991" algn="l" defTabSz="914396" rtl="0" eaLnBrk="1" latinLnBrk="0" hangingPunct="1">
                        <a:defRPr sz="1800" kern="1200">
                          <a:solidFill>
                            <a:schemeClr val="dk1"/>
                          </a:solidFill>
                          <a:latin typeface="Arial"/>
                        </a:defRPr>
                      </a:lvl6pPr>
                      <a:lvl7pPr marL="2743189" algn="l" defTabSz="914396" rtl="0" eaLnBrk="1" latinLnBrk="0" hangingPunct="1">
                        <a:defRPr sz="1800" kern="1200">
                          <a:solidFill>
                            <a:schemeClr val="dk1"/>
                          </a:solidFill>
                          <a:latin typeface="Arial"/>
                        </a:defRPr>
                      </a:lvl7pPr>
                      <a:lvl8pPr marL="3200388" algn="l" defTabSz="914396" rtl="0" eaLnBrk="1" latinLnBrk="0" hangingPunct="1">
                        <a:defRPr sz="1800" kern="1200">
                          <a:solidFill>
                            <a:schemeClr val="dk1"/>
                          </a:solidFill>
                          <a:latin typeface="Arial"/>
                        </a:defRPr>
                      </a:lvl8pPr>
                      <a:lvl9pPr marL="3657586" algn="l" defTabSz="914396" rtl="0" eaLnBrk="1" latinLnBrk="0" hangingPunct="1">
                        <a:defRPr sz="1800" kern="1200">
                          <a:solidFill>
                            <a:schemeClr val="dk1"/>
                          </a:solidFill>
                          <a:latin typeface="Arial"/>
                        </a:defRPr>
                      </a:lvl9pPr>
                    </a:lstStyle>
                    <a:p>
                      <a:endParaRPr lang="en-US" sz="800" b="1">
                        <a:solidFill>
                          <a:srgbClr val="EE1C25"/>
                        </a:solidFill>
                        <a:latin typeface="Arial Narrow" panose="020B0606020202030204" pitchFamily="34" charset="0"/>
                      </a:endParaRPr>
                    </a:p>
                  </a:txBody>
                  <a:tcPr marL="0" marR="0" marT="9144" marB="914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96" rtl="0" eaLnBrk="1" latinLnBrk="0" hangingPunct="1">
                        <a:defRPr sz="1800" kern="1200">
                          <a:solidFill>
                            <a:schemeClr val="dk1"/>
                          </a:solidFill>
                          <a:latin typeface="Arial"/>
                        </a:defRPr>
                      </a:lvl1pPr>
                      <a:lvl2pPr marL="457198" algn="l" defTabSz="914396" rtl="0" eaLnBrk="1" latinLnBrk="0" hangingPunct="1">
                        <a:defRPr sz="1800" kern="1200">
                          <a:solidFill>
                            <a:schemeClr val="dk1"/>
                          </a:solidFill>
                          <a:latin typeface="Arial"/>
                        </a:defRPr>
                      </a:lvl2pPr>
                      <a:lvl3pPr marL="914396" algn="l" defTabSz="914396" rtl="0" eaLnBrk="1" latinLnBrk="0" hangingPunct="1">
                        <a:defRPr sz="1800" kern="1200">
                          <a:solidFill>
                            <a:schemeClr val="dk1"/>
                          </a:solidFill>
                          <a:latin typeface="Arial"/>
                        </a:defRPr>
                      </a:lvl3pPr>
                      <a:lvl4pPr marL="1371595" algn="l" defTabSz="914396" rtl="0" eaLnBrk="1" latinLnBrk="0" hangingPunct="1">
                        <a:defRPr sz="1800" kern="1200">
                          <a:solidFill>
                            <a:schemeClr val="dk1"/>
                          </a:solidFill>
                          <a:latin typeface="Arial"/>
                        </a:defRPr>
                      </a:lvl4pPr>
                      <a:lvl5pPr marL="1828793" algn="l" defTabSz="914396" rtl="0" eaLnBrk="1" latinLnBrk="0" hangingPunct="1">
                        <a:defRPr sz="1800" kern="1200">
                          <a:solidFill>
                            <a:schemeClr val="dk1"/>
                          </a:solidFill>
                          <a:latin typeface="Arial"/>
                        </a:defRPr>
                      </a:lvl5pPr>
                      <a:lvl6pPr marL="2285991" algn="l" defTabSz="914396" rtl="0" eaLnBrk="1" latinLnBrk="0" hangingPunct="1">
                        <a:defRPr sz="1800" kern="1200">
                          <a:solidFill>
                            <a:schemeClr val="dk1"/>
                          </a:solidFill>
                          <a:latin typeface="Arial"/>
                        </a:defRPr>
                      </a:lvl6pPr>
                      <a:lvl7pPr marL="2743189" algn="l" defTabSz="914396" rtl="0" eaLnBrk="1" latinLnBrk="0" hangingPunct="1">
                        <a:defRPr sz="1800" kern="1200">
                          <a:solidFill>
                            <a:schemeClr val="dk1"/>
                          </a:solidFill>
                          <a:latin typeface="Arial"/>
                        </a:defRPr>
                      </a:lvl7pPr>
                      <a:lvl8pPr marL="3200388" algn="l" defTabSz="914396" rtl="0" eaLnBrk="1" latinLnBrk="0" hangingPunct="1">
                        <a:defRPr sz="1800" kern="1200">
                          <a:solidFill>
                            <a:schemeClr val="dk1"/>
                          </a:solidFill>
                          <a:latin typeface="Arial"/>
                        </a:defRPr>
                      </a:lvl8pPr>
                      <a:lvl9pPr marL="3657586" algn="l" defTabSz="914396" rtl="0" eaLnBrk="1" latinLnBrk="0" hangingPunct="1">
                        <a:defRPr sz="1800" kern="1200">
                          <a:solidFill>
                            <a:schemeClr val="dk1"/>
                          </a:solidFill>
                          <a:latin typeface="Arial"/>
                        </a:defRPr>
                      </a:lvl9pPr>
                    </a:lstStyle>
                    <a:p>
                      <a:pPr algn="ctr"/>
                      <a:endParaRPr lang="en-US" sz="800">
                        <a:solidFill>
                          <a:schemeClr val="tx1"/>
                        </a:solidFill>
                        <a:latin typeface="Arial Narrow" panose="020B0606020202030204" pitchFamily="34" charset="0"/>
                      </a:endParaRPr>
                    </a:p>
                  </a:txBody>
                  <a:tcPr marL="0" marR="0" marT="9144" marB="914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643616"/>
                  </a:ext>
                </a:extLst>
              </a:tr>
            </a:tbl>
          </a:graphicData>
        </a:graphic>
      </p:graphicFrame>
      <p:sp>
        <p:nvSpPr>
          <p:cNvPr id="28" name="TextBox 27">
            <a:extLst>
              <a:ext uri="{FF2B5EF4-FFF2-40B4-BE49-F238E27FC236}">
                <a16:creationId xmlns:a16="http://schemas.microsoft.com/office/drawing/2014/main" id="{5B1DCC5D-0256-1D66-9ED2-E75E90684CFD}"/>
              </a:ext>
            </a:extLst>
          </p:cNvPr>
          <p:cNvSpPr txBox="1"/>
          <p:nvPr/>
        </p:nvSpPr>
        <p:spPr>
          <a:xfrm>
            <a:off x="7387559" y="2732389"/>
            <a:ext cx="2160395" cy="256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0000"/>
                </a:solidFill>
                <a:effectLst/>
                <a:uLnTx/>
                <a:uFillTx/>
                <a:latin typeface="Johnson Text"/>
                <a:ea typeface="+mn-ea"/>
                <a:cs typeface="+mn-cs"/>
              </a:rPr>
              <a:t>Median follow-up</a:t>
            </a:r>
            <a:r>
              <a:rPr kumimoji="0" lang="en-US" sz="1067" b="0" i="0" u="none" strike="noStrike" kern="1200" cap="none" spc="0" normalizeH="0" baseline="30000" noProof="0">
                <a:ln>
                  <a:noFill/>
                </a:ln>
                <a:solidFill>
                  <a:srgbClr val="000000"/>
                </a:solidFill>
                <a:effectLst/>
                <a:uLnTx/>
                <a:uFillTx/>
                <a:latin typeface="Johnson Text"/>
                <a:ea typeface="+mn-ea"/>
                <a:cs typeface="+mn-cs"/>
              </a:rPr>
              <a:t>b</a:t>
            </a:r>
            <a:r>
              <a:rPr kumimoji="0" lang="en-US" sz="1067" b="0" i="0" u="none" strike="noStrike" kern="1200" cap="none" spc="0" normalizeH="0" baseline="0" noProof="0">
                <a:ln>
                  <a:noFill/>
                </a:ln>
                <a:solidFill>
                  <a:srgbClr val="000000"/>
                </a:solidFill>
                <a:effectLst/>
                <a:uLnTx/>
                <a:uFillTx/>
                <a:latin typeface="Johnson Text"/>
                <a:ea typeface="+mn-ea"/>
                <a:cs typeface="+mn-cs"/>
              </a:rPr>
              <a:t>: 22.0 months</a:t>
            </a:r>
          </a:p>
        </p:txBody>
      </p:sp>
      <p:sp>
        <p:nvSpPr>
          <p:cNvPr id="29" name="Arrow: Right 28">
            <a:extLst>
              <a:ext uri="{FF2B5EF4-FFF2-40B4-BE49-F238E27FC236}">
                <a16:creationId xmlns:a16="http://schemas.microsoft.com/office/drawing/2014/main" id="{722FB165-517F-B670-B86D-035D85ECE2D7}"/>
              </a:ext>
            </a:extLst>
          </p:cNvPr>
          <p:cNvSpPr/>
          <p:nvPr/>
        </p:nvSpPr>
        <p:spPr>
          <a:xfrm>
            <a:off x="3519331" y="4968919"/>
            <a:ext cx="6898115" cy="391809"/>
          </a:xfrm>
          <a:prstGeom prst="rightArrow">
            <a:avLst/>
          </a:prstGeom>
          <a:solidFill>
            <a:schemeClr val="accent5">
              <a:lumMod val="20000"/>
              <a:lumOff val="80000"/>
            </a:schemeClr>
          </a:solidFill>
          <a:ln w="12700">
            <a:solidFill>
              <a:schemeClr val="tx1"/>
            </a:solidFill>
          </a:ln>
        </p:spPr>
        <p:style>
          <a:lnRef idx="2">
            <a:schemeClr val="dk1">
              <a:shade val="15000"/>
            </a:schemeClr>
          </a:lnRef>
          <a:fillRef idx="1">
            <a:schemeClr val="dk1"/>
          </a:fillRef>
          <a:effectRef idx="0">
            <a:schemeClr val="dk1"/>
          </a:effectRef>
          <a:fontRef idx="minor">
            <a:schemeClr val="lt1"/>
          </a:fontRef>
        </p:style>
        <p:txBody>
          <a:bodyPr lIns="9144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Outcome Period</a:t>
            </a:r>
          </a:p>
        </p:txBody>
      </p:sp>
      <p:sp>
        <p:nvSpPr>
          <p:cNvPr id="30" name="Arrow: Right 29">
            <a:extLst>
              <a:ext uri="{FF2B5EF4-FFF2-40B4-BE49-F238E27FC236}">
                <a16:creationId xmlns:a16="http://schemas.microsoft.com/office/drawing/2014/main" id="{542468DE-C1F3-CF66-E6AF-B700AADF1E18}"/>
              </a:ext>
            </a:extLst>
          </p:cNvPr>
          <p:cNvSpPr/>
          <p:nvPr/>
        </p:nvSpPr>
        <p:spPr>
          <a:xfrm>
            <a:off x="2415333" y="4959289"/>
            <a:ext cx="1078588" cy="391809"/>
          </a:xfrm>
          <a:prstGeom prst="rightArrow">
            <a:avLst/>
          </a:prstGeom>
          <a:solidFill>
            <a:schemeClr val="accent5"/>
          </a:solidFill>
          <a:ln w="12700">
            <a:solidFill>
              <a:schemeClr val="tx1"/>
            </a:solidFill>
          </a:ln>
        </p:spPr>
        <p:style>
          <a:lnRef idx="2">
            <a:schemeClr val="accent3">
              <a:shade val="15000"/>
            </a:schemeClr>
          </a:lnRef>
          <a:fillRef idx="1">
            <a:schemeClr val="accent3"/>
          </a:fillRef>
          <a:effectRef idx="0">
            <a:schemeClr val="accent3"/>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Johnson Text"/>
                <a:ea typeface="+mn-ea"/>
                <a:cs typeface="+mn-cs"/>
              </a:rPr>
              <a:t>Exposure</a:t>
            </a:r>
          </a:p>
        </p:txBody>
      </p:sp>
      <p:sp>
        <p:nvSpPr>
          <p:cNvPr id="31" name="TextBox 30">
            <a:extLst>
              <a:ext uri="{FF2B5EF4-FFF2-40B4-BE49-F238E27FC236}">
                <a16:creationId xmlns:a16="http://schemas.microsoft.com/office/drawing/2014/main" id="{017B6135-FD0D-A10F-F4C1-70E702A20BAE}"/>
              </a:ext>
            </a:extLst>
          </p:cNvPr>
          <p:cNvSpPr txBox="1"/>
          <p:nvPr/>
        </p:nvSpPr>
        <p:spPr>
          <a:xfrm>
            <a:off x="2410371" y="5685020"/>
            <a:ext cx="7749628" cy="2974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000000"/>
                </a:solidFill>
                <a:effectLst/>
                <a:uLnTx/>
                <a:uFillTx/>
                <a:latin typeface="Johnson Text"/>
                <a:ea typeface="+mn-ea"/>
                <a:cs typeface="+mn-cs"/>
              </a:rPr>
              <a:t>Months</a:t>
            </a:r>
          </a:p>
        </p:txBody>
      </p:sp>
      <p:cxnSp>
        <p:nvCxnSpPr>
          <p:cNvPr id="32" name="Straight Connector 31">
            <a:extLst>
              <a:ext uri="{FF2B5EF4-FFF2-40B4-BE49-F238E27FC236}">
                <a16:creationId xmlns:a16="http://schemas.microsoft.com/office/drawing/2014/main" id="{E8D94F66-B812-9F2F-8561-F5301BFC8ADA}"/>
              </a:ext>
            </a:extLst>
          </p:cNvPr>
          <p:cNvCxnSpPr/>
          <p:nvPr/>
        </p:nvCxnSpPr>
        <p:spPr>
          <a:xfrm>
            <a:off x="9985546" y="5406681"/>
            <a:ext cx="7969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9203302-C906-7467-1FCB-BADC71CA7CA6}"/>
              </a:ext>
            </a:extLst>
          </p:cNvPr>
          <p:cNvCxnSpPr>
            <a:cxnSpLocks/>
          </p:cNvCxnSpPr>
          <p:nvPr/>
        </p:nvCxnSpPr>
        <p:spPr>
          <a:xfrm>
            <a:off x="8946495" y="3819805"/>
            <a:ext cx="0" cy="160547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4" name="Graphic 3">
            <a:extLst>
              <a:ext uri="{FF2B5EF4-FFF2-40B4-BE49-F238E27FC236}">
                <a16:creationId xmlns:a16="http://schemas.microsoft.com/office/drawing/2014/main" id="{40B7E0A7-58FB-5CEE-A079-F38969256466}"/>
              </a:ext>
            </a:extLst>
          </p:cNvPr>
          <p:cNvGrpSpPr/>
          <p:nvPr/>
        </p:nvGrpSpPr>
        <p:grpSpPr>
          <a:xfrm>
            <a:off x="2383001" y="3011253"/>
            <a:ext cx="8577804" cy="1251012"/>
            <a:chOff x="1787250" y="1932568"/>
            <a:chExt cx="6433353" cy="938259"/>
          </a:xfrm>
          <a:noFill/>
        </p:grpSpPr>
        <p:sp>
          <p:nvSpPr>
            <p:cNvPr id="35" name="Freeform: Shape 34">
              <a:extLst>
                <a:ext uri="{FF2B5EF4-FFF2-40B4-BE49-F238E27FC236}">
                  <a16:creationId xmlns:a16="http://schemas.microsoft.com/office/drawing/2014/main" id="{9C142F45-32B5-2BD7-AD9B-E9D92B8C9A73}"/>
                </a:ext>
              </a:extLst>
            </p:cNvPr>
            <p:cNvSpPr/>
            <p:nvPr/>
          </p:nvSpPr>
          <p:spPr>
            <a:xfrm>
              <a:off x="1787250" y="1932568"/>
              <a:ext cx="6433353" cy="938259"/>
            </a:xfrm>
            <a:custGeom>
              <a:avLst/>
              <a:gdLst>
                <a:gd name="connsiteX0" fmla="*/ 0 w 6433353"/>
                <a:gd name="connsiteY0" fmla="*/ 0 h 938259"/>
                <a:gd name="connsiteX1" fmla="*/ 831707 w 6433353"/>
                <a:gd name="connsiteY1" fmla="*/ 0 h 938259"/>
                <a:gd name="connsiteX2" fmla="*/ 831707 w 6433353"/>
                <a:gd name="connsiteY2" fmla="*/ 9640 h 938259"/>
                <a:gd name="connsiteX3" fmla="*/ 879049 w 6433353"/>
                <a:gd name="connsiteY3" fmla="*/ 9640 h 938259"/>
                <a:gd name="connsiteX4" fmla="*/ 879049 w 6433353"/>
                <a:gd name="connsiteY4" fmla="*/ 19151 h 938259"/>
                <a:gd name="connsiteX5" fmla="*/ 906191 w 6433353"/>
                <a:gd name="connsiteY5" fmla="*/ 19151 h 938259"/>
                <a:gd name="connsiteX6" fmla="*/ 906191 w 6433353"/>
                <a:gd name="connsiteY6" fmla="*/ 28790 h 938259"/>
                <a:gd name="connsiteX7" fmla="*/ 919573 w 6433353"/>
                <a:gd name="connsiteY7" fmla="*/ 28790 h 938259"/>
                <a:gd name="connsiteX8" fmla="*/ 919573 w 6433353"/>
                <a:gd name="connsiteY8" fmla="*/ 38302 h 938259"/>
                <a:gd name="connsiteX9" fmla="*/ 1108942 w 6433353"/>
                <a:gd name="connsiteY9" fmla="*/ 38302 h 938259"/>
                <a:gd name="connsiteX10" fmla="*/ 1108942 w 6433353"/>
                <a:gd name="connsiteY10" fmla="*/ 47941 h 938259"/>
                <a:gd name="connsiteX11" fmla="*/ 1129268 w 6433353"/>
                <a:gd name="connsiteY11" fmla="*/ 47941 h 938259"/>
                <a:gd name="connsiteX12" fmla="*/ 1129268 w 6433353"/>
                <a:gd name="connsiteY12" fmla="*/ 57452 h 938259"/>
                <a:gd name="connsiteX13" fmla="*/ 1142776 w 6433353"/>
                <a:gd name="connsiteY13" fmla="*/ 57452 h 938259"/>
                <a:gd name="connsiteX14" fmla="*/ 1142776 w 6433353"/>
                <a:gd name="connsiteY14" fmla="*/ 67092 h 938259"/>
                <a:gd name="connsiteX15" fmla="*/ 1156284 w 6433353"/>
                <a:gd name="connsiteY15" fmla="*/ 67092 h 938259"/>
                <a:gd name="connsiteX16" fmla="*/ 1156284 w 6433353"/>
                <a:gd name="connsiteY16" fmla="*/ 76732 h 938259"/>
                <a:gd name="connsiteX17" fmla="*/ 1162975 w 6433353"/>
                <a:gd name="connsiteY17" fmla="*/ 76732 h 938259"/>
                <a:gd name="connsiteX18" fmla="*/ 1162975 w 6433353"/>
                <a:gd name="connsiteY18" fmla="*/ 86371 h 938259"/>
                <a:gd name="connsiteX19" fmla="*/ 1190118 w 6433353"/>
                <a:gd name="connsiteY19" fmla="*/ 86371 h 938259"/>
                <a:gd name="connsiteX20" fmla="*/ 1190118 w 6433353"/>
                <a:gd name="connsiteY20" fmla="*/ 95882 h 938259"/>
                <a:gd name="connsiteX21" fmla="*/ 1230643 w 6433353"/>
                <a:gd name="connsiteY21" fmla="*/ 95882 h 938259"/>
                <a:gd name="connsiteX22" fmla="*/ 1230643 w 6433353"/>
                <a:gd name="connsiteY22" fmla="*/ 105522 h 938259"/>
                <a:gd name="connsiteX23" fmla="*/ 1345653 w 6433353"/>
                <a:gd name="connsiteY23" fmla="*/ 105522 h 938259"/>
                <a:gd name="connsiteX24" fmla="*/ 1345653 w 6433353"/>
                <a:gd name="connsiteY24" fmla="*/ 115290 h 938259"/>
                <a:gd name="connsiteX25" fmla="*/ 1379486 w 6433353"/>
                <a:gd name="connsiteY25" fmla="*/ 115290 h 938259"/>
                <a:gd name="connsiteX26" fmla="*/ 1379486 w 6433353"/>
                <a:gd name="connsiteY26" fmla="*/ 124930 h 938259"/>
                <a:gd name="connsiteX27" fmla="*/ 1426702 w 6433353"/>
                <a:gd name="connsiteY27" fmla="*/ 124930 h 938259"/>
                <a:gd name="connsiteX28" fmla="*/ 1426702 w 6433353"/>
                <a:gd name="connsiteY28" fmla="*/ 134698 h 938259"/>
                <a:gd name="connsiteX29" fmla="*/ 1440337 w 6433353"/>
                <a:gd name="connsiteY29" fmla="*/ 134698 h 938259"/>
                <a:gd name="connsiteX30" fmla="*/ 1440337 w 6433353"/>
                <a:gd name="connsiteY30" fmla="*/ 144338 h 938259"/>
                <a:gd name="connsiteX31" fmla="*/ 1474044 w 6433353"/>
                <a:gd name="connsiteY31" fmla="*/ 144338 h 938259"/>
                <a:gd name="connsiteX32" fmla="*/ 1474044 w 6433353"/>
                <a:gd name="connsiteY32" fmla="*/ 153977 h 938259"/>
                <a:gd name="connsiteX33" fmla="*/ 1514696 w 6433353"/>
                <a:gd name="connsiteY33" fmla="*/ 153977 h 938259"/>
                <a:gd name="connsiteX34" fmla="*/ 1514696 w 6433353"/>
                <a:gd name="connsiteY34" fmla="*/ 163745 h 938259"/>
                <a:gd name="connsiteX35" fmla="*/ 1521513 w 6433353"/>
                <a:gd name="connsiteY35" fmla="*/ 163745 h 938259"/>
                <a:gd name="connsiteX36" fmla="*/ 1521513 w 6433353"/>
                <a:gd name="connsiteY36" fmla="*/ 183282 h 938259"/>
                <a:gd name="connsiteX37" fmla="*/ 1528204 w 6433353"/>
                <a:gd name="connsiteY37" fmla="*/ 183282 h 938259"/>
                <a:gd name="connsiteX38" fmla="*/ 1528204 w 6433353"/>
                <a:gd name="connsiteY38" fmla="*/ 202690 h 938259"/>
                <a:gd name="connsiteX39" fmla="*/ 1825639 w 6433353"/>
                <a:gd name="connsiteY39" fmla="*/ 202690 h 938259"/>
                <a:gd name="connsiteX40" fmla="*/ 1825639 w 6433353"/>
                <a:gd name="connsiteY40" fmla="*/ 212586 h 938259"/>
                <a:gd name="connsiteX41" fmla="*/ 1872981 w 6433353"/>
                <a:gd name="connsiteY41" fmla="*/ 212586 h 938259"/>
                <a:gd name="connsiteX42" fmla="*/ 1872981 w 6433353"/>
                <a:gd name="connsiteY42" fmla="*/ 222483 h 938259"/>
                <a:gd name="connsiteX43" fmla="*/ 1879924 w 6433353"/>
                <a:gd name="connsiteY43" fmla="*/ 222483 h 938259"/>
                <a:gd name="connsiteX44" fmla="*/ 1879924 w 6433353"/>
                <a:gd name="connsiteY44" fmla="*/ 242534 h 938259"/>
                <a:gd name="connsiteX45" fmla="*/ 1900124 w 6433353"/>
                <a:gd name="connsiteY45" fmla="*/ 242534 h 938259"/>
                <a:gd name="connsiteX46" fmla="*/ 1900124 w 6433353"/>
                <a:gd name="connsiteY46" fmla="*/ 252559 h 938259"/>
                <a:gd name="connsiteX47" fmla="*/ 1906941 w 6433353"/>
                <a:gd name="connsiteY47" fmla="*/ 252559 h 938259"/>
                <a:gd name="connsiteX48" fmla="*/ 1906941 w 6433353"/>
                <a:gd name="connsiteY48" fmla="*/ 292788 h 938259"/>
                <a:gd name="connsiteX49" fmla="*/ 1920449 w 6433353"/>
                <a:gd name="connsiteY49" fmla="*/ 292788 h 938259"/>
                <a:gd name="connsiteX50" fmla="*/ 1920449 w 6433353"/>
                <a:gd name="connsiteY50" fmla="*/ 302813 h 938259"/>
                <a:gd name="connsiteX51" fmla="*/ 1933957 w 6433353"/>
                <a:gd name="connsiteY51" fmla="*/ 302813 h 938259"/>
                <a:gd name="connsiteX52" fmla="*/ 1933957 w 6433353"/>
                <a:gd name="connsiteY52" fmla="*/ 312839 h 938259"/>
                <a:gd name="connsiteX53" fmla="*/ 1960974 w 6433353"/>
                <a:gd name="connsiteY53" fmla="*/ 312839 h 938259"/>
                <a:gd name="connsiteX54" fmla="*/ 1960974 w 6433353"/>
                <a:gd name="connsiteY54" fmla="*/ 322864 h 938259"/>
                <a:gd name="connsiteX55" fmla="*/ 2015134 w 6433353"/>
                <a:gd name="connsiteY55" fmla="*/ 322864 h 938259"/>
                <a:gd name="connsiteX56" fmla="*/ 2015134 w 6433353"/>
                <a:gd name="connsiteY56" fmla="*/ 333018 h 938259"/>
                <a:gd name="connsiteX57" fmla="*/ 2130017 w 6433353"/>
                <a:gd name="connsiteY57" fmla="*/ 333018 h 938259"/>
                <a:gd name="connsiteX58" fmla="*/ 2130017 w 6433353"/>
                <a:gd name="connsiteY58" fmla="*/ 343043 h 938259"/>
                <a:gd name="connsiteX59" fmla="*/ 2184050 w 6433353"/>
                <a:gd name="connsiteY59" fmla="*/ 343043 h 938259"/>
                <a:gd name="connsiteX60" fmla="*/ 2184050 w 6433353"/>
                <a:gd name="connsiteY60" fmla="*/ 353068 h 938259"/>
                <a:gd name="connsiteX61" fmla="*/ 2244901 w 6433353"/>
                <a:gd name="connsiteY61" fmla="*/ 353068 h 938259"/>
                <a:gd name="connsiteX62" fmla="*/ 2244901 w 6433353"/>
                <a:gd name="connsiteY62" fmla="*/ 363093 h 938259"/>
                <a:gd name="connsiteX63" fmla="*/ 2251718 w 6433353"/>
                <a:gd name="connsiteY63" fmla="*/ 363093 h 938259"/>
                <a:gd name="connsiteX64" fmla="*/ 2251718 w 6433353"/>
                <a:gd name="connsiteY64" fmla="*/ 383272 h 938259"/>
                <a:gd name="connsiteX65" fmla="*/ 2278861 w 6433353"/>
                <a:gd name="connsiteY65" fmla="*/ 383272 h 938259"/>
                <a:gd name="connsiteX66" fmla="*/ 2278861 w 6433353"/>
                <a:gd name="connsiteY66" fmla="*/ 393298 h 938259"/>
                <a:gd name="connsiteX67" fmla="*/ 2292243 w 6433353"/>
                <a:gd name="connsiteY67" fmla="*/ 393298 h 938259"/>
                <a:gd name="connsiteX68" fmla="*/ 2292243 w 6433353"/>
                <a:gd name="connsiteY68" fmla="*/ 403323 h 938259"/>
                <a:gd name="connsiteX69" fmla="*/ 2299060 w 6433353"/>
                <a:gd name="connsiteY69" fmla="*/ 403323 h 938259"/>
                <a:gd name="connsiteX70" fmla="*/ 2299060 w 6433353"/>
                <a:gd name="connsiteY70" fmla="*/ 413348 h 938259"/>
                <a:gd name="connsiteX71" fmla="*/ 2319386 w 6433353"/>
                <a:gd name="connsiteY71" fmla="*/ 413348 h 938259"/>
                <a:gd name="connsiteX72" fmla="*/ 2319386 w 6433353"/>
                <a:gd name="connsiteY72" fmla="*/ 423502 h 938259"/>
                <a:gd name="connsiteX73" fmla="*/ 2508628 w 6433353"/>
                <a:gd name="connsiteY73" fmla="*/ 423502 h 938259"/>
                <a:gd name="connsiteX74" fmla="*/ 2508628 w 6433353"/>
                <a:gd name="connsiteY74" fmla="*/ 433527 h 938259"/>
                <a:gd name="connsiteX75" fmla="*/ 2610129 w 6433353"/>
                <a:gd name="connsiteY75" fmla="*/ 433527 h 938259"/>
                <a:gd name="connsiteX76" fmla="*/ 2610129 w 6433353"/>
                <a:gd name="connsiteY76" fmla="*/ 443809 h 938259"/>
                <a:gd name="connsiteX77" fmla="*/ 2623638 w 6433353"/>
                <a:gd name="connsiteY77" fmla="*/ 443809 h 938259"/>
                <a:gd name="connsiteX78" fmla="*/ 2623638 w 6433353"/>
                <a:gd name="connsiteY78" fmla="*/ 453963 h 938259"/>
                <a:gd name="connsiteX79" fmla="*/ 2650654 w 6433353"/>
                <a:gd name="connsiteY79" fmla="*/ 453963 h 938259"/>
                <a:gd name="connsiteX80" fmla="*/ 2650654 w 6433353"/>
                <a:gd name="connsiteY80" fmla="*/ 474399 h 938259"/>
                <a:gd name="connsiteX81" fmla="*/ 2657471 w 6433353"/>
                <a:gd name="connsiteY81" fmla="*/ 474399 h 938259"/>
                <a:gd name="connsiteX82" fmla="*/ 2657471 w 6433353"/>
                <a:gd name="connsiteY82" fmla="*/ 484553 h 938259"/>
                <a:gd name="connsiteX83" fmla="*/ 2664162 w 6433353"/>
                <a:gd name="connsiteY83" fmla="*/ 484553 h 938259"/>
                <a:gd name="connsiteX84" fmla="*/ 2664162 w 6433353"/>
                <a:gd name="connsiteY84" fmla="*/ 494835 h 938259"/>
                <a:gd name="connsiteX85" fmla="*/ 2704814 w 6433353"/>
                <a:gd name="connsiteY85" fmla="*/ 494835 h 938259"/>
                <a:gd name="connsiteX86" fmla="*/ 2704814 w 6433353"/>
                <a:gd name="connsiteY86" fmla="*/ 504989 h 938259"/>
                <a:gd name="connsiteX87" fmla="*/ 2961724 w 6433353"/>
                <a:gd name="connsiteY87" fmla="*/ 504989 h 938259"/>
                <a:gd name="connsiteX88" fmla="*/ 2961724 w 6433353"/>
                <a:gd name="connsiteY88" fmla="*/ 515143 h 938259"/>
                <a:gd name="connsiteX89" fmla="*/ 2968541 w 6433353"/>
                <a:gd name="connsiteY89" fmla="*/ 515143 h 938259"/>
                <a:gd name="connsiteX90" fmla="*/ 2968541 w 6433353"/>
                <a:gd name="connsiteY90" fmla="*/ 525425 h 938259"/>
                <a:gd name="connsiteX91" fmla="*/ 3009066 w 6433353"/>
                <a:gd name="connsiteY91" fmla="*/ 525425 h 938259"/>
                <a:gd name="connsiteX92" fmla="*/ 3009066 w 6433353"/>
                <a:gd name="connsiteY92" fmla="*/ 545990 h 938259"/>
                <a:gd name="connsiteX93" fmla="*/ 3036082 w 6433353"/>
                <a:gd name="connsiteY93" fmla="*/ 545990 h 938259"/>
                <a:gd name="connsiteX94" fmla="*/ 3036082 w 6433353"/>
                <a:gd name="connsiteY94" fmla="*/ 556400 h 938259"/>
                <a:gd name="connsiteX95" fmla="*/ 3042899 w 6433353"/>
                <a:gd name="connsiteY95" fmla="*/ 556400 h 938259"/>
                <a:gd name="connsiteX96" fmla="*/ 3042899 w 6433353"/>
                <a:gd name="connsiteY96" fmla="*/ 566940 h 938259"/>
                <a:gd name="connsiteX97" fmla="*/ 3387803 w 6433353"/>
                <a:gd name="connsiteY97" fmla="*/ 566940 h 938259"/>
                <a:gd name="connsiteX98" fmla="*/ 3387803 w 6433353"/>
                <a:gd name="connsiteY98" fmla="*/ 577865 h 938259"/>
                <a:gd name="connsiteX99" fmla="*/ 3414819 w 6433353"/>
                <a:gd name="connsiteY99" fmla="*/ 577865 h 938259"/>
                <a:gd name="connsiteX100" fmla="*/ 3414819 w 6433353"/>
                <a:gd name="connsiteY100" fmla="*/ 600486 h 938259"/>
                <a:gd name="connsiteX101" fmla="*/ 3421510 w 6433353"/>
                <a:gd name="connsiteY101" fmla="*/ 600486 h 938259"/>
                <a:gd name="connsiteX102" fmla="*/ 3421510 w 6433353"/>
                <a:gd name="connsiteY102" fmla="*/ 623878 h 938259"/>
                <a:gd name="connsiteX103" fmla="*/ 3428328 w 6433353"/>
                <a:gd name="connsiteY103" fmla="*/ 623878 h 938259"/>
                <a:gd name="connsiteX104" fmla="*/ 3428328 w 6433353"/>
                <a:gd name="connsiteY104" fmla="*/ 635831 h 938259"/>
                <a:gd name="connsiteX105" fmla="*/ 3583862 w 6433353"/>
                <a:gd name="connsiteY105" fmla="*/ 635831 h 938259"/>
                <a:gd name="connsiteX106" fmla="*/ 3583862 w 6433353"/>
                <a:gd name="connsiteY106" fmla="*/ 648298 h 938259"/>
                <a:gd name="connsiteX107" fmla="*/ 3766414 w 6433353"/>
                <a:gd name="connsiteY107" fmla="*/ 648298 h 938259"/>
                <a:gd name="connsiteX108" fmla="*/ 3766414 w 6433353"/>
                <a:gd name="connsiteY108" fmla="*/ 660894 h 938259"/>
                <a:gd name="connsiteX109" fmla="*/ 3786739 w 6433353"/>
                <a:gd name="connsiteY109" fmla="*/ 660894 h 938259"/>
                <a:gd name="connsiteX110" fmla="*/ 3786739 w 6433353"/>
                <a:gd name="connsiteY110" fmla="*/ 673876 h 938259"/>
                <a:gd name="connsiteX111" fmla="*/ 3793430 w 6433353"/>
                <a:gd name="connsiteY111" fmla="*/ 673876 h 938259"/>
                <a:gd name="connsiteX112" fmla="*/ 3793430 w 6433353"/>
                <a:gd name="connsiteY112" fmla="*/ 686986 h 938259"/>
                <a:gd name="connsiteX113" fmla="*/ 3800121 w 6433353"/>
                <a:gd name="connsiteY113" fmla="*/ 686986 h 938259"/>
                <a:gd name="connsiteX114" fmla="*/ 3800121 w 6433353"/>
                <a:gd name="connsiteY114" fmla="*/ 700738 h 938259"/>
                <a:gd name="connsiteX115" fmla="*/ 3806938 w 6433353"/>
                <a:gd name="connsiteY115" fmla="*/ 700738 h 938259"/>
                <a:gd name="connsiteX116" fmla="*/ 3806938 w 6433353"/>
                <a:gd name="connsiteY116" fmla="*/ 714876 h 938259"/>
                <a:gd name="connsiteX117" fmla="*/ 3840772 w 6433353"/>
                <a:gd name="connsiteY117" fmla="*/ 714876 h 938259"/>
                <a:gd name="connsiteX118" fmla="*/ 3840772 w 6433353"/>
                <a:gd name="connsiteY118" fmla="*/ 729914 h 938259"/>
                <a:gd name="connsiteX119" fmla="*/ 4138333 w 6433353"/>
                <a:gd name="connsiteY119" fmla="*/ 729914 h 938259"/>
                <a:gd name="connsiteX120" fmla="*/ 4138333 w 6433353"/>
                <a:gd name="connsiteY120" fmla="*/ 745466 h 938259"/>
                <a:gd name="connsiteX121" fmla="*/ 4172041 w 6433353"/>
                <a:gd name="connsiteY121" fmla="*/ 745466 h 938259"/>
                <a:gd name="connsiteX122" fmla="*/ 4172041 w 6433353"/>
                <a:gd name="connsiteY122" fmla="*/ 778369 h 938259"/>
                <a:gd name="connsiteX123" fmla="*/ 4178858 w 6433353"/>
                <a:gd name="connsiteY123" fmla="*/ 778369 h 938259"/>
                <a:gd name="connsiteX124" fmla="*/ 4178858 w 6433353"/>
                <a:gd name="connsiteY124" fmla="*/ 795721 h 938259"/>
                <a:gd name="connsiteX125" fmla="*/ 4212692 w 6433353"/>
                <a:gd name="connsiteY125" fmla="*/ 795721 h 938259"/>
                <a:gd name="connsiteX126" fmla="*/ 4212692 w 6433353"/>
                <a:gd name="connsiteY126" fmla="*/ 814357 h 938259"/>
                <a:gd name="connsiteX127" fmla="*/ 4320884 w 6433353"/>
                <a:gd name="connsiteY127" fmla="*/ 814357 h 938259"/>
                <a:gd name="connsiteX128" fmla="*/ 4320884 w 6433353"/>
                <a:gd name="connsiteY128" fmla="*/ 832866 h 938259"/>
                <a:gd name="connsiteX129" fmla="*/ 4922698 w 6433353"/>
                <a:gd name="connsiteY129" fmla="*/ 832866 h 938259"/>
                <a:gd name="connsiteX130" fmla="*/ 4922698 w 6433353"/>
                <a:gd name="connsiteY130" fmla="*/ 859857 h 938259"/>
                <a:gd name="connsiteX131" fmla="*/ 5652903 w 6433353"/>
                <a:gd name="connsiteY131" fmla="*/ 859857 h 938259"/>
                <a:gd name="connsiteX132" fmla="*/ 5652903 w 6433353"/>
                <a:gd name="connsiteY132" fmla="*/ 938259 h 938259"/>
                <a:gd name="connsiteX133" fmla="*/ 6433353 w 6433353"/>
                <a:gd name="connsiteY133" fmla="*/ 938259 h 93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6433353" h="938259">
                  <a:moveTo>
                    <a:pt x="0" y="0"/>
                  </a:moveTo>
                  <a:lnTo>
                    <a:pt x="831707" y="0"/>
                  </a:lnTo>
                  <a:lnTo>
                    <a:pt x="831707" y="9640"/>
                  </a:lnTo>
                  <a:lnTo>
                    <a:pt x="879049" y="9640"/>
                  </a:lnTo>
                  <a:lnTo>
                    <a:pt x="879049" y="19151"/>
                  </a:lnTo>
                  <a:lnTo>
                    <a:pt x="906191" y="19151"/>
                  </a:lnTo>
                  <a:lnTo>
                    <a:pt x="906191" y="28790"/>
                  </a:lnTo>
                  <a:lnTo>
                    <a:pt x="919573" y="28790"/>
                  </a:lnTo>
                  <a:lnTo>
                    <a:pt x="919573" y="38302"/>
                  </a:lnTo>
                  <a:lnTo>
                    <a:pt x="1108942" y="38302"/>
                  </a:lnTo>
                  <a:lnTo>
                    <a:pt x="1108942" y="47941"/>
                  </a:lnTo>
                  <a:lnTo>
                    <a:pt x="1129268" y="47941"/>
                  </a:lnTo>
                  <a:lnTo>
                    <a:pt x="1129268" y="57452"/>
                  </a:lnTo>
                  <a:lnTo>
                    <a:pt x="1142776" y="57452"/>
                  </a:lnTo>
                  <a:lnTo>
                    <a:pt x="1142776" y="67092"/>
                  </a:lnTo>
                  <a:lnTo>
                    <a:pt x="1156284" y="67092"/>
                  </a:lnTo>
                  <a:lnTo>
                    <a:pt x="1156284" y="76732"/>
                  </a:lnTo>
                  <a:lnTo>
                    <a:pt x="1162975" y="76732"/>
                  </a:lnTo>
                  <a:lnTo>
                    <a:pt x="1162975" y="86371"/>
                  </a:lnTo>
                  <a:lnTo>
                    <a:pt x="1190118" y="86371"/>
                  </a:lnTo>
                  <a:lnTo>
                    <a:pt x="1190118" y="95882"/>
                  </a:lnTo>
                  <a:lnTo>
                    <a:pt x="1230643" y="95882"/>
                  </a:lnTo>
                  <a:lnTo>
                    <a:pt x="1230643" y="105522"/>
                  </a:lnTo>
                  <a:lnTo>
                    <a:pt x="1345653" y="105522"/>
                  </a:lnTo>
                  <a:lnTo>
                    <a:pt x="1345653" y="115290"/>
                  </a:lnTo>
                  <a:lnTo>
                    <a:pt x="1379486" y="115290"/>
                  </a:lnTo>
                  <a:lnTo>
                    <a:pt x="1379486" y="124930"/>
                  </a:lnTo>
                  <a:lnTo>
                    <a:pt x="1426702" y="124930"/>
                  </a:lnTo>
                  <a:lnTo>
                    <a:pt x="1426702" y="134698"/>
                  </a:lnTo>
                  <a:lnTo>
                    <a:pt x="1440337" y="134698"/>
                  </a:lnTo>
                  <a:lnTo>
                    <a:pt x="1440337" y="144338"/>
                  </a:lnTo>
                  <a:lnTo>
                    <a:pt x="1474044" y="144338"/>
                  </a:lnTo>
                  <a:lnTo>
                    <a:pt x="1474044" y="153977"/>
                  </a:lnTo>
                  <a:lnTo>
                    <a:pt x="1514696" y="153977"/>
                  </a:lnTo>
                  <a:lnTo>
                    <a:pt x="1514696" y="163745"/>
                  </a:lnTo>
                  <a:lnTo>
                    <a:pt x="1521513" y="163745"/>
                  </a:lnTo>
                  <a:lnTo>
                    <a:pt x="1521513" y="183282"/>
                  </a:lnTo>
                  <a:lnTo>
                    <a:pt x="1528204" y="183282"/>
                  </a:lnTo>
                  <a:lnTo>
                    <a:pt x="1528204" y="202690"/>
                  </a:lnTo>
                  <a:lnTo>
                    <a:pt x="1825639" y="202690"/>
                  </a:lnTo>
                  <a:lnTo>
                    <a:pt x="1825639" y="212586"/>
                  </a:lnTo>
                  <a:lnTo>
                    <a:pt x="1872981" y="212586"/>
                  </a:lnTo>
                  <a:lnTo>
                    <a:pt x="1872981" y="222483"/>
                  </a:lnTo>
                  <a:lnTo>
                    <a:pt x="1879924" y="222483"/>
                  </a:lnTo>
                  <a:lnTo>
                    <a:pt x="1879924" y="242534"/>
                  </a:lnTo>
                  <a:lnTo>
                    <a:pt x="1900124" y="242534"/>
                  </a:lnTo>
                  <a:lnTo>
                    <a:pt x="1900124" y="252559"/>
                  </a:lnTo>
                  <a:lnTo>
                    <a:pt x="1906941" y="252559"/>
                  </a:lnTo>
                  <a:lnTo>
                    <a:pt x="1906941" y="292788"/>
                  </a:lnTo>
                  <a:lnTo>
                    <a:pt x="1920449" y="292788"/>
                  </a:lnTo>
                  <a:lnTo>
                    <a:pt x="1920449" y="302813"/>
                  </a:lnTo>
                  <a:lnTo>
                    <a:pt x="1933957" y="302813"/>
                  </a:lnTo>
                  <a:lnTo>
                    <a:pt x="1933957" y="312839"/>
                  </a:lnTo>
                  <a:lnTo>
                    <a:pt x="1960974" y="312839"/>
                  </a:lnTo>
                  <a:lnTo>
                    <a:pt x="1960974" y="322864"/>
                  </a:lnTo>
                  <a:lnTo>
                    <a:pt x="2015134" y="322864"/>
                  </a:lnTo>
                  <a:lnTo>
                    <a:pt x="2015134" y="333018"/>
                  </a:lnTo>
                  <a:lnTo>
                    <a:pt x="2130017" y="333018"/>
                  </a:lnTo>
                  <a:lnTo>
                    <a:pt x="2130017" y="343043"/>
                  </a:lnTo>
                  <a:lnTo>
                    <a:pt x="2184050" y="343043"/>
                  </a:lnTo>
                  <a:lnTo>
                    <a:pt x="2184050" y="353068"/>
                  </a:lnTo>
                  <a:lnTo>
                    <a:pt x="2244901" y="353068"/>
                  </a:lnTo>
                  <a:lnTo>
                    <a:pt x="2244901" y="363093"/>
                  </a:lnTo>
                  <a:lnTo>
                    <a:pt x="2251718" y="363093"/>
                  </a:lnTo>
                  <a:lnTo>
                    <a:pt x="2251718" y="383272"/>
                  </a:lnTo>
                  <a:lnTo>
                    <a:pt x="2278861" y="383272"/>
                  </a:lnTo>
                  <a:lnTo>
                    <a:pt x="2278861" y="393298"/>
                  </a:lnTo>
                  <a:lnTo>
                    <a:pt x="2292243" y="393298"/>
                  </a:lnTo>
                  <a:lnTo>
                    <a:pt x="2292243" y="403323"/>
                  </a:lnTo>
                  <a:lnTo>
                    <a:pt x="2299060" y="403323"/>
                  </a:lnTo>
                  <a:lnTo>
                    <a:pt x="2299060" y="413348"/>
                  </a:lnTo>
                  <a:lnTo>
                    <a:pt x="2319386" y="413348"/>
                  </a:lnTo>
                  <a:lnTo>
                    <a:pt x="2319386" y="423502"/>
                  </a:lnTo>
                  <a:lnTo>
                    <a:pt x="2508628" y="423502"/>
                  </a:lnTo>
                  <a:lnTo>
                    <a:pt x="2508628" y="433527"/>
                  </a:lnTo>
                  <a:lnTo>
                    <a:pt x="2610129" y="433527"/>
                  </a:lnTo>
                  <a:lnTo>
                    <a:pt x="2610129" y="443809"/>
                  </a:lnTo>
                  <a:lnTo>
                    <a:pt x="2623638" y="443809"/>
                  </a:lnTo>
                  <a:lnTo>
                    <a:pt x="2623638" y="453963"/>
                  </a:lnTo>
                  <a:lnTo>
                    <a:pt x="2650654" y="453963"/>
                  </a:lnTo>
                  <a:lnTo>
                    <a:pt x="2650654" y="474399"/>
                  </a:lnTo>
                  <a:lnTo>
                    <a:pt x="2657471" y="474399"/>
                  </a:lnTo>
                  <a:lnTo>
                    <a:pt x="2657471" y="484553"/>
                  </a:lnTo>
                  <a:lnTo>
                    <a:pt x="2664162" y="484553"/>
                  </a:lnTo>
                  <a:lnTo>
                    <a:pt x="2664162" y="494835"/>
                  </a:lnTo>
                  <a:lnTo>
                    <a:pt x="2704814" y="494835"/>
                  </a:lnTo>
                  <a:lnTo>
                    <a:pt x="2704814" y="504989"/>
                  </a:lnTo>
                  <a:lnTo>
                    <a:pt x="2961724" y="504989"/>
                  </a:lnTo>
                  <a:lnTo>
                    <a:pt x="2961724" y="515143"/>
                  </a:lnTo>
                  <a:lnTo>
                    <a:pt x="2968541" y="515143"/>
                  </a:lnTo>
                  <a:lnTo>
                    <a:pt x="2968541" y="525425"/>
                  </a:lnTo>
                  <a:lnTo>
                    <a:pt x="3009066" y="525425"/>
                  </a:lnTo>
                  <a:lnTo>
                    <a:pt x="3009066" y="545990"/>
                  </a:lnTo>
                  <a:lnTo>
                    <a:pt x="3036082" y="545990"/>
                  </a:lnTo>
                  <a:lnTo>
                    <a:pt x="3036082" y="556400"/>
                  </a:lnTo>
                  <a:lnTo>
                    <a:pt x="3042899" y="556400"/>
                  </a:lnTo>
                  <a:lnTo>
                    <a:pt x="3042899" y="566940"/>
                  </a:lnTo>
                  <a:lnTo>
                    <a:pt x="3387803" y="566940"/>
                  </a:lnTo>
                  <a:lnTo>
                    <a:pt x="3387803" y="577865"/>
                  </a:lnTo>
                  <a:lnTo>
                    <a:pt x="3414819" y="577865"/>
                  </a:lnTo>
                  <a:lnTo>
                    <a:pt x="3414819" y="600486"/>
                  </a:lnTo>
                  <a:lnTo>
                    <a:pt x="3421510" y="600486"/>
                  </a:lnTo>
                  <a:lnTo>
                    <a:pt x="3421510" y="623878"/>
                  </a:lnTo>
                  <a:lnTo>
                    <a:pt x="3428328" y="623878"/>
                  </a:lnTo>
                  <a:lnTo>
                    <a:pt x="3428328" y="635831"/>
                  </a:lnTo>
                  <a:lnTo>
                    <a:pt x="3583862" y="635831"/>
                  </a:lnTo>
                  <a:lnTo>
                    <a:pt x="3583862" y="648298"/>
                  </a:lnTo>
                  <a:lnTo>
                    <a:pt x="3766414" y="648298"/>
                  </a:lnTo>
                  <a:lnTo>
                    <a:pt x="3766414" y="660894"/>
                  </a:lnTo>
                  <a:lnTo>
                    <a:pt x="3786739" y="660894"/>
                  </a:lnTo>
                  <a:lnTo>
                    <a:pt x="3786739" y="673876"/>
                  </a:lnTo>
                  <a:lnTo>
                    <a:pt x="3793430" y="673876"/>
                  </a:lnTo>
                  <a:lnTo>
                    <a:pt x="3793430" y="686986"/>
                  </a:lnTo>
                  <a:lnTo>
                    <a:pt x="3800121" y="686986"/>
                  </a:lnTo>
                  <a:lnTo>
                    <a:pt x="3800121" y="700738"/>
                  </a:lnTo>
                  <a:lnTo>
                    <a:pt x="3806938" y="700738"/>
                  </a:lnTo>
                  <a:lnTo>
                    <a:pt x="3806938" y="714876"/>
                  </a:lnTo>
                  <a:lnTo>
                    <a:pt x="3840772" y="714876"/>
                  </a:lnTo>
                  <a:lnTo>
                    <a:pt x="3840772" y="729914"/>
                  </a:lnTo>
                  <a:lnTo>
                    <a:pt x="4138333" y="729914"/>
                  </a:lnTo>
                  <a:lnTo>
                    <a:pt x="4138333" y="745466"/>
                  </a:lnTo>
                  <a:lnTo>
                    <a:pt x="4172041" y="745466"/>
                  </a:lnTo>
                  <a:lnTo>
                    <a:pt x="4172041" y="778369"/>
                  </a:lnTo>
                  <a:lnTo>
                    <a:pt x="4178858" y="778369"/>
                  </a:lnTo>
                  <a:lnTo>
                    <a:pt x="4178858" y="795721"/>
                  </a:lnTo>
                  <a:lnTo>
                    <a:pt x="4212692" y="795721"/>
                  </a:lnTo>
                  <a:lnTo>
                    <a:pt x="4212692" y="814357"/>
                  </a:lnTo>
                  <a:lnTo>
                    <a:pt x="4320884" y="814357"/>
                  </a:lnTo>
                  <a:lnTo>
                    <a:pt x="4320884" y="832866"/>
                  </a:lnTo>
                  <a:lnTo>
                    <a:pt x="4922698" y="832866"/>
                  </a:lnTo>
                  <a:lnTo>
                    <a:pt x="4922698" y="859857"/>
                  </a:lnTo>
                  <a:lnTo>
                    <a:pt x="5652903" y="859857"/>
                  </a:lnTo>
                  <a:lnTo>
                    <a:pt x="5652903" y="938259"/>
                  </a:lnTo>
                  <a:lnTo>
                    <a:pt x="6433353" y="938259"/>
                  </a:lnTo>
                </a:path>
              </a:pathLst>
            </a:custGeom>
            <a:noFill/>
            <a:ln w="18921" cap="flat">
              <a:solidFill>
                <a:srgbClr val="0035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36" name="Freeform: Shape 35">
              <a:extLst>
                <a:ext uri="{FF2B5EF4-FFF2-40B4-BE49-F238E27FC236}">
                  <a16:creationId xmlns:a16="http://schemas.microsoft.com/office/drawing/2014/main" id="{61A09FB9-2A90-1BAB-8B96-69E806AC1FB8}"/>
                </a:ext>
              </a:extLst>
            </p:cNvPr>
            <p:cNvSpPr/>
            <p:nvPr/>
          </p:nvSpPr>
          <p:spPr>
            <a:xfrm>
              <a:off x="7930617" y="280861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37" name="Freeform: Shape 36">
              <a:extLst>
                <a:ext uri="{FF2B5EF4-FFF2-40B4-BE49-F238E27FC236}">
                  <a16:creationId xmlns:a16="http://schemas.microsoft.com/office/drawing/2014/main" id="{F97FB302-1884-5BEB-0E65-09E3F5297613}"/>
                </a:ext>
              </a:extLst>
            </p:cNvPr>
            <p:cNvSpPr/>
            <p:nvPr/>
          </p:nvSpPr>
          <p:spPr>
            <a:xfrm>
              <a:off x="7431189"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38" name="Freeform: Shape 37">
              <a:extLst>
                <a:ext uri="{FF2B5EF4-FFF2-40B4-BE49-F238E27FC236}">
                  <a16:creationId xmlns:a16="http://schemas.microsoft.com/office/drawing/2014/main" id="{5AFBA9D0-D3E3-3D67-9D74-D7523FFEFB4D}"/>
                </a:ext>
              </a:extLst>
            </p:cNvPr>
            <p:cNvSpPr/>
            <p:nvPr/>
          </p:nvSpPr>
          <p:spPr>
            <a:xfrm>
              <a:off x="7417933"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39" name="Freeform: Shape 38">
              <a:extLst>
                <a:ext uri="{FF2B5EF4-FFF2-40B4-BE49-F238E27FC236}">
                  <a16:creationId xmlns:a16="http://schemas.microsoft.com/office/drawing/2014/main" id="{C99DCCEA-ACB8-211D-7EFB-7B9B47ADC934}"/>
                </a:ext>
              </a:extLst>
            </p:cNvPr>
            <p:cNvSpPr/>
            <p:nvPr/>
          </p:nvSpPr>
          <p:spPr>
            <a:xfrm>
              <a:off x="7337767"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40" name="Freeform: Shape 39">
              <a:extLst>
                <a:ext uri="{FF2B5EF4-FFF2-40B4-BE49-F238E27FC236}">
                  <a16:creationId xmlns:a16="http://schemas.microsoft.com/office/drawing/2014/main" id="{F120A72D-CC50-2EC6-5E0C-C784E23F35D7}"/>
                </a:ext>
              </a:extLst>
            </p:cNvPr>
            <p:cNvSpPr/>
            <p:nvPr/>
          </p:nvSpPr>
          <p:spPr>
            <a:xfrm>
              <a:off x="7194352"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41" name="Freeform: Shape 40">
              <a:extLst>
                <a:ext uri="{FF2B5EF4-FFF2-40B4-BE49-F238E27FC236}">
                  <a16:creationId xmlns:a16="http://schemas.microsoft.com/office/drawing/2014/main" id="{7A447292-24D4-86B7-3D0D-94F38BC6CE13}"/>
                </a:ext>
              </a:extLst>
            </p:cNvPr>
            <p:cNvSpPr/>
            <p:nvPr/>
          </p:nvSpPr>
          <p:spPr>
            <a:xfrm>
              <a:off x="7175668"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42" name="Freeform: Shape 41">
              <a:extLst>
                <a:ext uri="{FF2B5EF4-FFF2-40B4-BE49-F238E27FC236}">
                  <a16:creationId xmlns:a16="http://schemas.microsoft.com/office/drawing/2014/main" id="{4B12C90B-5E25-1529-E20F-968F440DE68D}"/>
                </a:ext>
              </a:extLst>
            </p:cNvPr>
            <p:cNvSpPr/>
            <p:nvPr/>
          </p:nvSpPr>
          <p:spPr>
            <a:xfrm>
              <a:off x="7124286"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43" name="Freeform: Shape 42">
              <a:extLst>
                <a:ext uri="{FF2B5EF4-FFF2-40B4-BE49-F238E27FC236}">
                  <a16:creationId xmlns:a16="http://schemas.microsoft.com/office/drawing/2014/main" id="{3878FEC0-A6A3-6142-C92D-2FBAD0BCFE6A}"/>
                </a:ext>
              </a:extLst>
            </p:cNvPr>
            <p:cNvSpPr/>
            <p:nvPr/>
          </p:nvSpPr>
          <p:spPr>
            <a:xfrm>
              <a:off x="7118857"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44" name="Freeform: Shape 43">
              <a:extLst>
                <a:ext uri="{FF2B5EF4-FFF2-40B4-BE49-F238E27FC236}">
                  <a16:creationId xmlns:a16="http://schemas.microsoft.com/office/drawing/2014/main" id="{E4B247B6-B0B7-292E-660A-3A6F49018565}"/>
                </a:ext>
              </a:extLst>
            </p:cNvPr>
            <p:cNvSpPr/>
            <p:nvPr/>
          </p:nvSpPr>
          <p:spPr>
            <a:xfrm>
              <a:off x="7110272"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45" name="Freeform: Shape 44">
              <a:extLst>
                <a:ext uri="{FF2B5EF4-FFF2-40B4-BE49-F238E27FC236}">
                  <a16:creationId xmlns:a16="http://schemas.microsoft.com/office/drawing/2014/main" id="{915E32A2-DD1A-C731-6BC6-53CDF7D884BC}"/>
                </a:ext>
              </a:extLst>
            </p:cNvPr>
            <p:cNvSpPr/>
            <p:nvPr/>
          </p:nvSpPr>
          <p:spPr>
            <a:xfrm>
              <a:off x="7103203"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46" name="Freeform: Shape 45">
              <a:extLst>
                <a:ext uri="{FF2B5EF4-FFF2-40B4-BE49-F238E27FC236}">
                  <a16:creationId xmlns:a16="http://schemas.microsoft.com/office/drawing/2014/main" id="{7FB3FF92-D7BA-16F9-44FB-52C05BF78C96}"/>
                </a:ext>
              </a:extLst>
            </p:cNvPr>
            <p:cNvSpPr/>
            <p:nvPr/>
          </p:nvSpPr>
          <p:spPr>
            <a:xfrm>
              <a:off x="7096259"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47" name="Freeform: Shape 46">
              <a:extLst>
                <a:ext uri="{FF2B5EF4-FFF2-40B4-BE49-F238E27FC236}">
                  <a16:creationId xmlns:a16="http://schemas.microsoft.com/office/drawing/2014/main" id="{7AD6C472-18ED-596B-A2CF-D386602EF513}"/>
                </a:ext>
              </a:extLst>
            </p:cNvPr>
            <p:cNvSpPr/>
            <p:nvPr/>
          </p:nvSpPr>
          <p:spPr>
            <a:xfrm>
              <a:off x="7084518"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48" name="Freeform: Shape 47">
              <a:extLst>
                <a:ext uri="{FF2B5EF4-FFF2-40B4-BE49-F238E27FC236}">
                  <a16:creationId xmlns:a16="http://schemas.microsoft.com/office/drawing/2014/main" id="{A6980476-925E-8FE8-3C75-8A3987EDFDE1}"/>
                </a:ext>
              </a:extLst>
            </p:cNvPr>
            <p:cNvSpPr/>
            <p:nvPr/>
          </p:nvSpPr>
          <p:spPr>
            <a:xfrm>
              <a:off x="7075176"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49" name="Freeform: Shape 48">
              <a:extLst>
                <a:ext uri="{FF2B5EF4-FFF2-40B4-BE49-F238E27FC236}">
                  <a16:creationId xmlns:a16="http://schemas.microsoft.com/office/drawing/2014/main" id="{4A080E53-959D-BCDA-7980-313C884B6562}"/>
                </a:ext>
              </a:extLst>
            </p:cNvPr>
            <p:cNvSpPr/>
            <p:nvPr/>
          </p:nvSpPr>
          <p:spPr>
            <a:xfrm>
              <a:off x="7054093"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50" name="Freeform: Shape 49">
              <a:extLst>
                <a:ext uri="{FF2B5EF4-FFF2-40B4-BE49-F238E27FC236}">
                  <a16:creationId xmlns:a16="http://schemas.microsoft.com/office/drawing/2014/main" id="{256A9CCE-9F97-5582-F864-CE94B1626F81}"/>
                </a:ext>
              </a:extLst>
            </p:cNvPr>
            <p:cNvSpPr/>
            <p:nvPr/>
          </p:nvSpPr>
          <p:spPr>
            <a:xfrm>
              <a:off x="6958273"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51" name="Freeform: Shape 50">
              <a:extLst>
                <a:ext uri="{FF2B5EF4-FFF2-40B4-BE49-F238E27FC236}">
                  <a16:creationId xmlns:a16="http://schemas.microsoft.com/office/drawing/2014/main" id="{492CCF80-9E2C-107E-238D-777BAAB48A37}"/>
                </a:ext>
              </a:extLst>
            </p:cNvPr>
            <p:cNvSpPr/>
            <p:nvPr/>
          </p:nvSpPr>
          <p:spPr>
            <a:xfrm>
              <a:off x="6712851"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52" name="Freeform: Shape 51">
              <a:extLst>
                <a:ext uri="{FF2B5EF4-FFF2-40B4-BE49-F238E27FC236}">
                  <a16:creationId xmlns:a16="http://schemas.microsoft.com/office/drawing/2014/main" id="{EFC37AD3-A77E-8BEB-F8AC-D086C7421E60}"/>
                </a:ext>
              </a:extLst>
            </p:cNvPr>
            <p:cNvSpPr/>
            <p:nvPr/>
          </p:nvSpPr>
          <p:spPr>
            <a:xfrm>
              <a:off x="6694167"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53" name="Freeform: Shape 52">
              <a:extLst>
                <a:ext uri="{FF2B5EF4-FFF2-40B4-BE49-F238E27FC236}">
                  <a16:creationId xmlns:a16="http://schemas.microsoft.com/office/drawing/2014/main" id="{8075DBD0-9DCC-3D0C-505F-AF972F09D224}"/>
                </a:ext>
              </a:extLst>
            </p:cNvPr>
            <p:cNvSpPr/>
            <p:nvPr/>
          </p:nvSpPr>
          <p:spPr>
            <a:xfrm>
              <a:off x="6679396"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54" name="Freeform: Shape 53">
              <a:extLst>
                <a:ext uri="{FF2B5EF4-FFF2-40B4-BE49-F238E27FC236}">
                  <a16:creationId xmlns:a16="http://schemas.microsoft.com/office/drawing/2014/main" id="{04B5EFDF-AABE-0754-3432-98E0310634F4}"/>
                </a:ext>
              </a:extLst>
            </p:cNvPr>
            <p:cNvSpPr/>
            <p:nvPr/>
          </p:nvSpPr>
          <p:spPr>
            <a:xfrm>
              <a:off x="6585090"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55" name="Freeform: Shape 54">
              <a:extLst>
                <a:ext uri="{FF2B5EF4-FFF2-40B4-BE49-F238E27FC236}">
                  <a16:creationId xmlns:a16="http://schemas.microsoft.com/office/drawing/2014/main" id="{706A58FD-91D8-675C-ECC0-FBD571B24B75}"/>
                </a:ext>
              </a:extLst>
            </p:cNvPr>
            <p:cNvSpPr/>
            <p:nvPr/>
          </p:nvSpPr>
          <p:spPr>
            <a:xfrm>
              <a:off x="6382845"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56" name="Freeform: Shape 55">
              <a:extLst>
                <a:ext uri="{FF2B5EF4-FFF2-40B4-BE49-F238E27FC236}">
                  <a16:creationId xmlns:a16="http://schemas.microsoft.com/office/drawing/2014/main" id="{D4E60F98-E803-5A3E-1883-3B66246E0973}"/>
                </a:ext>
              </a:extLst>
            </p:cNvPr>
            <p:cNvSpPr/>
            <p:nvPr/>
          </p:nvSpPr>
          <p:spPr>
            <a:xfrm>
              <a:off x="6370473"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57" name="Freeform: Shape 56">
              <a:extLst>
                <a:ext uri="{FF2B5EF4-FFF2-40B4-BE49-F238E27FC236}">
                  <a16:creationId xmlns:a16="http://schemas.microsoft.com/office/drawing/2014/main" id="{B8A7D356-4728-6D31-ECFE-69FACE481737}"/>
                </a:ext>
              </a:extLst>
            </p:cNvPr>
            <p:cNvSpPr/>
            <p:nvPr/>
          </p:nvSpPr>
          <p:spPr>
            <a:xfrm>
              <a:off x="6360247"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58" name="Freeform: Shape 57">
              <a:extLst>
                <a:ext uri="{FF2B5EF4-FFF2-40B4-BE49-F238E27FC236}">
                  <a16:creationId xmlns:a16="http://schemas.microsoft.com/office/drawing/2014/main" id="{E81602FD-DF70-D6BC-BC48-8D319980002F}"/>
                </a:ext>
              </a:extLst>
            </p:cNvPr>
            <p:cNvSpPr/>
            <p:nvPr/>
          </p:nvSpPr>
          <p:spPr>
            <a:xfrm>
              <a:off x="6347875"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59" name="Freeform: Shape 58">
              <a:extLst>
                <a:ext uri="{FF2B5EF4-FFF2-40B4-BE49-F238E27FC236}">
                  <a16:creationId xmlns:a16="http://schemas.microsoft.com/office/drawing/2014/main" id="{04954A43-45B7-E089-EA80-03F7CB529EFA}"/>
                </a:ext>
              </a:extLst>
            </p:cNvPr>
            <p:cNvSpPr/>
            <p:nvPr/>
          </p:nvSpPr>
          <p:spPr>
            <a:xfrm>
              <a:off x="6338533"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60" name="Freeform: Shape 59">
              <a:extLst>
                <a:ext uri="{FF2B5EF4-FFF2-40B4-BE49-F238E27FC236}">
                  <a16:creationId xmlns:a16="http://schemas.microsoft.com/office/drawing/2014/main" id="{B7C7C699-2813-E3F4-8CBC-2A6DA7E3F408}"/>
                </a:ext>
              </a:extLst>
            </p:cNvPr>
            <p:cNvSpPr/>
            <p:nvPr/>
          </p:nvSpPr>
          <p:spPr>
            <a:xfrm>
              <a:off x="6331463"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61" name="Freeform: Shape 60">
              <a:extLst>
                <a:ext uri="{FF2B5EF4-FFF2-40B4-BE49-F238E27FC236}">
                  <a16:creationId xmlns:a16="http://schemas.microsoft.com/office/drawing/2014/main" id="{FBEDCB97-59DC-D33F-BDFC-A577FA0A97CC}"/>
                </a:ext>
              </a:extLst>
            </p:cNvPr>
            <p:cNvSpPr/>
            <p:nvPr/>
          </p:nvSpPr>
          <p:spPr>
            <a:xfrm>
              <a:off x="6325277"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62" name="Freeform: Shape 61">
              <a:extLst>
                <a:ext uri="{FF2B5EF4-FFF2-40B4-BE49-F238E27FC236}">
                  <a16:creationId xmlns:a16="http://schemas.microsoft.com/office/drawing/2014/main" id="{D917D9DD-E242-BA84-0FB0-3A151FC92F98}"/>
                </a:ext>
              </a:extLst>
            </p:cNvPr>
            <p:cNvSpPr/>
            <p:nvPr/>
          </p:nvSpPr>
          <p:spPr>
            <a:xfrm>
              <a:off x="6280838" y="270386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63" name="Freeform: Shape 62">
              <a:extLst>
                <a:ext uri="{FF2B5EF4-FFF2-40B4-BE49-F238E27FC236}">
                  <a16:creationId xmlns:a16="http://schemas.microsoft.com/office/drawing/2014/main" id="{471C69C1-C0A9-7B58-5FA1-2126DB6D009F}"/>
                </a:ext>
              </a:extLst>
            </p:cNvPr>
            <p:cNvSpPr/>
            <p:nvPr/>
          </p:nvSpPr>
          <p:spPr>
            <a:xfrm>
              <a:off x="5983151" y="2673793"/>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64" name="Freeform: Shape 63">
              <a:extLst>
                <a:ext uri="{FF2B5EF4-FFF2-40B4-BE49-F238E27FC236}">
                  <a16:creationId xmlns:a16="http://schemas.microsoft.com/office/drawing/2014/main" id="{54363145-BF9A-72A6-B060-43B29AE02BA8}"/>
                </a:ext>
              </a:extLst>
            </p:cNvPr>
            <p:cNvSpPr/>
            <p:nvPr/>
          </p:nvSpPr>
          <p:spPr>
            <a:xfrm>
              <a:off x="5916998" y="2606315"/>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65" name="Freeform: Shape 64">
              <a:extLst>
                <a:ext uri="{FF2B5EF4-FFF2-40B4-BE49-F238E27FC236}">
                  <a16:creationId xmlns:a16="http://schemas.microsoft.com/office/drawing/2014/main" id="{46046DCE-7335-2630-8A20-6F0C8D97E6F9}"/>
                </a:ext>
              </a:extLst>
            </p:cNvPr>
            <p:cNvSpPr/>
            <p:nvPr/>
          </p:nvSpPr>
          <p:spPr>
            <a:xfrm>
              <a:off x="5521976" y="2519173"/>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66" name="Freeform: Shape 65">
              <a:extLst>
                <a:ext uri="{FF2B5EF4-FFF2-40B4-BE49-F238E27FC236}">
                  <a16:creationId xmlns:a16="http://schemas.microsoft.com/office/drawing/2014/main" id="{733E3461-20C0-F67E-CD68-72B60CE8D839}"/>
                </a:ext>
              </a:extLst>
            </p:cNvPr>
            <p:cNvSpPr/>
            <p:nvPr/>
          </p:nvSpPr>
          <p:spPr>
            <a:xfrm>
              <a:off x="5282866" y="2514417"/>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67" name="Freeform: Shape 66">
              <a:extLst>
                <a:ext uri="{FF2B5EF4-FFF2-40B4-BE49-F238E27FC236}">
                  <a16:creationId xmlns:a16="http://schemas.microsoft.com/office/drawing/2014/main" id="{924D63A7-EDFA-9F54-C23B-97011ACD3958}"/>
                </a:ext>
              </a:extLst>
            </p:cNvPr>
            <p:cNvSpPr/>
            <p:nvPr/>
          </p:nvSpPr>
          <p:spPr>
            <a:xfrm>
              <a:off x="5219744" y="2511975"/>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68" name="Freeform: Shape 67">
              <a:extLst>
                <a:ext uri="{FF2B5EF4-FFF2-40B4-BE49-F238E27FC236}">
                  <a16:creationId xmlns:a16="http://schemas.microsoft.com/office/drawing/2014/main" id="{EF91D581-FE78-4BB3-44A2-4060C3444008}"/>
                </a:ext>
              </a:extLst>
            </p:cNvPr>
            <p:cNvSpPr/>
            <p:nvPr/>
          </p:nvSpPr>
          <p:spPr>
            <a:xfrm>
              <a:off x="5204847" y="2500922"/>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69" name="Freeform: Shape 68">
              <a:extLst>
                <a:ext uri="{FF2B5EF4-FFF2-40B4-BE49-F238E27FC236}">
                  <a16:creationId xmlns:a16="http://schemas.microsoft.com/office/drawing/2014/main" id="{593D14A1-6D0C-863A-DAE0-9A54D9A60BCD}"/>
                </a:ext>
              </a:extLst>
            </p:cNvPr>
            <p:cNvSpPr/>
            <p:nvPr/>
          </p:nvSpPr>
          <p:spPr>
            <a:xfrm>
              <a:off x="5203332" y="2472388"/>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70" name="Freeform: Shape 69">
              <a:extLst>
                <a:ext uri="{FF2B5EF4-FFF2-40B4-BE49-F238E27FC236}">
                  <a16:creationId xmlns:a16="http://schemas.microsoft.com/office/drawing/2014/main" id="{7973A580-D425-6F75-B513-995BF3498F70}"/>
                </a:ext>
              </a:extLst>
            </p:cNvPr>
            <p:cNvSpPr/>
            <p:nvPr/>
          </p:nvSpPr>
          <p:spPr>
            <a:xfrm>
              <a:off x="5190833" y="2460435"/>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71" name="Freeform: Shape 70">
              <a:extLst>
                <a:ext uri="{FF2B5EF4-FFF2-40B4-BE49-F238E27FC236}">
                  <a16:creationId xmlns:a16="http://schemas.microsoft.com/office/drawing/2014/main" id="{45E92AF6-D56B-9AA6-BA5D-38E0B9391581}"/>
                </a:ext>
              </a:extLst>
            </p:cNvPr>
            <p:cNvSpPr/>
            <p:nvPr/>
          </p:nvSpPr>
          <p:spPr>
            <a:xfrm>
              <a:off x="5180734" y="2460435"/>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72" name="Freeform: Shape 71">
              <a:extLst>
                <a:ext uri="{FF2B5EF4-FFF2-40B4-BE49-F238E27FC236}">
                  <a16:creationId xmlns:a16="http://schemas.microsoft.com/office/drawing/2014/main" id="{F2B4EB99-000D-B03D-3BBB-945F2347B557}"/>
                </a:ext>
              </a:extLst>
            </p:cNvPr>
            <p:cNvSpPr/>
            <p:nvPr/>
          </p:nvSpPr>
          <p:spPr>
            <a:xfrm>
              <a:off x="5169876" y="2438971"/>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73" name="Freeform: Shape 72">
              <a:extLst>
                <a:ext uri="{FF2B5EF4-FFF2-40B4-BE49-F238E27FC236}">
                  <a16:creationId xmlns:a16="http://schemas.microsoft.com/office/drawing/2014/main" id="{E12C9641-A6EB-CF59-7337-C30978F2EE12}"/>
                </a:ext>
              </a:extLst>
            </p:cNvPr>
            <p:cNvSpPr/>
            <p:nvPr/>
          </p:nvSpPr>
          <p:spPr>
            <a:xfrm>
              <a:off x="5158893" y="2438971"/>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74" name="Freeform: Shape 73">
              <a:extLst>
                <a:ext uri="{FF2B5EF4-FFF2-40B4-BE49-F238E27FC236}">
                  <a16:creationId xmlns:a16="http://schemas.microsoft.com/office/drawing/2014/main" id="{8966E009-745D-0874-D8F3-FB7D085FA491}"/>
                </a:ext>
              </a:extLst>
            </p:cNvPr>
            <p:cNvSpPr/>
            <p:nvPr/>
          </p:nvSpPr>
          <p:spPr>
            <a:xfrm>
              <a:off x="5144880" y="2438971"/>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75" name="Freeform: Shape 74">
              <a:extLst>
                <a:ext uri="{FF2B5EF4-FFF2-40B4-BE49-F238E27FC236}">
                  <a16:creationId xmlns:a16="http://schemas.microsoft.com/office/drawing/2014/main" id="{52365230-9F2E-AF0D-6B49-21BB74C51005}"/>
                </a:ext>
              </a:extLst>
            </p:cNvPr>
            <p:cNvSpPr/>
            <p:nvPr/>
          </p:nvSpPr>
          <p:spPr>
            <a:xfrm>
              <a:off x="4989850" y="2438971"/>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76" name="Freeform: Shape 75">
              <a:extLst>
                <a:ext uri="{FF2B5EF4-FFF2-40B4-BE49-F238E27FC236}">
                  <a16:creationId xmlns:a16="http://schemas.microsoft.com/office/drawing/2014/main" id="{F3618CA3-2F7C-DF87-171E-BD529E62C6F7}"/>
                </a:ext>
              </a:extLst>
            </p:cNvPr>
            <p:cNvSpPr/>
            <p:nvPr/>
          </p:nvSpPr>
          <p:spPr>
            <a:xfrm>
              <a:off x="4806036" y="2422391"/>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77" name="Freeform: Shape 76">
              <a:extLst>
                <a:ext uri="{FF2B5EF4-FFF2-40B4-BE49-F238E27FC236}">
                  <a16:creationId xmlns:a16="http://schemas.microsoft.com/office/drawing/2014/main" id="{C62781A2-CFB2-0F5E-5FC0-36041CF9B242}"/>
                </a:ext>
              </a:extLst>
            </p:cNvPr>
            <p:cNvSpPr/>
            <p:nvPr/>
          </p:nvSpPr>
          <p:spPr>
            <a:xfrm>
              <a:off x="4795053" y="2422391"/>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78" name="Freeform: Shape 77">
              <a:extLst>
                <a:ext uri="{FF2B5EF4-FFF2-40B4-BE49-F238E27FC236}">
                  <a16:creationId xmlns:a16="http://schemas.microsoft.com/office/drawing/2014/main" id="{101FD371-A92A-C125-BF42-2A5D71CABCE2}"/>
                </a:ext>
              </a:extLst>
            </p:cNvPr>
            <p:cNvSpPr/>
            <p:nvPr/>
          </p:nvSpPr>
          <p:spPr>
            <a:xfrm>
              <a:off x="4770940" y="2403369"/>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79" name="Freeform: Shape 78">
              <a:extLst>
                <a:ext uri="{FF2B5EF4-FFF2-40B4-BE49-F238E27FC236}">
                  <a16:creationId xmlns:a16="http://schemas.microsoft.com/office/drawing/2014/main" id="{219C10F8-ED7A-A27B-4618-6552B113676B}"/>
                </a:ext>
              </a:extLst>
            </p:cNvPr>
            <p:cNvSpPr/>
            <p:nvPr/>
          </p:nvSpPr>
          <p:spPr>
            <a:xfrm>
              <a:off x="4306735" y="230722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80" name="Freeform: Shape 79">
              <a:extLst>
                <a:ext uri="{FF2B5EF4-FFF2-40B4-BE49-F238E27FC236}">
                  <a16:creationId xmlns:a16="http://schemas.microsoft.com/office/drawing/2014/main" id="{34C04CC3-4E45-FCE3-1CE3-20757DBC36F1}"/>
                </a:ext>
              </a:extLst>
            </p:cNvPr>
            <p:cNvSpPr/>
            <p:nvPr/>
          </p:nvSpPr>
          <p:spPr>
            <a:xfrm>
              <a:off x="4126835" y="2299517"/>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81" name="Freeform: Shape 80">
              <a:extLst>
                <a:ext uri="{FF2B5EF4-FFF2-40B4-BE49-F238E27FC236}">
                  <a16:creationId xmlns:a16="http://schemas.microsoft.com/office/drawing/2014/main" id="{DB5B67F9-3C42-91C5-ED03-24C376179E2A}"/>
                </a:ext>
              </a:extLst>
            </p:cNvPr>
            <p:cNvSpPr/>
            <p:nvPr/>
          </p:nvSpPr>
          <p:spPr>
            <a:xfrm>
              <a:off x="3453945" y="2077420"/>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82" name="Freeform: Shape 81">
              <a:extLst>
                <a:ext uri="{FF2B5EF4-FFF2-40B4-BE49-F238E27FC236}">
                  <a16:creationId xmlns:a16="http://schemas.microsoft.com/office/drawing/2014/main" id="{BDB9EE85-3BE6-BCF6-7380-202244FC0D0F}"/>
                </a:ext>
              </a:extLst>
            </p:cNvPr>
            <p:cNvSpPr/>
            <p:nvPr/>
          </p:nvSpPr>
          <p:spPr>
            <a:xfrm>
              <a:off x="3659095" y="2083332"/>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83" name="Freeform: Shape 82">
              <a:extLst>
                <a:ext uri="{FF2B5EF4-FFF2-40B4-BE49-F238E27FC236}">
                  <a16:creationId xmlns:a16="http://schemas.microsoft.com/office/drawing/2014/main" id="{CD1D37FF-62A7-8976-6CAA-7516222C8EFE}"/>
                </a:ext>
              </a:extLst>
            </p:cNvPr>
            <p:cNvSpPr/>
            <p:nvPr/>
          </p:nvSpPr>
          <p:spPr>
            <a:xfrm>
              <a:off x="3672350" y="2107753"/>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84" name="Freeform: Shape 83">
              <a:extLst>
                <a:ext uri="{FF2B5EF4-FFF2-40B4-BE49-F238E27FC236}">
                  <a16:creationId xmlns:a16="http://schemas.microsoft.com/office/drawing/2014/main" id="{5003733D-EF81-816F-AB4D-1821B143726D}"/>
                </a:ext>
              </a:extLst>
            </p:cNvPr>
            <p:cNvSpPr/>
            <p:nvPr/>
          </p:nvSpPr>
          <p:spPr>
            <a:xfrm>
              <a:off x="3684091" y="212227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85" name="Freeform: Shape 84">
              <a:extLst>
                <a:ext uri="{FF2B5EF4-FFF2-40B4-BE49-F238E27FC236}">
                  <a16:creationId xmlns:a16="http://schemas.microsoft.com/office/drawing/2014/main" id="{A74D5703-5969-A2A3-65F7-861CF03576A7}"/>
                </a:ext>
              </a:extLst>
            </p:cNvPr>
            <p:cNvSpPr/>
            <p:nvPr/>
          </p:nvSpPr>
          <p:spPr>
            <a:xfrm>
              <a:off x="3366836" y="2077420"/>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86" name="Freeform: Shape 85">
              <a:extLst>
                <a:ext uri="{FF2B5EF4-FFF2-40B4-BE49-F238E27FC236}">
                  <a16:creationId xmlns:a16="http://schemas.microsoft.com/office/drawing/2014/main" id="{C28B03FD-1FA1-3E9B-10FF-9418027889CC}"/>
                </a:ext>
              </a:extLst>
            </p:cNvPr>
            <p:cNvSpPr/>
            <p:nvPr/>
          </p:nvSpPr>
          <p:spPr>
            <a:xfrm>
              <a:off x="3271268" y="202767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87" name="Freeform: Shape 86">
              <a:extLst>
                <a:ext uri="{FF2B5EF4-FFF2-40B4-BE49-F238E27FC236}">
                  <a16:creationId xmlns:a16="http://schemas.microsoft.com/office/drawing/2014/main" id="{8BFB8A5D-5E28-C693-5EF2-5BD53B4D780F}"/>
                </a:ext>
              </a:extLst>
            </p:cNvPr>
            <p:cNvSpPr/>
            <p:nvPr/>
          </p:nvSpPr>
          <p:spPr>
            <a:xfrm>
              <a:off x="3061700" y="1974211"/>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88" name="Freeform: Shape 87">
              <a:extLst>
                <a:ext uri="{FF2B5EF4-FFF2-40B4-BE49-F238E27FC236}">
                  <a16:creationId xmlns:a16="http://schemas.microsoft.com/office/drawing/2014/main" id="{0FB9FA60-BD3B-0F34-0657-B275D06F1703}"/>
                </a:ext>
              </a:extLst>
            </p:cNvPr>
            <p:cNvSpPr/>
            <p:nvPr/>
          </p:nvSpPr>
          <p:spPr>
            <a:xfrm>
              <a:off x="2940125" y="1941822"/>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89" name="Freeform: Shape 88">
              <a:extLst>
                <a:ext uri="{FF2B5EF4-FFF2-40B4-BE49-F238E27FC236}">
                  <a16:creationId xmlns:a16="http://schemas.microsoft.com/office/drawing/2014/main" id="{B1F58747-217D-73BB-2636-394F73493DB3}"/>
                </a:ext>
              </a:extLst>
            </p:cNvPr>
            <p:cNvSpPr/>
            <p:nvPr/>
          </p:nvSpPr>
          <p:spPr>
            <a:xfrm>
              <a:off x="4835578" y="2438971"/>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90" name="Freeform: Shape 89">
              <a:extLst>
                <a:ext uri="{FF2B5EF4-FFF2-40B4-BE49-F238E27FC236}">
                  <a16:creationId xmlns:a16="http://schemas.microsoft.com/office/drawing/2014/main" id="{ECF78BB2-A44E-F1C7-21CB-B190ED3D57B8}"/>
                </a:ext>
              </a:extLst>
            </p:cNvPr>
            <p:cNvSpPr/>
            <p:nvPr/>
          </p:nvSpPr>
          <p:spPr>
            <a:xfrm>
              <a:off x="5553158" y="2519173"/>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91" name="Freeform: Shape 90">
              <a:extLst>
                <a:ext uri="{FF2B5EF4-FFF2-40B4-BE49-F238E27FC236}">
                  <a16:creationId xmlns:a16="http://schemas.microsoft.com/office/drawing/2014/main" id="{E403EC1D-E2D8-F4B2-6E3F-8BA969F9546C}"/>
                </a:ext>
              </a:extLst>
            </p:cNvPr>
            <p:cNvSpPr/>
            <p:nvPr/>
          </p:nvSpPr>
          <p:spPr>
            <a:xfrm>
              <a:off x="5563258" y="2541280"/>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92" name="Freeform: Shape 91">
              <a:extLst>
                <a:ext uri="{FF2B5EF4-FFF2-40B4-BE49-F238E27FC236}">
                  <a16:creationId xmlns:a16="http://schemas.microsoft.com/office/drawing/2014/main" id="{D558C271-5F73-5D2F-2460-7BC5C3702E6C}"/>
                </a:ext>
              </a:extLst>
            </p:cNvPr>
            <p:cNvSpPr/>
            <p:nvPr/>
          </p:nvSpPr>
          <p:spPr>
            <a:xfrm>
              <a:off x="5573358" y="2541280"/>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93" name="Freeform: Shape 92">
              <a:extLst>
                <a:ext uri="{FF2B5EF4-FFF2-40B4-BE49-F238E27FC236}">
                  <a16:creationId xmlns:a16="http://schemas.microsoft.com/office/drawing/2014/main" id="{1613D3DE-B52F-B6E1-2FE6-3C6E9C0D21E4}"/>
                </a:ext>
              </a:extLst>
            </p:cNvPr>
            <p:cNvSpPr/>
            <p:nvPr/>
          </p:nvSpPr>
          <p:spPr>
            <a:xfrm>
              <a:off x="5581942" y="2557988"/>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94" name="Freeform: Shape 93">
              <a:extLst>
                <a:ext uri="{FF2B5EF4-FFF2-40B4-BE49-F238E27FC236}">
                  <a16:creationId xmlns:a16="http://schemas.microsoft.com/office/drawing/2014/main" id="{05DCFF49-DCBE-D6F4-BCF1-DCADD83926E0}"/>
                </a:ext>
              </a:extLst>
            </p:cNvPr>
            <p:cNvSpPr/>
            <p:nvPr/>
          </p:nvSpPr>
          <p:spPr>
            <a:xfrm>
              <a:off x="5591285" y="2571484"/>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95" name="Freeform: Shape 94">
              <a:extLst>
                <a:ext uri="{FF2B5EF4-FFF2-40B4-BE49-F238E27FC236}">
                  <a16:creationId xmlns:a16="http://schemas.microsoft.com/office/drawing/2014/main" id="{089E04EE-CF8D-4190-DACB-59DBC665C3B0}"/>
                </a:ext>
              </a:extLst>
            </p:cNvPr>
            <p:cNvSpPr/>
            <p:nvPr/>
          </p:nvSpPr>
          <p:spPr>
            <a:xfrm>
              <a:off x="5599869" y="2584208"/>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96" name="Freeform: Shape 95">
              <a:extLst>
                <a:ext uri="{FF2B5EF4-FFF2-40B4-BE49-F238E27FC236}">
                  <a16:creationId xmlns:a16="http://schemas.microsoft.com/office/drawing/2014/main" id="{5D1DC8EC-8BF1-C605-BF5F-39036B812137}"/>
                </a:ext>
              </a:extLst>
            </p:cNvPr>
            <p:cNvSpPr/>
            <p:nvPr/>
          </p:nvSpPr>
          <p:spPr>
            <a:xfrm>
              <a:off x="5629537" y="260078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97" name="Freeform: Shape 96">
              <a:extLst>
                <a:ext uri="{FF2B5EF4-FFF2-40B4-BE49-F238E27FC236}">
                  <a16:creationId xmlns:a16="http://schemas.microsoft.com/office/drawing/2014/main" id="{4EC6EA0A-1FA9-DCAD-0DE0-A07507FBE450}"/>
                </a:ext>
              </a:extLst>
            </p:cNvPr>
            <p:cNvSpPr/>
            <p:nvPr/>
          </p:nvSpPr>
          <p:spPr>
            <a:xfrm>
              <a:off x="5620952" y="2600788"/>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98" name="Freeform: Shape 97">
              <a:extLst>
                <a:ext uri="{FF2B5EF4-FFF2-40B4-BE49-F238E27FC236}">
                  <a16:creationId xmlns:a16="http://schemas.microsoft.com/office/drawing/2014/main" id="{CD9B70AD-B313-8A65-BE6A-B57E23347C70}"/>
                </a:ext>
              </a:extLst>
            </p:cNvPr>
            <p:cNvSpPr/>
            <p:nvPr/>
          </p:nvSpPr>
          <p:spPr>
            <a:xfrm>
              <a:off x="5601510" y="2596804"/>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99" name="Freeform: Shape 98">
              <a:extLst>
                <a:ext uri="{FF2B5EF4-FFF2-40B4-BE49-F238E27FC236}">
                  <a16:creationId xmlns:a16="http://schemas.microsoft.com/office/drawing/2014/main" id="{C5CE25D8-834C-1FA6-1D3D-0724AC2C91C8}"/>
                </a:ext>
              </a:extLst>
            </p:cNvPr>
            <p:cNvSpPr/>
            <p:nvPr/>
          </p:nvSpPr>
          <p:spPr>
            <a:xfrm>
              <a:off x="5609969" y="2596804"/>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00" name="Freeform: Shape 99">
              <a:extLst>
                <a:ext uri="{FF2B5EF4-FFF2-40B4-BE49-F238E27FC236}">
                  <a16:creationId xmlns:a16="http://schemas.microsoft.com/office/drawing/2014/main" id="{ECB8B926-07F6-05C0-820E-D8D2B4FC7731}"/>
                </a:ext>
              </a:extLst>
            </p:cNvPr>
            <p:cNvSpPr/>
            <p:nvPr/>
          </p:nvSpPr>
          <p:spPr>
            <a:xfrm>
              <a:off x="5615524" y="2596804"/>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01" name="Freeform: Shape 100">
              <a:extLst>
                <a:ext uri="{FF2B5EF4-FFF2-40B4-BE49-F238E27FC236}">
                  <a16:creationId xmlns:a16="http://schemas.microsoft.com/office/drawing/2014/main" id="{1386E40B-6FB8-736B-B92E-18206E052CE0}"/>
                </a:ext>
              </a:extLst>
            </p:cNvPr>
            <p:cNvSpPr/>
            <p:nvPr/>
          </p:nvSpPr>
          <p:spPr>
            <a:xfrm>
              <a:off x="5937198" y="262456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02" name="Freeform: Shape 101">
              <a:extLst>
                <a:ext uri="{FF2B5EF4-FFF2-40B4-BE49-F238E27FC236}">
                  <a16:creationId xmlns:a16="http://schemas.microsoft.com/office/drawing/2014/main" id="{E95C7B24-6526-FA6D-0999-B8B7AB9055AB}"/>
                </a:ext>
              </a:extLst>
            </p:cNvPr>
            <p:cNvSpPr/>
            <p:nvPr/>
          </p:nvSpPr>
          <p:spPr>
            <a:xfrm>
              <a:off x="5953610" y="262456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03" name="Freeform: Shape 102">
              <a:extLst>
                <a:ext uri="{FF2B5EF4-FFF2-40B4-BE49-F238E27FC236}">
                  <a16:creationId xmlns:a16="http://schemas.microsoft.com/office/drawing/2014/main" id="{5FF0D544-2434-1967-A88A-8AC816A90855}"/>
                </a:ext>
              </a:extLst>
            </p:cNvPr>
            <p:cNvSpPr/>
            <p:nvPr/>
          </p:nvSpPr>
          <p:spPr>
            <a:xfrm>
              <a:off x="5964467" y="262456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04" name="Freeform: Shape 103">
              <a:extLst>
                <a:ext uri="{FF2B5EF4-FFF2-40B4-BE49-F238E27FC236}">
                  <a16:creationId xmlns:a16="http://schemas.microsoft.com/office/drawing/2014/main" id="{9EC761C5-5A8D-E371-03BC-6E172A8FC8FC}"/>
                </a:ext>
              </a:extLst>
            </p:cNvPr>
            <p:cNvSpPr/>
            <p:nvPr/>
          </p:nvSpPr>
          <p:spPr>
            <a:xfrm>
              <a:off x="5973051" y="2661840"/>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05" name="Freeform: Shape 104">
              <a:extLst>
                <a:ext uri="{FF2B5EF4-FFF2-40B4-BE49-F238E27FC236}">
                  <a16:creationId xmlns:a16="http://schemas.microsoft.com/office/drawing/2014/main" id="{D8471342-BBC4-45D1-2CC8-44F8C68DC661}"/>
                </a:ext>
              </a:extLst>
            </p:cNvPr>
            <p:cNvSpPr/>
            <p:nvPr/>
          </p:nvSpPr>
          <p:spPr>
            <a:xfrm>
              <a:off x="5961437" y="2661840"/>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06" name="Freeform: Shape 105">
              <a:extLst>
                <a:ext uri="{FF2B5EF4-FFF2-40B4-BE49-F238E27FC236}">
                  <a16:creationId xmlns:a16="http://schemas.microsoft.com/office/drawing/2014/main" id="{86F4E091-E6A8-72F5-3F2C-D9889AC2BD4D}"/>
                </a:ext>
              </a:extLst>
            </p:cNvPr>
            <p:cNvSpPr/>
            <p:nvPr/>
          </p:nvSpPr>
          <p:spPr>
            <a:xfrm>
              <a:off x="6705908"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07" name="Freeform: Shape 106">
              <a:extLst>
                <a:ext uri="{FF2B5EF4-FFF2-40B4-BE49-F238E27FC236}">
                  <a16:creationId xmlns:a16="http://schemas.microsoft.com/office/drawing/2014/main" id="{8AB55AFC-AD73-92E2-34AD-5BC53954952B}"/>
                </a:ext>
              </a:extLst>
            </p:cNvPr>
            <p:cNvSpPr/>
            <p:nvPr/>
          </p:nvSpPr>
          <p:spPr>
            <a:xfrm>
              <a:off x="6707422" y="27308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08" name="Freeform: Shape 107">
              <a:extLst>
                <a:ext uri="{FF2B5EF4-FFF2-40B4-BE49-F238E27FC236}">
                  <a16:creationId xmlns:a16="http://schemas.microsoft.com/office/drawing/2014/main" id="{73B052C9-4D26-A0E4-1C69-1020AAF565F3}"/>
                </a:ext>
              </a:extLst>
            </p:cNvPr>
            <p:cNvSpPr/>
            <p:nvPr/>
          </p:nvSpPr>
          <p:spPr>
            <a:xfrm>
              <a:off x="7479415" y="280861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09" name="Freeform: Shape 108">
              <a:extLst>
                <a:ext uri="{FF2B5EF4-FFF2-40B4-BE49-F238E27FC236}">
                  <a16:creationId xmlns:a16="http://schemas.microsoft.com/office/drawing/2014/main" id="{AAB3DD0B-2347-318A-D9A8-F0CD6E018BDF}"/>
                </a:ext>
              </a:extLst>
            </p:cNvPr>
            <p:cNvSpPr/>
            <p:nvPr/>
          </p:nvSpPr>
          <p:spPr>
            <a:xfrm>
              <a:off x="7463508" y="280861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10" name="Freeform: Shape 109">
              <a:extLst>
                <a:ext uri="{FF2B5EF4-FFF2-40B4-BE49-F238E27FC236}">
                  <a16:creationId xmlns:a16="http://schemas.microsoft.com/office/drawing/2014/main" id="{CC96515E-9447-B920-E677-C8B6921E916B}"/>
                </a:ext>
              </a:extLst>
            </p:cNvPr>
            <p:cNvSpPr/>
            <p:nvPr/>
          </p:nvSpPr>
          <p:spPr>
            <a:xfrm>
              <a:off x="7467421" y="280861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11" name="Freeform: Shape 110">
              <a:extLst>
                <a:ext uri="{FF2B5EF4-FFF2-40B4-BE49-F238E27FC236}">
                  <a16:creationId xmlns:a16="http://schemas.microsoft.com/office/drawing/2014/main" id="{08DB1803-7867-97E6-20E1-54A17ED40C43}"/>
                </a:ext>
              </a:extLst>
            </p:cNvPr>
            <p:cNvSpPr/>
            <p:nvPr/>
          </p:nvSpPr>
          <p:spPr>
            <a:xfrm>
              <a:off x="7452398" y="280861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rgbClr val="00356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grpSp>
      <p:grpSp>
        <p:nvGrpSpPr>
          <p:cNvPr id="112" name="Graphic 3">
            <a:extLst>
              <a:ext uri="{FF2B5EF4-FFF2-40B4-BE49-F238E27FC236}">
                <a16:creationId xmlns:a16="http://schemas.microsoft.com/office/drawing/2014/main" id="{7CAF8642-D8E8-848A-E5D9-ACE852841997}"/>
              </a:ext>
            </a:extLst>
          </p:cNvPr>
          <p:cNvGrpSpPr/>
          <p:nvPr/>
        </p:nvGrpSpPr>
        <p:grpSpPr>
          <a:xfrm>
            <a:off x="2383000" y="3011254"/>
            <a:ext cx="8330699" cy="1364803"/>
            <a:chOff x="1787250" y="1932569"/>
            <a:chExt cx="6248024" cy="1023602"/>
          </a:xfrm>
          <a:noFill/>
        </p:grpSpPr>
        <p:sp>
          <p:nvSpPr>
            <p:cNvPr id="113" name="Freeform: Shape 112">
              <a:extLst>
                <a:ext uri="{FF2B5EF4-FFF2-40B4-BE49-F238E27FC236}">
                  <a16:creationId xmlns:a16="http://schemas.microsoft.com/office/drawing/2014/main" id="{DC3BEC53-37BA-7A07-550B-3857E55D112E}"/>
                </a:ext>
              </a:extLst>
            </p:cNvPr>
            <p:cNvSpPr/>
            <p:nvPr/>
          </p:nvSpPr>
          <p:spPr>
            <a:xfrm>
              <a:off x="1787250" y="1932569"/>
              <a:ext cx="6248024" cy="1023602"/>
            </a:xfrm>
            <a:custGeom>
              <a:avLst/>
              <a:gdLst>
                <a:gd name="connsiteX0" fmla="*/ 0 w 6248024"/>
                <a:gd name="connsiteY0" fmla="*/ 0 h 1023602"/>
                <a:gd name="connsiteX1" fmla="*/ 946716 w 6248024"/>
                <a:gd name="connsiteY1" fmla="*/ 0 h 1023602"/>
                <a:gd name="connsiteX2" fmla="*/ 946716 w 6248024"/>
                <a:gd name="connsiteY2" fmla="*/ 9511 h 1023602"/>
                <a:gd name="connsiteX3" fmla="*/ 1102251 w 6248024"/>
                <a:gd name="connsiteY3" fmla="*/ 9511 h 1023602"/>
                <a:gd name="connsiteX4" fmla="*/ 1102251 w 6248024"/>
                <a:gd name="connsiteY4" fmla="*/ 19022 h 1023602"/>
                <a:gd name="connsiteX5" fmla="*/ 1135959 w 6248024"/>
                <a:gd name="connsiteY5" fmla="*/ 19022 h 1023602"/>
                <a:gd name="connsiteX6" fmla="*/ 1135959 w 6248024"/>
                <a:gd name="connsiteY6" fmla="*/ 28405 h 1023602"/>
                <a:gd name="connsiteX7" fmla="*/ 1142776 w 6248024"/>
                <a:gd name="connsiteY7" fmla="*/ 28405 h 1023602"/>
                <a:gd name="connsiteX8" fmla="*/ 1142776 w 6248024"/>
                <a:gd name="connsiteY8" fmla="*/ 47427 h 1023602"/>
                <a:gd name="connsiteX9" fmla="*/ 1149593 w 6248024"/>
                <a:gd name="connsiteY9" fmla="*/ 47427 h 1023602"/>
                <a:gd name="connsiteX10" fmla="*/ 1149593 w 6248024"/>
                <a:gd name="connsiteY10" fmla="*/ 56810 h 1023602"/>
                <a:gd name="connsiteX11" fmla="*/ 1176610 w 6248024"/>
                <a:gd name="connsiteY11" fmla="*/ 56810 h 1023602"/>
                <a:gd name="connsiteX12" fmla="*/ 1176610 w 6248024"/>
                <a:gd name="connsiteY12" fmla="*/ 66321 h 1023602"/>
                <a:gd name="connsiteX13" fmla="*/ 1183301 w 6248024"/>
                <a:gd name="connsiteY13" fmla="*/ 66321 h 1023602"/>
                <a:gd name="connsiteX14" fmla="*/ 1183301 w 6248024"/>
                <a:gd name="connsiteY14" fmla="*/ 75832 h 1023602"/>
                <a:gd name="connsiteX15" fmla="*/ 1196935 w 6248024"/>
                <a:gd name="connsiteY15" fmla="*/ 75832 h 1023602"/>
                <a:gd name="connsiteX16" fmla="*/ 1196935 w 6248024"/>
                <a:gd name="connsiteY16" fmla="*/ 85343 h 1023602"/>
                <a:gd name="connsiteX17" fmla="*/ 1210444 w 6248024"/>
                <a:gd name="connsiteY17" fmla="*/ 85343 h 1023602"/>
                <a:gd name="connsiteX18" fmla="*/ 1210444 w 6248024"/>
                <a:gd name="connsiteY18" fmla="*/ 94726 h 1023602"/>
                <a:gd name="connsiteX19" fmla="*/ 1480862 w 6248024"/>
                <a:gd name="connsiteY19" fmla="*/ 94726 h 1023602"/>
                <a:gd name="connsiteX20" fmla="*/ 1480862 w 6248024"/>
                <a:gd name="connsiteY20" fmla="*/ 104365 h 1023602"/>
                <a:gd name="connsiteX21" fmla="*/ 1487679 w 6248024"/>
                <a:gd name="connsiteY21" fmla="*/ 104365 h 1023602"/>
                <a:gd name="connsiteX22" fmla="*/ 1487679 w 6248024"/>
                <a:gd name="connsiteY22" fmla="*/ 113876 h 1023602"/>
                <a:gd name="connsiteX23" fmla="*/ 1561911 w 6248024"/>
                <a:gd name="connsiteY23" fmla="*/ 113876 h 1023602"/>
                <a:gd name="connsiteX24" fmla="*/ 1561911 w 6248024"/>
                <a:gd name="connsiteY24" fmla="*/ 132899 h 1023602"/>
                <a:gd name="connsiteX25" fmla="*/ 1575546 w 6248024"/>
                <a:gd name="connsiteY25" fmla="*/ 132899 h 1023602"/>
                <a:gd name="connsiteX26" fmla="*/ 1575546 w 6248024"/>
                <a:gd name="connsiteY26" fmla="*/ 152049 h 1023602"/>
                <a:gd name="connsiteX27" fmla="*/ 1582237 w 6248024"/>
                <a:gd name="connsiteY27" fmla="*/ 152049 h 1023602"/>
                <a:gd name="connsiteX28" fmla="*/ 1582237 w 6248024"/>
                <a:gd name="connsiteY28" fmla="*/ 161689 h 1023602"/>
                <a:gd name="connsiteX29" fmla="*/ 1812257 w 6248024"/>
                <a:gd name="connsiteY29" fmla="*/ 161689 h 1023602"/>
                <a:gd name="connsiteX30" fmla="*/ 1812257 w 6248024"/>
                <a:gd name="connsiteY30" fmla="*/ 171200 h 1023602"/>
                <a:gd name="connsiteX31" fmla="*/ 1852782 w 6248024"/>
                <a:gd name="connsiteY31" fmla="*/ 171200 h 1023602"/>
                <a:gd name="connsiteX32" fmla="*/ 1852782 w 6248024"/>
                <a:gd name="connsiteY32" fmla="*/ 180840 h 1023602"/>
                <a:gd name="connsiteX33" fmla="*/ 1906941 w 6248024"/>
                <a:gd name="connsiteY33" fmla="*/ 180840 h 1023602"/>
                <a:gd name="connsiteX34" fmla="*/ 1906941 w 6248024"/>
                <a:gd name="connsiteY34" fmla="*/ 190479 h 1023602"/>
                <a:gd name="connsiteX35" fmla="*/ 1927140 w 6248024"/>
                <a:gd name="connsiteY35" fmla="*/ 190479 h 1023602"/>
                <a:gd name="connsiteX36" fmla="*/ 1927140 w 6248024"/>
                <a:gd name="connsiteY36" fmla="*/ 200119 h 1023602"/>
                <a:gd name="connsiteX37" fmla="*/ 1933957 w 6248024"/>
                <a:gd name="connsiteY37" fmla="*/ 200119 h 1023602"/>
                <a:gd name="connsiteX38" fmla="*/ 1933957 w 6248024"/>
                <a:gd name="connsiteY38" fmla="*/ 209759 h 1023602"/>
                <a:gd name="connsiteX39" fmla="*/ 1974482 w 6248024"/>
                <a:gd name="connsiteY39" fmla="*/ 209759 h 1023602"/>
                <a:gd name="connsiteX40" fmla="*/ 1974482 w 6248024"/>
                <a:gd name="connsiteY40" fmla="*/ 219398 h 1023602"/>
                <a:gd name="connsiteX41" fmla="*/ 2177359 w 6248024"/>
                <a:gd name="connsiteY41" fmla="*/ 219398 h 1023602"/>
                <a:gd name="connsiteX42" fmla="*/ 2177359 w 6248024"/>
                <a:gd name="connsiteY42" fmla="*/ 229038 h 1023602"/>
                <a:gd name="connsiteX43" fmla="*/ 2204376 w 6248024"/>
                <a:gd name="connsiteY43" fmla="*/ 229038 h 1023602"/>
                <a:gd name="connsiteX44" fmla="*/ 2204376 w 6248024"/>
                <a:gd name="connsiteY44" fmla="*/ 238678 h 1023602"/>
                <a:gd name="connsiteX45" fmla="*/ 2238210 w 6248024"/>
                <a:gd name="connsiteY45" fmla="*/ 238678 h 1023602"/>
                <a:gd name="connsiteX46" fmla="*/ 2238210 w 6248024"/>
                <a:gd name="connsiteY46" fmla="*/ 257957 h 1023602"/>
                <a:gd name="connsiteX47" fmla="*/ 2278861 w 6248024"/>
                <a:gd name="connsiteY47" fmla="*/ 257957 h 1023602"/>
                <a:gd name="connsiteX48" fmla="*/ 2278861 w 6248024"/>
                <a:gd name="connsiteY48" fmla="*/ 277365 h 1023602"/>
                <a:gd name="connsiteX49" fmla="*/ 2285552 w 6248024"/>
                <a:gd name="connsiteY49" fmla="*/ 277365 h 1023602"/>
                <a:gd name="connsiteX50" fmla="*/ 2285552 w 6248024"/>
                <a:gd name="connsiteY50" fmla="*/ 287133 h 1023602"/>
                <a:gd name="connsiteX51" fmla="*/ 2332894 w 6248024"/>
                <a:gd name="connsiteY51" fmla="*/ 287133 h 1023602"/>
                <a:gd name="connsiteX52" fmla="*/ 2332894 w 6248024"/>
                <a:gd name="connsiteY52" fmla="*/ 296773 h 1023602"/>
                <a:gd name="connsiteX53" fmla="*/ 2339585 w 6248024"/>
                <a:gd name="connsiteY53" fmla="*/ 296773 h 1023602"/>
                <a:gd name="connsiteX54" fmla="*/ 2339585 w 6248024"/>
                <a:gd name="connsiteY54" fmla="*/ 306412 h 1023602"/>
                <a:gd name="connsiteX55" fmla="*/ 2610129 w 6248024"/>
                <a:gd name="connsiteY55" fmla="*/ 306412 h 1023602"/>
                <a:gd name="connsiteX56" fmla="*/ 2610129 w 6248024"/>
                <a:gd name="connsiteY56" fmla="*/ 316180 h 1023602"/>
                <a:gd name="connsiteX57" fmla="*/ 2623638 w 6248024"/>
                <a:gd name="connsiteY57" fmla="*/ 316180 h 1023602"/>
                <a:gd name="connsiteX58" fmla="*/ 2623638 w 6248024"/>
                <a:gd name="connsiteY58" fmla="*/ 325949 h 1023602"/>
                <a:gd name="connsiteX59" fmla="*/ 2637146 w 6248024"/>
                <a:gd name="connsiteY59" fmla="*/ 325949 h 1023602"/>
                <a:gd name="connsiteX60" fmla="*/ 2637146 w 6248024"/>
                <a:gd name="connsiteY60" fmla="*/ 335588 h 1023602"/>
                <a:gd name="connsiteX61" fmla="*/ 2643837 w 6248024"/>
                <a:gd name="connsiteY61" fmla="*/ 335588 h 1023602"/>
                <a:gd name="connsiteX62" fmla="*/ 2643837 w 6248024"/>
                <a:gd name="connsiteY62" fmla="*/ 345228 h 1023602"/>
                <a:gd name="connsiteX63" fmla="*/ 2664162 w 6248024"/>
                <a:gd name="connsiteY63" fmla="*/ 345228 h 1023602"/>
                <a:gd name="connsiteX64" fmla="*/ 2664162 w 6248024"/>
                <a:gd name="connsiteY64" fmla="*/ 354996 h 1023602"/>
                <a:gd name="connsiteX65" fmla="*/ 2670853 w 6248024"/>
                <a:gd name="connsiteY65" fmla="*/ 354996 h 1023602"/>
                <a:gd name="connsiteX66" fmla="*/ 2670853 w 6248024"/>
                <a:gd name="connsiteY66" fmla="*/ 364636 h 1023602"/>
                <a:gd name="connsiteX67" fmla="*/ 2691179 w 6248024"/>
                <a:gd name="connsiteY67" fmla="*/ 364636 h 1023602"/>
                <a:gd name="connsiteX68" fmla="*/ 2691179 w 6248024"/>
                <a:gd name="connsiteY68" fmla="*/ 374404 h 1023602"/>
                <a:gd name="connsiteX69" fmla="*/ 2840023 w 6248024"/>
                <a:gd name="connsiteY69" fmla="*/ 374404 h 1023602"/>
                <a:gd name="connsiteX70" fmla="*/ 2840023 w 6248024"/>
                <a:gd name="connsiteY70" fmla="*/ 384044 h 1023602"/>
                <a:gd name="connsiteX71" fmla="*/ 2860348 w 6248024"/>
                <a:gd name="connsiteY71" fmla="*/ 384044 h 1023602"/>
                <a:gd name="connsiteX72" fmla="*/ 2860348 w 6248024"/>
                <a:gd name="connsiteY72" fmla="*/ 393812 h 1023602"/>
                <a:gd name="connsiteX73" fmla="*/ 2995557 w 6248024"/>
                <a:gd name="connsiteY73" fmla="*/ 393812 h 1023602"/>
                <a:gd name="connsiteX74" fmla="*/ 2995557 w 6248024"/>
                <a:gd name="connsiteY74" fmla="*/ 403451 h 1023602"/>
                <a:gd name="connsiteX75" fmla="*/ 3002248 w 6248024"/>
                <a:gd name="connsiteY75" fmla="*/ 403451 h 1023602"/>
                <a:gd name="connsiteX76" fmla="*/ 3002248 w 6248024"/>
                <a:gd name="connsiteY76" fmla="*/ 413220 h 1023602"/>
                <a:gd name="connsiteX77" fmla="*/ 3009066 w 6248024"/>
                <a:gd name="connsiteY77" fmla="*/ 413220 h 1023602"/>
                <a:gd name="connsiteX78" fmla="*/ 3009066 w 6248024"/>
                <a:gd name="connsiteY78" fmla="*/ 423245 h 1023602"/>
                <a:gd name="connsiteX79" fmla="*/ 3029391 w 6248024"/>
                <a:gd name="connsiteY79" fmla="*/ 423245 h 1023602"/>
                <a:gd name="connsiteX80" fmla="*/ 3029391 w 6248024"/>
                <a:gd name="connsiteY80" fmla="*/ 443295 h 1023602"/>
                <a:gd name="connsiteX81" fmla="*/ 3036082 w 6248024"/>
                <a:gd name="connsiteY81" fmla="*/ 443295 h 1023602"/>
                <a:gd name="connsiteX82" fmla="*/ 3036082 w 6248024"/>
                <a:gd name="connsiteY82" fmla="*/ 463603 h 1023602"/>
                <a:gd name="connsiteX83" fmla="*/ 3056408 w 6248024"/>
                <a:gd name="connsiteY83" fmla="*/ 463603 h 1023602"/>
                <a:gd name="connsiteX84" fmla="*/ 3056408 w 6248024"/>
                <a:gd name="connsiteY84" fmla="*/ 473885 h 1023602"/>
                <a:gd name="connsiteX85" fmla="*/ 3151092 w 6248024"/>
                <a:gd name="connsiteY85" fmla="*/ 473885 h 1023602"/>
                <a:gd name="connsiteX86" fmla="*/ 3151092 w 6248024"/>
                <a:gd name="connsiteY86" fmla="*/ 484296 h 1023602"/>
                <a:gd name="connsiteX87" fmla="*/ 3265976 w 6248024"/>
                <a:gd name="connsiteY87" fmla="*/ 484296 h 1023602"/>
                <a:gd name="connsiteX88" fmla="*/ 3265976 w 6248024"/>
                <a:gd name="connsiteY88" fmla="*/ 494707 h 1023602"/>
                <a:gd name="connsiteX89" fmla="*/ 3292992 w 6248024"/>
                <a:gd name="connsiteY89" fmla="*/ 494707 h 1023602"/>
                <a:gd name="connsiteX90" fmla="*/ 3292992 w 6248024"/>
                <a:gd name="connsiteY90" fmla="*/ 505118 h 1023602"/>
                <a:gd name="connsiteX91" fmla="*/ 3306627 w 6248024"/>
                <a:gd name="connsiteY91" fmla="*/ 505118 h 1023602"/>
                <a:gd name="connsiteX92" fmla="*/ 3306627 w 6248024"/>
                <a:gd name="connsiteY92" fmla="*/ 515657 h 1023602"/>
                <a:gd name="connsiteX93" fmla="*/ 3374168 w 6248024"/>
                <a:gd name="connsiteY93" fmla="*/ 515657 h 1023602"/>
                <a:gd name="connsiteX94" fmla="*/ 3374168 w 6248024"/>
                <a:gd name="connsiteY94" fmla="*/ 526196 h 1023602"/>
                <a:gd name="connsiteX95" fmla="*/ 3387803 w 6248024"/>
                <a:gd name="connsiteY95" fmla="*/ 526196 h 1023602"/>
                <a:gd name="connsiteX96" fmla="*/ 3387803 w 6248024"/>
                <a:gd name="connsiteY96" fmla="*/ 536864 h 1023602"/>
                <a:gd name="connsiteX97" fmla="*/ 3408002 w 6248024"/>
                <a:gd name="connsiteY97" fmla="*/ 536864 h 1023602"/>
                <a:gd name="connsiteX98" fmla="*/ 3408002 w 6248024"/>
                <a:gd name="connsiteY98" fmla="*/ 547661 h 1023602"/>
                <a:gd name="connsiteX99" fmla="*/ 3414819 w 6248024"/>
                <a:gd name="connsiteY99" fmla="*/ 547661 h 1023602"/>
                <a:gd name="connsiteX100" fmla="*/ 3414819 w 6248024"/>
                <a:gd name="connsiteY100" fmla="*/ 590846 h 1023602"/>
                <a:gd name="connsiteX101" fmla="*/ 3435019 w 6248024"/>
                <a:gd name="connsiteY101" fmla="*/ 590846 h 1023602"/>
                <a:gd name="connsiteX102" fmla="*/ 3435019 w 6248024"/>
                <a:gd name="connsiteY102" fmla="*/ 602028 h 1023602"/>
                <a:gd name="connsiteX103" fmla="*/ 3441836 w 6248024"/>
                <a:gd name="connsiteY103" fmla="*/ 602028 h 1023602"/>
                <a:gd name="connsiteX104" fmla="*/ 3441836 w 6248024"/>
                <a:gd name="connsiteY104" fmla="*/ 613339 h 1023602"/>
                <a:gd name="connsiteX105" fmla="*/ 3746088 w 6248024"/>
                <a:gd name="connsiteY105" fmla="*/ 613339 h 1023602"/>
                <a:gd name="connsiteX106" fmla="*/ 3746088 w 6248024"/>
                <a:gd name="connsiteY106" fmla="*/ 636859 h 1023602"/>
                <a:gd name="connsiteX107" fmla="*/ 3752779 w 6248024"/>
                <a:gd name="connsiteY107" fmla="*/ 636859 h 1023602"/>
                <a:gd name="connsiteX108" fmla="*/ 3752779 w 6248024"/>
                <a:gd name="connsiteY108" fmla="*/ 648813 h 1023602"/>
                <a:gd name="connsiteX109" fmla="*/ 3773105 w 6248024"/>
                <a:gd name="connsiteY109" fmla="*/ 648813 h 1023602"/>
                <a:gd name="connsiteX110" fmla="*/ 3773105 w 6248024"/>
                <a:gd name="connsiteY110" fmla="*/ 660894 h 1023602"/>
                <a:gd name="connsiteX111" fmla="*/ 3786739 w 6248024"/>
                <a:gd name="connsiteY111" fmla="*/ 660894 h 1023602"/>
                <a:gd name="connsiteX112" fmla="*/ 3786739 w 6248024"/>
                <a:gd name="connsiteY112" fmla="*/ 673104 h 1023602"/>
                <a:gd name="connsiteX113" fmla="*/ 3793430 w 6248024"/>
                <a:gd name="connsiteY113" fmla="*/ 673104 h 1023602"/>
                <a:gd name="connsiteX114" fmla="*/ 3793430 w 6248024"/>
                <a:gd name="connsiteY114" fmla="*/ 685700 h 1023602"/>
                <a:gd name="connsiteX115" fmla="*/ 3813756 w 6248024"/>
                <a:gd name="connsiteY115" fmla="*/ 685700 h 1023602"/>
                <a:gd name="connsiteX116" fmla="*/ 3813756 w 6248024"/>
                <a:gd name="connsiteY116" fmla="*/ 699067 h 1023602"/>
                <a:gd name="connsiteX117" fmla="*/ 3935330 w 6248024"/>
                <a:gd name="connsiteY117" fmla="*/ 699067 h 1023602"/>
                <a:gd name="connsiteX118" fmla="*/ 3935330 w 6248024"/>
                <a:gd name="connsiteY118" fmla="*/ 712820 h 1023602"/>
                <a:gd name="connsiteX119" fmla="*/ 4151842 w 6248024"/>
                <a:gd name="connsiteY119" fmla="*/ 712820 h 1023602"/>
                <a:gd name="connsiteX120" fmla="*/ 4151842 w 6248024"/>
                <a:gd name="connsiteY120" fmla="*/ 743153 h 1023602"/>
                <a:gd name="connsiteX121" fmla="*/ 4550778 w 6248024"/>
                <a:gd name="connsiteY121" fmla="*/ 743153 h 1023602"/>
                <a:gd name="connsiteX122" fmla="*/ 4550778 w 6248024"/>
                <a:gd name="connsiteY122" fmla="*/ 764231 h 1023602"/>
                <a:gd name="connsiteX123" fmla="*/ 4557469 w 6248024"/>
                <a:gd name="connsiteY123" fmla="*/ 764231 h 1023602"/>
                <a:gd name="connsiteX124" fmla="*/ 4557469 w 6248024"/>
                <a:gd name="connsiteY124" fmla="*/ 809345 h 1023602"/>
                <a:gd name="connsiteX125" fmla="*/ 4882047 w 6248024"/>
                <a:gd name="connsiteY125" fmla="*/ 809345 h 1023602"/>
                <a:gd name="connsiteX126" fmla="*/ 4882047 w 6248024"/>
                <a:gd name="connsiteY126" fmla="*/ 833508 h 1023602"/>
                <a:gd name="connsiteX127" fmla="*/ 4936206 w 6248024"/>
                <a:gd name="connsiteY127" fmla="*/ 833508 h 1023602"/>
                <a:gd name="connsiteX128" fmla="*/ 4936206 w 6248024"/>
                <a:gd name="connsiteY128" fmla="*/ 862813 h 1023602"/>
                <a:gd name="connsiteX129" fmla="*/ 4943023 w 6248024"/>
                <a:gd name="connsiteY129" fmla="*/ 862813 h 1023602"/>
                <a:gd name="connsiteX130" fmla="*/ 4943023 w 6248024"/>
                <a:gd name="connsiteY130" fmla="*/ 894045 h 1023602"/>
                <a:gd name="connsiteX131" fmla="*/ 5294617 w 6248024"/>
                <a:gd name="connsiteY131" fmla="*/ 894045 h 1023602"/>
                <a:gd name="connsiteX132" fmla="*/ 5294617 w 6248024"/>
                <a:gd name="connsiteY132" fmla="*/ 937231 h 1023602"/>
                <a:gd name="connsiteX133" fmla="*/ 5686736 w 6248024"/>
                <a:gd name="connsiteY133" fmla="*/ 937231 h 1023602"/>
                <a:gd name="connsiteX134" fmla="*/ 5686736 w 6248024"/>
                <a:gd name="connsiteY134" fmla="*/ 1023602 h 1023602"/>
                <a:gd name="connsiteX135" fmla="*/ 6248025 w 6248024"/>
                <a:gd name="connsiteY135" fmla="*/ 1023602 h 1023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248024" h="1023602">
                  <a:moveTo>
                    <a:pt x="0" y="0"/>
                  </a:moveTo>
                  <a:lnTo>
                    <a:pt x="946716" y="0"/>
                  </a:lnTo>
                  <a:lnTo>
                    <a:pt x="946716" y="9511"/>
                  </a:lnTo>
                  <a:lnTo>
                    <a:pt x="1102251" y="9511"/>
                  </a:lnTo>
                  <a:lnTo>
                    <a:pt x="1102251" y="19022"/>
                  </a:lnTo>
                  <a:lnTo>
                    <a:pt x="1135959" y="19022"/>
                  </a:lnTo>
                  <a:lnTo>
                    <a:pt x="1135959" y="28405"/>
                  </a:lnTo>
                  <a:lnTo>
                    <a:pt x="1142776" y="28405"/>
                  </a:lnTo>
                  <a:lnTo>
                    <a:pt x="1142776" y="47427"/>
                  </a:lnTo>
                  <a:lnTo>
                    <a:pt x="1149593" y="47427"/>
                  </a:lnTo>
                  <a:lnTo>
                    <a:pt x="1149593" y="56810"/>
                  </a:lnTo>
                  <a:lnTo>
                    <a:pt x="1176610" y="56810"/>
                  </a:lnTo>
                  <a:lnTo>
                    <a:pt x="1176610" y="66321"/>
                  </a:lnTo>
                  <a:lnTo>
                    <a:pt x="1183301" y="66321"/>
                  </a:lnTo>
                  <a:lnTo>
                    <a:pt x="1183301" y="75832"/>
                  </a:lnTo>
                  <a:lnTo>
                    <a:pt x="1196935" y="75832"/>
                  </a:lnTo>
                  <a:lnTo>
                    <a:pt x="1196935" y="85343"/>
                  </a:lnTo>
                  <a:lnTo>
                    <a:pt x="1210444" y="85343"/>
                  </a:lnTo>
                  <a:lnTo>
                    <a:pt x="1210444" y="94726"/>
                  </a:lnTo>
                  <a:lnTo>
                    <a:pt x="1480862" y="94726"/>
                  </a:lnTo>
                  <a:lnTo>
                    <a:pt x="1480862" y="104365"/>
                  </a:lnTo>
                  <a:lnTo>
                    <a:pt x="1487679" y="104365"/>
                  </a:lnTo>
                  <a:lnTo>
                    <a:pt x="1487679" y="113876"/>
                  </a:lnTo>
                  <a:lnTo>
                    <a:pt x="1561911" y="113876"/>
                  </a:lnTo>
                  <a:lnTo>
                    <a:pt x="1561911" y="132899"/>
                  </a:lnTo>
                  <a:lnTo>
                    <a:pt x="1575546" y="132899"/>
                  </a:lnTo>
                  <a:lnTo>
                    <a:pt x="1575546" y="152049"/>
                  </a:lnTo>
                  <a:lnTo>
                    <a:pt x="1582237" y="152049"/>
                  </a:lnTo>
                  <a:lnTo>
                    <a:pt x="1582237" y="161689"/>
                  </a:lnTo>
                  <a:lnTo>
                    <a:pt x="1812257" y="161689"/>
                  </a:lnTo>
                  <a:lnTo>
                    <a:pt x="1812257" y="171200"/>
                  </a:lnTo>
                  <a:lnTo>
                    <a:pt x="1852782" y="171200"/>
                  </a:lnTo>
                  <a:lnTo>
                    <a:pt x="1852782" y="180840"/>
                  </a:lnTo>
                  <a:lnTo>
                    <a:pt x="1906941" y="180840"/>
                  </a:lnTo>
                  <a:lnTo>
                    <a:pt x="1906941" y="190479"/>
                  </a:lnTo>
                  <a:lnTo>
                    <a:pt x="1927140" y="190479"/>
                  </a:lnTo>
                  <a:lnTo>
                    <a:pt x="1927140" y="200119"/>
                  </a:lnTo>
                  <a:lnTo>
                    <a:pt x="1933957" y="200119"/>
                  </a:lnTo>
                  <a:lnTo>
                    <a:pt x="1933957" y="209759"/>
                  </a:lnTo>
                  <a:lnTo>
                    <a:pt x="1974482" y="209759"/>
                  </a:lnTo>
                  <a:lnTo>
                    <a:pt x="1974482" y="219398"/>
                  </a:lnTo>
                  <a:lnTo>
                    <a:pt x="2177359" y="219398"/>
                  </a:lnTo>
                  <a:lnTo>
                    <a:pt x="2177359" y="229038"/>
                  </a:lnTo>
                  <a:lnTo>
                    <a:pt x="2204376" y="229038"/>
                  </a:lnTo>
                  <a:lnTo>
                    <a:pt x="2204376" y="238678"/>
                  </a:lnTo>
                  <a:lnTo>
                    <a:pt x="2238210" y="238678"/>
                  </a:lnTo>
                  <a:lnTo>
                    <a:pt x="2238210" y="257957"/>
                  </a:lnTo>
                  <a:lnTo>
                    <a:pt x="2278861" y="257957"/>
                  </a:lnTo>
                  <a:lnTo>
                    <a:pt x="2278861" y="277365"/>
                  </a:lnTo>
                  <a:lnTo>
                    <a:pt x="2285552" y="277365"/>
                  </a:lnTo>
                  <a:lnTo>
                    <a:pt x="2285552" y="287133"/>
                  </a:lnTo>
                  <a:lnTo>
                    <a:pt x="2332894" y="287133"/>
                  </a:lnTo>
                  <a:lnTo>
                    <a:pt x="2332894" y="296773"/>
                  </a:lnTo>
                  <a:lnTo>
                    <a:pt x="2339585" y="296773"/>
                  </a:lnTo>
                  <a:lnTo>
                    <a:pt x="2339585" y="306412"/>
                  </a:lnTo>
                  <a:lnTo>
                    <a:pt x="2610129" y="306412"/>
                  </a:lnTo>
                  <a:lnTo>
                    <a:pt x="2610129" y="316180"/>
                  </a:lnTo>
                  <a:lnTo>
                    <a:pt x="2623638" y="316180"/>
                  </a:lnTo>
                  <a:lnTo>
                    <a:pt x="2623638" y="325949"/>
                  </a:lnTo>
                  <a:lnTo>
                    <a:pt x="2637146" y="325949"/>
                  </a:lnTo>
                  <a:lnTo>
                    <a:pt x="2637146" y="335588"/>
                  </a:lnTo>
                  <a:lnTo>
                    <a:pt x="2643837" y="335588"/>
                  </a:lnTo>
                  <a:lnTo>
                    <a:pt x="2643837" y="345228"/>
                  </a:lnTo>
                  <a:lnTo>
                    <a:pt x="2664162" y="345228"/>
                  </a:lnTo>
                  <a:lnTo>
                    <a:pt x="2664162" y="354996"/>
                  </a:lnTo>
                  <a:lnTo>
                    <a:pt x="2670853" y="354996"/>
                  </a:lnTo>
                  <a:lnTo>
                    <a:pt x="2670853" y="364636"/>
                  </a:lnTo>
                  <a:lnTo>
                    <a:pt x="2691179" y="364636"/>
                  </a:lnTo>
                  <a:lnTo>
                    <a:pt x="2691179" y="374404"/>
                  </a:lnTo>
                  <a:lnTo>
                    <a:pt x="2840023" y="374404"/>
                  </a:lnTo>
                  <a:lnTo>
                    <a:pt x="2840023" y="384044"/>
                  </a:lnTo>
                  <a:lnTo>
                    <a:pt x="2860348" y="384044"/>
                  </a:lnTo>
                  <a:lnTo>
                    <a:pt x="2860348" y="393812"/>
                  </a:lnTo>
                  <a:lnTo>
                    <a:pt x="2995557" y="393812"/>
                  </a:lnTo>
                  <a:lnTo>
                    <a:pt x="2995557" y="403451"/>
                  </a:lnTo>
                  <a:lnTo>
                    <a:pt x="3002248" y="403451"/>
                  </a:lnTo>
                  <a:lnTo>
                    <a:pt x="3002248" y="413220"/>
                  </a:lnTo>
                  <a:lnTo>
                    <a:pt x="3009066" y="413220"/>
                  </a:lnTo>
                  <a:lnTo>
                    <a:pt x="3009066" y="423245"/>
                  </a:lnTo>
                  <a:lnTo>
                    <a:pt x="3029391" y="423245"/>
                  </a:lnTo>
                  <a:lnTo>
                    <a:pt x="3029391" y="443295"/>
                  </a:lnTo>
                  <a:lnTo>
                    <a:pt x="3036082" y="443295"/>
                  </a:lnTo>
                  <a:lnTo>
                    <a:pt x="3036082" y="463603"/>
                  </a:lnTo>
                  <a:lnTo>
                    <a:pt x="3056408" y="463603"/>
                  </a:lnTo>
                  <a:lnTo>
                    <a:pt x="3056408" y="473885"/>
                  </a:lnTo>
                  <a:lnTo>
                    <a:pt x="3151092" y="473885"/>
                  </a:lnTo>
                  <a:lnTo>
                    <a:pt x="3151092" y="484296"/>
                  </a:lnTo>
                  <a:lnTo>
                    <a:pt x="3265976" y="484296"/>
                  </a:lnTo>
                  <a:lnTo>
                    <a:pt x="3265976" y="494707"/>
                  </a:lnTo>
                  <a:lnTo>
                    <a:pt x="3292992" y="494707"/>
                  </a:lnTo>
                  <a:lnTo>
                    <a:pt x="3292992" y="505118"/>
                  </a:lnTo>
                  <a:lnTo>
                    <a:pt x="3306627" y="505118"/>
                  </a:lnTo>
                  <a:lnTo>
                    <a:pt x="3306627" y="515657"/>
                  </a:lnTo>
                  <a:lnTo>
                    <a:pt x="3374168" y="515657"/>
                  </a:lnTo>
                  <a:lnTo>
                    <a:pt x="3374168" y="526196"/>
                  </a:lnTo>
                  <a:lnTo>
                    <a:pt x="3387803" y="526196"/>
                  </a:lnTo>
                  <a:lnTo>
                    <a:pt x="3387803" y="536864"/>
                  </a:lnTo>
                  <a:lnTo>
                    <a:pt x="3408002" y="536864"/>
                  </a:lnTo>
                  <a:lnTo>
                    <a:pt x="3408002" y="547661"/>
                  </a:lnTo>
                  <a:lnTo>
                    <a:pt x="3414819" y="547661"/>
                  </a:lnTo>
                  <a:lnTo>
                    <a:pt x="3414819" y="590846"/>
                  </a:lnTo>
                  <a:lnTo>
                    <a:pt x="3435019" y="590846"/>
                  </a:lnTo>
                  <a:lnTo>
                    <a:pt x="3435019" y="602028"/>
                  </a:lnTo>
                  <a:lnTo>
                    <a:pt x="3441836" y="602028"/>
                  </a:lnTo>
                  <a:lnTo>
                    <a:pt x="3441836" y="613339"/>
                  </a:lnTo>
                  <a:lnTo>
                    <a:pt x="3746088" y="613339"/>
                  </a:lnTo>
                  <a:lnTo>
                    <a:pt x="3746088" y="636859"/>
                  </a:lnTo>
                  <a:lnTo>
                    <a:pt x="3752779" y="636859"/>
                  </a:lnTo>
                  <a:lnTo>
                    <a:pt x="3752779" y="648813"/>
                  </a:lnTo>
                  <a:lnTo>
                    <a:pt x="3773105" y="648813"/>
                  </a:lnTo>
                  <a:lnTo>
                    <a:pt x="3773105" y="660894"/>
                  </a:lnTo>
                  <a:lnTo>
                    <a:pt x="3786739" y="660894"/>
                  </a:lnTo>
                  <a:lnTo>
                    <a:pt x="3786739" y="673104"/>
                  </a:lnTo>
                  <a:lnTo>
                    <a:pt x="3793430" y="673104"/>
                  </a:lnTo>
                  <a:lnTo>
                    <a:pt x="3793430" y="685700"/>
                  </a:lnTo>
                  <a:lnTo>
                    <a:pt x="3813756" y="685700"/>
                  </a:lnTo>
                  <a:lnTo>
                    <a:pt x="3813756" y="699067"/>
                  </a:lnTo>
                  <a:lnTo>
                    <a:pt x="3935330" y="699067"/>
                  </a:lnTo>
                  <a:lnTo>
                    <a:pt x="3935330" y="712820"/>
                  </a:lnTo>
                  <a:lnTo>
                    <a:pt x="4151842" y="712820"/>
                  </a:lnTo>
                  <a:lnTo>
                    <a:pt x="4151842" y="743153"/>
                  </a:lnTo>
                  <a:lnTo>
                    <a:pt x="4550778" y="743153"/>
                  </a:lnTo>
                  <a:lnTo>
                    <a:pt x="4550778" y="764231"/>
                  </a:lnTo>
                  <a:lnTo>
                    <a:pt x="4557469" y="764231"/>
                  </a:lnTo>
                  <a:lnTo>
                    <a:pt x="4557469" y="809345"/>
                  </a:lnTo>
                  <a:lnTo>
                    <a:pt x="4882047" y="809345"/>
                  </a:lnTo>
                  <a:lnTo>
                    <a:pt x="4882047" y="833508"/>
                  </a:lnTo>
                  <a:lnTo>
                    <a:pt x="4936206" y="833508"/>
                  </a:lnTo>
                  <a:lnTo>
                    <a:pt x="4936206" y="862813"/>
                  </a:lnTo>
                  <a:lnTo>
                    <a:pt x="4943023" y="862813"/>
                  </a:lnTo>
                  <a:lnTo>
                    <a:pt x="4943023" y="894045"/>
                  </a:lnTo>
                  <a:lnTo>
                    <a:pt x="5294617" y="894045"/>
                  </a:lnTo>
                  <a:lnTo>
                    <a:pt x="5294617" y="937231"/>
                  </a:lnTo>
                  <a:lnTo>
                    <a:pt x="5686736" y="937231"/>
                  </a:lnTo>
                  <a:lnTo>
                    <a:pt x="5686736" y="1023602"/>
                  </a:lnTo>
                  <a:lnTo>
                    <a:pt x="6248025" y="1023602"/>
                  </a:lnTo>
                </a:path>
              </a:pathLst>
            </a:custGeom>
            <a:noFill/>
            <a:ln w="18921" cap="flat">
              <a:solidFill>
                <a:schemeClr val="bg1">
                  <a:lumMod val="6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14" name="Freeform: Shape 113">
              <a:extLst>
                <a:ext uri="{FF2B5EF4-FFF2-40B4-BE49-F238E27FC236}">
                  <a16:creationId xmlns:a16="http://schemas.microsoft.com/office/drawing/2014/main" id="{DE77286B-F549-7CFD-FEBB-9AF504E7884E}"/>
                </a:ext>
              </a:extLst>
            </p:cNvPr>
            <p:cNvSpPr/>
            <p:nvPr/>
          </p:nvSpPr>
          <p:spPr>
            <a:xfrm>
              <a:off x="3990616" y="2096442"/>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15" name="Freeform: Shape 114">
              <a:extLst>
                <a:ext uri="{FF2B5EF4-FFF2-40B4-BE49-F238E27FC236}">
                  <a16:creationId xmlns:a16="http://schemas.microsoft.com/office/drawing/2014/main" id="{A08F6718-C340-7913-16C9-80B41DB8AFD3}"/>
                </a:ext>
              </a:extLst>
            </p:cNvPr>
            <p:cNvSpPr/>
            <p:nvPr/>
          </p:nvSpPr>
          <p:spPr>
            <a:xfrm>
              <a:off x="4792276" y="2304530"/>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16" name="Freeform: Shape 115">
              <a:extLst>
                <a:ext uri="{FF2B5EF4-FFF2-40B4-BE49-F238E27FC236}">
                  <a16:creationId xmlns:a16="http://schemas.microsoft.com/office/drawing/2014/main" id="{B580108F-8BD2-0ADC-D666-AAC04C1488ED}"/>
                </a:ext>
              </a:extLst>
            </p:cNvPr>
            <p:cNvSpPr/>
            <p:nvPr/>
          </p:nvSpPr>
          <p:spPr>
            <a:xfrm>
              <a:off x="4802628" y="2304530"/>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17" name="Freeform: Shape 116">
              <a:extLst>
                <a:ext uri="{FF2B5EF4-FFF2-40B4-BE49-F238E27FC236}">
                  <a16:creationId xmlns:a16="http://schemas.microsoft.com/office/drawing/2014/main" id="{4B732914-0241-F808-E0F0-6E0827C08B41}"/>
                </a:ext>
              </a:extLst>
            </p:cNvPr>
            <p:cNvSpPr/>
            <p:nvPr/>
          </p:nvSpPr>
          <p:spPr>
            <a:xfrm>
              <a:off x="4783817" y="2292577"/>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18" name="Freeform: Shape 117">
              <a:extLst>
                <a:ext uri="{FF2B5EF4-FFF2-40B4-BE49-F238E27FC236}">
                  <a16:creationId xmlns:a16="http://schemas.microsoft.com/office/drawing/2014/main" id="{8A4668C8-C904-88E4-D4F0-BCB4A2BDF296}"/>
                </a:ext>
              </a:extLst>
            </p:cNvPr>
            <p:cNvSpPr/>
            <p:nvPr/>
          </p:nvSpPr>
          <p:spPr>
            <a:xfrm>
              <a:off x="4752256" y="2275997"/>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19" name="Freeform: Shape 118">
              <a:extLst>
                <a:ext uri="{FF2B5EF4-FFF2-40B4-BE49-F238E27FC236}">
                  <a16:creationId xmlns:a16="http://schemas.microsoft.com/office/drawing/2014/main" id="{1C260CBC-B12F-88FD-6D15-F7109C37AFB3}"/>
                </a:ext>
              </a:extLst>
            </p:cNvPr>
            <p:cNvSpPr/>
            <p:nvPr/>
          </p:nvSpPr>
          <p:spPr>
            <a:xfrm>
              <a:off x="4820176" y="2336791"/>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20" name="Freeform: Shape 119">
              <a:extLst>
                <a:ext uri="{FF2B5EF4-FFF2-40B4-BE49-F238E27FC236}">
                  <a16:creationId xmlns:a16="http://schemas.microsoft.com/office/drawing/2014/main" id="{78F412A1-CCCE-7FF5-0969-93E7E24B6BE8}"/>
                </a:ext>
              </a:extLst>
            </p:cNvPr>
            <p:cNvSpPr/>
            <p:nvPr/>
          </p:nvSpPr>
          <p:spPr>
            <a:xfrm>
              <a:off x="4807804" y="2336791"/>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21" name="Freeform: Shape 120">
              <a:extLst>
                <a:ext uri="{FF2B5EF4-FFF2-40B4-BE49-F238E27FC236}">
                  <a16:creationId xmlns:a16="http://schemas.microsoft.com/office/drawing/2014/main" id="{CB18FDDB-0386-FEC4-966B-E74D2E736EB3}"/>
                </a:ext>
              </a:extLst>
            </p:cNvPr>
            <p:cNvSpPr/>
            <p:nvPr/>
          </p:nvSpPr>
          <p:spPr>
            <a:xfrm>
              <a:off x="4767784" y="2285251"/>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22" name="Freeform: Shape 121">
              <a:extLst>
                <a:ext uri="{FF2B5EF4-FFF2-40B4-BE49-F238E27FC236}">
                  <a16:creationId xmlns:a16="http://schemas.microsoft.com/office/drawing/2014/main" id="{9CC469C4-564D-9904-B729-330FC95B89DF}"/>
                </a:ext>
              </a:extLst>
            </p:cNvPr>
            <p:cNvSpPr/>
            <p:nvPr/>
          </p:nvSpPr>
          <p:spPr>
            <a:xfrm>
              <a:off x="4760462" y="2289749"/>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23" name="Freeform: Shape 122">
              <a:extLst>
                <a:ext uri="{FF2B5EF4-FFF2-40B4-BE49-F238E27FC236}">
                  <a16:creationId xmlns:a16="http://schemas.microsoft.com/office/drawing/2014/main" id="{3C6E21AB-6D5F-A1E1-F4EA-928E5AA836D0}"/>
                </a:ext>
              </a:extLst>
            </p:cNvPr>
            <p:cNvSpPr/>
            <p:nvPr/>
          </p:nvSpPr>
          <p:spPr>
            <a:xfrm>
              <a:off x="5095770" y="2375092"/>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24" name="Freeform: Shape 123">
              <a:extLst>
                <a:ext uri="{FF2B5EF4-FFF2-40B4-BE49-F238E27FC236}">
                  <a16:creationId xmlns:a16="http://schemas.microsoft.com/office/drawing/2014/main" id="{85E01A69-25EF-AE38-2DA6-4E08371183D5}"/>
                </a:ext>
              </a:extLst>
            </p:cNvPr>
            <p:cNvSpPr/>
            <p:nvPr/>
          </p:nvSpPr>
          <p:spPr>
            <a:xfrm>
              <a:off x="5111172" y="2387045"/>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25" name="Freeform: Shape 124">
              <a:extLst>
                <a:ext uri="{FF2B5EF4-FFF2-40B4-BE49-F238E27FC236}">
                  <a16:creationId xmlns:a16="http://schemas.microsoft.com/office/drawing/2014/main" id="{69626D16-5851-A5A2-E09B-6B53373FE9D5}"/>
                </a:ext>
              </a:extLst>
            </p:cNvPr>
            <p:cNvSpPr/>
            <p:nvPr/>
          </p:nvSpPr>
          <p:spPr>
            <a:xfrm>
              <a:off x="5127584" y="2388074"/>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26" name="Freeform: Shape 125">
              <a:extLst>
                <a:ext uri="{FF2B5EF4-FFF2-40B4-BE49-F238E27FC236}">
                  <a16:creationId xmlns:a16="http://schemas.microsoft.com/office/drawing/2014/main" id="{15412877-9487-D119-EB5F-DAB11DE73518}"/>
                </a:ext>
              </a:extLst>
            </p:cNvPr>
            <p:cNvSpPr/>
            <p:nvPr/>
          </p:nvSpPr>
          <p:spPr>
            <a:xfrm>
              <a:off x="5362401" y="2491025"/>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27" name="Freeform: Shape 126">
              <a:extLst>
                <a:ext uri="{FF2B5EF4-FFF2-40B4-BE49-F238E27FC236}">
                  <a16:creationId xmlns:a16="http://schemas.microsoft.com/office/drawing/2014/main" id="{969CAEE9-4148-36BD-9FF4-7180352607B4}"/>
                </a:ext>
              </a:extLst>
            </p:cNvPr>
            <p:cNvSpPr/>
            <p:nvPr/>
          </p:nvSpPr>
          <p:spPr>
            <a:xfrm>
              <a:off x="5868646" y="2583180"/>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28" name="Freeform: Shape 127">
              <a:extLst>
                <a:ext uri="{FF2B5EF4-FFF2-40B4-BE49-F238E27FC236}">
                  <a16:creationId xmlns:a16="http://schemas.microsoft.com/office/drawing/2014/main" id="{62435B72-FE7D-DF3B-464F-7F7A60313EBF}"/>
                </a:ext>
              </a:extLst>
            </p:cNvPr>
            <p:cNvSpPr/>
            <p:nvPr/>
          </p:nvSpPr>
          <p:spPr>
            <a:xfrm>
              <a:off x="5915610" y="2583180"/>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29" name="Freeform: Shape 128">
              <a:extLst>
                <a:ext uri="{FF2B5EF4-FFF2-40B4-BE49-F238E27FC236}">
                  <a16:creationId xmlns:a16="http://schemas.microsoft.com/office/drawing/2014/main" id="{FFAF4FAC-44EC-4E0F-0126-D756FF22D3BE}"/>
                </a:ext>
              </a:extLst>
            </p:cNvPr>
            <p:cNvSpPr/>
            <p:nvPr/>
          </p:nvSpPr>
          <p:spPr>
            <a:xfrm>
              <a:off x="5920912" y="2583180"/>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30" name="Freeform: Shape 129">
              <a:extLst>
                <a:ext uri="{FF2B5EF4-FFF2-40B4-BE49-F238E27FC236}">
                  <a16:creationId xmlns:a16="http://schemas.microsoft.com/office/drawing/2014/main" id="{03A89B15-CAF5-A3CA-54AA-1930DA3AEED4}"/>
                </a:ext>
              </a:extLst>
            </p:cNvPr>
            <p:cNvSpPr/>
            <p:nvPr/>
          </p:nvSpPr>
          <p:spPr>
            <a:xfrm>
              <a:off x="5935051" y="2582280"/>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31" name="Freeform: Shape 130">
              <a:extLst>
                <a:ext uri="{FF2B5EF4-FFF2-40B4-BE49-F238E27FC236}">
                  <a16:creationId xmlns:a16="http://schemas.microsoft.com/office/drawing/2014/main" id="{9A8E157F-2C11-0A9A-1CD8-4CEA89D93F87}"/>
                </a:ext>
              </a:extLst>
            </p:cNvPr>
            <p:cNvSpPr/>
            <p:nvPr/>
          </p:nvSpPr>
          <p:spPr>
            <a:xfrm>
              <a:off x="5949191" y="2620967"/>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32" name="Freeform: Shape 131">
              <a:extLst>
                <a:ext uri="{FF2B5EF4-FFF2-40B4-BE49-F238E27FC236}">
                  <a16:creationId xmlns:a16="http://schemas.microsoft.com/office/drawing/2014/main" id="{585BB54D-D421-1106-D57A-9744261ACA2C}"/>
                </a:ext>
              </a:extLst>
            </p:cNvPr>
            <p:cNvSpPr/>
            <p:nvPr/>
          </p:nvSpPr>
          <p:spPr>
            <a:xfrm>
              <a:off x="6125935" y="2620967"/>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33" name="Freeform: Shape 132">
              <a:extLst>
                <a:ext uri="{FF2B5EF4-FFF2-40B4-BE49-F238E27FC236}">
                  <a16:creationId xmlns:a16="http://schemas.microsoft.com/office/drawing/2014/main" id="{1C7EBE08-0AA0-A03D-9B22-CCB485AE6BD5}"/>
                </a:ext>
              </a:extLst>
            </p:cNvPr>
            <p:cNvSpPr/>
            <p:nvPr/>
          </p:nvSpPr>
          <p:spPr>
            <a:xfrm>
              <a:off x="6337523" y="2630864"/>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34" name="Freeform: Shape 133">
              <a:extLst>
                <a:ext uri="{FF2B5EF4-FFF2-40B4-BE49-F238E27FC236}">
                  <a16:creationId xmlns:a16="http://schemas.microsoft.com/office/drawing/2014/main" id="{9E18683D-0C23-6BAD-4B09-BA5770BCF9A7}"/>
                </a:ext>
              </a:extLst>
            </p:cNvPr>
            <p:cNvSpPr/>
            <p:nvPr/>
          </p:nvSpPr>
          <p:spPr>
            <a:xfrm>
              <a:off x="6344592" y="2630864"/>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35" name="Freeform: Shape 134">
              <a:extLst>
                <a:ext uri="{FF2B5EF4-FFF2-40B4-BE49-F238E27FC236}">
                  <a16:creationId xmlns:a16="http://schemas.microsoft.com/office/drawing/2014/main" id="{B4965DB1-24A6-101D-7442-F1422BC476BB}"/>
                </a:ext>
              </a:extLst>
            </p:cNvPr>
            <p:cNvSpPr/>
            <p:nvPr/>
          </p:nvSpPr>
          <p:spPr>
            <a:xfrm>
              <a:off x="6357848" y="2679577"/>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36" name="Freeform: Shape 135">
              <a:extLst>
                <a:ext uri="{FF2B5EF4-FFF2-40B4-BE49-F238E27FC236}">
                  <a16:creationId xmlns:a16="http://schemas.microsoft.com/office/drawing/2014/main" id="{CB81158B-3710-1C8E-90B9-D43912C7DB8B}"/>
                </a:ext>
              </a:extLst>
            </p:cNvPr>
            <p:cNvSpPr/>
            <p:nvPr/>
          </p:nvSpPr>
          <p:spPr>
            <a:xfrm>
              <a:off x="6379815" y="2679577"/>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37" name="Freeform: Shape 136">
              <a:extLst>
                <a:ext uri="{FF2B5EF4-FFF2-40B4-BE49-F238E27FC236}">
                  <a16:creationId xmlns:a16="http://schemas.microsoft.com/office/drawing/2014/main" id="{DC13B44A-B6F1-4B77-9B44-6E013649FC50}"/>
                </a:ext>
              </a:extLst>
            </p:cNvPr>
            <p:cNvSpPr/>
            <p:nvPr/>
          </p:nvSpPr>
          <p:spPr>
            <a:xfrm>
              <a:off x="6816625" y="276607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38" name="Freeform: Shape 137">
              <a:extLst>
                <a:ext uri="{FF2B5EF4-FFF2-40B4-BE49-F238E27FC236}">
                  <a16:creationId xmlns:a16="http://schemas.microsoft.com/office/drawing/2014/main" id="{0F551E20-0703-1FC5-8D2D-047C25C4D2E1}"/>
                </a:ext>
              </a:extLst>
            </p:cNvPr>
            <p:cNvSpPr/>
            <p:nvPr/>
          </p:nvSpPr>
          <p:spPr>
            <a:xfrm>
              <a:off x="6683688" y="270116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39" name="Freeform: Shape 138">
              <a:extLst>
                <a:ext uri="{FF2B5EF4-FFF2-40B4-BE49-F238E27FC236}">
                  <a16:creationId xmlns:a16="http://schemas.microsoft.com/office/drawing/2014/main" id="{82AC55EE-EE53-57BE-5723-20B19505FD54}"/>
                </a:ext>
              </a:extLst>
            </p:cNvPr>
            <p:cNvSpPr/>
            <p:nvPr/>
          </p:nvSpPr>
          <p:spPr>
            <a:xfrm>
              <a:off x="6690884" y="270116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40" name="Freeform: Shape 139">
              <a:extLst>
                <a:ext uri="{FF2B5EF4-FFF2-40B4-BE49-F238E27FC236}">
                  <a16:creationId xmlns:a16="http://schemas.microsoft.com/office/drawing/2014/main" id="{744141CF-B0DF-AD25-41B1-BFF01F4CF8BF}"/>
                </a:ext>
              </a:extLst>
            </p:cNvPr>
            <p:cNvSpPr/>
            <p:nvPr/>
          </p:nvSpPr>
          <p:spPr>
            <a:xfrm>
              <a:off x="6709442" y="2712994"/>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41" name="Freeform: Shape 140">
              <a:extLst>
                <a:ext uri="{FF2B5EF4-FFF2-40B4-BE49-F238E27FC236}">
                  <a16:creationId xmlns:a16="http://schemas.microsoft.com/office/drawing/2014/main" id="{492F6E13-351F-134B-C03B-C0E9F8469427}"/>
                </a:ext>
              </a:extLst>
            </p:cNvPr>
            <p:cNvSpPr/>
            <p:nvPr/>
          </p:nvSpPr>
          <p:spPr>
            <a:xfrm>
              <a:off x="6720047" y="2712994"/>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42" name="Freeform: Shape 141">
              <a:extLst>
                <a:ext uri="{FF2B5EF4-FFF2-40B4-BE49-F238E27FC236}">
                  <a16:creationId xmlns:a16="http://schemas.microsoft.com/office/drawing/2014/main" id="{26A3AF2C-0ABF-1E97-7E4C-98E9B8C92CDC}"/>
                </a:ext>
              </a:extLst>
            </p:cNvPr>
            <p:cNvSpPr/>
            <p:nvPr/>
          </p:nvSpPr>
          <p:spPr>
            <a:xfrm>
              <a:off x="6738605" y="2733687"/>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43" name="Freeform: Shape 142">
              <a:extLst>
                <a:ext uri="{FF2B5EF4-FFF2-40B4-BE49-F238E27FC236}">
                  <a16:creationId xmlns:a16="http://schemas.microsoft.com/office/drawing/2014/main" id="{C52309D1-3228-C9F4-8AA5-52B60F6F808D}"/>
                </a:ext>
              </a:extLst>
            </p:cNvPr>
            <p:cNvSpPr/>
            <p:nvPr/>
          </p:nvSpPr>
          <p:spPr>
            <a:xfrm>
              <a:off x="6756406" y="276607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44" name="Freeform: Shape 143">
              <a:extLst>
                <a:ext uri="{FF2B5EF4-FFF2-40B4-BE49-F238E27FC236}">
                  <a16:creationId xmlns:a16="http://schemas.microsoft.com/office/drawing/2014/main" id="{56DE69A6-BE0E-896A-56E3-7DB43DF2734C}"/>
                </a:ext>
              </a:extLst>
            </p:cNvPr>
            <p:cNvSpPr/>
            <p:nvPr/>
          </p:nvSpPr>
          <p:spPr>
            <a:xfrm>
              <a:off x="6763476" y="276607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45" name="Freeform: Shape 144">
              <a:extLst>
                <a:ext uri="{FF2B5EF4-FFF2-40B4-BE49-F238E27FC236}">
                  <a16:creationId xmlns:a16="http://schemas.microsoft.com/office/drawing/2014/main" id="{8F43E053-3DD8-4BAE-DE8D-545F1471915E}"/>
                </a:ext>
              </a:extLst>
            </p:cNvPr>
            <p:cNvSpPr/>
            <p:nvPr/>
          </p:nvSpPr>
          <p:spPr>
            <a:xfrm>
              <a:off x="6745675" y="276607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46" name="Freeform: Shape 145">
              <a:extLst>
                <a:ext uri="{FF2B5EF4-FFF2-40B4-BE49-F238E27FC236}">
                  <a16:creationId xmlns:a16="http://schemas.microsoft.com/office/drawing/2014/main" id="{C5031B70-D2FE-4205-A7C6-DA79142BE1FB}"/>
                </a:ext>
              </a:extLst>
            </p:cNvPr>
            <p:cNvSpPr/>
            <p:nvPr/>
          </p:nvSpPr>
          <p:spPr>
            <a:xfrm>
              <a:off x="6923681" y="276607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47" name="Freeform: Shape 146">
              <a:extLst>
                <a:ext uri="{FF2B5EF4-FFF2-40B4-BE49-F238E27FC236}">
                  <a16:creationId xmlns:a16="http://schemas.microsoft.com/office/drawing/2014/main" id="{E7BE180E-C464-754A-E2B7-E6E76918D9BD}"/>
                </a:ext>
              </a:extLst>
            </p:cNvPr>
            <p:cNvSpPr/>
            <p:nvPr/>
          </p:nvSpPr>
          <p:spPr>
            <a:xfrm>
              <a:off x="7002459" y="276607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48" name="Freeform: Shape 147">
              <a:extLst>
                <a:ext uri="{FF2B5EF4-FFF2-40B4-BE49-F238E27FC236}">
                  <a16:creationId xmlns:a16="http://schemas.microsoft.com/office/drawing/2014/main" id="{A03A6B12-C467-CE7C-2423-C9DA3F2EDD80}"/>
                </a:ext>
              </a:extLst>
            </p:cNvPr>
            <p:cNvSpPr/>
            <p:nvPr/>
          </p:nvSpPr>
          <p:spPr>
            <a:xfrm>
              <a:off x="7014073" y="2766076"/>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49" name="Freeform: Shape 148">
              <a:extLst>
                <a:ext uri="{FF2B5EF4-FFF2-40B4-BE49-F238E27FC236}">
                  <a16:creationId xmlns:a16="http://schemas.microsoft.com/office/drawing/2014/main" id="{2BE22395-3FBE-326B-678B-14AA678B085A}"/>
                </a:ext>
              </a:extLst>
            </p:cNvPr>
            <p:cNvSpPr/>
            <p:nvPr/>
          </p:nvSpPr>
          <p:spPr>
            <a:xfrm>
              <a:off x="7091967" y="2804892"/>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50" name="Freeform: Shape 149">
              <a:extLst>
                <a:ext uri="{FF2B5EF4-FFF2-40B4-BE49-F238E27FC236}">
                  <a16:creationId xmlns:a16="http://schemas.microsoft.com/office/drawing/2014/main" id="{85DAE203-92A6-85FF-5F90-67F10B0F7DC2}"/>
                </a:ext>
              </a:extLst>
            </p:cNvPr>
            <p:cNvSpPr/>
            <p:nvPr/>
          </p:nvSpPr>
          <p:spPr>
            <a:xfrm>
              <a:off x="7100551" y="2804892"/>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51" name="Freeform: Shape 150">
              <a:extLst>
                <a:ext uri="{FF2B5EF4-FFF2-40B4-BE49-F238E27FC236}">
                  <a16:creationId xmlns:a16="http://schemas.microsoft.com/office/drawing/2014/main" id="{EBB6F399-5651-C584-805C-DE51CA17CB40}"/>
                </a:ext>
              </a:extLst>
            </p:cNvPr>
            <p:cNvSpPr/>
            <p:nvPr/>
          </p:nvSpPr>
          <p:spPr>
            <a:xfrm>
              <a:off x="7113807" y="2804892"/>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52" name="Freeform: Shape 151">
              <a:extLst>
                <a:ext uri="{FF2B5EF4-FFF2-40B4-BE49-F238E27FC236}">
                  <a16:creationId xmlns:a16="http://schemas.microsoft.com/office/drawing/2014/main" id="{7A132526-E450-857A-3A39-7FD267D630A5}"/>
                </a:ext>
              </a:extLst>
            </p:cNvPr>
            <p:cNvSpPr/>
            <p:nvPr/>
          </p:nvSpPr>
          <p:spPr>
            <a:xfrm>
              <a:off x="7435229" y="2804892"/>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53" name="Freeform: Shape 152">
              <a:extLst>
                <a:ext uri="{FF2B5EF4-FFF2-40B4-BE49-F238E27FC236}">
                  <a16:creationId xmlns:a16="http://schemas.microsoft.com/office/drawing/2014/main" id="{3392E176-912B-200E-F3E4-FA08D8A51FC3}"/>
                </a:ext>
              </a:extLst>
            </p:cNvPr>
            <p:cNvSpPr/>
            <p:nvPr/>
          </p:nvSpPr>
          <p:spPr>
            <a:xfrm>
              <a:off x="7454671" y="2804892"/>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54" name="Freeform: Shape 153">
              <a:extLst>
                <a:ext uri="{FF2B5EF4-FFF2-40B4-BE49-F238E27FC236}">
                  <a16:creationId xmlns:a16="http://schemas.microsoft.com/office/drawing/2014/main" id="{49C913E5-8D8A-F2D0-D3AE-53AEF5DA346B}"/>
                </a:ext>
              </a:extLst>
            </p:cNvPr>
            <p:cNvSpPr/>
            <p:nvPr/>
          </p:nvSpPr>
          <p:spPr>
            <a:xfrm>
              <a:off x="7518425" y="2895119"/>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55" name="Freeform: Shape 154">
              <a:extLst>
                <a:ext uri="{FF2B5EF4-FFF2-40B4-BE49-F238E27FC236}">
                  <a16:creationId xmlns:a16="http://schemas.microsoft.com/office/drawing/2014/main" id="{7B3A0457-E467-AA05-4F3E-C80D237A6628}"/>
                </a:ext>
              </a:extLst>
            </p:cNvPr>
            <p:cNvSpPr/>
            <p:nvPr/>
          </p:nvSpPr>
          <p:spPr>
            <a:xfrm>
              <a:off x="7488378" y="2895119"/>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56" name="Freeform: Shape 155">
              <a:extLst>
                <a:ext uri="{FF2B5EF4-FFF2-40B4-BE49-F238E27FC236}">
                  <a16:creationId xmlns:a16="http://schemas.microsoft.com/office/drawing/2014/main" id="{8E61A2CE-672A-3D96-5753-E042A955B2DC}"/>
                </a:ext>
              </a:extLst>
            </p:cNvPr>
            <p:cNvSpPr/>
            <p:nvPr/>
          </p:nvSpPr>
          <p:spPr>
            <a:xfrm>
              <a:off x="7941726" y="2895119"/>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57" name="Freeform: Shape 156">
              <a:extLst>
                <a:ext uri="{FF2B5EF4-FFF2-40B4-BE49-F238E27FC236}">
                  <a16:creationId xmlns:a16="http://schemas.microsoft.com/office/drawing/2014/main" id="{8F4E646E-4802-D8F2-55DC-BF3FF5DCB806}"/>
                </a:ext>
              </a:extLst>
            </p:cNvPr>
            <p:cNvSpPr/>
            <p:nvPr/>
          </p:nvSpPr>
          <p:spPr>
            <a:xfrm>
              <a:off x="7956750" y="2895119"/>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58" name="Freeform: Shape 157">
              <a:extLst>
                <a:ext uri="{FF2B5EF4-FFF2-40B4-BE49-F238E27FC236}">
                  <a16:creationId xmlns:a16="http://schemas.microsoft.com/office/drawing/2014/main" id="{F8278737-725C-F8AC-ECBD-6B072352C7A1}"/>
                </a:ext>
              </a:extLst>
            </p:cNvPr>
            <p:cNvSpPr/>
            <p:nvPr/>
          </p:nvSpPr>
          <p:spPr>
            <a:xfrm>
              <a:off x="7977201" y="2895119"/>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59" name="Freeform: Shape 158">
              <a:extLst>
                <a:ext uri="{FF2B5EF4-FFF2-40B4-BE49-F238E27FC236}">
                  <a16:creationId xmlns:a16="http://schemas.microsoft.com/office/drawing/2014/main" id="{46976749-47C8-2206-5B5D-52234702357A}"/>
                </a:ext>
              </a:extLst>
            </p:cNvPr>
            <p:cNvSpPr/>
            <p:nvPr/>
          </p:nvSpPr>
          <p:spPr>
            <a:xfrm>
              <a:off x="8012550" y="2895119"/>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60" name="Freeform: Shape 159">
              <a:extLst>
                <a:ext uri="{FF2B5EF4-FFF2-40B4-BE49-F238E27FC236}">
                  <a16:creationId xmlns:a16="http://schemas.microsoft.com/office/drawing/2014/main" id="{E5FD88C7-EC3D-FE5F-0EFD-30DA8C6CC256}"/>
                </a:ext>
              </a:extLst>
            </p:cNvPr>
            <p:cNvSpPr/>
            <p:nvPr/>
          </p:nvSpPr>
          <p:spPr>
            <a:xfrm>
              <a:off x="6248898" y="2620967"/>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61" name="Freeform: Shape 160">
              <a:extLst>
                <a:ext uri="{FF2B5EF4-FFF2-40B4-BE49-F238E27FC236}">
                  <a16:creationId xmlns:a16="http://schemas.microsoft.com/office/drawing/2014/main" id="{24A2CC9F-4768-7260-F41D-30625C6EDCFD}"/>
                </a:ext>
              </a:extLst>
            </p:cNvPr>
            <p:cNvSpPr/>
            <p:nvPr/>
          </p:nvSpPr>
          <p:spPr>
            <a:xfrm>
              <a:off x="6261397" y="2620967"/>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62" name="Freeform: Shape 161">
              <a:extLst>
                <a:ext uri="{FF2B5EF4-FFF2-40B4-BE49-F238E27FC236}">
                  <a16:creationId xmlns:a16="http://schemas.microsoft.com/office/drawing/2014/main" id="{77E84622-E463-65FE-712C-2A82A4D19799}"/>
                </a:ext>
              </a:extLst>
            </p:cNvPr>
            <p:cNvSpPr/>
            <p:nvPr/>
          </p:nvSpPr>
          <p:spPr>
            <a:xfrm>
              <a:off x="6267583" y="2620967"/>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63" name="Freeform: Shape 162">
              <a:extLst>
                <a:ext uri="{FF2B5EF4-FFF2-40B4-BE49-F238E27FC236}">
                  <a16:creationId xmlns:a16="http://schemas.microsoft.com/office/drawing/2014/main" id="{D3CE9881-692F-9167-CE6E-2434AA83F10D}"/>
                </a:ext>
              </a:extLst>
            </p:cNvPr>
            <p:cNvSpPr/>
            <p:nvPr/>
          </p:nvSpPr>
          <p:spPr>
            <a:xfrm>
              <a:off x="5880892" y="2583180"/>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64" name="Freeform: Shape 163">
              <a:extLst>
                <a:ext uri="{FF2B5EF4-FFF2-40B4-BE49-F238E27FC236}">
                  <a16:creationId xmlns:a16="http://schemas.microsoft.com/office/drawing/2014/main" id="{C5D45A39-BECF-03E2-100A-2F7A6E6DEA3B}"/>
                </a:ext>
              </a:extLst>
            </p:cNvPr>
            <p:cNvSpPr/>
            <p:nvPr/>
          </p:nvSpPr>
          <p:spPr>
            <a:xfrm>
              <a:off x="5887709" y="2583180"/>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65" name="Freeform: Shape 164">
              <a:extLst>
                <a:ext uri="{FF2B5EF4-FFF2-40B4-BE49-F238E27FC236}">
                  <a16:creationId xmlns:a16="http://schemas.microsoft.com/office/drawing/2014/main" id="{AC8C3B4F-EE7E-AB96-9C7D-F63CA187965A}"/>
                </a:ext>
              </a:extLst>
            </p:cNvPr>
            <p:cNvSpPr/>
            <p:nvPr/>
          </p:nvSpPr>
          <p:spPr>
            <a:xfrm>
              <a:off x="5557451" y="2527784"/>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66" name="Freeform: Shape 165">
              <a:extLst>
                <a:ext uri="{FF2B5EF4-FFF2-40B4-BE49-F238E27FC236}">
                  <a16:creationId xmlns:a16="http://schemas.microsoft.com/office/drawing/2014/main" id="{52C014EC-12C0-EFC2-5FA5-C6EBB2E48CF7}"/>
                </a:ext>
              </a:extLst>
            </p:cNvPr>
            <p:cNvSpPr/>
            <p:nvPr/>
          </p:nvSpPr>
          <p:spPr>
            <a:xfrm>
              <a:off x="5573989" y="2539223"/>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67" name="Freeform: Shape 166">
              <a:extLst>
                <a:ext uri="{FF2B5EF4-FFF2-40B4-BE49-F238E27FC236}">
                  <a16:creationId xmlns:a16="http://schemas.microsoft.com/office/drawing/2014/main" id="{08C11140-1332-3248-498B-4F5500B035C0}"/>
                </a:ext>
              </a:extLst>
            </p:cNvPr>
            <p:cNvSpPr/>
            <p:nvPr/>
          </p:nvSpPr>
          <p:spPr>
            <a:xfrm>
              <a:off x="5593431" y="2556061"/>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68" name="Freeform: Shape 167">
              <a:extLst>
                <a:ext uri="{FF2B5EF4-FFF2-40B4-BE49-F238E27FC236}">
                  <a16:creationId xmlns:a16="http://schemas.microsoft.com/office/drawing/2014/main" id="{255010D4-739B-D326-AB0E-18385E32D10A}"/>
                </a:ext>
              </a:extLst>
            </p:cNvPr>
            <p:cNvSpPr/>
            <p:nvPr/>
          </p:nvSpPr>
          <p:spPr>
            <a:xfrm>
              <a:off x="5577650" y="2549120"/>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69" name="Freeform: Shape 168">
              <a:extLst>
                <a:ext uri="{FF2B5EF4-FFF2-40B4-BE49-F238E27FC236}">
                  <a16:creationId xmlns:a16="http://schemas.microsoft.com/office/drawing/2014/main" id="{A5CF957C-E7F6-B351-5198-C0CCA836F620}"/>
                </a:ext>
              </a:extLst>
            </p:cNvPr>
            <p:cNvSpPr/>
            <p:nvPr/>
          </p:nvSpPr>
          <p:spPr>
            <a:xfrm>
              <a:off x="5542427" y="2521615"/>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70" name="Freeform: Shape 169">
              <a:extLst>
                <a:ext uri="{FF2B5EF4-FFF2-40B4-BE49-F238E27FC236}">
                  <a16:creationId xmlns:a16="http://schemas.microsoft.com/office/drawing/2014/main" id="{4A55AC67-A148-F95E-CDDB-99C36EA8A460}"/>
                </a:ext>
              </a:extLst>
            </p:cNvPr>
            <p:cNvSpPr/>
            <p:nvPr/>
          </p:nvSpPr>
          <p:spPr>
            <a:xfrm>
              <a:off x="5519956" y="2485755"/>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71" name="Freeform: Shape 170">
              <a:extLst>
                <a:ext uri="{FF2B5EF4-FFF2-40B4-BE49-F238E27FC236}">
                  <a16:creationId xmlns:a16="http://schemas.microsoft.com/office/drawing/2014/main" id="{5B828885-E3E3-0AC0-52F8-C3CC20B7BABA}"/>
                </a:ext>
              </a:extLst>
            </p:cNvPr>
            <p:cNvSpPr/>
            <p:nvPr/>
          </p:nvSpPr>
          <p:spPr>
            <a:xfrm>
              <a:off x="5534979" y="2517759"/>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72" name="Freeform: Shape 171">
              <a:extLst>
                <a:ext uri="{FF2B5EF4-FFF2-40B4-BE49-F238E27FC236}">
                  <a16:creationId xmlns:a16="http://schemas.microsoft.com/office/drawing/2014/main" id="{D16B1D94-860D-D8A9-8BDA-FF14C59DF418}"/>
                </a:ext>
              </a:extLst>
            </p:cNvPr>
            <p:cNvSpPr/>
            <p:nvPr/>
          </p:nvSpPr>
          <p:spPr>
            <a:xfrm>
              <a:off x="5528919" y="2497966"/>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73" name="Freeform: Shape 172">
              <a:extLst>
                <a:ext uri="{FF2B5EF4-FFF2-40B4-BE49-F238E27FC236}">
                  <a16:creationId xmlns:a16="http://schemas.microsoft.com/office/drawing/2014/main" id="{27AC45DD-A55B-F533-8F5D-C89B3F13EFBA}"/>
                </a:ext>
              </a:extLst>
            </p:cNvPr>
            <p:cNvSpPr/>
            <p:nvPr/>
          </p:nvSpPr>
          <p:spPr>
            <a:xfrm>
              <a:off x="5169876" y="2415322"/>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74" name="Freeform: Shape 173">
              <a:extLst>
                <a:ext uri="{FF2B5EF4-FFF2-40B4-BE49-F238E27FC236}">
                  <a16:creationId xmlns:a16="http://schemas.microsoft.com/office/drawing/2014/main" id="{7524D97C-87BA-6646-D88F-40ED5973032D}"/>
                </a:ext>
              </a:extLst>
            </p:cNvPr>
            <p:cNvSpPr/>
            <p:nvPr/>
          </p:nvSpPr>
          <p:spPr>
            <a:xfrm>
              <a:off x="5206109" y="2429974"/>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75" name="Freeform: Shape 174">
              <a:extLst>
                <a:ext uri="{FF2B5EF4-FFF2-40B4-BE49-F238E27FC236}">
                  <a16:creationId xmlns:a16="http://schemas.microsoft.com/office/drawing/2014/main" id="{94E56594-67CC-DE4A-A5E5-A1345F6D40A0}"/>
                </a:ext>
              </a:extLst>
            </p:cNvPr>
            <p:cNvSpPr/>
            <p:nvPr/>
          </p:nvSpPr>
          <p:spPr>
            <a:xfrm>
              <a:off x="5195504" y="2429974"/>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76" name="Freeform: Shape 175">
              <a:extLst>
                <a:ext uri="{FF2B5EF4-FFF2-40B4-BE49-F238E27FC236}">
                  <a16:creationId xmlns:a16="http://schemas.microsoft.com/office/drawing/2014/main" id="{C26EAF2B-16A4-E1EA-626E-51F323381F66}"/>
                </a:ext>
              </a:extLst>
            </p:cNvPr>
            <p:cNvSpPr/>
            <p:nvPr/>
          </p:nvSpPr>
          <p:spPr>
            <a:xfrm>
              <a:off x="5195504" y="2419178"/>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77" name="Freeform: Shape 176">
              <a:extLst>
                <a:ext uri="{FF2B5EF4-FFF2-40B4-BE49-F238E27FC236}">
                  <a16:creationId xmlns:a16="http://schemas.microsoft.com/office/drawing/2014/main" id="{9D4B7A09-207F-B0FB-E85E-B78ECAF5D04D}"/>
                </a:ext>
              </a:extLst>
            </p:cNvPr>
            <p:cNvSpPr/>
            <p:nvPr/>
          </p:nvSpPr>
          <p:spPr>
            <a:xfrm>
              <a:off x="5189318" y="2419178"/>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78" name="Freeform: Shape 177">
              <a:extLst>
                <a:ext uri="{FF2B5EF4-FFF2-40B4-BE49-F238E27FC236}">
                  <a16:creationId xmlns:a16="http://schemas.microsoft.com/office/drawing/2014/main" id="{C09EFC3F-0161-98C5-927A-6B32888437A2}"/>
                </a:ext>
              </a:extLst>
            </p:cNvPr>
            <p:cNvSpPr/>
            <p:nvPr/>
          </p:nvSpPr>
          <p:spPr>
            <a:xfrm>
              <a:off x="3611500" y="2046573"/>
              <a:ext cx="12624" cy="60279"/>
            </a:xfrm>
            <a:custGeom>
              <a:avLst/>
              <a:gdLst>
                <a:gd name="connsiteX0" fmla="*/ 0 w 12624"/>
                <a:gd name="connsiteY0" fmla="*/ 0 h 60279"/>
                <a:gd name="connsiteX1" fmla="*/ 0 w 12624"/>
                <a:gd name="connsiteY1" fmla="*/ 60280 h 60279"/>
              </a:gdLst>
              <a:ahLst/>
              <a:cxnLst>
                <a:cxn ang="0">
                  <a:pos x="connsiteX0" y="connsiteY0"/>
                </a:cxn>
                <a:cxn ang="0">
                  <a:pos x="connsiteX1" y="connsiteY1"/>
                </a:cxn>
              </a:cxnLst>
              <a:rect l="l" t="t" r="r" b="b"/>
              <a:pathLst>
                <a:path w="12624" h="60279">
                  <a:moveTo>
                    <a:pt x="0" y="0"/>
                  </a:moveTo>
                  <a:lnTo>
                    <a:pt x="0" y="60280"/>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79" name="Freeform: Shape 178">
              <a:extLst>
                <a:ext uri="{FF2B5EF4-FFF2-40B4-BE49-F238E27FC236}">
                  <a16:creationId xmlns:a16="http://schemas.microsoft.com/office/drawing/2014/main" id="{FD1595F3-27B9-6760-40DD-532CC7A0F4C8}"/>
                </a:ext>
              </a:extLst>
            </p:cNvPr>
            <p:cNvSpPr/>
            <p:nvPr/>
          </p:nvSpPr>
          <p:spPr>
            <a:xfrm>
              <a:off x="3116869" y="1965600"/>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sp>
          <p:nvSpPr>
            <p:cNvPr id="180" name="Freeform: Shape 179">
              <a:extLst>
                <a:ext uri="{FF2B5EF4-FFF2-40B4-BE49-F238E27FC236}">
                  <a16:creationId xmlns:a16="http://schemas.microsoft.com/office/drawing/2014/main" id="{99786F32-8546-B9FA-CE3A-E24A016341D0}"/>
                </a:ext>
              </a:extLst>
            </p:cNvPr>
            <p:cNvSpPr/>
            <p:nvPr/>
          </p:nvSpPr>
          <p:spPr>
            <a:xfrm>
              <a:off x="3314444" y="1987835"/>
              <a:ext cx="12624" cy="60151"/>
            </a:xfrm>
            <a:custGeom>
              <a:avLst/>
              <a:gdLst>
                <a:gd name="connsiteX0" fmla="*/ 0 w 12624"/>
                <a:gd name="connsiteY0" fmla="*/ 0 h 60151"/>
                <a:gd name="connsiteX1" fmla="*/ 0 w 12624"/>
                <a:gd name="connsiteY1" fmla="*/ 60151 h 60151"/>
              </a:gdLst>
              <a:ahLst/>
              <a:cxnLst>
                <a:cxn ang="0">
                  <a:pos x="connsiteX0" y="connsiteY0"/>
                </a:cxn>
                <a:cxn ang="0">
                  <a:pos x="connsiteX1" y="connsiteY1"/>
                </a:cxn>
              </a:cxnLst>
              <a:rect l="l" t="t" r="r" b="b"/>
              <a:pathLst>
                <a:path w="12624" h="60151">
                  <a:moveTo>
                    <a:pt x="0" y="0"/>
                  </a:moveTo>
                  <a:lnTo>
                    <a:pt x="0" y="60151"/>
                  </a:lnTo>
                </a:path>
              </a:pathLst>
            </a:custGeom>
            <a:ln w="12614" cap="flat">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Johnson Text"/>
                <a:ea typeface="+mn-ea"/>
                <a:cs typeface="+mn-cs"/>
              </a:endParaRPr>
            </a:p>
          </p:txBody>
        </p:sp>
      </p:grpSp>
      <p:sp>
        <p:nvSpPr>
          <p:cNvPr id="187" name="Text Placeholder 3">
            <a:extLst>
              <a:ext uri="{FF2B5EF4-FFF2-40B4-BE49-F238E27FC236}">
                <a16:creationId xmlns:a16="http://schemas.microsoft.com/office/drawing/2014/main" id="{245D55C0-B0EB-2CDC-F296-9735408AB95F}"/>
              </a:ext>
            </a:extLst>
          </p:cNvPr>
          <p:cNvSpPr txBox="1">
            <a:spLocks/>
          </p:cNvSpPr>
          <p:nvPr/>
        </p:nvSpPr>
        <p:spPr>
          <a:xfrm>
            <a:off x="0" y="6595702"/>
            <a:ext cx="5186562" cy="330200"/>
          </a:xfrm>
          <a:prstGeom prst="rect">
            <a:avLst/>
          </a:prstGeom>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GB" sz="750" b="0" i="0" u="none" strike="noStrike" kern="1200" cap="none" spc="0" normalizeH="0" baseline="0" noProof="0" dirty="0">
                <a:ln>
                  <a:noFill/>
                </a:ln>
                <a:solidFill>
                  <a:srgbClr val="000000"/>
                </a:solidFill>
                <a:effectLst/>
                <a:uLnTx/>
                <a:uFillTx/>
                <a:latin typeface="Johnson Text"/>
                <a:ea typeface="+mn-ea"/>
                <a:cs typeface="+mn-cs"/>
              </a:rPr>
              <a:t>Presented by M Campelo at the European Lung Cancer Congress; March 20–23  2024; Prague, Czech Republic</a:t>
            </a:r>
          </a:p>
        </p:txBody>
      </p:sp>
    </p:spTree>
    <p:custDataLst>
      <p:tags r:id="rId1"/>
    </p:custDataLst>
    <p:extLst>
      <p:ext uri="{BB962C8B-B14F-4D97-AF65-F5344CB8AC3E}">
        <p14:creationId xmlns:p14="http://schemas.microsoft.com/office/powerpoint/2010/main" val="33451937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CC130-7BFC-CB64-53DE-57364A98C1BC}"/>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8EABDA01-302B-7785-4665-23489E96A620}"/>
              </a:ext>
            </a:extLst>
          </p:cNvPr>
          <p:cNvSpPr/>
          <p:nvPr/>
        </p:nvSpPr>
        <p:spPr>
          <a:xfrm>
            <a:off x="883264" y="1344161"/>
            <a:ext cx="10785823" cy="4254725"/>
          </a:xfrm>
          <a:prstGeom prst="rect">
            <a:avLst/>
          </a:prstGeom>
          <a:solidFill>
            <a:srgbClr val="F6F5F4"/>
          </a:solidFill>
          <a:ln>
            <a:noFill/>
          </a:ln>
          <a:effectLst>
            <a:outerShdw blurRad="63500" sx="101000" sy="101000" algn="ctr"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6D82FEA5-73AB-39A5-3DE4-1158BB22E66F}"/>
              </a:ext>
            </a:extLst>
          </p:cNvPr>
          <p:cNvSpPr>
            <a:spLocks noGrp="1"/>
          </p:cNvSpPr>
          <p:nvPr>
            <p:ph type="title"/>
          </p:nvPr>
        </p:nvSpPr>
        <p:spPr/>
        <p:txBody>
          <a:bodyPr/>
          <a:lstStyle/>
          <a:p>
            <a:r>
              <a:rPr lang="en-GB" noProof="0" dirty="0"/>
              <a:t>Prophylactic management for MARIPOSA combo</a:t>
            </a:r>
          </a:p>
        </p:txBody>
      </p:sp>
      <p:sp>
        <p:nvSpPr>
          <p:cNvPr id="7" name="TextBox 6">
            <a:extLst>
              <a:ext uri="{FF2B5EF4-FFF2-40B4-BE49-F238E27FC236}">
                <a16:creationId xmlns:a16="http://schemas.microsoft.com/office/drawing/2014/main" id="{D887A4FA-FC91-FB88-2F7E-E54324072477}"/>
              </a:ext>
            </a:extLst>
          </p:cNvPr>
          <p:cNvSpPr txBox="1"/>
          <p:nvPr/>
        </p:nvSpPr>
        <p:spPr>
          <a:xfrm>
            <a:off x="5939028" y="1333358"/>
            <a:ext cx="5717157" cy="355276"/>
          </a:xfrm>
          <a:prstGeom prst="rect">
            <a:avLst/>
          </a:prstGeom>
          <a:gradFill>
            <a:gsLst>
              <a:gs pos="0">
                <a:schemeClr val="accent1"/>
              </a:gs>
              <a:gs pos="100000">
                <a:schemeClr val="accent1"/>
              </a:gs>
              <a:gs pos="93000">
                <a:schemeClr val="accent6"/>
              </a:gs>
              <a:gs pos="7000">
                <a:schemeClr val="accent6"/>
              </a:gs>
            </a:gsLst>
            <a:lin ang="0" scaled="1"/>
          </a:gradFill>
        </p:spPr>
        <p:txBody>
          <a:bodyPr wrap="square" lIns="108000" tIns="54000" rIns="108000" bIns="540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COON prophylactic</a:t>
            </a:r>
            <a:endParaRPr kumimoji="0" lang="en-GB" sz="16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 name="Freeform 28">
            <a:extLst>
              <a:ext uri="{FF2B5EF4-FFF2-40B4-BE49-F238E27FC236}">
                <a16:creationId xmlns:a16="http://schemas.microsoft.com/office/drawing/2014/main" id="{BD8F3D85-C0BF-450F-1961-4EC8A4FB7AFD}"/>
              </a:ext>
            </a:extLst>
          </p:cNvPr>
          <p:cNvSpPr/>
          <p:nvPr/>
        </p:nvSpPr>
        <p:spPr>
          <a:xfrm>
            <a:off x="7132693" y="4055674"/>
            <a:ext cx="778863" cy="1155544"/>
          </a:xfrm>
          <a:custGeom>
            <a:avLst/>
            <a:gdLst>
              <a:gd name="connsiteX0" fmla="*/ 0 w 792300"/>
              <a:gd name="connsiteY0" fmla="*/ 0 h 1065590"/>
              <a:gd name="connsiteX1" fmla="*/ 792301 w 792300"/>
              <a:gd name="connsiteY1" fmla="*/ 0 h 1065590"/>
              <a:gd name="connsiteX2" fmla="*/ 792301 w 792300"/>
              <a:gd name="connsiteY2" fmla="*/ 1065591 h 1065590"/>
              <a:gd name="connsiteX3" fmla="*/ 0 w 792300"/>
              <a:gd name="connsiteY3" fmla="*/ 1065591 h 1065590"/>
            </a:gdLst>
            <a:ahLst/>
            <a:cxnLst>
              <a:cxn ang="0">
                <a:pos x="connsiteX0" y="connsiteY0"/>
              </a:cxn>
              <a:cxn ang="0">
                <a:pos x="connsiteX1" y="connsiteY1"/>
              </a:cxn>
              <a:cxn ang="0">
                <a:pos x="connsiteX2" y="connsiteY2"/>
              </a:cxn>
              <a:cxn ang="0">
                <a:pos x="connsiteX3" y="connsiteY3"/>
              </a:cxn>
            </a:cxnLst>
            <a:rect l="l" t="t" r="r" b="b"/>
            <a:pathLst>
              <a:path w="792300" h="1065590">
                <a:moveTo>
                  <a:pt x="0" y="0"/>
                </a:moveTo>
                <a:lnTo>
                  <a:pt x="792301" y="0"/>
                </a:lnTo>
                <a:lnTo>
                  <a:pt x="792301" y="1065591"/>
                </a:lnTo>
                <a:lnTo>
                  <a:pt x="0" y="1065591"/>
                </a:lnTo>
                <a:close/>
              </a:path>
            </a:pathLst>
          </a:custGeom>
          <a:solidFill>
            <a:srgbClr val="8D56B2"/>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Freeform 29">
            <a:extLst>
              <a:ext uri="{FF2B5EF4-FFF2-40B4-BE49-F238E27FC236}">
                <a16:creationId xmlns:a16="http://schemas.microsoft.com/office/drawing/2014/main" id="{067890C4-F03C-FA36-3E7D-1F2A125632D0}"/>
              </a:ext>
            </a:extLst>
          </p:cNvPr>
          <p:cNvSpPr/>
          <p:nvPr/>
        </p:nvSpPr>
        <p:spPr>
          <a:xfrm>
            <a:off x="7132693" y="3914880"/>
            <a:ext cx="778863" cy="140794"/>
          </a:xfrm>
          <a:custGeom>
            <a:avLst/>
            <a:gdLst>
              <a:gd name="connsiteX0" fmla="*/ 0 w 792300"/>
              <a:gd name="connsiteY0" fmla="*/ 0 h 125909"/>
              <a:gd name="connsiteX1" fmla="*/ 792301 w 792300"/>
              <a:gd name="connsiteY1" fmla="*/ 0 h 125909"/>
              <a:gd name="connsiteX2" fmla="*/ 792301 w 792300"/>
              <a:gd name="connsiteY2" fmla="*/ 125909 h 125909"/>
              <a:gd name="connsiteX3" fmla="*/ 0 w 792300"/>
              <a:gd name="connsiteY3" fmla="*/ 125909 h 125909"/>
            </a:gdLst>
            <a:ahLst/>
            <a:cxnLst>
              <a:cxn ang="0">
                <a:pos x="connsiteX0" y="connsiteY0"/>
              </a:cxn>
              <a:cxn ang="0">
                <a:pos x="connsiteX1" y="connsiteY1"/>
              </a:cxn>
              <a:cxn ang="0">
                <a:pos x="connsiteX2" y="connsiteY2"/>
              </a:cxn>
              <a:cxn ang="0">
                <a:pos x="connsiteX3" y="connsiteY3"/>
              </a:cxn>
            </a:cxnLst>
            <a:rect l="l" t="t" r="r" b="b"/>
            <a:pathLst>
              <a:path w="792300" h="125909">
                <a:moveTo>
                  <a:pt x="0" y="0"/>
                </a:moveTo>
                <a:lnTo>
                  <a:pt x="792301" y="0"/>
                </a:lnTo>
                <a:lnTo>
                  <a:pt x="792301" y="125909"/>
                </a:lnTo>
                <a:lnTo>
                  <a:pt x="0" y="125909"/>
                </a:lnTo>
                <a:close/>
              </a:path>
            </a:pathLst>
          </a:custGeom>
          <a:solidFill>
            <a:schemeClr val="accent6">
              <a:lumMod val="75000"/>
            </a:schemeClr>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 name="Freeform 60">
            <a:extLst>
              <a:ext uri="{FF2B5EF4-FFF2-40B4-BE49-F238E27FC236}">
                <a16:creationId xmlns:a16="http://schemas.microsoft.com/office/drawing/2014/main" id="{946F5360-CE25-0219-9DD0-4BEA4A548A3B}"/>
              </a:ext>
            </a:extLst>
          </p:cNvPr>
          <p:cNvSpPr/>
          <p:nvPr/>
        </p:nvSpPr>
        <p:spPr>
          <a:xfrm>
            <a:off x="8323344" y="5206246"/>
            <a:ext cx="12490" cy="63932"/>
          </a:xfrm>
          <a:custGeom>
            <a:avLst/>
            <a:gdLst>
              <a:gd name="connsiteX0" fmla="*/ 0 w 12705"/>
              <a:gd name="connsiteY0" fmla="*/ 0 h 57173"/>
              <a:gd name="connsiteX1" fmla="*/ 0 w 12705"/>
              <a:gd name="connsiteY1" fmla="*/ 57174 h 57173"/>
            </a:gdLst>
            <a:ahLst/>
            <a:cxnLst>
              <a:cxn ang="0">
                <a:pos x="connsiteX0" y="connsiteY0"/>
              </a:cxn>
              <a:cxn ang="0">
                <a:pos x="connsiteX1" y="connsiteY1"/>
              </a:cxn>
            </a:cxnLst>
            <a:rect l="l" t="t" r="r" b="b"/>
            <a:pathLst>
              <a:path w="12705" h="57173">
                <a:moveTo>
                  <a:pt x="0" y="0"/>
                </a:moveTo>
                <a:lnTo>
                  <a:pt x="0" y="57174"/>
                </a:lnTo>
              </a:path>
            </a:pathLst>
          </a:custGeom>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99" name="Group 98">
            <a:extLst>
              <a:ext uri="{FF2B5EF4-FFF2-40B4-BE49-F238E27FC236}">
                <a16:creationId xmlns:a16="http://schemas.microsoft.com/office/drawing/2014/main" id="{F3F6738B-62EF-1AE7-B0C0-160E38F8D852}"/>
              </a:ext>
            </a:extLst>
          </p:cNvPr>
          <p:cNvGrpSpPr/>
          <p:nvPr/>
        </p:nvGrpSpPr>
        <p:grpSpPr>
          <a:xfrm>
            <a:off x="8750745" y="2906851"/>
            <a:ext cx="778863" cy="2304366"/>
            <a:chOff x="3336427" y="2536682"/>
            <a:chExt cx="792300" cy="2105008"/>
          </a:xfrm>
        </p:grpSpPr>
        <p:sp>
          <p:nvSpPr>
            <p:cNvPr id="72" name="Freeform 71">
              <a:extLst>
                <a:ext uri="{FF2B5EF4-FFF2-40B4-BE49-F238E27FC236}">
                  <a16:creationId xmlns:a16="http://schemas.microsoft.com/office/drawing/2014/main" id="{B3CF97E7-8D73-6160-C220-BD4699101910}"/>
                </a:ext>
              </a:extLst>
            </p:cNvPr>
            <p:cNvSpPr/>
            <p:nvPr/>
          </p:nvSpPr>
          <p:spPr>
            <a:xfrm>
              <a:off x="3336427" y="2536682"/>
              <a:ext cx="792300" cy="2105008"/>
            </a:xfrm>
            <a:custGeom>
              <a:avLst/>
              <a:gdLst>
                <a:gd name="connsiteX0" fmla="*/ 0 w 792300"/>
                <a:gd name="connsiteY0" fmla="*/ 0 h 2105008"/>
                <a:gd name="connsiteX1" fmla="*/ 792300 w 792300"/>
                <a:gd name="connsiteY1" fmla="*/ 0 h 2105008"/>
                <a:gd name="connsiteX2" fmla="*/ 792300 w 792300"/>
                <a:gd name="connsiteY2" fmla="*/ 2105009 h 2105008"/>
                <a:gd name="connsiteX3" fmla="*/ 0 w 792300"/>
                <a:gd name="connsiteY3" fmla="*/ 2105009 h 2105008"/>
              </a:gdLst>
              <a:ahLst/>
              <a:cxnLst>
                <a:cxn ang="0">
                  <a:pos x="connsiteX0" y="connsiteY0"/>
                </a:cxn>
                <a:cxn ang="0">
                  <a:pos x="connsiteX1" y="connsiteY1"/>
                </a:cxn>
                <a:cxn ang="0">
                  <a:pos x="connsiteX2" y="connsiteY2"/>
                </a:cxn>
                <a:cxn ang="0">
                  <a:pos x="connsiteX3" y="connsiteY3"/>
                </a:cxn>
              </a:cxnLst>
              <a:rect l="l" t="t" r="r" b="b"/>
              <a:pathLst>
                <a:path w="792300" h="2105008">
                  <a:moveTo>
                    <a:pt x="0" y="0"/>
                  </a:moveTo>
                  <a:lnTo>
                    <a:pt x="792300" y="0"/>
                  </a:lnTo>
                  <a:lnTo>
                    <a:pt x="792300" y="2105009"/>
                  </a:lnTo>
                  <a:lnTo>
                    <a:pt x="0" y="2105009"/>
                  </a:lnTo>
                  <a:close/>
                </a:path>
              </a:pathLst>
            </a:custGeom>
            <a:solidFill>
              <a:schemeClr val="accent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Freeform 31">
              <a:extLst>
                <a:ext uri="{FF2B5EF4-FFF2-40B4-BE49-F238E27FC236}">
                  <a16:creationId xmlns:a16="http://schemas.microsoft.com/office/drawing/2014/main" id="{6DFA9E43-42EF-4963-6F0B-1F0BBE4BF792}"/>
                </a:ext>
              </a:extLst>
            </p:cNvPr>
            <p:cNvSpPr/>
            <p:nvPr/>
          </p:nvSpPr>
          <p:spPr>
            <a:xfrm>
              <a:off x="3336427" y="2774333"/>
              <a:ext cx="792300" cy="1867357"/>
            </a:xfrm>
            <a:custGeom>
              <a:avLst/>
              <a:gdLst>
                <a:gd name="connsiteX0" fmla="*/ 0 w 792300"/>
                <a:gd name="connsiteY0" fmla="*/ 0 h 2105008"/>
                <a:gd name="connsiteX1" fmla="*/ 792300 w 792300"/>
                <a:gd name="connsiteY1" fmla="*/ 0 h 2105008"/>
                <a:gd name="connsiteX2" fmla="*/ 792300 w 792300"/>
                <a:gd name="connsiteY2" fmla="*/ 2105009 h 2105008"/>
                <a:gd name="connsiteX3" fmla="*/ 0 w 792300"/>
                <a:gd name="connsiteY3" fmla="*/ 2105009 h 2105008"/>
              </a:gdLst>
              <a:ahLst/>
              <a:cxnLst>
                <a:cxn ang="0">
                  <a:pos x="connsiteX0" y="connsiteY0"/>
                </a:cxn>
                <a:cxn ang="0">
                  <a:pos x="connsiteX1" y="connsiteY1"/>
                </a:cxn>
                <a:cxn ang="0">
                  <a:pos x="connsiteX2" y="connsiteY2"/>
                </a:cxn>
                <a:cxn ang="0">
                  <a:pos x="connsiteX3" y="connsiteY3"/>
                </a:cxn>
              </a:cxnLst>
              <a:rect l="l" t="t" r="r" b="b"/>
              <a:pathLst>
                <a:path w="792300" h="2105008">
                  <a:moveTo>
                    <a:pt x="0" y="0"/>
                  </a:moveTo>
                  <a:lnTo>
                    <a:pt x="792300" y="0"/>
                  </a:lnTo>
                  <a:lnTo>
                    <a:pt x="792300" y="2105009"/>
                  </a:lnTo>
                  <a:lnTo>
                    <a:pt x="0" y="2105009"/>
                  </a:lnTo>
                  <a:close/>
                </a:path>
              </a:pathLst>
            </a:custGeom>
            <a:solidFill>
              <a:srgbClr val="317CC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 name="Freeform 32">
              <a:extLst>
                <a:ext uri="{FF2B5EF4-FFF2-40B4-BE49-F238E27FC236}">
                  <a16:creationId xmlns:a16="http://schemas.microsoft.com/office/drawing/2014/main" id="{AF2A50D7-9538-E7AF-7B05-6F8F9292552E}"/>
                </a:ext>
              </a:extLst>
            </p:cNvPr>
            <p:cNvSpPr/>
            <p:nvPr/>
          </p:nvSpPr>
          <p:spPr>
            <a:xfrm>
              <a:off x="3336427" y="2536682"/>
              <a:ext cx="792300" cy="260076"/>
            </a:xfrm>
            <a:custGeom>
              <a:avLst/>
              <a:gdLst>
                <a:gd name="connsiteX0" fmla="*/ 0 w 792300"/>
                <a:gd name="connsiteY0" fmla="*/ 0 h 260076"/>
                <a:gd name="connsiteX1" fmla="*/ 792300 w 792300"/>
                <a:gd name="connsiteY1" fmla="*/ 0 h 260076"/>
                <a:gd name="connsiteX2" fmla="*/ 792300 w 792300"/>
                <a:gd name="connsiteY2" fmla="*/ 260077 h 260076"/>
                <a:gd name="connsiteX3" fmla="*/ 0 w 792300"/>
                <a:gd name="connsiteY3" fmla="*/ 260077 h 260076"/>
              </a:gdLst>
              <a:ahLst/>
              <a:cxnLst>
                <a:cxn ang="0">
                  <a:pos x="connsiteX0" y="connsiteY0"/>
                </a:cxn>
                <a:cxn ang="0">
                  <a:pos x="connsiteX1" y="connsiteY1"/>
                </a:cxn>
                <a:cxn ang="0">
                  <a:pos x="connsiteX2" y="connsiteY2"/>
                </a:cxn>
                <a:cxn ang="0">
                  <a:pos x="connsiteX3" y="connsiteY3"/>
                </a:cxn>
              </a:cxnLst>
              <a:rect l="l" t="t" r="r" b="b"/>
              <a:pathLst>
                <a:path w="792300" h="260076">
                  <a:moveTo>
                    <a:pt x="0" y="0"/>
                  </a:moveTo>
                  <a:lnTo>
                    <a:pt x="792300" y="0"/>
                  </a:lnTo>
                  <a:lnTo>
                    <a:pt x="792300" y="260077"/>
                  </a:lnTo>
                  <a:lnTo>
                    <a:pt x="0" y="260077"/>
                  </a:lnTo>
                  <a:close/>
                </a:path>
              </a:pathLst>
            </a:custGeom>
            <a:solidFill>
              <a:schemeClr val="accent4">
                <a:lumMod val="75000"/>
              </a:schemeClr>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54" name="Freeform 53">
            <a:extLst>
              <a:ext uri="{FF2B5EF4-FFF2-40B4-BE49-F238E27FC236}">
                <a16:creationId xmlns:a16="http://schemas.microsoft.com/office/drawing/2014/main" id="{9193452F-93FF-9A34-DBFF-3F0EF1D3FFD9}"/>
              </a:ext>
            </a:extLst>
          </p:cNvPr>
          <p:cNvSpPr/>
          <p:nvPr/>
        </p:nvSpPr>
        <p:spPr>
          <a:xfrm>
            <a:off x="6651961" y="2152538"/>
            <a:ext cx="51208" cy="14207"/>
          </a:xfrm>
          <a:custGeom>
            <a:avLst/>
            <a:gdLst>
              <a:gd name="connsiteX0" fmla="*/ 52092 w 52091"/>
              <a:gd name="connsiteY0" fmla="*/ 0 h 12705"/>
              <a:gd name="connsiteX1" fmla="*/ 0 w 52091"/>
              <a:gd name="connsiteY1" fmla="*/ 0 h 12705"/>
            </a:gdLst>
            <a:ahLst/>
            <a:cxnLst>
              <a:cxn ang="0">
                <a:pos x="connsiteX0" y="connsiteY0"/>
              </a:cxn>
              <a:cxn ang="0">
                <a:pos x="connsiteX1" y="connsiteY1"/>
              </a:cxn>
            </a:cxnLst>
            <a:rect l="l" t="t" r="r" b="b"/>
            <a:pathLst>
              <a:path w="52091" h="12705">
                <a:moveTo>
                  <a:pt x="52092" y="0"/>
                </a:moveTo>
                <a:lnTo>
                  <a:pt x="0" y="0"/>
                </a:lnTo>
              </a:path>
            </a:pathLst>
          </a:custGeom>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 name="Freeform 54">
            <a:extLst>
              <a:ext uri="{FF2B5EF4-FFF2-40B4-BE49-F238E27FC236}">
                <a16:creationId xmlns:a16="http://schemas.microsoft.com/office/drawing/2014/main" id="{18CCF132-4FF4-0E59-7E61-738119DC1F85}"/>
              </a:ext>
            </a:extLst>
          </p:cNvPr>
          <p:cNvSpPr/>
          <p:nvPr/>
        </p:nvSpPr>
        <p:spPr>
          <a:xfrm>
            <a:off x="6651961" y="2763166"/>
            <a:ext cx="51208" cy="14207"/>
          </a:xfrm>
          <a:custGeom>
            <a:avLst/>
            <a:gdLst>
              <a:gd name="connsiteX0" fmla="*/ 52092 w 52091"/>
              <a:gd name="connsiteY0" fmla="*/ 0 h 12705"/>
              <a:gd name="connsiteX1" fmla="*/ 0 w 52091"/>
              <a:gd name="connsiteY1" fmla="*/ 0 h 12705"/>
            </a:gdLst>
            <a:ahLst/>
            <a:cxnLst>
              <a:cxn ang="0">
                <a:pos x="connsiteX0" y="connsiteY0"/>
              </a:cxn>
              <a:cxn ang="0">
                <a:pos x="connsiteX1" y="connsiteY1"/>
              </a:cxn>
            </a:cxnLst>
            <a:rect l="l" t="t" r="r" b="b"/>
            <a:pathLst>
              <a:path w="52091" h="12705">
                <a:moveTo>
                  <a:pt x="52092" y="0"/>
                </a:moveTo>
                <a:lnTo>
                  <a:pt x="0" y="0"/>
                </a:lnTo>
              </a:path>
            </a:pathLst>
          </a:custGeom>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 name="Freeform 55">
            <a:extLst>
              <a:ext uri="{FF2B5EF4-FFF2-40B4-BE49-F238E27FC236}">
                <a16:creationId xmlns:a16="http://schemas.microsoft.com/office/drawing/2014/main" id="{8BEE17BF-9510-3DA4-643A-BFC1000DDE49}"/>
              </a:ext>
            </a:extLst>
          </p:cNvPr>
          <p:cNvSpPr/>
          <p:nvPr/>
        </p:nvSpPr>
        <p:spPr>
          <a:xfrm>
            <a:off x="6651961" y="3373794"/>
            <a:ext cx="51208" cy="14207"/>
          </a:xfrm>
          <a:custGeom>
            <a:avLst/>
            <a:gdLst>
              <a:gd name="connsiteX0" fmla="*/ 52092 w 52091"/>
              <a:gd name="connsiteY0" fmla="*/ 0 h 12705"/>
              <a:gd name="connsiteX1" fmla="*/ 0 w 52091"/>
              <a:gd name="connsiteY1" fmla="*/ 0 h 12705"/>
            </a:gdLst>
            <a:ahLst/>
            <a:cxnLst>
              <a:cxn ang="0">
                <a:pos x="connsiteX0" y="connsiteY0"/>
              </a:cxn>
              <a:cxn ang="0">
                <a:pos x="connsiteX1" y="connsiteY1"/>
              </a:cxn>
            </a:cxnLst>
            <a:rect l="l" t="t" r="r" b="b"/>
            <a:pathLst>
              <a:path w="52091" h="12705">
                <a:moveTo>
                  <a:pt x="52092" y="0"/>
                </a:moveTo>
                <a:lnTo>
                  <a:pt x="0" y="0"/>
                </a:lnTo>
              </a:path>
            </a:pathLst>
          </a:custGeom>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 name="Freeform 56">
            <a:extLst>
              <a:ext uri="{FF2B5EF4-FFF2-40B4-BE49-F238E27FC236}">
                <a16:creationId xmlns:a16="http://schemas.microsoft.com/office/drawing/2014/main" id="{0A32F5A7-4E2A-6CDE-FDA1-0375E64811D9}"/>
              </a:ext>
            </a:extLst>
          </p:cNvPr>
          <p:cNvSpPr/>
          <p:nvPr/>
        </p:nvSpPr>
        <p:spPr>
          <a:xfrm>
            <a:off x="6651961" y="3984422"/>
            <a:ext cx="51208" cy="14207"/>
          </a:xfrm>
          <a:custGeom>
            <a:avLst/>
            <a:gdLst>
              <a:gd name="connsiteX0" fmla="*/ 52092 w 52091"/>
              <a:gd name="connsiteY0" fmla="*/ 0 h 12705"/>
              <a:gd name="connsiteX1" fmla="*/ 0 w 52091"/>
              <a:gd name="connsiteY1" fmla="*/ 0 h 12705"/>
            </a:gdLst>
            <a:ahLst/>
            <a:cxnLst>
              <a:cxn ang="0">
                <a:pos x="connsiteX0" y="connsiteY0"/>
              </a:cxn>
              <a:cxn ang="0">
                <a:pos x="connsiteX1" y="connsiteY1"/>
              </a:cxn>
            </a:cxnLst>
            <a:rect l="l" t="t" r="r" b="b"/>
            <a:pathLst>
              <a:path w="52091" h="12705">
                <a:moveTo>
                  <a:pt x="52092" y="0"/>
                </a:moveTo>
                <a:lnTo>
                  <a:pt x="0" y="0"/>
                </a:lnTo>
              </a:path>
            </a:pathLst>
          </a:custGeom>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 name="Freeform 57">
            <a:extLst>
              <a:ext uri="{FF2B5EF4-FFF2-40B4-BE49-F238E27FC236}">
                <a16:creationId xmlns:a16="http://schemas.microsoft.com/office/drawing/2014/main" id="{2E55AC97-5287-17F1-F3C2-559AB1663DFD}"/>
              </a:ext>
            </a:extLst>
          </p:cNvPr>
          <p:cNvSpPr/>
          <p:nvPr/>
        </p:nvSpPr>
        <p:spPr>
          <a:xfrm>
            <a:off x="6651961" y="4595050"/>
            <a:ext cx="51208" cy="14207"/>
          </a:xfrm>
          <a:custGeom>
            <a:avLst/>
            <a:gdLst>
              <a:gd name="connsiteX0" fmla="*/ 52092 w 52091"/>
              <a:gd name="connsiteY0" fmla="*/ 0 h 12705"/>
              <a:gd name="connsiteX1" fmla="*/ 0 w 52091"/>
              <a:gd name="connsiteY1" fmla="*/ 0 h 12705"/>
            </a:gdLst>
            <a:ahLst/>
            <a:cxnLst>
              <a:cxn ang="0">
                <a:pos x="connsiteX0" y="connsiteY0"/>
              </a:cxn>
              <a:cxn ang="0">
                <a:pos x="connsiteX1" y="connsiteY1"/>
              </a:cxn>
            </a:cxnLst>
            <a:rect l="l" t="t" r="r" b="b"/>
            <a:pathLst>
              <a:path w="52091" h="12705">
                <a:moveTo>
                  <a:pt x="52092" y="0"/>
                </a:moveTo>
                <a:lnTo>
                  <a:pt x="0" y="0"/>
                </a:lnTo>
              </a:path>
            </a:pathLst>
          </a:custGeom>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 name="Freeform 58">
            <a:extLst>
              <a:ext uri="{FF2B5EF4-FFF2-40B4-BE49-F238E27FC236}">
                <a16:creationId xmlns:a16="http://schemas.microsoft.com/office/drawing/2014/main" id="{2DE87E65-C9C3-080C-0E41-EB745DC3B39A}"/>
              </a:ext>
            </a:extLst>
          </p:cNvPr>
          <p:cNvSpPr/>
          <p:nvPr/>
        </p:nvSpPr>
        <p:spPr>
          <a:xfrm>
            <a:off x="6651961" y="5205535"/>
            <a:ext cx="51208" cy="14207"/>
          </a:xfrm>
          <a:custGeom>
            <a:avLst/>
            <a:gdLst>
              <a:gd name="connsiteX0" fmla="*/ 52092 w 52091"/>
              <a:gd name="connsiteY0" fmla="*/ 0 h 12705"/>
              <a:gd name="connsiteX1" fmla="*/ 0 w 52091"/>
              <a:gd name="connsiteY1" fmla="*/ 0 h 12705"/>
            </a:gdLst>
            <a:ahLst/>
            <a:cxnLst>
              <a:cxn ang="0">
                <a:pos x="connsiteX0" y="connsiteY0"/>
              </a:cxn>
              <a:cxn ang="0">
                <a:pos x="connsiteX1" y="connsiteY1"/>
              </a:cxn>
            </a:cxnLst>
            <a:rect l="l" t="t" r="r" b="b"/>
            <a:pathLst>
              <a:path w="52091" h="12705">
                <a:moveTo>
                  <a:pt x="52092" y="0"/>
                </a:moveTo>
                <a:lnTo>
                  <a:pt x="0" y="0"/>
                </a:lnTo>
              </a:path>
            </a:pathLst>
          </a:custGeom>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 name="Freeform 59">
            <a:extLst>
              <a:ext uri="{FF2B5EF4-FFF2-40B4-BE49-F238E27FC236}">
                <a16:creationId xmlns:a16="http://schemas.microsoft.com/office/drawing/2014/main" id="{563E9DC4-6FAE-AE0E-CFF4-93D94FFE3C48}"/>
              </a:ext>
            </a:extLst>
          </p:cNvPr>
          <p:cNvSpPr/>
          <p:nvPr/>
        </p:nvSpPr>
        <p:spPr>
          <a:xfrm>
            <a:off x="6704418" y="5206246"/>
            <a:ext cx="12490" cy="63932"/>
          </a:xfrm>
          <a:custGeom>
            <a:avLst/>
            <a:gdLst>
              <a:gd name="connsiteX0" fmla="*/ 0 w 12705"/>
              <a:gd name="connsiteY0" fmla="*/ 0 h 57173"/>
              <a:gd name="connsiteX1" fmla="*/ 0 w 12705"/>
              <a:gd name="connsiteY1" fmla="*/ 57174 h 57173"/>
            </a:gdLst>
            <a:ahLst/>
            <a:cxnLst>
              <a:cxn ang="0">
                <a:pos x="connsiteX0" y="connsiteY0"/>
              </a:cxn>
              <a:cxn ang="0">
                <a:pos x="connsiteX1" y="connsiteY1"/>
              </a:cxn>
            </a:cxnLst>
            <a:rect l="l" t="t" r="r" b="b"/>
            <a:pathLst>
              <a:path w="12705" h="57173">
                <a:moveTo>
                  <a:pt x="0" y="0"/>
                </a:moveTo>
                <a:lnTo>
                  <a:pt x="0" y="57174"/>
                </a:lnTo>
              </a:path>
            </a:pathLst>
          </a:custGeom>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 name="TextBox 103">
            <a:extLst>
              <a:ext uri="{FF2B5EF4-FFF2-40B4-BE49-F238E27FC236}">
                <a16:creationId xmlns:a16="http://schemas.microsoft.com/office/drawing/2014/main" id="{2B0CAC6B-F625-71F3-9911-42ABCF37B1CD}"/>
              </a:ext>
            </a:extLst>
          </p:cNvPr>
          <p:cNvSpPr txBox="1"/>
          <p:nvPr/>
        </p:nvSpPr>
        <p:spPr>
          <a:xfrm rot="16200000">
            <a:off x="5077911" y="3571246"/>
            <a:ext cx="2311617"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rade ≥2 dermatologic AEs </a:t>
            </a: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GB" sz="11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 name="TextBox 104">
            <a:extLst>
              <a:ext uri="{FF2B5EF4-FFF2-40B4-BE49-F238E27FC236}">
                <a16:creationId xmlns:a16="http://schemas.microsoft.com/office/drawing/2014/main" id="{B403D9AD-5D10-6442-0819-643900EE5CDA}"/>
              </a:ext>
            </a:extLst>
          </p:cNvPr>
          <p:cNvSpPr txBox="1"/>
          <p:nvPr/>
        </p:nvSpPr>
        <p:spPr>
          <a:xfrm>
            <a:off x="6204374" y="2072697"/>
            <a:ext cx="447731" cy="138499"/>
          </a:xfrm>
          <a:prstGeom prst="rect">
            <a:avLst/>
          </a:prstGeom>
          <a:noFill/>
        </p:spPr>
        <p:txBody>
          <a:bodyPr wrap="square" lIns="0" tIns="0" rIns="5400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00</a:t>
            </a:r>
            <a:endParaRPr kumimoji="0" lang="en-GB" sz="9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 name="TextBox 105">
            <a:extLst>
              <a:ext uri="{FF2B5EF4-FFF2-40B4-BE49-F238E27FC236}">
                <a16:creationId xmlns:a16="http://schemas.microsoft.com/office/drawing/2014/main" id="{E2932E04-FE7F-2BD8-819F-A5D538DC1617}"/>
              </a:ext>
            </a:extLst>
          </p:cNvPr>
          <p:cNvSpPr txBox="1"/>
          <p:nvPr/>
        </p:nvSpPr>
        <p:spPr>
          <a:xfrm>
            <a:off x="6204374" y="2679805"/>
            <a:ext cx="447731" cy="138499"/>
          </a:xfrm>
          <a:prstGeom prst="rect">
            <a:avLst/>
          </a:prstGeom>
          <a:noFill/>
        </p:spPr>
        <p:txBody>
          <a:bodyPr wrap="square" lIns="0" tIns="0" rIns="5400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80</a:t>
            </a:r>
            <a:endParaRPr kumimoji="0" lang="en-GB" sz="9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 name="TextBox 106">
            <a:extLst>
              <a:ext uri="{FF2B5EF4-FFF2-40B4-BE49-F238E27FC236}">
                <a16:creationId xmlns:a16="http://schemas.microsoft.com/office/drawing/2014/main" id="{26EC740E-E190-3D1B-6346-0622B0E836E2}"/>
              </a:ext>
            </a:extLst>
          </p:cNvPr>
          <p:cNvSpPr txBox="1"/>
          <p:nvPr/>
        </p:nvSpPr>
        <p:spPr>
          <a:xfrm>
            <a:off x="6204374" y="3301545"/>
            <a:ext cx="447731" cy="138499"/>
          </a:xfrm>
          <a:prstGeom prst="rect">
            <a:avLst/>
          </a:prstGeom>
          <a:noFill/>
        </p:spPr>
        <p:txBody>
          <a:bodyPr wrap="square" lIns="0" tIns="0" rIns="5400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60</a:t>
            </a:r>
            <a:endParaRPr kumimoji="0" lang="en-GB" sz="9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 name="TextBox 107">
            <a:extLst>
              <a:ext uri="{FF2B5EF4-FFF2-40B4-BE49-F238E27FC236}">
                <a16:creationId xmlns:a16="http://schemas.microsoft.com/office/drawing/2014/main" id="{8D6CD13E-1455-CBC3-A853-9B8988F586A1}"/>
              </a:ext>
            </a:extLst>
          </p:cNvPr>
          <p:cNvSpPr txBox="1"/>
          <p:nvPr/>
        </p:nvSpPr>
        <p:spPr>
          <a:xfrm>
            <a:off x="6204374" y="3908302"/>
            <a:ext cx="447731" cy="138499"/>
          </a:xfrm>
          <a:prstGeom prst="rect">
            <a:avLst/>
          </a:prstGeom>
          <a:noFill/>
        </p:spPr>
        <p:txBody>
          <a:bodyPr wrap="square" lIns="0" tIns="0" rIns="5400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endParaRPr kumimoji="0" lang="en-GB" sz="9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 name="TextBox 108">
            <a:extLst>
              <a:ext uri="{FF2B5EF4-FFF2-40B4-BE49-F238E27FC236}">
                <a16:creationId xmlns:a16="http://schemas.microsoft.com/office/drawing/2014/main" id="{A833B569-8D56-F85E-FF01-5BFED5E738D4}"/>
              </a:ext>
            </a:extLst>
          </p:cNvPr>
          <p:cNvSpPr txBox="1"/>
          <p:nvPr/>
        </p:nvSpPr>
        <p:spPr>
          <a:xfrm>
            <a:off x="6204374" y="4518056"/>
            <a:ext cx="447731" cy="138499"/>
          </a:xfrm>
          <a:prstGeom prst="rect">
            <a:avLst/>
          </a:prstGeom>
          <a:noFill/>
        </p:spPr>
        <p:txBody>
          <a:bodyPr wrap="square" lIns="0" tIns="0" rIns="5400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a:t>
            </a:r>
            <a:endParaRPr kumimoji="0" lang="en-GB" sz="9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 name="TextBox 109">
            <a:extLst>
              <a:ext uri="{FF2B5EF4-FFF2-40B4-BE49-F238E27FC236}">
                <a16:creationId xmlns:a16="http://schemas.microsoft.com/office/drawing/2014/main" id="{7C694F80-1C1F-B0EB-583D-A5B702957BE1}"/>
              </a:ext>
            </a:extLst>
          </p:cNvPr>
          <p:cNvSpPr txBox="1"/>
          <p:nvPr/>
        </p:nvSpPr>
        <p:spPr>
          <a:xfrm>
            <a:off x="6204374" y="5143496"/>
            <a:ext cx="447731" cy="138499"/>
          </a:xfrm>
          <a:prstGeom prst="rect">
            <a:avLst/>
          </a:prstGeom>
          <a:noFill/>
        </p:spPr>
        <p:txBody>
          <a:bodyPr wrap="square" lIns="0" tIns="0" rIns="5400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a:t>
            </a:r>
            <a:endParaRPr kumimoji="0" lang="en-GB" sz="9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 name="TextBox 110">
            <a:extLst>
              <a:ext uri="{FF2B5EF4-FFF2-40B4-BE49-F238E27FC236}">
                <a16:creationId xmlns:a16="http://schemas.microsoft.com/office/drawing/2014/main" id="{63509ACB-11D4-E94D-EC88-87EB6BA8A857}"/>
              </a:ext>
            </a:extLst>
          </p:cNvPr>
          <p:cNvSpPr txBox="1"/>
          <p:nvPr/>
        </p:nvSpPr>
        <p:spPr>
          <a:xfrm>
            <a:off x="6682472" y="5330449"/>
            <a:ext cx="1639157"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COON DM </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42)</a:t>
            </a:r>
            <a:endParaRPr kumimoji="0" lang="en-GB"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 name="TextBox 112">
            <a:extLst>
              <a:ext uri="{FF2B5EF4-FFF2-40B4-BE49-F238E27FC236}">
                <a16:creationId xmlns:a16="http://schemas.microsoft.com/office/drawing/2014/main" id="{427930CA-AF2B-A0CD-13C3-66AE4170DF9C}"/>
              </a:ext>
            </a:extLst>
          </p:cNvPr>
          <p:cNvSpPr txBox="1"/>
          <p:nvPr/>
        </p:nvSpPr>
        <p:spPr>
          <a:xfrm>
            <a:off x="8342451" y="5330449"/>
            <a:ext cx="163034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C DM </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75)</a:t>
            </a:r>
            <a:endParaRPr kumimoji="0" lang="en-GB"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 name="TextBox 121">
            <a:extLst>
              <a:ext uri="{FF2B5EF4-FFF2-40B4-BE49-F238E27FC236}">
                <a16:creationId xmlns:a16="http://schemas.microsoft.com/office/drawing/2014/main" id="{1F4740AE-E5A2-E6FB-44C0-42EEEBFD49EF}"/>
              </a:ext>
            </a:extLst>
          </p:cNvPr>
          <p:cNvSpPr txBox="1"/>
          <p:nvPr/>
        </p:nvSpPr>
        <p:spPr>
          <a:xfrm>
            <a:off x="7138861" y="3600835"/>
            <a:ext cx="773788" cy="318924"/>
          </a:xfrm>
          <a:prstGeom prst="rect">
            <a:avLst/>
          </a:prstGeom>
          <a:noFill/>
        </p:spPr>
        <p:txBody>
          <a:bodyPr wrap="square" lIns="0" tIns="36000" rIns="0" bIns="36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a:t>
            </a:r>
            <a:endParaRPr kumimoji="0" lang="en-GB" sz="16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 name="TextBox 124">
            <a:extLst>
              <a:ext uri="{FF2B5EF4-FFF2-40B4-BE49-F238E27FC236}">
                <a16:creationId xmlns:a16="http://schemas.microsoft.com/office/drawing/2014/main" id="{C02F00F2-F6B4-162A-FBB3-71638F222F69}"/>
              </a:ext>
            </a:extLst>
          </p:cNvPr>
          <p:cNvSpPr txBox="1"/>
          <p:nvPr/>
        </p:nvSpPr>
        <p:spPr>
          <a:xfrm>
            <a:off x="8751395" y="2595799"/>
            <a:ext cx="773788" cy="318924"/>
          </a:xfrm>
          <a:prstGeom prst="rect">
            <a:avLst/>
          </a:prstGeom>
          <a:noFill/>
        </p:spPr>
        <p:txBody>
          <a:bodyPr wrap="square" lIns="0" tIns="36000" rIns="0" bIns="36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5%</a:t>
            </a:r>
            <a:endParaRPr kumimoji="0" lang="en-GB" sz="16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 name="TextBox 131">
            <a:extLst>
              <a:ext uri="{FF2B5EF4-FFF2-40B4-BE49-F238E27FC236}">
                <a16:creationId xmlns:a16="http://schemas.microsoft.com/office/drawing/2014/main" id="{126E9978-F90A-330E-E964-4F65B76BE21E}"/>
              </a:ext>
            </a:extLst>
          </p:cNvPr>
          <p:cNvSpPr txBox="1"/>
          <p:nvPr/>
        </p:nvSpPr>
        <p:spPr>
          <a:xfrm>
            <a:off x="7338109" y="3872840"/>
            <a:ext cx="369881" cy="226591"/>
          </a:xfrm>
          <a:prstGeom prst="rect">
            <a:avLst/>
          </a:prstGeom>
          <a:noFill/>
        </p:spPr>
        <p:txBody>
          <a:bodyPr wrap="square" lIns="0" tIns="36000" rIns="0" bIns="36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6</a:t>
            </a:r>
            <a:endParaRPr kumimoji="0" lang="en-GB" sz="1000" b="1"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3" name="TextBox 132">
            <a:extLst>
              <a:ext uri="{FF2B5EF4-FFF2-40B4-BE49-F238E27FC236}">
                <a16:creationId xmlns:a16="http://schemas.microsoft.com/office/drawing/2014/main" id="{0BFDE38C-25B2-C60F-FADA-05455905B812}"/>
              </a:ext>
            </a:extLst>
          </p:cNvPr>
          <p:cNvSpPr txBox="1"/>
          <p:nvPr/>
        </p:nvSpPr>
        <p:spPr>
          <a:xfrm>
            <a:off x="7134316" y="4522950"/>
            <a:ext cx="773788" cy="226591"/>
          </a:xfrm>
          <a:prstGeom prst="rect">
            <a:avLst/>
          </a:prstGeom>
          <a:noFill/>
        </p:spPr>
        <p:txBody>
          <a:bodyPr wrap="square" lIns="0" tIns="36000" rIns="0" bIns="36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6</a:t>
            </a:r>
            <a:endParaRPr kumimoji="0" lang="en-GB" sz="10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4" name="TextBox 133">
            <a:extLst>
              <a:ext uri="{FF2B5EF4-FFF2-40B4-BE49-F238E27FC236}">
                <a16:creationId xmlns:a16="http://schemas.microsoft.com/office/drawing/2014/main" id="{16901ACD-76F1-A1C4-4CC5-96A3ED58CA5A}"/>
              </a:ext>
            </a:extLst>
          </p:cNvPr>
          <p:cNvSpPr txBox="1"/>
          <p:nvPr/>
        </p:nvSpPr>
        <p:spPr>
          <a:xfrm>
            <a:off x="8751395" y="2932739"/>
            <a:ext cx="773788" cy="226591"/>
          </a:xfrm>
          <a:prstGeom prst="rect">
            <a:avLst/>
          </a:prstGeom>
          <a:noFill/>
        </p:spPr>
        <p:txBody>
          <a:bodyPr wrap="square" lIns="0" tIns="36000" rIns="0" bIns="36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7</a:t>
            </a:r>
            <a:endParaRPr kumimoji="0" lang="en-GB" sz="1000" b="1"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5" name="TextBox 134">
            <a:extLst>
              <a:ext uri="{FF2B5EF4-FFF2-40B4-BE49-F238E27FC236}">
                <a16:creationId xmlns:a16="http://schemas.microsoft.com/office/drawing/2014/main" id="{8E2DC8DA-7432-5484-AEB7-2290B87BA6B6}"/>
              </a:ext>
            </a:extLst>
          </p:cNvPr>
          <p:cNvSpPr txBox="1"/>
          <p:nvPr/>
        </p:nvSpPr>
        <p:spPr>
          <a:xfrm>
            <a:off x="8751395" y="4025788"/>
            <a:ext cx="773788" cy="226591"/>
          </a:xfrm>
          <a:prstGeom prst="rect">
            <a:avLst/>
          </a:prstGeom>
          <a:noFill/>
        </p:spPr>
        <p:txBody>
          <a:bodyPr wrap="square" lIns="0" tIns="36000" rIns="0" bIns="36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68</a:t>
            </a:r>
            <a:endParaRPr kumimoji="0" lang="en-GB" sz="1000" b="1"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 name="Freeform 52">
            <a:extLst>
              <a:ext uri="{FF2B5EF4-FFF2-40B4-BE49-F238E27FC236}">
                <a16:creationId xmlns:a16="http://schemas.microsoft.com/office/drawing/2014/main" id="{B822CCFE-1327-490C-1F84-9F4DFD477709}"/>
              </a:ext>
            </a:extLst>
          </p:cNvPr>
          <p:cNvSpPr/>
          <p:nvPr/>
        </p:nvSpPr>
        <p:spPr>
          <a:xfrm>
            <a:off x="6703545" y="2144582"/>
            <a:ext cx="3142412" cy="3060953"/>
          </a:xfrm>
          <a:custGeom>
            <a:avLst/>
            <a:gdLst>
              <a:gd name="connsiteX0" fmla="*/ 9770987 w 9770987"/>
              <a:gd name="connsiteY0" fmla="*/ 2737350 h 2737350"/>
              <a:gd name="connsiteX1" fmla="*/ 0 w 9770987"/>
              <a:gd name="connsiteY1" fmla="*/ 2737350 h 2737350"/>
              <a:gd name="connsiteX2" fmla="*/ 0 w 9770987"/>
              <a:gd name="connsiteY2" fmla="*/ 0 h 2737350"/>
            </a:gdLst>
            <a:ahLst/>
            <a:cxnLst>
              <a:cxn ang="0">
                <a:pos x="connsiteX0" y="connsiteY0"/>
              </a:cxn>
              <a:cxn ang="0">
                <a:pos x="connsiteX1" y="connsiteY1"/>
              </a:cxn>
              <a:cxn ang="0">
                <a:pos x="connsiteX2" y="connsiteY2"/>
              </a:cxn>
            </a:cxnLst>
            <a:rect l="l" t="t" r="r" b="b"/>
            <a:pathLst>
              <a:path w="9770987" h="2737350">
                <a:moveTo>
                  <a:pt x="9770987" y="2737350"/>
                </a:moveTo>
                <a:lnTo>
                  <a:pt x="0" y="2737350"/>
                </a:lnTo>
                <a:lnTo>
                  <a:pt x="0" y="0"/>
                </a:lnTo>
              </a:path>
            </a:pathLst>
          </a:custGeom>
          <a:no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66" name="Group 65">
            <a:extLst>
              <a:ext uri="{FF2B5EF4-FFF2-40B4-BE49-F238E27FC236}">
                <a16:creationId xmlns:a16="http://schemas.microsoft.com/office/drawing/2014/main" id="{D3674312-193A-08CF-C580-9345636E473C}"/>
              </a:ext>
            </a:extLst>
          </p:cNvPr>
          <p:cNvGrpSpPr/>
          <p:nvPr/>
        </p:nvGrpSpPr>
        <p:grpSpPr>
          <a:xfrm>
            <a:off x="9681122" y="1915081"/>
            <a:ext cx="2063297" cy="730958"/>
            <a:chOff x="9223828" y="1991216"/>
            <a:chExt cx="2063297" cy="730958"/>
          </a:xfrm>
        </p:grpSpPr>
        <p:sp>
          <p:nvSpPr>
            <p:cNvPr id="3" name="Rectangle 2">
              <a:extLst>
                <a:ext uri="{FF2B5EF4-FFF2-40B4-BE49-F238E27FC236}">
                  <a16:creationId xmlns:a16="http://schemas.microsoft.com/office/drawing/2014/main" id="{311F7981-8B94-D7EA-9E13-C94F7E17998E}"/>
                </a:ext>
              </a:extLst>
            </p:cNvPr>
            <p:cNvSpPr/>
            <p:nvPr/>
          </p:nvSpPr>
          <p:spPr>
            <a:xfrm>
              <a:off x="9223828" y="2029548"/>
              <a:ext cx="108000" cy="1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9B6B46CB-9DCB-DE3E-C971-8A7F3A0E8B92}"/>
                </a:ext>
              </a:extLst>
            </p:cNvPr>
            <p:cNvSpPr txBox="1"/>
            <p:nvPr/>
          </p:nvSpPr>
          <p:spPr>
            <a:xfrm>
              <a:off x="9403306" y="1991216"/>
              <a:ext cx="1747292" cy="184666"/>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COON DM: Grade 2</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2" name="Group 21">
              <a:extLst>
                <a:ext uri="{FF2B5EF4-FFF2-40B4-BE49-F238E27FC236}">
                  <a16:creationId xmlns:a16="http://schemas.microsoft.com/office/drawing/2014/main" id="{6D6C9A06-59FE-8930-C8B0-8C522BCEB21D}"/>
                </a:ext>
              </a:extLst>
            </p:cNvPr>
            <p:cNvGrpSpPr/>
            <p:nvPr/>
          </p:nvGrpSpPr>
          <p:grpSpPr>
            <a:xfrm>
              <a:off x="9223828" y="2173313"/>
              <a:ext cx="2063297" cy="184666"/>
              <a:chOff x="7409543" y="1555788"/>
              <a:chExt cx="2063297" cy="184666"/>
            </a:xfrm>
          </p:grpSpPr>
          <p:sp>
            <p:nvSpPr>
              <p:cNvPr id="23" name="Rectangle 22">
                <a:extLst>
                  <a:ext uri="{FF2B5EF4-FFF2-40B4-BE49-F238E27FC236}">
                    <a16:creationId xmlns:a16="http://schemas.microsoft.com/office/drawing/2014/main" id="{AB78385C-5B41-4A2B-6DFF-BE44A8480623}"/>
                  </a:ext>
                </a:extLst>
              </p:cNvPr>
              <p:cNvSpPr/>
              <p:nvPr/>
            </p:nvSpPr>
            <p:spPr>
              <a:xfrm>
                <a:off x="7409543" y="159412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A76EC842-0865-13F8-FD10-E5D1CCF2AFDD}"/>
                  </a:ext>
                </a:extLst>
              </p:cNvPr>
              <p:cNvSpPr txBox="1"/>
              <p:nvPr/>
            </p:nvSpPr>
            <p:spPr>
              <a:xfrm>
                <a:off x="7589021" y="1555788"/>
                <a:ext cx="1883819" cy="184666"/>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COON DM: Grade 3</a:t>
                </a:r>
                <a:endParaRPr kumimoji="0" lang="en-GB" sz="12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34" name="Group 33">
              <a:extLst>
                <a:ext uri="{FF2B5EF4-FFF2-40B4-BE49-F238E27FC236}">
                  <a16:creationId xmlns:a16="http://schemas.microsoft.com/office/drawing/2014/main" id="{30451B82-56A5-BD01-AF4A-E074A7B86169}"/>
                </a:ext>
              </a:extLst>
            </p:cNvPr>
            <p:cNvGrpSpPr/>
            <p:nvPr/>
          </p:nvGrpSpPr>
          <p:grpSpPr>
            <a:xfrm>
              <a:off x="9223828" y="2355411"/>
              <a:ext cx="1714265" cy="184666"/>
              <a:chOff x="7409543" y="1555789"/>
              <a:chExt cx="1714265" cy="184666"/>
            </a:xfrm>
          </p:grpSpPr>
          <p:sp>
            <p:nvSpPr>
              <p:cNvPr id="35" name="Rectangle 34">
                <a:extLst>
                  <a:ext uri="{FF2B5EF4-FFF2-40B4-BE49-F238E27FC236}">
                    <a16:creationId xmlns:a16="http://schemas.microsoft.com/office/drawing/2014/main" id="{541E4C9D-5BDE-600B-239F-6B7F6EBC96DC}"/>
                  </a:ext>
                </a:extLst>
              </p:cNvPr>
              <p:cNvSpPr/>
              <p:nvPr/>
            </p:nvSpPr>
            <p:spPr>
              <a:xfrm>
                <a:off x="7409543" y="1594120"/>
                <a:ext cx="108000" cy="108000"/>
              </a:xfrm>
              <a:prstGeom prst="rect">
                <a:avLst/>
              </a:prstGeom>
              <a:solidFill>
                <a:srgbClr val="317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59CC51F9-3A91-8C40-B593-022FEE95E049}"/>
                  </a:ext>
                </a:extLst>
              </p:cNvPr>
              <p:cNvSpPr txBox="1"/>
              <p:nvPr/>
            </p:nvSpPr>
            <p:spPr>
              <a:xfrm>
                <a:off x="7589022" y="1555789"/>
                <a:ext cx="1534786" cy="184666"/>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C DM: Grade 2</a:t>
                </a:r>
                <a:endParaRPr kumimoji="0" lang="en-GB" sz="12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42" name="Rectangle 41">
              <a:extLst>
                <a:ext uri="{FF2B5EF4-FFF2-40B4-BE49-F238E27FC236}">
                  <a16:creationId xmlns:a16="http://schemas.microsoft.com/office/drawing/2014/main" id="{CBE377DD-1F8C-C0BF-106F-40E934B4202C}"/>
                </a:ext>
              </a:extLst>
            </p:cNvPr>
            <p:cNvSpPr/>
            <p:nvPr/>
          </p:nvSpPr>
          <p:spPr>
            <a:xfrm>
              <a:off x="9223828" y="2575839"/>
              <a:ext cx="108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TextBox 45">
              <a:extLst>
                <a:ext uri="{FF2B5EF4-FFF2-40B4-BE49-F238E27FC236}">
                  <a16:creationId xmlns:a16="http://schemas.microsoft.com/office/drawing/2014/main" id="{8EBDC287-8140-0500-8F69-D94E75040792}"/>
                </a:ext>
              </a:extLst>
            </p:cNvPr>
            <p:cNvSpPr txBox="1"/>
            <p:nvPr/>
          </p:nvSpPr>
          <p:spPr>
            <a:xfrm>
              <a:off x="9403306" y="2537508"/>
              <a:ext cx="1587257" cy="184666"/>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C DM: Grade 3</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 name="Rectangle 46">
              <a:extLst>
                <a:ext uri="{FF2B5EF4-FFF2-40B4-BE49-F238E27FC236}">
                  <a16:creationId xmlns:a16="http://schemas.microsoft.com/office/drawing/2014/main" id="{D69EFE5E-3637-FCF9-153E-3F1E86A721E4}"/>
                </a:ext>
              </a:extLst>
            </p:cNvPr>
            <p:cNvSpPr/>
            <p:nvPr/>
          </p:nvSpPr>
          <p:spPr>
            <a:xfrm>
              <a:off x="9223828" y="2029548"/>
              <a:ext cx="108000" cy="108000"/>
            </a:xfrm>
            <a:prstGeom prst="rect">
              <a:avLst/>
            </a:prstGeom>
            <a:solidFill>
              <a:srgbClr val="8D5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 name="Rectangle 49">
              <a:extLst>
                <a:ext uri="{FF2B5EF4-FFF2-40B4-BE49-F238E27FC236}">
                  <a16:creationId xmlns:a16="http://schemas.microsoft.com/office/drawing/2014/main" id="{549199AB-F862-615A-1E32-AEA47B462FAE}"/>
                </a:ext>
              </a:extLst>
            </p:cNvPr>
            <p:cNvSpPr/>
            <p:nvPr/>
          </p:nvSpPr>
          <p:spPr>
            <a:xfrm>
              <a:off x="9223828" y="2575839"/>
              <a:ext cx="108000" cy="108000"/>
            </a:xfrm>
            <a:prstGeom prst="rect">
              <a:avLst/>
            </a:prstGeom>
            <a:solidFill>
              <a:schemeClr val="accent4">
                <a:lumMod val="7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01" name="Group 100">
            <a:extLst>
              <a:ext uri="{FF2B5EF4-FFF2-40B4-BE49-F238E27FC236}">
                <a16:creationId xmlns:a16="http://schemas.microsoft.com/office/drawing/2014/main" id="{40F92549-8F81-DC24-D75C-2F8947A54542}"/>
              </a:ext>
            </a:extLst>
          </p:cNvPr>
          <p:cNvGrpSpPr/>
          <p:nvPr/>
        </p:nvGrpSpPr>
        <p:grpSpPr>
          <a:xfrm>
            <a:off x="7516538" y="2436707"/>
            <a:ext cx="1607216" cy="143999"/>
            <a:chOff x="1249086" y="1835242"/>
            <a:chExt cx="1014089" cy="124429"/>
          </a:xfrm>
        </p:grpSpPr>
        <p:cxnSp>
          <p:nvCxnSpPr>
            <p:cNvPr id="103" name="Straight Connector 102">
              <a:extLst>
                <a:ext uri="{FF2B5EF4-FFF2-40B4-BE49-F238E27FC236}">
                  <a16:creationId xmlns:a16="http://schemas.microsoft.com/office/drawing/2014/main" id="{F4A8E2E8-37D3-76B6-DEB9-BDDB45F9977D}"/>
                </a:ext>
              </a:extLst>
            </p:cNvPr>
            <p:cNvCxnSpPr>
              <a:cxnSpLocks/>
            </p:cNvCxnSpPr>
            <p:nvPr/>
          </p:nvCxnSpPr>
          <p:spPr>
            <a:xfrm>
              <a:off x="1249086" y="1842708"/>
              <a:ext cx="1014089" cy="0"/>
            </a:xfrm>
            <a:prstGeom prst="line">
              <a:avLst/>
            </a:prstGeom>
            <a:ln w="19050">
              <a:solidFill>
                <a:schemeClr val="accent1"/>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46BF056-C723-18E9-C22F-79217E49B810}"/>
                </a:ext>
              </a:extLst>
            </p:cNvPr>
            <p:cNvCxnSpPr>
              <a:cxnSpLocks/>
            </p:cNvCxnSpPr>
            <p:nvPr/>
          </p:nvCxnSpPr>
          <p:spPr>
            <a:xfrm>
              <a:off x="2263175" y="1835242"/>
              <a:ext cx="0" cy="124429"/>
            </a:xfrm>
            <a:prstGeom prst="line">
              <a:avLst/>
            </a:prstGeom>
            <a:ln w="19050">
              <a:solidFill>
                <a:schemeClr val="accent1"/>
              </a:solidFill>
              <a:tailEnd type="none" w="lg" len="med"/>
            </a:ln>
          </p:spPr>
          <p:style>
            <a:lnRef idx="1">
              <a:schemeClr val="accent1"/>
            </a:lnRef>
            <a:fillRef idx="0">
              <a:schemeClr val="accent1"/>
            </a:fillRef>
            <a:effectRef idx="0">
              <a:schemeClr val="accent1"/>
            </a:effectRef>
            <a:fontRef idx="minor">
              <a:schemeClr val="tx1"/>
            </a:fontRef>
          </p:style>
        </p:cxnSp>
      </p:grpSp>
      <p:cxnSp>
        <p:nvCxnSpPr>
          <p:cNvPr id="114" name="Straight Connector 113">
            <a:extLst>
              <a:ext uri="{FF2B5EF4-FFF2-40B4-BE49-F238E27FC236}">
                <a16:creationId xmlns:a16="http://schemas.microsoft.com/office/drawing/2014/main" id="{67F4592A-EC0B-5678-562F-D9132411FC6E}"/>
              </a:ext>
            </a:extLst>
          </p:cNvPr>
          <p:cNvCxnSpPr>
            <a:cxnSpLocks/>
          </p:cNvCxnSpPr>
          <p:nvPr/>
        </p:nvCxnSpPr>
        <p:spPr>
          <a:xfrm>
            <a:off x="7518919" y="2436715"/>
            <a:ext cx="1515" cy="1152000"/>
          </a:xfrm>
          <a:prstGeom prst="line">
            <a:avLst/>
          </a:prstGeom>
          <a:ln w="19050">
            <a:solidFill>
              <a:schemeClr val="accent1"/>
            </a:solidFill>
            <a:tailEnd type="none"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E592C1C-5CD3-026C-A07C-07CB376C1288}"/>
              </a:ext>
            </a:extLst>
          </p:cNvPr>
          <p:cNvSpPr txBox="1"/>
          <p:nvPr/>
        </p:nvSpPr>
        <p:spPr>
          <a:xfrm>
            <a:off x="7518919" y="2039888"/>
            <a:ext cx="1620985" cy="370135"/>
          </a:xfrm>
          <a:prstGeom prst="downArrow">
            <a:avLst>
              <a:gd name="adj1" fmla="val 100000"/>
              <a:gd name="adj2" fmla="val 31601"/>
            </a:avLst>
          </a:prstGeom>
          <a:solidFill>
            <a:schemeClr val="accent1"/>
          </a:solidFill>
          <a:ln w="19050">
            <a:noFill/>
            <a:prstDash val="sysDot"/>
          </a:ln>
        </p:spPr>
        <p:txBody>
          <a:bodyPr wrap="square" lIns="0" tIns="7200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lt;0.0001</a:t>
            </a:r>
            <a:endParaRPr kumimoji="0" lang="en-GB" sz="11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1" name="Immagine 10" descr="Immagine che contiene testo, schermata, Carattere, numero&#10;&#10;Il contenuto generato dall'IA potrebbe non essere corretto.">
            <a:extLst>
              <a:ext uri="{FF2B5EF4-FFF2-40B4-BE49-F238E27FC236}">
                <a16:creationId xmlns:a16="http://schemas.microsoft.com/office/drawing/2014/main" id="{AA6AE097-F114-9254-2E66-1AAE126D11F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83265" y="1340413"/>
            <a:ext cx="4088740" cy="4153384"/>
          </a:xfrm>
          <a:prstGeom prst="rect">
            <a:avLst/>
          </a:prstGeom>
        </p:spPr>
      </p:pic>
      <p:sp>
        <p:nvSpPr>
          <p:cNvPr id="5" name="TextBox 4">
            <a:extLst>
              <a:ext uri="{FF2B5EF4-FFF2-40B4-BE49-F238E27FC236}">
                <a16:creationId xmlns:a16="http://schemas.microsoft.com/office/drawing/2014/main" id="{DF892471-C3EC-452F-9345-5C2174A88512}"/>
              </a:ext>
            </a:extLst>
          </p:cNvPr>
          <p:cNvSpPr txBox="1"/>
          <p:nvPr/>
        </p:nvSpPr>
        <p:spPr>
          <a:xfrm>
            <a:off x="-11342" y="6596390"/>
            <a:ext cx="700890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Johnson Text"/>
                <a:ea typeface="+mn-ea"/>
                <a:cs typeface="+mn-cs"/>
              </a:rPr>
              <a:t>Cho BC et al. J </a:t>
            </a:r>
            <a:r>
              <a:rPr kumimoji="0" lang="en-US" sz="1100" b="0" i="0" u="none" strike="noStrike" kern="1200" cap="none" spc="0" normalizeH="0" baseline="0" noProof="0" dirty="0" err="1">
                <a:ln>
                  <a:noFill/>
                </a:ln>
                <a:solidFill>
                  <a:srgbClr val="000000"/>
                </a:solidFill>
                <a:effectLst/>
                <a:uLnTx/>
                <a:uFillTx/>
                <a:latin typeface="Johnson Text"/>
                <a:ea typeface="+mn-ea"/>
                <a:cs typeface="+mn-cs"/>
              </a:rPr>
              <a:t>Thorac</a:t>
            </a:r>
            <a:r>
              <a:rPr kumimoji="0" lang="en-US" sz="1100" b="0" i="0" u="none" strike="noStrike" kern="1200" cap="none" spc="0" normalizeH="0" baseline="0" noProof="0" dirty="0">
                <a:ln>
                  <a:noFill/>
                </a:ln>
                <a:solidFill>
                  <a:srgbClr val="000000"/>
                </a:solidFill>
                <a:effectLst/>
                <a:uLnTx/>
                <a:uFillTx/>
                <a:latin typeface="Johnson Text"/>
                <a:ea typeface="+mn-ea"/>
                <a:cs typeface="+mn-cs"/>
              </a:rPr>
              <a:t> Oncol. 2025;20(10):1517-1530.    Spira AI et al. J </a:t>
            </a:r>
            <a:r>
              <a:rPr kumimoji="0" lang="en-US" sz="1100" b="0" i="0" u="none" strike="noStrike" kern="1200" cap="none" spc="0" normalizeH="0" baseline="0" noProof="0" dirty="0" err="1">
                <a:ln>
                  <a:noFill/>
                </a:ln>
                <a:solidFill>
                  <a:srgbClr val="000000"/>
                </a:solidFill>
                <a:effectLst/>
                <a:uLnTx/>
                <a:uFillTx/>
                <a:latin typeface="Johnson Text"/>
                <a:ea typeface="+mn-ea"/>
                <a:cs typeface="+mn-cs"/>
              </a:rPr>
              <a:t>Thorac</a:t>
            </a:r>
            <a:r>
              <a:rPr kumimoji="0" lang="en-US" sz="1100" b="0" i="0" u="none" strike="noStrike" kern="1200" cap="none" spc="0" normalizeH="0" baseline="0" noProof="0" dirty="0">
                <a:ln>
                  <a:noFill/>
                </a:ln>
                <a:solidFill>
                  <a:srgbClr val="000000"/>
                </a:solidFill>
                <a:effectLst/>
                <a:uLnTx/>
                <a:uFillTx/>
                <a:latin typeface="Johnson Text"/>
                <a:ea typeface="+mn-ea"/>
                <a:cs typeface="+mn-cs"/>
              </a:rPr>
              <a:t> Oncol. 2025;20(6):809-816.</a:t>
            </a:r>
          </a:p>
        </p:txBody>
      </p:sp>
    </p:spTree>
    <p:extLst>
      <p:ext uri="{BB962C8B-B14F-4D97-AF65-F5344CB8AC3E}">
        <p14:creationId xmlns:p14="http://schemas.microsoft.com/office/powerpoint/2010/main" val="22264079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Goldman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983432" y="1686500"/>
          <a:ext cx="10225136" cy="2750612"/>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263792">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mgen Inc, AstraZeneca Pharmaceuticals LP, Bristol Myers Squibb, Genentech, a member of the Roche Group, Janssen Biotech Inc, Lilly, Pfizer Inc, Summi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486820">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genus Inc, Amgen Inc, Astellas, AstraZeneca Pharmaceuticals LP, Bristol Myers Squibb, Genentech, a member of the Roche Group, GSK , Janssen Biotech Inc, Lilly, Merck, Pfizer Inc, Puma Biotechnology Inc, </a:t>
                      </a:r>
                      <a:r>
                        <a:rPr lang="en-US" sz="1800" b="0" kern="1200" dirty="0" err="1">
                          <a:solidFill>
                            <a:schemeClr val="tx1"/>
                          </a:solidFill>
                          <a:effectLst/>
                          <a:latin typeface="+mn-lt"/>
                          <a:ea typeface="+mn-ea"/>
                          <a:cs typeface="+mn-cs"/>
                        </a:rPr>
                        <a:t>RayzeBio</a:t>
                      </a:r>
                      <a:r>
                        <a:rPr lang="en-US" sz="1800" b="0" kern="1200" dirty="0">
                          <a:solidFill>
                            <a:schemeClr val="tx1"/>
                          </a:solidFill>
                          <a:effectLst/>
                          <a:latin typeface="+mn-lt"/>
                          <a:ea typeface="+mn-ea"/>
                          <a:cs typeface="+mn-cs"/>
                        </a:rPr>
                        <a:t>, Summit Therapeutics, Tango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bl>
          </a:graphicData>
        </a:graphic>
      </p:graphicFrame>
    </p:spTree>
    <p:custDataLst>
      <p:tags r:id="rId1"/>
    </p:custDataLst>
    <p:extLst>
      <p:ext uri="{BB962C8B-B14F-4D97-AF65-F5344CB8AC3E}">
        <p14:creationId xmlns:p14="http://schemas.microsoft.com/office/powerpoint/2010/main" val="37000918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4CD51-4B43-2118-BC73-27AD46CEFE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7BA703-97B2-7EE8-13D1-8894032A0E0C}"/>
              </a:ext>
            </a:extLst>
          </p:cNvPr>
          <p:cNvSpPr>
            <a:spLocks noGrp="1"/>
          </p:cNvSpPr>
          <p:nvPr>
            <p:ph type="title"/>
          </p:nvPr>
        </p:nvSpPr>
        <p:spPr/>
        <p:txBody>
          <a:bodyPr/>
          <a:lstStyle/>
          <a:p>
            <a:r>
              <a:rPr lang="en-GB" dirty="0"/>
              <a:t>Osimertinib </a:t>
            </a:r>
            <a:r>
              <a:rPr lang="en-GB" noProof="0" dirty="0"/>
              <a:t>in atypical EGFR mutations: Phase II UNICORN study</a:t>
            </a:r>
          </a:p>
        </p:txBody>
      </p:sp>
      <p:sp>
        <p:nvSpPr>
          <p:cNvPr id="5" name="TextBox 4">
            <a:extLst>
              <a:ext uri="{FF2B5EF4-FFF2-40B4-BE49-F238E27FC236}">
                <a16:creationId xmlns:a16="http://schemas.microsoft.com/office/drawing/2014/main" id="{E4604DE4-F875-99E8-524A-A8B48D748678}"/>
              </a:ext>
            </a:extLst>
          </p:cNvPr>
          <p:cNvSpPr txBox="1"/>
          <p:nvPr/>
        </p:nvSpPr>
        <p:spPr>
          <a:xfrm>
            <a:off x="-11342" y="6596390"/>
            <a:ext cx="700890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Johnson Text"/>
                <a:ea typeface="+mn-ea"/>
                <a:cs typeface="+mn-cs"/>
              </a:rPr>
              <a:t>Okuma Y et al. JAMA Oncol. 2024;10(1):43-51.</a:t>
            </a:r>
          </a:p>
        </p:txBody>
      </p:sp>
      <p:pic>
        <p:nvPicPr>
          <p:cNvPr id="15" name="Picture 14">
            <a:extLst>
              <a:ext uri="{FF2B5EF4-FFF2-40B4-BE49-F238E27FC236}">
                <a16:creationId xmlns:a16="http://schemas.microsoft.com/office/drawing/2014/main" id="{99C3A261-92C2-1849-F55A-33BC0A8765A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194735" y="1246402"/>
            <a:ext cx="10069988" cy="513182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78130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78A365-C17C-A4B6-DBEE-A20B9872D2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2BC458-E383-1F68-8F34-88CFD304472C}"/>
              </a:ext>
            </a:extLst>
          </p:cNvPr>
          <p:cNvSpPr>
            <a:spLocks noGrp="1"/>
          </p:cNvSpPr>
          <p:nvPr>
            <p:ph type="title"/>
          </p:nvPr>
        </p:nvSpPr>
        <p:spPr>
          <a:xfrm>
            <a:off x="442800" y="262800"/>
            <a:ext cx="11306174" cy="384721"/>
          </a:xfrm>
        </p:spPr>
        <p:txBody>
          <a:bodyPr/>
          <a:lstStyle/>
          <a:p>
            <a:r>
              <a:rPr lang="en-GB" dirty="0"/>
              <a:t>Osimertinib in atypical EGFR mutations: Phase II UNICORN study</a:t>
            </a:r>
            <a:endParaRPr lang="en-GB" noProof="0" dirty="0"/>
          </a:p>
        </p:txBody>
      </p:sp>
      <p:pic>
        <p:nvPicPr>
          <p:cNvPr id="4" name="Picture 3">
            <a:extLst>
              <a:ext uri="{FF2B5EF4-FFF2-40B4-BE49-F238E27FC236}">
                <a16:creationId xmlns:a16="http://schemas.microsoft.com/office/drawing/2014/main" id="{019AED61-7E3D-C7CF-ADBA-09ECD1EA96A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425629" y="1155640"/>
            <a:ext cx="9340515" cy="4932631"/>
          </a:xfrm>
          <a:prstGeom prst="rect">
            <a:avLst/>
          </a:prstGeom>
          <a:effectLst>
            <a:outerShdw blurRad="50800" dist="38100" dir="2700000" algn="tl" rotWithShape="0">
              <a:prstClr val="black">
                <a:alpha val="40000"/>
              </a:prstClr>
            </a:outerShdw>
          </a:effectLst>
        </p:spPr>
      </p:pic>
      <p:sp>
        <p:nvSpPr>
          <p:cNvPr id="6" name="Rectangle 5">
            <a:extLst>
              <a:ext uri="{FF2B5EF4-FFF2-40B4-BE49-F238E27FC236}">
                <a16:creationId xmlns:a16="http://schemas.microsoft.com/office/drawing/2014/main" id="{856672CF-89EA-4128-6ED0-682C3887AE4F}"/>
              </a:ext>
            </a:extLst>
          </p:cNvPr>
          <p:cNvSpPr/>
          <p:nvPr/>
        </p:nvSpPr>
        <p:spPr>
          <a:xfrm>
            <a:off x="1425629" y="4197065"/>
            <a:ext cx="9340515" cy="29838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Johnson Text"/>
              <a:ea typeface="+mn-ea"/>
              <a:cs typeface="+mn-cs"/>
            </a:endParaRPr>
          </a:p>
        </p:txBody>
      </p:sp>
      <p:sp>
        <p:nvSpPr>
          <p:cNvPr id="7" name="TextBox 6">
            <a:extLst>
              <a:ext uri="{FF2B5EF4-FFF2-40B4-BE49-F238E27FC236}">
                <a16:creationId xmlns:a16="http://schemas.microsoft.com/office/drawing/2014/main" id="{9E6C45A8-3E6F-545D-B028-F095CE62A3C8}"/>
              </a:ext>
            </a:extLst>
          </p:cNvPr>
          <p:cNvSpPr txBox="1"/>
          <p:nvPr/>
        </p:nvSpPr>
        <p:spPr>
          <a:xfrm>
            <a:off x="-11342" y="6596390"/>
            <a:ext cx="700890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Johnson Text"/>
                <a:ea typeface="+mn-ea"/>
                <a:cs typeface="+mn-cs"/>
              </a:rPr>
              <a:t>Okuma Y et al. JAMA Oncol. 2024;10(1):43-51.</a:t>
            </a:r>
          </a:p>
        </p:txBody>
      </p:sp>
    </p:spTree>
    <p:extLst>
      <p:ext uri="{BB962C8B-B14F-4D97-AF65-F5344CB8AC3E}">
        <p14:creationId xmlns:p14="http://schemas.microsoft.com/office/powerpoint/2010/main" val="6535882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11D04-5C7D-792D-77B4-5A27255C79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C96D81-93B2-CCC8-FC69-CCA902C3FC53}"/>
              </a:ext>
            </a:extLst>
          </p:cNvPr>
          <p:cNvSpPr>
            <a:spLocks noGrp="1"/>
          </p:cNvSpPr>
          <p:nvPr>
            <p:ph type="title"/>
          </p:nvPr>
        </p:nvSpPr>
        <p:spPr/>
        <p:txBody>
          <a:bodyPr/>
          <a:lstStyle/>
          <a:p>
            <a:r>
              <a:rPr lang="en-GB" dirty="0"/>
              <a:t>A</a:t>
            </a:r>
            <a:r>
              <a:rPr lang="en-GB" noProof="0" dirty="0" err="1"/>
              <a:t>mivantamab</a:t>
            </a:r>
            <a:r>
              <a:rPr lang="en-GB" noProof="0" dirty="0"/>
              <a:t>/lazertinib in atypical EGFR mutations: CHRYSALIS-2 study</a:t>
            </a:r>
          </a:p>
        </p:txBody>
      </p:sp>
      <p:sp>
        <p:nvSpPr>
          <p:cNvPr id="5" name="TextBox 4">
            <a:extLst>
              <a:ext uri="{FF2B5EF4-FFF2-40B4-BE49-F238E27FC236}">
                <a16:creationId xmlns:a16="http://schemas.microsoft.com/office/drawing/2014/main" id="{FA9A274E-0B6B-6FC2-FFFD-5B5CF408ABDE}"/>
              </a:ext>
            </a:extLst>
          </p:cNvPr>
          <p:cNvSpPr txBox="1"/>
          <p:nvPr/>
        </p:nvSpPr>
        <p:spPr>
          <a:xfrm>
            <a:off x="-11342" y="6596390"/>
            <a:ext cx="700890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Johnson Text"/>
                <a:ea typeface="+mn-ea"/>
                <a:cs typeface="+mn-cs"/>
              </a:rPr>
              <a:t>Cho ASCO 2024; Abstract 8516.</a:t>
            </a:r>
          </a:p>
        </p:txBody>
      </p:sp>
      <p:pic>
        <p:nvPicPr>
          <p:cNvPr id="13" name="Picture 12">
            <a:extLst>
              <a:ext uri="{FF2B5EF4-FFF2-40B4-BE49-F238E27FC236}">
                <a16:creationId xmlns:a16="http://schemas.microsoft.com/office/drawing/2014/main" id="{6CB793A8-6583-23E4-CABC-01FE9A9F87F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904811" y="1434965"/>
            <a:ext cx="6092754" cy="4635409"/>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723EBB40-505F-E2E5-5D07-76017CE55E69}"/>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rcRect r="73818"/>
          <a:stretch>
            <a:fillRect/>
          </a:stretch>
        </p:blipFill>
        <p:spPr>
          <a:xfrm>
            <a:off x="7484444" y="1003026"/>
            <a:ext cx="3680862" cy="5666418"/>
          </a:xfrm>
          <a:prstGeom prst="rect">
            <a:avLst/>
          </a:prstGeom>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4099CF5E-CE05-F1CB-F0F6-83D8649F2F53}"/>
              </a:ext>
            </a:extLst>
          </p:cNvPr>
          <p:cNvSpPr/>
          <p:nvPr/>
        </p:nvSpPr>
        <p:spPr>
          <a:xfrm>
            <a:off x="7484444" y="2002504"/>
            <a:ext cx="3680862" cy="528939"/>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Johnson Text"/>
              <a:ea typeface="+mn-ea"/>
              <a:cs typeface="+mn-cs"/>
            </a:endParaRPr>
          </a:p>
        </p:txBody>
      </p:sp>
    </p:spTree>
    <p:extLst>
      <p:ext uri="{BB962C8B-B14F-4D97-AF65-F5344CB8AC3E}">
        <p14:creationId xmlns:p14="http://schemas.microsoft.com/office/powerpoint/2010/main" val="10368751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AD143-A77C-18D9-9DAA-54BDA12DA9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76C8D6-F9D8-8913-253F-B18F06B6162C}"/>
              </a:ext>
            </a:extLst>
          </p:cNvPr>
          <p:cNvSpPr>
            <a:spLocks noGrp="1"/>
          </p:cNvSpPr>
          <p:nvPr>
            <p:ph type="title"/>
          </p:nvPr>
        </p:nvSpPr>
        <p:spPr/>
        <p:txBody>
          <a:bodyPr/>
          <a:lstStyle/>
          <a:p>
            <a:r>
              <a:rPr lang="en-GB" dirty="0"/>
              <a:t>Amivantamab/lazertinib in atypical EGFR mutations: CHRYSALIS-2 study</a:t>
            </a:r>
            <a:endParaRPr lang="en-GB" noProof="0" dirty="0"/>
          </a:p>
        </p:txBody>
      </p:sp>
      <p:sp>
        <p:nvSpPr>
          <p:cNvPr id="5" name="TextBox 4">
            <a:extLst>
              <a:ext uri="{FF2B5EF4-FFF2-40B4-BE49-F238E27FC236}">
                <a16:creationId xmlns:a16="http://schemas.microsoft.com/office/drawing/2014/main" id="{E77CDF3C-B153-26C0-86F2-B304ACDD385D}"/>
              </a:ext>
            </a:extLst>
          </p:cNvPr>
          <p:cNvSpPr txBox="1"/>
          <p:nvPr/>
        </p:nvSpPr>
        <p:spPr>
          <a:xfrm>
            <a:off x="-11342" y="6596390"/>
            <a:ext cx="700890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Johnson Text"/>
                <a:ea typeface="+mn-ea"/>
                <a:cs typeface="+mn-cs"/>
              </a:rPr>
              <a:t>Neal JW et al. ASCO 2026; Abstract 8501.</a:t>
            </a:r>
          </a:p>
        </p:txBody>
      </p:sp>
      <p:pic>
        <p:nvPicPr>
          <p:cNvPr id="4" name="Picture 3">
            <a:extLst>
              <a:ext uri="{FF2B5EF4-FFF2-40B4-BE49-F238E27FC236}">
                <a16:creationId xmlns:a16="http://schemas.microsoft.com/office/drawing/2014/main" id="{10E0F21B-F177-6791-4A31-2100FBEE146C}"/>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209687" y="1058103"/>
            <a:ext cx="7772400" cy="2563852"/>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560C52FD-1D2C-6D9D-5A31-C03142C839E2}"/>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2209687" y="3997121"/>
            <a:ext cx="7772400" cy="222410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55816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860D5-4552-F44E-9CF0-B10AF4447794}"/>
            </a:ext>
          </a:extLst>
        </p:cNvPr>
        <p:cNvGrpSpPr/>
        <p:nvPr/>
      </p:nvGrpSpPr>
      <p:grpSpPr>
        <a:xfrm>
          <a:off x="0" y="0"/>
          <a:ext cx="0" cy="0"/>
          <a:chOff x="0" y="0"/>
          <a:chExt cx="0" cy="0"/>
        </a:xfrm>
      </p:grpSpPr>
      <p:sp>
        <p:nvSpPr>
          <p:cNvPr id="9" name="Rounded Rectangle 12">
            <a:extLst>
              <a:ext uri="{FF2B5EF4-FFF2-40B4-BE49-F238E27FC236}">
                <a16:creationId xmlns:a16="http://schemas.microsoft.com/office/drawing/2014/main" id="{F54C4A7B-C5A5-1232-0DCB-67048F4544F5}"/>
              </a:ext>
            </a:extLst>
          </p:cNvPr>
          <p:cNvSpPr/>
          <p:nvPr/>
        </p:nvSpPr>
        <p:spPr>
          <a:xfrm>
            <a:off x="306920" y="5551714"/>
            <a:ext cx="11717859" cy="810134"/>
          </a:xfrm>
          <a:prstGeom prst="roundRect">
            <a:avLst>
              <a:gd name="adj" fmla="val 13060"/>
            </a:avLst>
          </a:prstGeom>
          <a:solidFill>
            <a:schemeClr val="bg1"/>
          </a:solidFill>
          <a:ln w="15875">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27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gimen</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election</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ut</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isease</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iology-driven</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trategy</a:t>
            </a:r>
            <a:b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a:t>
            </a:r>
            <a:r>
              <a:rPr kumimoji="0" lang="it-IT"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Risk-</a:t>
            </a:r>
            <a:r>
              <a:rPr kumimoji="0" lang="it-IT" sz="1800" b="1" i="0" u="none" strike="noStrike" kern="1200" cap="none" spc="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adapted</a:t>
            </a:r>
            <a:r>
              <a:rPr kumimoji="0" lang="it-IT"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upfront</a:t>
            </a:r>
            <a:r>
              <a:rPr kumimoji="0" lang="it-IT"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intensification</a:t>
            </a:r>
            <a:r>
              <a:rPr kumimoji="0" lang="it-IT"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as</a:t>
            </a:r>
            <a:r>
              <a:rPr kumimoji="0" lang="it-IT"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default </a:t>
            </a:r>
            <a:r>
              <a:rPr kumimoji="0" lang="it-IT" sz="1800" b="1" i="0" u="none" strike="noStrike" kern="1200" cap="none" spc="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paradigm</a:t>
            </a:r>
            <a:endParaRPr kumimoji="0" lang="it-IT"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7" name="Rounded Rectangle 12">
            <a:extLst>
              <a:ext uri="{FF2B5EF4-FFF2-40B4-BE49-F238E27FC236}">
                <a16:creationId xmlns:a16="http://schemas.microsoft.com/office/drawing/2014/main" id="{B4E6CDC5-55D7-BD7E-A67B-160D9494D956}"/>
              </a:ext>
            </a:extLst>
          </p:cNvPr>
          <p:cNvSpPr/>
          <p:nvPr/>
        </p:nvSpPr>
        <p:spPr>
          <a:xfrm>
            <a:off x="306919" y="2292138"/>
            <a:ext cx="11717859" cy="1345868"/>
          </a:xfrm>
          <a:prstGeom prst="roundRect">
            <a:avLst>
              <a:gd name="adj" fmla="val 13060"/>
            </a:avLst>
          </a:prstGeom>
          <a:solidFill>
            <a:schemeClr val="bg1"/>
          </a:solidFill>
          <a:ln w="15875">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27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ombinations</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trategy (FLAURA2 and MARIPOSA trial)</a:t>
            </a:r>
            <a:b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eeper</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upfront</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uppression</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umor</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eterogeneity</a:t>
            </a:r>
            <a:b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lay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mergence</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sistant</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lones</a:t>
            </a:r>
            <a:b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oxicity</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omplexity</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ut</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o be </a:t>
            </a:r>
            <a:r>
              <a:rPr kumimoji="0" lang="it-IT"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nsidered </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a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ynamic</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optimization</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ay</a:t>
            </a:r>
          </a:p>
        </p:txBody>
      </p:sp>
      <p:sp>
        <p:nvSpPr>
          <p:cNvPr id="6" name="Rounded Rectangle 12">
            <a:extLst>
              <a:ext uri="{FF2B5EF4-FFF2-40B4-BE49-F238E27FC236}">
                <a16:creationId xmlns:a16="http://schemas.microsoft.com/office/drawing/2014/main" id="{5BC434E6-05F6-C03D-CEFF-E9B9FB8235E9}"/>
              </a:ext>
            </a:extLst>
          </p:cNvPr>
          <p:cNvSpPr/>
          <p:nvPr/>
        </p:nvSpPr>
        <p:spPr>
          <a:xfrm>
            <a:off x="313031" y="1146470"/>
            <a:ext cx="11717859" cy="838691"/>
          </a:xfrm>
          <a:prstGeom prst="roundRect">
            <a:avLst>
              <a:gd name="adj" fmla="val 13060"/>
            </a:avLst>
          </a:prstGeom>
          <a:solidFill>
            <a:schemeClr val="bg1"/>
          </a:solidFill>
          <a:ln w="15875">
            <a:solidFill>
              <a:srgbClr val="7030A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27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rd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en</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EGFR TKI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notherapy</a:t>
            </a:r>
            <a:b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ffective</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NS-</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ctive</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ut</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iologically</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ncomplete </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arly</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sidual</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isease</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mp;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daptive</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sistance</a:t>
            </a:r>
            <a:endPar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itolo 1">
            <a:extLst>
              <a:ext uri="{FF2B5EF4-FFF2-40B4-BE49-F238E27FC236}">
                <a16:creationId xmlns:a16="http://schemas.microsoft.com/office/drawing/2014/main" id="{B36BBEA0-B625-65E4-839C-515845AFB0DF}"/>
              </a:ext>
            </a:extLst>
          </p:cNvPr>
          <p:cNvSpPr>
            <a:spLocks noGrp="1"/>
          </p:cNvSpPr>
          <p:nvPr>
            <p:ph type="title"/>
          </p:nvPr>
        </p:nvSpPr>
        <p:spPr/>
        <p:txBody>
          <a:bodyPr/>
          <a:lstStyle/>
          <a:p>
            <a:r>
              <a:rPr lang="en-GB" dirty="0">
                <a:latin typeface="Arial "/>
              </a:rPr>
              <a:t>Key takeaways</a:t>
            </a:r>
            <a:endParaRPr lang="it-IT" dirty="0"/>
          </a:p>
        </p:txBody>
      </p:sp>
      <p:sp>
        <p:nvSpPr>
          <p:cNvPr id="8" name="Rounded Rectangle 12">
            <a:extLst>
              <a:ext uri="{FF2B5EF4-FFF2-40B4-BE49-F238E27FC236}">
                <a16:creationId xmlns:a16="http://schemas.microsoft.com/office/drawing/2014/main" id="{29C6D579-E5EC-9F48-5873-2BD0FECE7250}"/>
              </a:ext>
            </a:extLst>
          </p:cNvPr>
          <p:cNvSpPr/>
          <p:nvPr/>
        </p:nvSpPr>
        <p:spPr>
          <a:xfrm>
            <a:off x="306919" y="3944983"/>
            <a:ext cx="11717859" cy="1345868"/>
          </a:xfrm>
          <a:prstGeom prst="roundRect">
            <a:avLst>
              <a:gd name="adj" fmla="val 13060"/>
            </a:avLst>
          </a:prstGeom>
          <a:solidFill>
            <a:schemeClr val="bg1"/>
          </a:solidFill>
          <a:ln w="15875">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27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nical positioning</a:t>
            </a:r>
            <a:b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w-risk /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ndolent</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iology</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a:ln>
                  <a:noFill/>
                </a:ln>
                <a:solidFill>
                  <a:srgbClr val="7030A0"/>
                </a:solidFill>
                <a:effectLst/>
                <a:highlight>
                  <a:srgbClr val="FFFF00"/>
                </a:highlight>
                <a:uLnTx/>
                <a:uFillTx/>
                <a:latin typeface="Arial" panose="020B0604020202020204" pitchFamily="34" charset="0"/>
                <a:ea typeface="+mn-ea"/>
                <a:cs typeface="Arial" panose="020B0604020202020204" pitchFamily="34" charset="0"/>
              </a:rPr>
              <a:t>→</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notherapy</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Yet</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oorly</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efined</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t</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ase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igh-risk / high burden / TP53 / ctDNA+ </a:t>
            </a:r>
            <a:r>
              <a:rPr kumimoji="0" lang="it-IT" sz="1800" b="1" i="0" u="none" strike="noStrike" kern="1200" cap="none" spc="0" normalizeH="0" baseline="0" noProof="0" dirty="0">
                <a:ln>
                  <a:noFill/>
                </a:ln>
                <a:solidFill>
                  <a:srgbClr val="7030A0"/>
                </a:solidFill>
                <a:effectLst/>
                <a:highlight>
                  <a:srgbClr val="FFFF00"/>
                </a:highlight>
                <a:uLnTx/>
                <a:uFillTx/>
                <a:latin typeface="Arial" panose="020B0604020202020204" pitchFamily="34" charset="0"/>
                <a:ea typeface="+mn-ea"/>
                <a:cs typeface="Arial" panose="020B0604020202020204" pitchFamily="34" charset="0"/>
              </a:rPr>
              <a:t>→</a:t>
            </a:r>
            <a:r>
              <a:rPr kumimoji="0" 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ombo strategy </a:t>
            </a:r>
            <a:r>
              <a:rPr kumimoji="0" lang="it-IT" sz="1800" b="1" i="0" u="none" strike="noStrike" kern="1200" cap="none" spc="0" normalizeH="0" baseline="0" noProof="0" dirty="0">
                <a:ln>
                  <a:noFill/>
                </a:ln>
                <a:solidFill>
                  <a:srgbClr val="7030A0"/>
                </a:solidFill>
                <a:effectLst/>
                <a:highlight>
                  <a:srgbClr val="FFFF00"/>
                </a:highligh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ikely</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ajority</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ather</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han</a:t>
            </a:r>
            <a:r>
              <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xception</a:t>
            </a:r>
            <a:endParaRPr kumimoji="0" 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 name="Oval 32">
            <a:extLst>
              <a:ext uri="{FF2B5EF4-FFF2-40B4-BE49-F238E27FC236}">
                <a16:creationId xmlns:a16="http://schemas.microsoft.com/office/drawing/2014/main" id="{89602689-FBA0-A26C-1C34-EA5C57B66A97}"/>
              </a:ext>
            </a:extLst>
          </p:cNvPr>
          <p:cNvSpPr/>
          <p:nvPr/>
        </p:nvSpPr>
        <p:spPr>
          <a:xfrm>
            <a:off x="442800" y="4360860"/>
            <a:ext cx="468000" cy="468000"/>
          </a:xfrm>
          <a:prstGeom prst="ellipse">
            <a:avLst/>
          </a:prstGeom>
          <a:solidFill>
            <a:srgbClr val="7F1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Johnson Text"/>
              <a:ea typeface="+mn-ea"/>
              <a:cs typeface="+mn-cs"/>
            </a:endParaRPr>
          </a:p>
        </p:txBody>
      </p:sp>
      <p:pic>
        <p:nvPicPr>
          <p:cNvPr id="16" name="Graphic 35">
            <a:extLst>
              <a:ext uri="{FF2B5EF4-FFF2-40B4-BE49-F238E27FC236}">
                <a16:creationId xmlns:a16="http://schemas.microsoft.com/office/drawing/2014/main" id="{D7427C37-011B-0CF5-76F6-BEC071A5F1CA}"/>
              </a:ext>
            </a:extLst>
          </p:cNvPr>
          <p:cNvPicPr>
            <a:picLocks/>
          </p:cNvPicPr>
          <p:nvPr/>
        </p:nvPicPr>
        <p:blipFill>
          <a:blip>
            <a:extLst>
              <a:ext uri="{96DAC541-7B7A-43D3-8B79-37D633B846F1}">
                <asvg:svgBlip xmlns:asvg="http://schemas.microsoft.com/office/drawing/2016/SVG/main" r:embed="rId2"/>
              </a:ext>
            </a:extLst>
          </a:blip>
          <a:stretch>
            <a:fillRect/>
          </a:stretch>
        </p:blipFill>
        <p:spPr>
          <a:xfrm>
            <a:off x="533796" y="4431259"/>
            <a:ext cx="341336" cy="335930"/>
          </a:xfrm>
          <a:prstGeom prst="rect">
            <a:avLst/>
          </a:prstGeom>
        </p:spPr>
      </p:pic>
      <p:sp>
        <p:nvSpPr>
          <p:cNvPr id="17" name="Oval 33">
            <a:extLst>
              <a:ext uri="{FF2B5EF4-FFF2-40B4-BE49-F238E27FC236}">
                <a16:creationId xmlns:a16="http://schemas.microsoft.com/office/drawing/2014/main" id="{686254CD-95B8-FCCF-217F-CCE2E8360DA8}"/>
              </a:ext>
            </a:extLst>
          </p:cNvPr>
          <p:cNvSpPr/>
          <p:nvPr/>
        </p:nvSpPr>
        <p:spPr>
          <a:xfrm>
            <a:off x="442800" y="5706728"/>
            <a:ext cx="468000" cy="468000"/>
          </a:xfrm>
          <a:prstGeom prst="ellipse">
            <a:avLst/>
          </a:prstGeom>
          <a:solidFill>
            <a:srgbClr val="2243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Johnson Text"/>
              <a:ea typeface="+mn-ea"/>
              <a:cs typeface="+mn-cs"/>
            </a:endParaRPr>
          </a:p>
        </p:txBody>
      </p:sp>
      <p:pic>
        <p:nvPicPr>
          <p:cNvPr id="18" name="Graphic 36">
            <a:extLst>
              <a:ext uri="{FF2B5EF4-FFF2-40B4-BE49-F238E27FC236}">
                <a16:creationId xmlns:a16="http://schemas.microsoft.com/office/drawing/2014/main" id="{88A516A3-8F1A-E912-9E05-441CD6CA7238}"/>
              </a:ext>
            </a:extLst>
          </p:cNvPr>
          <p:cNvPicPr>
            <a:picLocks/>
          </p:cNvPicPr>
          <p:nvPr/>
        </p:nvPicPr>
        <p:blipFill>
          <a:blip>
            <a:extLst>
              <a:ext uri="{96DAC541-7B7A-43D3-8B79-37D633B846F1}">
                <asvg:svgBlip xmlns:asvg="http://schemas.microsoft.com/office/drawing/2016/SVG/main" r:embed="rId3"/>
              </a:ext>
            </a:extLst>
          </a:blip>
          <a:stretch>
            <a:fillRect/>
          </a:stretch>
        </p:blipFill>
        <p:spPr>
          <a:xfrm>
            <a:off x="485716" y="5764383"/>
            <a:ext cx="364900" cy="357451"/>
          </a:xfrm>
          <a:prstGeom prst="rect">
            <a:avLst/>
          </a:prstGeom>
        </p:spPr>
      </p:pic>
    </p:spTree>
    <p:extLst>
      <p:ext uri="{BB962C8B-B14F-4D97-AF65-F5344CB8AC3E}">
        <p14:creationId xmlns:p14="http://schemas.microsoft.com/office/powerpoint/2010/main" val="5778129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A5FC91-AF88-E9F3-047A-51146EB56315}"/>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4BF6B7F0-7CC8-D476-F939-3105FCD8995E}"/>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tephen “Fred” Divers, MD  </a:t>
            </a:r>
          </a:p>
        </p:txBody>
      </p:sp>
      <p:sp>
        <p:nvSpPr>
          <p:cNvPr id="6" name="Rectangle 5">
            <a:extLst>
              <a:ext uri="{FF2B5EF4-FFF2-40B4-BE49-F238E27FC236}">
                <a16:creationId xmlns:a16="http://schemas.microsoft.com/office/drawing/2014/main" id="{7EFAD135-1DE1-68FE-8740-088979FDCF8C}"/>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8FB34A8C-9A60-1DA4-E0C2-B8975D95F47C}"/>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9" name="Title 1">
            <a:extLst>
              <a:ext uri="{FF2B5EF4-FFF2-40B4-BE49-F238E27FC236}">
                <a16:creationId xmlns:a16="http://schemas.microsoft.com/office/drawing/2014/main" id="{00F7EE41-91AE-CF7C-C16A-9176312A08E9}"/>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CB79ED12-AFB4-BB2F-282E-A78B187DFDBE}"/>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pic>
        <p:nvPicPr>
          <p:cNvPr id="5" name="Picture 4" descr="A person wearing headphones and smiling&#10;&#10;AI-generated content may be incorrect.">
            <a:extLst>
              <a:ext uri="{FF2B5EF4-FFF2-40B4-BE49-F238E27FC236}">
                <a16:creationId xmlns:a16="http://schemas.microsoft.com/office/drawing/2014/main" id="{D562538C-3240-8B41-737E-A2820CA0F4AC}"/>
              </a:ext>
            </a:extLst>
          </p:cNvPr>
          <p:cNvPicPr>
            <a:picLocks/>
          </p:cNvPicPr>
          <p:nvPr/>
        </p:nvPicPr>
        <p:blipFill>
          <a:blip r:embed="rId3"/>
          <a:srcRect l="22910" r="21569"/>
          <a:stretch>
            <a:fillRect/>
          </a:stretch>
        </p:blipFill>
        <p:spPr>
          <a:xfrm>
            <a:off x="2281845" y="2570971"/>
            <a:ext cx="2651760"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535853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6" y="1416053"/>
            <a:ext cx="10644408" cy="4799013"/>
          </a:xfrm>
        </p:spPr>
        <p:txBody>
          <a:bodyPr/>
          <a:lstStyle/>
          <a:p>
            <a:pPr marL="98425" indent="0">
              <a:lnSpc>
                <a:spcPct val="100000"/>
              </a:lnSpc>
              <a:buNone/>
            </a:pPr>
            <a:r>
              <a:rPr lang="en-US" sz="2500" dirty="0">
                <a:latin typeface="Calibri" panose="020F0502020204030204" pitchFamily="34" charset="0"/>
                <a:cs typeface="Calibri" panose="020F0502020204030204" pitchFamily="34" charset="0"/>
              </a:rPr>
              <a:t>How do you approach initial therapy for patients with metastatic NSCLC who need to start treatment before biomarker results can be obtained? </a:t>
            </a:r>
          </a:p>
          <a:p>
            <a:pPr marL="98425" indent="0">
              <a:lnSpc>
                <a:spcPct val="100000"/>
              </a:lnSpc>
              <a:buNone/>
            </a:pPr>
            <a:r>
              <a:rPr lang="en-US" sz="2500" dirty="0">
                <a:latin typeface="Calibri" panose="020F0502020204030204" pitchFamily="34" charset="0"/>
                <a:cs typeface="Calibri" panose="020F0502020204030204" pitchFamily="34" charset="0"/>
              </a:rPr>
              <a:t>What would you most likely have recommended in this patient’s case? Would you have started with chemotherapy alone while awaiting NGS results? </a:t>
            </a:r>
          </a:p>
          <a:p>
            <a:pPr marL="98425" indent="0">
              <a:lnSpc>
                <a:spcPct val="100000"/>
              </a:lnSpc>
              <a:buNone/>
            </a:pPr>
            <a:r>
              <a:rPr lang="en-US" sz="2500" dirty="0">
                <a:latin typeface="Calibri" panose="020F0502020204030204" pitchFamily="34" charset="0"/>
                <a:cs typeface="Calibri" panose="020F0502020204030204" pitchFamily="34" charset="0"/>
              </a:rPr>
              <a:t>What differentiating factors would prompt you to recommend first-line osimertinib monotherapy versus osimertinib/chemotherapy versus </a:t>
            </a:r>
            <a:r>
              <a:rPr lang="en-US" sz="2500" dirty="0" err="1">
                <a:latin typeface="Calibri" panose="020F0502020204030204" pitchFamily="34" charset="0"/>
                <a:cs typeface="Calibri" panose="020F0502020204030204" pitchFamily="34" charset="0"/>
              </a:rPr>
              <a:t>amivantamab</a:t>
            </a:r>
            <a:r>
              <a:rPr lang="en-US" sz="2500" dirty="0">
                <a:latin typeface="Calibri" panose="020F0502020204030204" pitchFamily="34" charset="0"/>
                <a:cs typeface="Calibri" panose="020F0502020204030204" pitchFamily="34" charset="0"/>
              </a:rPr>
              <a:t>/</a:t>
            </a:r>
            <a:r>
              <a:rPr lang="en-US" sz="2500" dirty="0" err="1">
                <a:latin typeface="Calibri" panose="020F0502020204030204" pitchFamily="34" charset="0"/>
                <a:cs typeface="Calibri" panose="020F0502020204030204" pitchFamily="34" charset="0"/>
              </a:rPr>
              <a:t>lazertinib</a:t>
            </a:r>
            <a:r>
              <a:rPr lang="en-US" sz="2500" dirty="0">
                <a:latin typeface="Calibri" panose="020F0502020204030204" pitchFamily="34" charset="0"/>
                <a:cs typeface="Calibri" panose="020F0502020204030204" pitchFamily="34" charset="0"/>
              </a:rPr>
              <a:t> for your patients with EGFR-mutated NSCLC? What do you see as the major advantages and disadvantages of each? </a:t>
            </a:r>
          </a:p>
          <a:p>
            <a:pPr marL="98425" indent="0">
              <a:lnSpc>
                <a:spcPct val="100000"/>
              </a:lnSpc>
              <a:buNone/>
            </a:pPr>
            <a:r>
              <a:rPr lang="en-US" sz="2500" dirty="0">
                <a:latin typeface="Calibri" panose="020F0502020204030204" pitchFamily="34" charset="0"/>
                <a:cs typeface="Calibri" panose="020F0502020204030204" pitchFamily="34" charset="0"/>
              </a:rPr>
              <a:t>Do you typically approach first-line treatment for patients with uncommon EGFR mutations in the same way you do for those with exon 19 deletions or L858R mutations? </a:t>
            </a:r>
          </a:p>
        </p:txBody>
      </p:sp>
    </p:spTree>
    <p:extLst>
      <p:ext uri="{BB962C8B-B14F-4D97-AF65-F5344CB8AC3E}">
        <p14:creationId xmlns:p14="http://schemas.microsoft.com/office/powerpoint/2010/main" val="17150814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DD0D3-82DA-C587-BC51-1AE3EB14C39F}"/>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6BEFB0F0-69B3-59AD-82DA-992790C255F5}"/>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usmitha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Apuri</a:t>
            </a: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 MD</a:t>
            </a:r>
          </a:p>
        </p:txBody>
      </p:sp>
      <p:sp>
        <p:nvSpPr>
          <p:cNvPr id="6" name="Rectangle 5">
            <a:extLst>
              <a:ext uri="{FF2B5EF4-FFF2-40B4-BE49-F238E27FC236}">
                <a16:creationId xmlns:a16="http://schemas.microsoft.com/office/drawing/2014/main" id="{131DA143-081C-5230-9AFB-692E6CD45F03}"/>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3269E3E0-876B-4E5A-E430-803D4AD5652B}"/>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9" name="Title 1">
            <a:extLst>
              <a:ext uri="{FF2B5EF4-FFF2-40B4-BE49-F238E27FC236}">
                <a16:creationId xmlns:a16="http://schemas.microsoft.com/office/drawing/2014/main" id="{FF338E89-B1A5-C4A5-0B2F-162F6E767169}"/>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624CF498-61B7-32B1-86F5-35F6904B3643}"/>
              </a:ext>
            </a:extLst>
          </p:cNvPr>
          <p:cNvPicPr>
            <a:picLocks noChangeAspect="1"/>
          </p:cNvPicPr>
          <p:nvPr/>
        </p:nvPicPr>
        <p:blipFill>
          <a:blip r:embed="rId2"/>
          <a:srcRect l="22367" r="19429" b="17523"/>
          <a:stretch>
            <a:fillRect/>
          </a:stretch>
        </p:blipFill>
        <p:spPr>
          <a:xfrm>
            <a:off x="6799303" y="2570971"/>
            <a:ext cx="2651760" cy="2651760"/>
          </a:xfrm>
          <a:prstGeom prst="ellipse">
            <a:avLst/>
          </a:prstGeom>
          <a:effectLst>
            <a:outerShdw blurRad="50800" dist="38100" dir="2700000" algn="tl" rotWithShape="0">
              <a:prstClr val="black">
                <a:alpha val="40000"/>
              </a:prstClr>
            </a:outerShdw>
          </a:effectLst>
        </p:spPr>
      </p:pic>
      <p:pic>
        <p:nvPicPr>
          <p:cNvPr id="11" name="Picture 10" descr="A person wearing a white coat and headphones&#10;&#10;AI-generated content may be incorrect.">
            <a:extLst>
              <a:ext uri="{FF2B5EF4-FFF2-40B4-BE49-F238E27FC236}">
                <a16:creationId xmlns:a16="http://schemas.microsoft.com/office/drawing/2014/main" id="{AF1B939B-AAD3-1135-AB35-D390E8D988FD}"/>
              </a:ext>
            </a:extLst>
          </p:cNvPr>
          <p:cNvPicPr>
            <a:picLocks/>
          </p:cNvPicPr>
          <p:nvPr/>
        </p:nvPicPr>
        <p:blipFill>
          <a:blip r:embed="rId3"/>
          <a:srcRect l="25088" t="-318" r="20483" b="318"/>
          <a:stretch>
            <a:fillRect/>
          </a:stretch>
        </p:blipFill>
        <p:spPr>
          <a:xfrm>
            <a:off x="2281845" y="2570971"/>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425737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6" y="1416053"/>
            <a:ext cx="10358967" cy="4799013"/>
          </a:xfrm>
        </p:spPr>
        <p:txBody>
          <a:bodyPr/>
          <a:lstStyle/>
          <a:p>
            <a:pPr marL="98425" indent="0">
              <a:lnSpc>
                <a:spcPct val="100000"/>
              </a:lnSpc>
              <a:buNone/>
            </a:pPr>
            <a:r>
              <a:rPr lang="en-US" sz="2400" dirty="0"/>
              <a:t>What has been your experience with the toxicities of </a:t>
            </a:r>
            <a:r>
              <a:rPr lang="en-US" sz="2400" dirty="0" err="1"/>
              <a:t>amivantamab</a:t>
            </a:r>
            <a:r>
              <a:rPr lang="en-US" sz="2400" dirty="0"/>
              <a:t>/</a:t>
            </a:r>
            <a:r>
              <a:rPr lang="en-US" sz="2400" dirty="0" err="1"/>
              <a:t>lazertinib</a:t>
            </a:r>
            <a:r>
              <a:rPr lang="en-US" sz="2400" dirty="0"/>
              <a:t>, and what prophylactic approaches do you recommend to prevent them? </a:t>
            </a:r>
          </a:p>
          <a:p>
            <a:pPr marL="98425" indent="0">
              <a:lnSpc>
                <a:spcPct val="100000"/>
              </a:lnSpc>
              <a:buNone/>
            </a:pPr>
            <a:r>
              <a:rPr lang="en-US" sz="2400" dirty="0"/>
              <a:t>How do you approach dose reductions for patients who are experiencing tolerability issues while receiving </a:t>
            </a:r>
            <a:r>
              <a:rPr lang="en-US" sz="2400" dirty="0" err="1"/>
              <a:t>amivantamab</a:t>
            </a:r>
            <a:r>
              <a:rPr lang="en-US" sz="2400" dirty="0"/>
              <a:t>/</a:t>
            </a:r>
            <a:r>
              <a:rPr lang="en-US" sz="2400" dirty="0" err="1"/>
              <a:t>lazertinib</a:t>
            </a:r>
            <a:r>
              <a:rPr lang="en-US" sz="2400" dirty="0"/>
              <a:t>?</a:t>
            </a:r>
          </a:p>
          <a:p>
            <a:pPr marL="98425" indent="0">
              <a:lnSpc>
                <a:spcPct val="100000"/>
              </a:lnSpc>
              <a:buNone/>
            </a:pPr>
            <a:r>
              <a:rPr lang="en-US" sz="2400" dirty="0"/>
              <a:t>Are you at all surprised that subcutaneous administration of </a:t>
            </a:r>
            <a:r>
              <a:rPr lang="en-US" sz="2400" dirty="0" err="1"/>
              <a:t>amivantamab</a:t>
            </a:r>
            <a:r>
              <a:rPr lang="en-US" sz="2400" dirty="0"/>
              <a:t> prolonged overall survival in the PALOMA-3 study? Why do you think this is? Have you switched to subcutaneous administration of </a:t>
            </a:r>
            <a:r>
              <a:rPr lang="en-US" sz="2400" dirty="0" err="1"/>
              <a:t>amivantamab</a:t>
            </a:r>
            <a:r>
              <a:rPr lang="en-US" sz="2400" dirty="0"/>
              <a:t> for all or most of your patients receiving that agent? What dosing schedule do you prefer? </a:t>
            </a:r>
          </a:p>
        </p:txBody>
      </p:sp>
    </p:spTree>
    <p:extLst>
      <p:ext uri="{BB962C8B-B14F-4D97-AF65-F5344CB8AC3E}">
        <p14:creationId xmlns:p14="http://schemas.microsoft.com/office/powerpoint/2010/main" val="14464021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28509-552C-B4F1-0C23-C945F8DB82A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0F4CB12-08D0-7E30-BA93-3C783E706C63}"/>
              </a:ext>
            </a:extLst>
          </p:cNvPr>
          <p:cNvSpPr/>
          <p:nvPr/>
        </p:nvSpPr>
        <p:spPr bwMode="auto">
          <a:xfrm>
            <a:off x="740128" y="2099221"/>
            <a:ext cx="10900488" cy="96973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A2A7AB4D-9630-74B5-F3A6-79F5692A165C}"/>
              </a:ext>
            </a:extLst>
          </p:cNvPr>
          <p:cNvSpPr>
            <a:spLocks noGrp="1"/>
          </p:cNvSpPr>
          <p:nvPr>
            <p:ph type="title"/>
          </p:nvPr>
        </p:nvSpPr>
        <p:spPr>
          <a:xfrm>
            <a:off x="912286" y="227013"/>
            <a:ext cx="10358967" cy="969739"/>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F8F847F1-8351-0BDE-ABAD-7AA4BC9747AC}"/>
              </a:ext>
            </a:extLst>
          </p:cNvPr>
          <p:cNvSpPr>
            <a:spLocks noGrp="1"/>
          </p:cNvSpPr>
          <p:nvPr>
            <p:ph idx="1"/>
          </p:nvPr>
        </p:nvSpPr>
        <p:spPr>
          <a:xfrm>
            <a:off x="767408" y="1196752"/>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Evolving First-Line Treatment for Metastatic EGFR-Mutated </a:t>
            </a:r>
            <a:br>
              <a:rPr lang="en-US" sz="2500" dirty="0">
                <a:solidFill>
                  <a:schemeClr val="tx1"/>
                </a:solidFill>
              </a:rPr>
            </a:br>
            <a:r>
              <a:rPr lang="en-US" sz="2500" dirty="0">
                <a:solidFill>
                  <a:schemeClr val="tx1"/>
                </a:solidFill>
              </a:rPr>
              <a:t>Non-Small Cell Lung Cancer (NSCLC) — Prof Passaro </a:t>
            </a:r>
          </a:p>
          <a:p>
            <a:pPr marL="98425" indent="0">
              <a:lnSpc>
                <a:spcPct val="100000"/>
              </a:lnSpc>
              <a:spcBef>
                <a:spcPts val="1600"/>
              </a:spcBef>
              <a:spcAft>
                <a:spcPts val="0"/>
              </a:spcAft>
              <a:buNone/>
            </a:pPr>
            <a:r>
              <a:rPr lang="en-US" sz="2500" dirty="0">
                <a:solidFill>
                  <a:schemeClr val="bg1"/>
                </a:solidFill>
              </a:rPr>
              <a:t>Module 2: EGFR-Targeted Therapeutic Strategies for Relapsed EGFR-Mutant NSCLC — Dr Nea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Utility of TROP2-Targeted Antibody-Drug Conjugates in the Management of EGFR-Mutant NSCLC — Dr Sands</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Emerging Role of Bispecific Antibody-Based Approaches for </a:t>
            </a:r>
            <a:br>
              <a:rPr lang="en-US" sz="2500" dirty="0">
                <a:solidFill>
                  <a:schemeClr val="tx1"/>
                </a:solidFill>
              </a:rPr>
            </a:br>
            <a:r>
              <a:rPr lang="en-US" sz="2500" dirty="0">
                <a:solidFill>
                  <a:schemeClr val="tx1"/>
                </a:solidFill>
              </a:rPr>
              <a:t>EGFR-Mutated NSCLC — Dr Goldman</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Tolerability Considerations with the Use of Available and Emerging Therapies for EGFR-Mutated NSCLC — Dr Goldberg</a:t>
            </a:r>
          </a:p>
        </p:txBody>
      </p:sp>
    </p:spTree>
    <p:extLst>
      <p:ext uri="{BB962C8B-B14F-4D97-AF65-F5344CB8AC3E}">
        <p14:creationId xmlns:p14="http://schemas.microsoft.com/office/powerpoint/2010/main" val="37880077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Neal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365736499"/>
              </p:ext>
            </p:extLst>
          </p:nvPr>
        </p:nvGraphicFramePr>
        <p:xfrm>
          <a:off x="983432" y="1556792"/>
          <a:ext cx="10225136" cy="4190773"/>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2175744">
                <a:tc>
                  <a:txBody>
                    <a:bodyPr/>
                    <a:lstStyle/>
                    <a:p>
                      <a:r>
                        <a:rPr lang="en-US" sz="1800" b="1" kern="1200" dirty="0">
                          <a:solidFill>
                            <a:schemeClr val="tx1"/>
                          </a:solidFill>
                          <a:effectLst/>
                          <a:latin typeface="+mn-lt"/>
                          <a:ea typeface="+mn-ea"/>
                          <a:cs typeface="+mn-cs"/>
                        </a:rPr>
                        <a:t>Advisory Committees (Consulting and Advisor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mgen Inc, AstraZeneca Pharmaceuticals LP, Boehringer Ingelheim Pharmaceuticals Inc, Bristol Myers Squibb, Daiichi Sankyo Inc, Genentech, a member of the Roche Group, Gilead Sciences Inc, GSK, </a:t>
                      </a:r>
                      <a:r>
                        <a:rPr lang="en-US" sz="1800" b="0" kern="1200" dirty="0" err="1">
                          <a:solidFill>
                            <a:schemeClr val="tx1"/>
                          </a:solidFill>
                          <a:effectLst/>
                          <a:latin typeface="+mn-lt"/>
                          <a:ea typeface="+mn-ea"/>
                          <a:cs typeface="+mn-cs"/>
                        </a:rPr>
                        <a:t>Iovance</a:t>
                      </a:r>
                      <a:r>
                        <a:rPr lang="en-US" sz="1800" b="0" kern="1200" dirty="0">
                          <a:solidFill>
                            <a:schemeClr val="tx1"/>
                          </a:solidFill>
                          <a:effectLst/>
                          <a:latin typeface="+mn-lt"/>
                          <a:ea typeface="+mn-ea"/>
                          <a:cs typeface="+mn-cs"/>
                        </a:rPr>
                        <a:t> Biotherapeutics, Janssen Biotech Inc, Lilly, Natera Inc, Novartis, </a:t>
                      </a:r>
                      <a:r>
                        <a:rPr lang="en-US" sz="1800" b="0" kern="1200" dirty="0" err="1">
                          <a:solidFill>
                            <a:schemeClr val="tx1"/>
                          </a:solidFill>
                          <a:effectLst/>
                          <a:latin typeface="+mn-lt"/>
                          <a:ea typeface="+mn-ea"/>
                          <a:cs typeface="+mn-cs"/>
                        </a:rPr>
                        <a:t>Novocure</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Nuvation</a:t>
                      </a:r>
                      <a:r>
                        <a:rPr lang="en-US" sz="1800" b="0" kern="1200" dirty="0">
                          <a:solidFill>
                            <a:schemeClr val="tx1"/>
                          </a:solidFill>
                          <a:effectLst/>
                          <a:latin typeface="+mn-lt"/>
                          <a:ea typeface="+mn-ea"/>
                          <a:cs typeface="+mn-cs"/>
                        </a:rPr>
                        <a:t> Bio Inc, Oxford </a:t>
                      </a:r>
                      <a:r>
                        <a:rPr lang="en-US" sz="1800" b="0" kern="1200" dirty="0" err="1">
                          <a:solidFill>
                            <a:schemeClr val="tx1"/>
                          </a:solidFill>
                          <a:effectLst/>
                          <a:latin typeface="+mn-lt"/>
                          <a:ea typeface="+mn-ea"/>
                          <a:cs typeface="+mn-cs"/>
                        </a:rPr>
                        <a:t>BioTherapeutics</a:t>
                      </a:r>
                      <a:r>
                        <a:rPr lang="en-US" sz="1800" b="0" kern="1200" dirty="0">
                          <a:solidFill>
                            <a:schemeClr val="tx1"/>
                          </a:solidFill>
                          <a:effectLst/>
                          <a:latin typeface="+mn-lt"/>
                          <a:ea typeface="+mn-ea"/>
                          <a:cs typeface="+mn-cs"/>
                        </a:rPr>
                        <a:t>, Pfizer Inc, Regeneron Pharmaceuticals Inc, Summit Therapeutics, Taiho Oncology In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79215">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daptimmune</a:t>
                      </a:r>
                      <a:r>
                        <a:rPr lang="en-US" sz="1800" b="0" kern="1200" dirty="0">
                          <a:solidFill>
                            <a:schemeClr val="tx1"/>
                          </a:solidFill>
                          <a:effectLst/>
                          <a:latin typeface="+mn-lt"/>
                          <a:ea typeface="+mn-ea"/>
                          <a:cs typeface="+mn-cs"/>
                        </a:rPr>
                        <a:t>, BioNTech SE, Boehringer Ingelheim Pharmaceuticals Inc, Exelixis Inc, Genentech, a member of the Roche Group, Gilead Sciences Inc, GSK, Janssen Biotech Inc, Lilly, Merck, Novartis, </a:t>
                      </a:r>
                      <a:r>
                        <a:rPr lang="en-US" sz="1800" b="0" kern="1200" dirty="0" err="1">
                          <a:solidFill>
                            <a:schemeClr val="tx1"/>
                          </a:solidFill>
                          <a:effectLst/>
                          <a:latin typeface="+mn-lt"/>
                          <a:ea typeface="+mn-ea"/>
                          <a:cs typeface="+mn-cs"/>
                        </a:rPr>
                        <a:t>Nuvalent</a:t>
                      </a:r>
                      <a:r>
                        <a:rPr lang="en-US" sz="1800" b="0" kern="1200" dirty="0">
                          <a:solidFill>
                            <a:schemeClr val="tx1"/>
                          </a:solidFill>
                          <a:effectLst/>
                          <a:latin typeface="+mn-lt"/>
                          <a:ea typeface="+mn-ea"/>
                          <a:cs typeface="+mn-cs"/>
                        </a:rPr>
                        <a:t>, Revolution Medicines Inc, Taiho Oncology In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735814">
                <a:tc>
                  <a:txBody>
                    <a:bodyPr/>
                    <a:lstStyle/>
                    <a:p>
                      <a:r>
                        <a:rPr lang="en-US" sz="1800" b="1" kern="1200" dirty="0">
                          <a:solidFill>
                            <a:schemeClr val="tx1"/>
                          </a:solidFill>
                          <a:effectLst/>
                          <a:latin typeface="+mn-lt"/>
                          <a:ea typeface="+mn-ea"/>
                          <a:cs typeface="+mn-cs"/>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SecondLook</a:t>
                      </a:r>
                      <a:r>
                        <a:rPr lang="en-US" sz="1800" b="0" kern="1200" dirty="0">
                          <a:solidFill>
                            <a:schemeClr val="tx1"/>
                          </a:solidFill>
                          <a:effectLst/>
                          <a:latin typeface="+mn-lt"/>
                          <a:ea typeface="+mn-ea"/>
                          <a:cs typeface="+mn-cs"/>
                        </a:rPr>
                        <a:t> Healt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1625741"/>
                  </a:ext>
                </a:extLst>
              </a:tr>
            </a:tbl>
          </a:graphicData>
        </a:graphic>
      </p:graphicFrame>
    </p:spTree>
    <p:custDataLst>
      <p:tags r:id="rId1"/>
    </p:custDataLst>
    <p:extLst>
      <p:ext uri="{BB962C8B-B14F-4D97-AF65-F5344CB8AC3E}">
        <p14:creationId xmlns:p14="http://schemas.microsoft.com/office/powerpoint/2010/main" val="24961359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60346" y="1412417"/>
            <a:ext cx="4471307" cy="320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131" name="Text Box 7"/>
          <p:cNvSpPr txBox="1">
            <a:spLocks noChangeArrowheads="1"/>
          </p:cNvSpPr>
          <p:nvPr/>
        </p:nvSpPr>
        <p:spPr bwMode="auto">
          <a:xfrm>
            <a:off x="2061656" y="147415"/>
            <a:ext cx="8153400"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400" b="1">
                <a:solidFill>
                  <a:schemeClr val="tx1"/>
                </a:solidFill>
                <a:latin typeface="Garamond" pitchFamily="18" charset="0"/>
              </a:defRPr>
            </a:lvl1pPr>
            <a:lvl2pPr marL="742950" indent="-285750" eaLnBrk="0" hangingPunct="0">
              <a:defRPr sz="2400" b="1">
                <a:solidFill>
                  <a:schemeClr val="tx1"/>
                </a:solidFill>
                <a:latin typeface="Garamond" pitchFamily="18" charset="0"/>
              </a:defRPr>
            </a:lvl2pPr>
            <a:lvl3pPr marL="1143000" indent="-228600" eaLnBrk="0" hangingPunct="0">
              <a:defRPr sz="2400" b="1">
                <a:solidFill>
                  <a:schemeClr val="tx1"/>
                </a:solidFill>
                <a:latin typeface="Garamond" pitchFamily="18" charset="0"/>
              </a:defRPr>
            </a:lvl3pPr>
            <a:lvl4pPr marL="1600200" indent="-228600" eaLnBrk="0" hangingPunct="0">
              <a:defRPr sz="2400" b="1">
                <a:solidFill>
                  <a:schemeClr val="tx1"/>
                </a:solidFill>
                <a:latin typeface="Garamond" pitchFamily="18" charset="0"/>
              </a:defRPr>
            </a:lvl4pPr>
            <a:lvl5pPr marL="2057400" indent="-228600" eaLnBrk="0" hangingPunct="0">
              <a:defRPr sz="2400" b="1">
                <a:solidFill>
                  <a:schemeClr val="tx1"/>
                </a:solidFill>
                <a:latin typeface="Garamond" pitchFamily="18" charset="0"/>
              </a:defRPr>
            </a:lvl5pPr>
            <a:lvl6pPr marL="2514600" indent="-228600" eaLnBrk="0" fontAlgn="base" hangingPunct="0">
              <a:spcBef>
                <a:spcPct val="0"/>
              </a:spcBef>
              <a:spcAft>
                <a:spcPct val="0"/>
              </a:spcAft>
              <a:defRPr sz="2400" b="1">
                <a:solidFill>
                  <a:schemeClr val="tx1"/>
                </a:solidFill>
                <a:latin typeface="Garamond" pitchFamily="18" charset="0"/>
              </a:defRPr>
            </a:lvl6pPr>
            <a:lvl7pPr marL="2971800" indent="-228600" eaLnBrk="0" fontAlgn="base" hangingPunct="0">
              <a:spcBef>
                <a:spcPct val="0"/>
              </a:spcBef>
              <a:spcAft>
                <a:spcPct val="0"/>
              </a:spcAft>
              <a:defRPr sz="2400" b="1">
                <a:solidFill>
                  <a:schemeClr val="tx1"/>
                </a:solidFill>
                <a:latin typeface="Garamond" pitchFamily="18" charset="0"/>
              </a:defRPr>
            </a:lvl7pPr>
            <a:lvl8pPr marL="3429000" indent="-228600" eaLnBrk="0" fontAlgn="base" hangingPunct="0">
              <a:spcBef>
                <a:spcPct val="0"/>
              </a:spcBef>
              <a:spcAft>
                <a:spcPct val="0"/>
              </a:spcAft>
              <a:defRPr sz="2400" b="1">
                <a:solidFill>
                  <a:schemeClr val="tx1"/>
                </a:solidFill>
                <a:latin typeface="Garamond" pitchFamily="18" charset="0"/>
              </a:defRPr>
            </a:lvl8pPr>
            <a:lvl9pPr marL="3886200" indent="-228600" eaLnBrk="0" fontAlgn="base" hangingPunct="0">
              <a:spcBef>
                <a:spcPct val="0"/>
              </a:spcBef>
              <a:spcAft>
                <a:spcPct val="0"/>
              </a:spcAft>
              <a:defRPr sz="2400" b="1">
                <a:solidFill>
                  <a:schemeClr val="tx1"/>
                </a:solidFill>
                <a:latin typeface="Garamond" pitchFamily="18" charset="0"/>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3200" b="1" i="0" u="none" strike="noStrike" kern="1200" cap="none" spc="0" normalizeH="0" baseline="0" noProof="0" dirty="0">
                <a:ln>
                  <a:noFill/>
                </a:ln>
                <a:solidFill>
                  <a:srgbClr val="000099"/>
                </a:solidFill>
                <a:effectLst/>
                <a:uLnTx/>
                <a:uFillTx/>
                <a:latin typeface="Arial" pitchFamily="34" charset="0"/>
                <a:ea typeface="ＭＳ Ｐゴシック" pitchFamily="34" charset="-128"/>
                <a:cs typeface="+mn-cs"/>
              </a:rPr>
              <a:t>EGFR-Targeted Therapeutic Strategies for Relapsed EGFR-Mutant NSCLC</a:t>
            </a:r>
          </a:p>
        </p:txBody>
      </p:sp>
      <p:sp>
        <p:nvSpPr>
          <p:cNvPr id="48132" name="Text Box 7"/>
          <p:cNvSpPr txBox="1">
            <a:spLocks noChangeArrowheads="1"/>
          </p:cNvSpPr>
          <p:nvPr/>
        </p:nvSpPr>
        <p:spPr bwMode="auto">
          <a:xfrm>
            <a:off x="1915683" y="4786830"/>
            <a:ext cx="8305800"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400" b="1">
                <a:solidFill>
                  <a:schemeClr val="tx1"/>
                </a:solidFill>
                <a:latin typeface="Garamond" pitchFamily="18" charset="0"/>
              </a:defRPr>
            </a:lvl1pPr>
            <a:lvl2pPr marL="742950" indent="-285750" eaLnBrk="0" hangingPunct="0">
              <a:defRPr sz="2400" b="1">
                <a:solidFill>
                  <a:schemeClr val="tx1"/>
                </a:solidFill>
                <a:latin typeface="Garamond" pitchFamily="18" charset="0"/>
              </a:defRPr>
            </a:lvl2pPr>
            <a:lvl3pPr marL="1143000" indent="-228600" eaLnBrk="0" hangingPunct="0">
              <a:defRPr sz="2400" b="1">
                <a:solidFill>
                  <a:schemeClr val="tx1"/>
                </a:solidFill>
                <a:latin typeface="Garamond" pitchFamily="18" charset="0"/>
              </a:defRPr>
            </a:lvl3pPr>
            <a:lvl4pPr marL="1600200" indent="-228600" eaLnBrk="0" hangingPunct="0">
              <a:defRPr sz="2400" b="1">
                <a:solidFill>
                  <a:schemeClr val="tx1"/>
                </a:solidFill>
                <a:latin typeface="Garamond" pitchFamily="18" charset="0"/>
              </a:defRPr>
            </a:lvl4pPr>
            <a:lvl5pPr marL="2057400" indent="-228600" eaLnBrk="0" hangingPunct="0">
              <a:defRPr sz="2400" b="1">
                <a:solidFill>
                  <a:schemeClr val="tx1"/>
                </a:solidFill>
                <a:latin typeface="Garamond" pitchFamily="18" charset="0"/>
              </a:defRPr>
            </a:lvl5pPr>
            <a:lvl6pPr marL="2514600" indent="-228600" eaLnBrk="0" fontAlgn="base" hangingPunct="0">
              <a:spcBef>
                <a:spcPct val="0"/>
              </a:spcBef>
              <a:spcAft>
                <a:spcPct val="0"/>
              </a:spcAft>
              <a:defRPr sz="2400" b="1">
                <a:solidFill>
                  <a:schemeClr val="tx1"/>
                </a:solidFill>
                <a:latin typeface="Garamond" pitchFamily="18" charset="0"/>
              </a:defRPr>
            </a:lvl6pPr>
            <a:lvl7pPr marL="2971800" indent="-228600" eaLnBrk="0" fontAlgn="base" hangingPunct="0">
              <a:spcBef>
                <a:spcPct val="0"/>
              </a:spcBef>
              <a:spcAft>
                <a:spcPct val="0"/>
              </a:spcAft>
              <a:defRPr sz="2400" b="1">
                <a:solidFill>
                  <a:schemeClr val="tx1"/>
                </a:solidFill>
                <a:latin typeface="Garamond" pitchFamily="18" charset="0"/>
              </a:defRPr>
            </a:lvl7pPr>
            <a:lvl8pPr marL="3429000" indent="-228600" eaLnBrk="0" fontAlgn="base" hangingPunct="0">
              <a:spcBef>
                <a:spcPct val="0"/>
              </a:spcBef>
              <a:spcAft>
                <a:spcPct val="0"/>
              </a:spcAft>
              <a:defRPr sz="2400" b="1">
                <a:solidFill>
                  <a:schemeClr val="tx1"/>
                </a:solidFill>
                <a:latin typeface="Garamond" pitchFamily="18" charset="0"/>
              </a:defRPr>
            </a:lvl8pPr>
            <a:lvl9pPr marL="3886200" indent="-228600" eaLnBrk="0" fontAlgn="base" hangingPunct="0">
              <a:spcBef>
                <a:spcPct val="0"/>
              </a:spcBef>
              <a:spcAft>
                <a:spcPct val="0"/>
              </a:spcAft>
              <a:defRPr sz="2400" b="1">
                <a:solidFill>
                  <a:schemeClr val="tx1"/>
                </a:solidFill>
                <a:latin typeface="Garamond"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99"/>
                </a:solidFill>
                <a:effectLst/>
                <a:uLnTx/>
                <a:uFillTx/>
                <a:latin typeface="Arial" pitchFamily="34" charset="0"/>
                <a:ea typeface="ＭＳ Ｐゴシック" pitchFamily="34" charset="-128"/>
                <a:cs typeface="+mn-cs"/>
              </a:rPr>
              <a:t>Joel W. Neal, MD, Ph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99"/>
                </a:solidFill>
                <a:effectLst/>
                <a:uLnTx/>
                <a:uFillTx/>
                <a:latin typeface="Arial" pitchFamily="34" charset="0"/>
                <a:ea typeface="ＭＳ Ｐゴシック" pitchFamily="34" charset="-128"/>
                <a:cs typeface="+mn-cs"/>
              </a:rPr>
              <a:t>Professor of Medicine (Oncolo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99"/>
                </a:solidFill>
                <a:effectLst/>
                <a:uLnTx/>
                <a:uFillTx/>
                <a:latin typeface="Arial" pitchFamily="34" charset="0"/>
                <a:ea typeface="ＭＳ Ｐゴシック" pitchFamily="34" charset="-128"/>
                <a:cs typeface="+mn-cs"/>
              </a:rPr>
              <a:t>May 29, 2026</a:t>
            </a:r>
          </a:p>
        </p:txBody>
      </p:sp>
      <p:pic>
        <p:nvPicPr>
          <p:cNvPr id="6" name="Picture 5" descr="SCI digital_top"/>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06483" y="5801023"/>
            <a:ext cx="3124200" cy="1056977"/>
          </a:xfrm>
          <a:prstGeom prst="rect">
            <a:avLst/>
          </a:prstGeom>
          <a:noFill/>
        </p:spPr>
      </p:pic>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8D31D-19AD-EEB1-3A6C-059F65955CFB}"/>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02A5F34F-1BEB-6501-8B24-C1800D7967F5}"/>
              </a:ext>
            </a:extLst>
          </p:cNvPr>
          <p:cNvSpPr>
            <a:spLocks noGrp="1"/>
          </p:cNvSpPr>
          <p:nvPr>
            <p:ph idx="1"/>
          </p:nvPr>
        </p:nvSpPr>
        <p:spPr>
          <a:xfrm>
            <a:off x="609600" y="1600201"/>
            <a:ext cx="10591800" cy="4525963"/>
          </a:xfrm>
        </p:spPr>
        <p:txBody>
          <a:bodyPr>
            <a:normAutofit fontScale="70000" lnSpcReduction="20000"/>
          </a:bodyPr>
          <a:lstStyle/>
          <a:p>
            <a:pPr marL="0" indent="0">
              <a:lnSpc>
                <a:spcPct val="120000"/>
              </a:lnSpc>
              <a:buNone/>
            </a:pPr>
            <a:r>
              <a:rPr lang="en-US" b="1" dirty="0"/>
              <a:t>EGFR-Targeted Therapeutic Strategies for Relapsed EGFR-Mutant NSCLC</a:t>
            </a:r>
            <a:endParaRPr lang="en-US" dirty="0"/>
          </a:p>
          <a:p>
            <a:pPr>
              <a:lnSpc>
                <a:spcPct val="120000"/>
              </a:lnSpc>
            </a:pPr>
            <a:r>
              <a:rPr lang="en-US" dirty="0"/>
              <a:t>Key data from the Phase III MARIPOSA-2 study of amivantamab in combination with platinum-based chemotherapy for patients with progressive EGFR mutation-positive advanced NSCLC</a:t>
            </a:r>
          </a:p>
          <a:p>
            <a:pPr lvl="0">
              <a:lnSpc>
                <a:spcPct val="120000"/>
              </a:lnSpc>
            </a:pPr>
            <a:r>
              <a:rPr lang="en-US" dirty="0"/>
              <a:t>Efficacy and safety outcomes documented with a subcutaneous formulation of amivantamab in combination with </a:t>
            </a:r>
            <a:r>
              <a:rPr lang="en-US" dirty="0" err="1"/>
              <a:t>lazertinib</a:t>
            </a:r>
            <a:r>
              <a:rPr lang="en-US" dirty="0"/>
              <a:t> in refractory and treatment-naïve EGFR-mutated advanced NSCLC</a:t>
            </a:r>
          </a:p>
          <a:p>
            <a:pPr lvl="0">
              <a:lnSpc>
                <a:spcPct val="120000"/>
              </a:lnSpc>
            </a:pPr>
            <a:r>
              <a:rPr lang="en-US" dirty="0"/>
              <a:t>Available findings from the COMPEL trial comparing platinum-based chemotherapy with and without osimertinib in patients with EGFR-mutated advanced NSCLC and non-CNS progression on first-line osimertinib</a:t>
            </a:r>
          </a:p>
          <a:p>
            <a:pPr lvl="0">
              <a:lnSpc>
                <a:spcPct val="120000"/>
              </a:lnSpc>
            </a:pPr>
            <a:r>
              <a:rPr lang="en-US" dirty="0"/>
              <a:t>Early data with and ongoing studies combining osimertinib with other systemic therapies in order to overcome common mechanisms of resistance</a:t>
            </a:r>
          </a:p>
        </p:txBody>
      </p:sp>
    </p:spTree>
    <p:extLst>
      <p:ext uri="{BB962C8B-B14F-4D97-AF65-F5344CB8AC3E}">
        <p14:creationId xmlns:p14="http://schemas.microsoft.com/office/powerpoint/2010/main" val="13213412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8D31D-19AD-EEB1-3A6C-059F65955CFB}"/>
              </a:ext>
            </a:extLst>
          </p:cNvPr>
          <p:cNvSpPr>
            <a:spLocks noGrp="1"/>
          </p:cNvSpPr>
          <p:nvPr>
            <p:ph type="title"/>
          </p:nvPr>
        </p:nvSpPr>
        <p:spPr>
          <a:xfrm>
            <a:off x="342900" y="163821"/>
            <a:ext cx="11506200" cy="658258"/>
          </a:xfrm>
        </p:spPr>
        <p:txBody>
          <a:bodyPr>
            <a:normAutofit fontScale="90000"/>
          </a:bodyPr>
          <a:lstStyle/>
          <a:p>
            <a:pPr marL="342900" lvl="0" indent="-342900">
              <a:spcBef>
                <a:spcPts val="0"/>
              </a:spcBef>
              <a:defRPr/>
            </a:pPr>
            <a:r>
              <a:rPr lang="en-US" dirty="0"/>
              <a:t>Acquired resistance after third generation EGFR TKIs</a:t>
            </a:r>
          </a:p>
        </p:txBody>
      </p:sp>
      <p:sp>
        <p:nvSpPr>
          <p:cNvPr id="4" name="TextBox 3">
            <a:extLst>
              <a:ext uri="{FF2B5EF4-FFF2-40B4-BE49-F238E27FC236}">
                <a16:creationId xmlns:a16="http://schemas.microsoft.com/office/drawing/2014/main" id="{E0567274-A614-6523-E789-57E5A6BE2A84}"/>
              </a:ext>
            </a:extLst>
          </p:cNvPr>
          <p:cNvSpPr txBox="1"/>
          <p:nvPr/>
        </p:nvSpPr>
        <p:spPr>
          <a:xfrm>
            <a:off x="1600200" y="6351490"/>
            <a:ext cx="96012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Summarized from 10x 1L trials of Osi. Adapted from Fukuda S et al Biomedicines 2024 </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27906D3B-27C9-B2F9-2573-5282658B5BE0}"/>
              </a:ext>
            </a:extLst>
          </p:cNvPr>
          <p:cNvGrpSpPr/>
          <p:nvPr/>
        </p:nvGrpSpPr>
        <p:grpSpPr>
          <a:xfrm>
            <a:off x="1010345" y="1219200"/>
            <a:ext cx="9161658" cy="4767170"/>
            <a:chOff x="1449887" y="1100230"/>
            <a:chExt cx="8190011" cy="4261584"/>
          </a:xfrm>
        </p:grpSpPr>
        <p:pic>
          <p:nvPicPr>
            <p:cNvPr id="7" name="Picture 6">
              <a:extLst>
                <a:ext uri="{FF2B5EF4-FFF2-40B4-BE49-F238E27FC236}">
                  <a16:creationId xmlns:a16="http://schemas.microsoft.com/office/drawing/2014/main" id="{AA4535AD-AF9A-1905-83FE-D9D53115A1B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3613040" y="1100230"/>
              <a:ext cx="4965920" cy="4261584"/>
            </a:xfrm>
            <a:prstGeom prst="rect">
              <a:avLst/>
            </a:prstGeom>
          </p:spPr>
        </p:pic>
        <p:cxnSp>
          <p:nvCxnSpPr>
            <p:cNvPr id="8" name="Straight Arrow Connector 7">
              <a:extLst>
                <a:ext uri="{FF2B5EF4-FFF2-40B4-BE49-F238E27FC236}">
                  <a16:creationId xmlns:a16="http://schemas.microsoft.com/office/drawing/2014/main" id="{53690CF5-4515-804D-E553-BC7265E451C7}"/>
                </a:ext>
              </a:extLst>
            </p:cNvPr>
            <p:cNvCxnSpPr>
              <a:cxnSpLocks/>
            </p:cNvCxnSpPr>
            <p:nvPr/>
          </p:nvCxnSpPr>
          <p:spPr>
            <a:xfrm flipH="1" flipV="1">
              <a:off x="2872539" y="3407712"/>
              <a:ext cx="1231104" cy="13427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F90D805-49ED-652A-BD83-2575925A07FC}"/>
                </a:ext>
              </a:extLst>
            </p:cNvPr>
            <p:cNvCxnSpPr>
              <a:cxnSpLocks/>
            </p:cNvCxnSpPr>
            <p:nvPr/>
          </p:nvCxnSpPr>
          <p:spPr>
            <a:xfrm flipH="1">
              <a:off x="3363141" y="3820135"/>
              <a:ext cx="982682" cy="66107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F5FEBED-3703-310B-7492-1734BBDCDCA0}"/>
                </a:ext>
              </a:extLst>
            </p:cNvPr>
            <p:cNvCxnSpPr>
              <a:cxnSpLocks/>
            </p:cNvCxnSpPr>
            <p:nvPr/>
          </p:nvCxnSpPr>
          <p:spPr>
            <a:xfrm>
              <a:off x="6952351" y="4150670"/>
              <a:ext cx="912452" cy="45628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71C66AD-73AE-8FDC-8E6F-BDAEBF61AC0B}"/>
                </a:ext>
              </a:extLst>
            </p:cNvPr>
            <p:cNvSpPr txBox="1"/>
            <p:nvPr/>
          </p:nvSpPr>
          <p:spPr>
            <a:xfrm>
              <a:off x="7518021" y="4606956"/>
              <a:ext cx="212187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MET IHC? </a:t>
              </a:r>
            </a:p>
          </p:txBody>
        </p:sp>
        <p:sp>
          <p:nvSpPr>
            <p:cNvPr id="12" name="TextBox 11">
              <a:extLst>
                <a:ext uri="{FF2B5EF4-FFF2-40B4-BE49-F238E27FC236}">
                  <a16:creationId xmlns:a16="http://schemas.microsoft.com/office/drawing/2014/main" id="{3C625A4A-1EBE-9DD1-81AA-E3B76D1BFA4E}"/>
                </a:ext>
              </a:extLst>
            </p:cNvPr>
            <p:cNvSpPr txBox="1"/>
            <p:nvPr/>
          </p:nvSpPr>
          <p:spPr>
            <a:xfrm>
              <a:off x="2362200" y="4552178"/>
              <a:ext cx="142100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Squamous</a:t>
              </a:r>
            </a:p>
          </p:txBody>
        </p:sp>
        <p:sp>
          <p:nvSpPr>
            <p:cNvPr id="13" name="TextBox 12">
              <a:extLst>
                <a:ext uri="{FF2B5EF4-FFF2-40B4-BE49-F238E27FC236}">
                  <a16:creationId xmlns:a16="http://schemas.microsoft.com/office/drawing/2014/main" id="{79BF9D85-57EE-1075-E323-A160D24EC9F6}"/>
                </a:ext>
              </a:extLst>
            </p:cNvPr>
            <p:cNvSpPr txBox="1"/>
            <p:nvPr/>
          </p:nvSpPr>
          <p:spPr>
            <a:xfrm>
              <a:off x="1449887" y="3274730"/>
              <a:ext cx="187972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SCL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Rb, TP53)</a:t>
              </a:r>
            </a:p>
          </p:txBody>
        </p:sp>
      </p:grpSp>
    </p:spTree>
    <p:extLst>
      <p:ext uri="{BB962C8B-B14F-4D97-AF65-F5344CB8AC3E}">
        <p14:creationId xmlns:p14="http://schemas.microsoft.com/office/powerpoint/2010/main" val="12378872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A0985-F9BE-8301-22B4-388C53510A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58FF36-1B16-9FDD-196D-F4A5118004C1}"/>
              </a:ext>
            </a:extLst>
          </p:cNvPr>
          <p:cNvSpPr>
            <a:spLocks noGrp="1"/>
          </p:cNvSpPr>
          <p:nvPr>
            <p:ph type="title"/>
          </p:nvPr>
        </p:nvSpPr>
        <p:spPr>
          <a:xfrm>
            <a:off x="1066800" y="139739"/>
            <a:ext cx="9829800"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Amivantamab and chemotherapy after 1L TKI</a:t>
            </a:r>
          </a:p>
        </p:txBody>
      </p:sp>
      <p:sp>
        <p:nvSpPr>
          <p:cNvPr id="4" name="TextBox 3">
            <a:extLst>
              <a:ext uri="{FF2B5EF4-FFF2-40B4-BE49-F238E27FC236}">
                <a16:creationId xmlns:a16="http://schemas.microsoft.com/office/drawing/2014/main" id="{4CAD1DD2-7CF4-58FC-EC17-F213888E6BC7}"/>
              </a:ext>
            </a:extLst>
          </p:cNvPr>
          <p:cNvSpPr txBox="1"/>
          <p:nvPr/>
        </p:nvSpPr>
        <p:spPr>
          <a:xfrm>
            <a:off x="8991600" y="6463880"/>
            <a:ext cx="3200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Passaro et al Ann Oncol 2024</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414BCD0B-E8E9-5938-3FAA-069EFBC5D26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752600" y="1355795"/>
            <a:ext cx="8305800" cy="4847661"/>
          </a:xfrm>
          <a:prstGeom prst="rect">
            <a:avLst/>
          </a:prstGeom>
        </p:spPr>
      </p:pic>
      <p:sp>
        <p:nvSpPr>
          <p:cNvPr id="5" name="TextBox 4">
            <a:extLst>
              <a:ext uri="{FF2B5EF4-FFF2-40B4-BE49-F238E27FC236}">
                <a16:creationId xmlns:a16="http://schemas.microsoft.com/office/drawing/2014/main" id="{AED2B2AC-AE6B-AE46-055D-D223A84B51B8}"/>
              </a:ext>
            </a:extLst>
          </p:cNvPr>
          <p:cNvSpPr txBox="1"/>
          <p:nvPr/>
        </p:nvSpPr>
        <p:spPr>
          <a:xfrm>
            <a:off x="4721888" y="892230"/>
            <a:ext cx="617471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MARIPOSA-2 study</a:t>
            </a:r>
          </a:p>
        </p:txBody>
      </p:sp>
    </p:spTree>
    <p:extLst>
      <p:ext uri="{BB962C8B-B14F-4D97-AF65-F5344CB8AC3E}">
        <p14:creationId xmlns:p14="http://schemas.microsoft.com/office/powerpoint/2010/main" val="21884684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2791F-CF4A-2F43-F498-84DB84EECF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7FF3EF-890D-1C86-E4EC-2D3D14419E70}"/>
              </a:ext>
            </a:extLst>
          </p:cNvPr>
          <p:cNvSpPr>
            <a:spLocks noGrp="1"/>
          </p:cNvSpPr>
          <p:nvPr>
            <p:ph type="title"/>
          </p:nvPr>
        </p:nvSpPr>
        <p:spPr>
          <a:xfrm>
            <a:off x="1066800" y="139739"/>
            <a:ext cx="9829800"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Amivantamab and chemotherapy after 1L TKI</a:t>
            </a:r>
          </a:p>
        </p:txBody>
      </p:sp>
      <p:sp>
        <p:nvSpPr>
          <p:cNvPr id="4" name="TextBox 3">
            <a:extLst>
              <a:ext uri="{FF2B5EF4-FFF2-40B4-BE49-F238E27FC236}">
                <a16:creationId xmlns:a16="http://schemas.microsoft.com/office/drawing/2014/main" id="{871976B0-985A-1E1D-2790-255ABD192EA9}"/>
              </a:ext>
            </a:extLst>
          </p:cNvPr>
          <p:cNvSpPr txBox="1"/>
          <p:nvPr/>
        </p:nvSpPr>
        <p:spPr>
          <a:xfrm>
            <a:off x="8921419" y="6356274"/>
            <a:ext cx="3200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Passaro et al Ann Oncol 2024</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1F89BE8B-F699-5372-1822-41872B485EED}"/>
              </a:ext>
            </a:extLst>
          </p:cNvPr>
          <p:cNvSpPr txBox="1"/>
          <p:nvPr/>
        </p:nvSpPr>
        <p:spPr>
          <a:xfrm>
            <a:off x="914400" y="1942740"/>
            <a:ext cx="337515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PFS 6.3m (vs 4.2m)</a:t>
            </a:r>
          </a:p>
        </p:txBody>
      </p:sp>
      <p:sp>
        <p:nvSpPr>
          <p:cNvPr id="7" name="TextBox 6">
            <a:extLst>
              <a:ext uri="{FF2B5EF4-FFF2-40B4-BE49-F238E27FC236}">
                <a16:creationId xmlns:a16="http://schemas.microsoft.com/office/drawing/2014/main" id="{4154FCC8-3541-64A8-D895-40FB5980E270}"/>
              </a:ext>
            </a:extLst>
          </p:cNvPr>
          <p:cNvSpPr txBox="1"/>
          <p:nvPr/>
        </p:nvSpPr>
        <p:spPr>
          <a:xfrm>
            <a:off x="7169945" y="1864656"/>
            <a:ext cx="423619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OS 17.7 months (vs 15.3)</a:t>
            </a:r>
          </a:p>
        </p:txBody>
      </p:sp>
      <p:pic>
        <p:nvPicPr>
          <p:cNvPr id="9" name="Picture 8">
            <a:extLst>
              <a:ext uri="{FF2B5EF4-FFF2-40B4-BE49-F238E27FC236}">
                <a16:creationId xmlns:a16="http://schemas.microsoft.com/office/drawing/2014/main" id="{CAF8DA06-D517-0C6E-DBCC-1D3B3D5AD535}"/>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6047923" y="2504219"/>
            <a:ext cx="6094094" cy="2677381"/>
          </a:xfrm>
          <a:prstGeom prst="rect">
            <a:avLst/>
          </a:prstGeom>
        </p:spPr>
      </p:pic>
      <p:grpSp>
        <p:nvGrpSpPr>
          <p:cNvPr id="10" name="Group 9">
            <a:extLst>
              <a:ext uri="{FF2B5EF4-FFF2-40B4-BE49-F238E27FC236}">
                <a16:creationId xmlns:a16="http://schemas.microsoft.com/office/drawing/2014/main" id="{32CA2C91-2DCD-B705-B4E7-1BEDDF5F6D53}"/>
              </a:ext>
            </a:extLst>
          </p:cNvPr>
          <p:cNvGrpSpPr>
            <a:grpSpLocks noChangeAspect="1"/>
          </p:cNvGrpSpPr>
          <p:nvPr/>
        </p:nvGrpSpPr>
        <p:grpSpPr>
          <a:xfrm>
            <a:off x="103466" y="2552792"/>
            <a:ext cx="5632670" cy="2857407"/>
            <a:chOff x="1523362" y="1109339"/>
            <a:chExt cx="9145276" cy="4639322"/>
          </a:xfrm>
        </p:grpSpPr>
        <p:pic>
          <p:nvPicPr>
            <p:cNvPr id="11" name="Picture 10">
              <a:extLst>
                <a:ext uri="{FF2B5EF4-FFF2-40B4-BE49-F238E27FC236}">
                  <a16:creationId xmlns:a16="http://schemas.microsoft.com/office/drawing/2014/main" id="{EBC59AC2-49CE-A01D-93FE-4A979F9A09B3}"/>
                </a:ext>
              </a:extLst>
            </p:cNvPr>
            <p:cNvPicPr>
              <a:picLocks noChangeAspect="1"/>
            </p:cNvPicPr>
            <p:nvPr/>
          </p:nvPicPr>
          <p:blipFill>
            <a:blip r:embed="rId4" cstate="screen">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1523362" y="1109339"/>
              <a:ext cx="9145276" cy="4639322"/>
            </a:xfrm>
            <a:prstGeom prst="rect">
              <a:avLst/>
            </a:prstGeom>
          </p:spPr>
        </p:pic>
        <p:sp>
          <p:nvSpPr>
            <p:cNvPr id="12" name="Rectangle 11">
              <a:extLst>
                <a:ext uri="{FF2B5EF4-FFF2-40B4-BE49-F238E27FC236}">
                  <a16:creationId xmlns:a16="http://schemas.microsoft.com/office/drawing/2014/main" id="{88D88E76-A9E8-7AE9-7469-9B45198D8FD6}"/>
                </a:ext>
              </a:extLst>
            </p:cNvPr>
            <p:cNvSpPr/>
            <p:nvPr/>
          </p:nvSpPr>
          <p:spPr>
            <a:xfrm>
              <a:off x="1605776" y="1153989"/>
              <a:ext cx="367990" cy="30682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3" name="TextBox 12">
            <a:extLst>
              <a:ext uri="{FF2B5EF4-FFF2-40B4-BE49-F238E27FC236}">
                <a16:creationId xmlns:a16="http://schemas.microsoft.com/office/drawing/2014/main" id="{77EC9961-9881-52A1-3490-891F3BAF5CC8}"/>
              </a:ext>
            </a:extLst>
          </p:cNvPr>
          <p:cNvSpPr txBox="1"/>
          <p:nvPr/>
        </p:nvSpPr>
        <p:spPr>
          <a:xfrm>
            <a:off x="3810000" y="1302542"/>
            <a:ext cx="399105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ORR 52% (INV) 64% BICR</a:t>
            </a:r>
          </a:p>
        </p:txBody>
      </p:sp>
    </p:spTree>
    <p:extLst>
      <p:ext uri="{BB962C8B-B14F-4D97-AF65-F5344CB8AC3E}">
        <p14:creationId xmlns:p14="http://schemas.microsoft.com/office/powerpoint/2010/main" val="21057270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7593C-36EE-5F7E-EBD7-F2F0BE78FE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8BDC55-C8CA-CD4E-0A0B-512009850608}"/>
              </a:ext>
            </a:extLst>
          </p:cNvPr>
          <p:cNvSpPr>
            <a:spLocks noGrp="1"/>
          </p:cNvSpPr>
          <p:nvPr>
            <p:ph type="title"/>
          </p:nvPr>
        </p:nvSpPr>
        <p:spPr>
          <a:xfrm>
            <a:off x="1066800" y="214376"/>
            <a:ext cx="9829800"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Amivantamab and chemotherapy after 1L TKI</a:t>
            </a:r>
          </a:p>
        </p:txBody>
      </p:sp>
      <p:sp>
        <p:nvSpPr>
          <p:cNvPr id="4" name="TextBox 3">
            <a:extLst>
              <a:ext uri="{FF2B5EF4-FFF2-40B4-BE49-F238E27FC236}">
                <a16:creationId xmlns:a16="http://schemas.microsoft.com/office/drawing/2014/main" id="{B2CC05B9-AA0A-FB9D-7AC3-82B06BF815EE}"/>
              </a:ext>
            </a:extLst>
          </p:cNvPr>
          <p:cNvSpPr txBox="1"/>
          <p:nvPr/>
        </p:nvSpPr>
        <p:spPr>
          <a:xfrm>
            <a:off x="9144000" y="6348929"/>
            <a:ext cx="2819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Califano et al ASCO 2025</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5FE02358-86C1-4D20-9946-EF620DF72ADE}"/>
              </a:ext>
            </a:extLst>
          </p:cNvPr>
          <p:cNvSpPr txBox="1"/>
          <p:nvPr/>
        </p:nvSpPr>
        <p:spPr>
          <a:xfrm>
            <a:off x="1512732" y="1026130"/>
            <a:ext cx="916653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MARIPOSA-2 study: Amivantamab + chemotherapy</a:t>
            </a:r>
          </a:p>
        </p:txBody>
      </p:sp>
      <p:sp>
        <p:nvSpPr>
          <p:cNvPr id="5" name="TextBox 4">
            <a:extLst>
              <a:ext uri="{FF2B5EF4-FFF2-40B4-BE49-F238E27FC236}">
                <a16:creationId xmlns:a16="http://schemas.microsoft.com/office/drawing/2014/main" id="{6A204526-5A9F-1470-9AA4-EEAEAF10E31D}"/>
              </a:ext>
            </a:extLst>
          </p:cNvPr>
          <p:cNvSpPr txBox="1"/>
          <p:nvPr/>
        </p:nvSpPr>
        <p:spPr>
          <a:xfrm>
            <a:off x="914400" y="1942740"/>
            <a:ext cx="337515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MET amp</a:t>
            </a:r>
          </a:p>
        </p:txBody>
      </p:sp>
      <p:sp>
        <p:nvSpPr>
          <p:cNvPr id="7" name="TextBox 6">
            <a:extLst>
              <a:ext uri="{FF2B5EF4-FFF2-40B4-BE49-F238E27FC236}">
                <a16:creationId xmlns:a16="http://schemas.microsoft.com/office/drawing/2014/main" id="{CE8EBA08-8BF5-019E-0033-9EB0461C37B9}"/>
              </a:ext>
            </a:extLst>
          </p:cNvPr>
          <p:cNvSpPr txBox="1"/>
          <p:nvPr/>
        </p:nvSpPr>
        <p:spPr>
          <a:xfrm>
            <a:off x="7169945" y="1864656"/>
            <a:ext cx="423619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EGFR secondary mutations</a:t>
            </a:r>
          </a:p>
        </p:txBody>
      </p:sp>
      <p:pic>
        <p:nvPicPr>
          <p:cNvPr id="8" name="Picture 7">
            <a:extLst>
              <a:ext uri="{FF2B5EF4-FFF2-40B4-BE49-F238E27FC236}">
                <a16:creationId xmlns:a16="http://schemas.microsoft.com/office/drawing/2014/main" id="{2498D1E9-31D6-9BAC-0474-75DB877A103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28600" y="2544891"/>
            <a:ext cx="5506218" cy="2372056"/>
          </a:xfrm>
          <a:prstGeom prst="rect">
            <a:avLst/>
          </a:prstGeom>
        </p:spPr>
      </p:pic>
      <p:pic>
        <p:nvPicPr>
          <p:cNvPr id="15" name="Picture 14">
            <a:extLst>
              <a:ext uri="{FF2B5EF4-FFF2-40B4-BE49-F238E27FC236}">
                <a16:creationId xmlns:a16="http://schemas.microsoft.com/office/drawing/2014/main" id="{949974A1-8F84-6624-38FB-4FD4BC3AA4D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131103" y="2514600"/>
            <a:ext cx="5468113" cy="2400635"/>
          </a:xfrm>
          <a:prstGeom prst="rect">
            <a:avLst/>
          </a:prstGeom>
        </p:spPr>
      </p:pic>
    </p:spTree>
    <p:extLst>
      <p:ext uri="{BB962C8B-B14F-4D97-AF65-F5344CB8AC3E}">
        <p14:creationId xmlns:p14="http://schemas.microsoft.com/office/powerpoint/2010/main" val="12657692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B83E8-0986-3165-A13F-DABF79637B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233E6D-099B-1363-963F-7EBD83E4EE2C}"/>
              </a:ext>
            </a:extLst>
          </p:cNvPr>
          <p:cNvSpPr>
            <a:spLocks noGrp="1"/>
          </p:cNvSpPr>
          <p:nvPr>
            <p:ph type="title"/>
          </p:nvPr>
        </p:nvSpPr>
        <p:spPr>
          <a:xfrm>
            <a:off x="1066800" y="139739"/>
            <a:ext cx="9829800"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Amivantamab and chemotherapy after 1L TKI</a:t>
            </a:r>
          </a:p>
        </p:txBody>
      </p:sp>
      <p:sp>
        <p:nvSpPr>
          <p:cNvPr id="4" name="TextBox 3">
            <a:extLst>
              <a:ext uri="{FF2B5EF4-FFF2-40B4-BE49-F238E27FC236}">
                <a16:creationId xmlns:a16="http://schemas.microsoft.com/office/drawing/2014/main" id="{258FB032-03B0-E212-F3A8-7F52B8AFF69E}"/>
              </a:ext>
            </a:extLst>
          </p:cNvPr>
          <p:cNvSpPr txBox="1"/>
          <p:nvPr/>
        </p:nvSpPr>
        <p:spPr>
          <a:xfrm>
            <a:off x="8825532" y="6378307"/>
            <a:ext cx="3200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Passaro et al Ann Oncol 2024</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A04276F5-7D36-3740-B781-3AFA36BF8DD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537667" y="909805"/>
            <a:ext cx="8888065" cy="5287113"/>
          </a:xfrm>
          <a:prstGeom prst="rect">
            <a:avLst/>
          </a:prstGeom>
        </p:spPr>
      </p:pic>
    </p:spTree>
    <p:extLst>
      <p:ext uri="{BB962C8B-B14F-4D97-AF65-F5344CB8AC3E}">
        <p14:creationId xmlns:p14="http://schemas.microsoft.com/office/powerpoint/2010/main" val="33927737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E0FD3-BCE4-BEE4-2645-09E9EF6836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4C7BF0-3683-ECBD-85C3-4883392A7B41}"/>
              </a:ext>
            </a:extLst>
          </p:cNvPr>
          <p:cNvSpPr>
            <a:spLocks noGrp="1"/>
          </p:cNvSpPr>
          <p:nvPr>
            <p:ph type="title"/>
          </p:nvPr>
        </p:nvSpPr>
        <p:spPr>
          <a:xfrm>
            <a:off x="912399" y="314899"/>
            <a:ext cx="10134600"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Subcutaneous amivantamab with chemotherapy (PALOMA-2)</a:t>
            </a:r>
          </a:p>
        </p:txBody>
      </p:sp>
      <p:pic>
        <p:nvPicPr>
          <p:cNvPr id="5" name="Picture 4">
            <a:extLst>
              <a:ext uri="{FF2B5EF4-FFF2-40B4-BE49-F238E27FC236}">
                <a16:creationId xmlns:a16="http://schemas.microsoft.com/office/drawing/2014/main" id="{589CCF71-0660-A756-44FC-6DE10D98F77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912399" y="1447800"/>
            <a:ext cx="10367202" cy="5105400"/>
          </a:xfrm>
          <a:prstGeom prst="rect">
            <a:avLst/>
          </a:prstGeom>
        </p:spPr>
      </p:pic>
      <p:sp>
        <p:nvSpPr>
          <p:cNvPr id="3" name="TextBox 2">
            <a:extLst>
              <a:ext uri="{FF2B5EF4-FFF2-40B4-BE49-F238E27FC236}">
                <a16:creationId xmlns:a16="http://schemas.microsoft.com/office/drawing/2014/main" id="{ADFDAF7E-0D34-834A-BC9B-0019EE5B0878}"/>
              </a:ext>
            </a:extLst>
          </p:cNvPr>
          <p:cNvSpPr txBox="1"/>
          <p:nvPr/>
        </p:nvSpPr>
        <p:spPr>
          <a:xfrm>
            <a:off x="8839200" y="6474897"/>
            <a:ext cx="3200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Lim et al ELCC 2025</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681668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8B0A9-E3E5-0AC2-66A9-E323EDE08FA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94F890C-F998-A274-786F-50F59D9FF77D}"/>
              </a:ext>
            </a:extLst>
          </p:cNvPr>
          <p:cNvSpPr txBox="1"/>
          <p:nvPr/>
        </p:nvSpPr>
        <p:spPr>
          <a:xfrm>
            <a:off x="9290734" y="6374803"/>
            <a:ext cx="25908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Nadal et al ESMO 2025</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8B0F6907-6118-1419-F22B-DD7516597FE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04800" y="2306306"/>
            <a:ext cx="5791199" cy="2917873"/>
          </a:xfrm>
          <a:prstGeom prst="rect">
            <a:avLst/>
          </a:prstGeom>
        </p:spPr>
      </p:pic>
      <p:sp>
        <p:nvSpPr>
          <p:cNvPr id="8" name="TextBox 7">
            <a:extLst>
              <a:ext uri="{FF2B5EF4-FFF2-40B4-BE49-F238E27FC236}">
                <a16:creationId xmlns:a16="http://schemas.microsoft.com/office/drawing/2014/main" id="{6A946303-4D0B-6D1D-B88E-88CD1A21ABB5}"/>
              </a:ext>
            </a:extLst>
          </p:cNvPr>
          <p:cNvSpPr txBox="1"/>
          <p:nvPr/>
        </p:nvSpPr>
        <p:spPr>
          <a:xfrm>
            <a:off x="1295400" y="1593524"/>
            <a:ext cx="399105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ORR 47% (INV) 53% BICR</a:t>
            </a:r>
          </a:p>
        </p:txBody>
      </p:sp>
      <p:pic>
        <p:nvPicPr>
          <p:cNvPr id="10" name="Picture 9">
            <a:extLst>
              <a:ext uri="{FF2B5EF4-FFF2-40B4-BE49-F238E27FC236}">
                <a16:creationId xmlns:a16="http://schemas.microsoft.com/office/drawing/2014/main" id="{171AF4A6-3128-B5F1-8AAD-ED9E75D6304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400800" y="2306306"/>
            <a:ext cx="5620125" cy="2821287"/>
          </a:xfrm>
          <a:prstGeom prst="rect">
            <a:avLst/>
          </a:prstGeom>
        </p:spPr>
      </p:pic>
      <p:sp>
        <p:nvSpPr>
          <p:cNvPr id="11" name="TextBox 10">
            <a:extLst>
              <a:ext uri="{FF2B5EF4-FFF2-40B4-BE49-F238E27FC236}">
                <a16:creationId xmlns:a16="http://schemas.microsoft.com/office/drawing/2014/main" id="{36E39FC9-7006-CC0D-9484-E913315CA56B}"/>
              </a:ext>
            </a:extLst>
          </p:cNvPr>
          <p:cNvSpPr txBox="1"/>
          <p:nvPr/>
        </p:nvSpPr>
        <p:spPr>
          <a:xfrm>
            <a:off x="7291535" y="1705776"/>
            <a:ext cx="399105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PFS 7.9 m (INV)</a:t>
            </a:r>
          </a:p>
        </p:txBody>
      </p:sp>
      <p:sp>
        <p:nvSpPr>
          <p:cNvPr id="7" name="Title 1">
            <a:extLst>
              <a:ext uri="{FF2B5EF4-FFF2-40B4-BE49-F238E27FC236}">
                <a16:creationId xmlns:a16="http://schemas.microsoft.com/office/drawing/2014/main" id="{22A72E2C-86AC-00D8-1DC4-9E99630904E7}"/>
              </a:ext>
            </a:extLst>
          </p:cNvPr>
          <p:cNvSpPr>
            <a:spLocks noGrp="1"/>
          </p:cNvSpPr>
          <p:nvPr>
            <p:ph type="title"/>
          </p:nvPr>
        </p:nvSpPr>
        <p:spPr>
          <a:xfrm>
            <a:off x="609600" y="113865"/>
            <a:ext cx="10972800" cy="1143000"/>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Subcutaneous amivantamab with chemotherapy (PALOMA-2)</a:t>
            </a:r>
          </a:p>
        </p:txBody>
      </p:sp>
    </p:spTree>
    <p:extLst>
      <p:ext uri="{BB962C8B-B14F-4D97-AF65-F5344CB8AC3E}">
        <p14:creationId xmlns:p14="http://schemas.microsoft.com/office/powerpoint/2010/main" val="39812537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D7186-3F8E-77E0-86E5-690DFCDCC3C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9B370EA0-2541-EAC0-CD07-12CD8D127576}"/>
              </a:ext>
            </a:extLst>
          </p:cNvPr>
          <p:cNvSpPr txBox="1"/>
          <p:nvPr/>
        </p:nvSpPr>
        <p:spPr>
          <a:xfrm>
            <a:off x="9372600" y="6474113"/>
            <a:ext cx="3200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Nadal et al ESMO 2025</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63636D78-5F7D-63F7-7449-8BCC74B9B997}"/>
              </a:ext>
            </a:extLst>
          </p:cNvPr>
          <p:cNvSpPr txBox="1"/>
          <p:nvPr/>
        </p:nvSpPr>
        <p:spPr>
          <a:xfrm>
            <a:off x="4267200" y="1136760"/>
            <a:ext cx="3991054"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a:ea typeface="+mn-ea"/>
                <a:cs typeface="+mn-cs"/>
              </a:rPr>
              <a:t>5% discontinued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a:ea typeface="+mn-ea"/>
                <a:cs typeface="+mn-cs"/>
              </a:rPr>
              <a:t>ARR in 8%, none grade 3</a:t>
            </a:r>
          </a:p>
        </p:txBody>
      </p:sp>
      <p:pic>
        <p:nvPicPr>
          <p:cNvPr id="5" name="Picture 4">
            <a:extLst>
              <a:ext uri="{FF2B5EF4-FFF2-40B4-BE49-F238E27FC236}">
                <a16:creationId xmlns:a16="http://schemas.microsoft.com/office/drawing/2014/main" id="{9CE0A6EC-F98A-70DF-4618-2432B5C555D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399327" y="1873009"/>
            <a:ext cx="6973273" cy="4915586"/>
          </a:xfrm>
          <a:prstGeom prst="rect">
            <a:avLst/>
          </a:prstGeom>
        </p:spPr>
      </p:pic>
      <p:sp>
        <p:nvSpPr>
          <p:cNvPr id="6" name="Title 1">
            <a:extLst>
              <a:ext uri="{FF2B5EF4-FFF2-40B4-BE49-F238E27FC236}">
                <a16:creationId xmlns:a16="http://schemas.microsoft.com/office/drawing/2014/main" id="{9F8B1AFC-6B8A-8FFA-B4A4-42AEA0C33C9A}"/>
              </a:ext>
            </a:extLst>
          </p:cNvPr>
          <p:cNvSpPr>
            <a:spLocks noGrp="1"/>
          </p:cNvSpPr>
          <p:nvPr>
            <p:ph type="title"/>
          </p:nvPr>
        </p:nvSpPr>
        <p:spPr>
          <a:xfrm>
            <a:off x="848299" y="295983"/>
            <a:ext cx="10134600" cy="658812"/>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Subcutaneous amivantamab with chemotherapy (PALOMA-2)</a:t>
            </a:r>
          </a:p>
        </p:txBody>
      </p:sp>
    </p:spTree>
    <p:extLst>
      <p:ext uri="{BB962C8B-B14F-4D97-AF65-F5344CB8AC3E}">
        <p14:creationId xmlns:p14="http://schemas.microsoft.com/office/powerpoint/2010/main" val="2959695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Prof Passaro —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986F8D23-40C2-EF4F-2F8D-4AF46B2FA7A4}"/>
              </a:ext>
            </a:extLst>
          </p:cNvPr>
          <p:cNvGraphicFramePr>
            <a:graphicFrameLocks/>
          </p:cNvGraphicFramePr>
          <p:nvPr>
            <p:extLst>
              <p:ext uri="{D42A27DB-BD31-4B8C-83A1-F6EECF244321}">
                <p14:modId xmlns:p14="http://schemas.microsoft.com/office/powerpoint/2010/main" val="520926208"/>
              </p:ext>
            </p:extLst>
          </p:nvPr>
        </p:nvGraphicFramePr>
        <p:xfrm>
          <a:off x="1473507" y="2142504"/>
          <a:ext cx="9800208" cy="1263233"/>
        </p:xfrm>
        <a:graphic>
          <a:graphicData uri="http://schemas.openxmlformats.org/drawingml/2006/table">
            <a:tbl>
              <a:tblPr firstRow="1" bandRow="1">
                <a:tableStyleId>{F2DE63D5-997A-4646-A377-4702673A728D}</a:tableStyleId>
              </a:tblPr>
              <a:tblGrid>
                <a:gridCol w="9800208">
                  <a:extLst>
                    <a:ext uri="{9D8B030D-6E8A-4147-A177-3AD203B41FA5}">
                      <a16:colId xmlns:a16="http://schemas.microsoft.com/office/drawing/2014/main" val="20000"/>
                    </a:ext>
                  </a:extLst>
                </a:gridCol>
              </a:tblGrid>
              <a:tr h="1263233">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b="0" i="0" kern="1200" dirty="0">
                          <a:solidFill>
                            <a:schemeClr val="tx1"/>
                          </a:solidFill>
                          <a:effectLst/>
                          <a:latin typeface="+mn-lt"/>
                          <a:ea typeface="+mn-ea"/>
                          <a:cs typeface="+mn-cs"/>
                        </a:rPr>
                        <a:t>No relevant financial relationships to disclose.</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844011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7185E2-B677-8F36-1050-F177119D07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7A1DF3-CD8B-1A98-D679-20DDEE28215B}"/>
              </a:ext>
            </a:extLst>
          </p:cNvPr>
          <p:cNvSpPr>
            <a:spLocks noGrp="1"/>
          </p:cNvSpPr>
          <p:nvPr>
            <p:ph type="title"/>
          </p:nvPr>
        </p:nvSpPr>
        <p:spPr>
          <a:xfrm>
            <a:off x="1066800" y="304800"/>
            <a:ext cx="9829800" cy="658258"/>
          </a:xfrm>
        </p:spPr>
        <p:txBody>
          <a:bodyPr>
            <a:normAutofit fontScale="90000"/>
          </a:bodyPr>
          <a:lstStyle/>
          <a:p>
            <a:pPr marL="342900" lvl="0" indent="-342900">
              <a:spcBef>
                <a:spcPts val="0"/>
              </a:spcBef>
              <a:defRPr/>
            </a:pPr>
            <a:r>
              <a:rPr lang="en-US" dirty="0"/>
              <a:t>1L Q2W SQ Amivantamab</a:t>
            </a:r>
            <a:br>
              <a:rPr lang="en-US" dirty="0"/>
            </a:br>
            <a:r>
              <a:rPr lang="en-US" dirty="0"/>
              <a:t>(PALOMA-2)</a:t>
            </a:r>
          </a:p>
        </p:txBody>
      </p:sp>
      <p:sp>
        <p:nvSpPr>
          <p:cNvPr id="4" name="TextBox 3">
            <a:extLst>
              <a:ext uri="{FF2B5EF4-FFF2-40B4-BE49-F238E27FC236}">
                <a16:creationId xmlns:a16="http://schemas.microsoft.com/office/drawing/2014/main" id="{487AC962-5E76-FF7A-5D24-6B1D676140C7}"/>
              </a:ext>
            </a:extLst>
          </p:cNvPr>
          <p:cNvSpPr txBox="1"/>
          <p:nvPr/>
        </p:nvSpPr>
        <p:spPr>
          <a:xfrm>
            <a:off x="7924800" y="6472143"/>
            <a:ext cx="38862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Girard et al ELCC 2026;Abstract 13P</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2" name="Picture 11">
            <a:extLst>
              <a:ext uri="{FF2B5EF4-FFF2-40B4-BE49-F238E27FC236}">
                <a16:creationId xmlns:a16="http://schemas.microsoft.com/office/drawing/2014/main" id="{FBC11B45-BBD7-0615-02B7-7A9C9A9022E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288236" y="1244936"/>
            <a:ext cx="9859814" cy="762000"/>
          </a:xfrm>
          <a:prstGeom prst="rect">
            <a:avLst/>
          </a:prstGeom>
        </p:spPr>
      </p:pic>
      <p:pic>
        <p:nvPicPr>
          <p:cNvPr id="14" name="Picture 13">
            <a:extLst>
              <a:ext uri="{FF2B5EF4-FFF2-40B4-BE49-F238E27FC236}">
                <a16:creationId xmlns:a16="http://schemas.microsoft.com/office/drawing/2014/main" id="{16D97A68-7447-0694-D316-734A19BA820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2286000" y="2202929"/>
            <a:ext cx="7907570" cy="4071385"/>
          </a:xfrm>
          <a:prstGeom prst="rect">
            <a:avLst/>
          </a:prstGeom>
        </p:spPr>
      </p:pic>
      <p:sp>
        <p:nvSpPr>
          <p:cNvPr id="17" name="TextBox 16">
            <a:extLst>
              <a:ext uri="{FF2B5EF4-FFF2-40B4-BE49-F238E27FC236}">
                <a16:creationId xmlns:a16="http://schemas.microsoft.com/office/drawing/2014/main" id="{BCEDD4EC-AF76-BE89-84C7-BD08C3D9D492}"/>
              </a:ext>
            </a:extLst>
          </p:cNvPr>
          <p:cNvSpPr txBox="1"/>
          <p:nvPr/>
        </p:nvSpPr>
        <p:spPr>
          <a:xfrm>
            <a:off x="290473" y="2861892"/>
            <a:ext cx="1995527"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ORR 85% </a:t>
            </a: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ICR, including unconfirmed)</a:t>
            </a:r>
          </a:p>
        </p:txBody>
      </p:sp>
    </p:spTree>
    <p:extLst>
      <p:ext uri="{BB962C8B-B14F-4D97-AF65-F5344CB8AC3E}">
        <p14:creationId xmlns:p14="http://schemas.microsoft.com/office/powerpoint/2010/main" val="22012202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0A685-A0CF-BC50-ABEE-DD8BFAACC8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BF9314-C53F-0ED9-3C3E-8141243C0041}"/>
              </a:ext>
            </a:extLst>
          </p:cNvPr>
          <p:cNvSpPr>
            <a:spLocks noGrp="1"/>
          </p:cNvSpPr>
          <p:nvPr>
            <p:ph type="title"/>
          </p:nvPr>
        </p:nvSpPr>
        <p:spPr>
          <a:xfrm>
            <a:off x="931843" y="333971"/>
            <a:ext cx="9829800"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1L Q4W SQ Amivantamab</a:t>
            </a:r>
            <a:br>
              <a:rPr lang="en-US" dirty="0"/>
            </a:br>
            <a:r>
              <a:rPr lang="en-US" dirty="0"/>
              <a:t>(PALOMA-2)</a:t>
            </a:r>
          </a:p>
        </p:txBody>
      </p:sp>
      <p:sp>
        <p:nvSpPr>
          <p:cNvPr id="4" name="TextBox 3">
            <a:extLst>
              <a:ext uri="{FF2B5EF4-FFF2-40B4-BE49-F238E27FC236}">
                <a16:creationId xmlns:a16="http://schemas.microsoft.com/office/drawing/2014/main" id="{0988D7BE-C05C-152A-EEB2-748E36DE1102}"/>
              </a:ext>
            </a:extLst>
          </p:cNvPr>
          <p:cNvSpPr txBox="1"/>
          <p:nvPr/>
        </p:nvSpPr>
        <p:spPr>
          <a:xfrm>
            <a:off x="9220200" y="6388543"/>
            <a:ext cx="25908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Scott et al WCLC 2025</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C0C0B5A5-536E-4249-5945-89D6FC572EB7}"/>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2140281" y="1377350"/>
            <a:ext cx="7911437" cy="714411"/>
          </a:xfrm>
          <a:prstGeom prst="rect">
            <a:avLst/>
          </a:prstGeom>
        </p:spPr>
      </p:pic>
      <p:sp>
        <p:nvSpPr>
          <p:cNvPr id="6" name="TextBox 5">
            <a:extLst>
              <a:ext uri="{FF2B5EF4-FFF2-40B4-BE49-F238E27FC236}">
                <a16:creationId xmlns:a16="http://schemas.microsoft.com/office/drawing/2014/main" id="{6E2774E8-40DA-125F-6709-829B6B28155A}"/>
              </a:ext>
            </a:extLst>
          </p:cNvPr>
          <p:cNvSpPr txBox="1"/>
          <p:nvPr/>
        </p:nvSpPr>
        <p:spPr>
          <a:xfrm>
            <a:off x="2576473" y="2281357"/>
            <a:ext cx="351952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Confirmed ORR 79%</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499A4908-96D1-4524-4DB0-4D74810BF83A}"/>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28600" y="2727782"/>
            <a:ext cx="6647455" cy="3845427"/>
          </a:xfrm>
          <a:prstGeom prst="rect">
            <a:avLst/>
          </a:prstGeom>
        </p:spPr>
      </p:pic>
      <p:sp>
        <p:nvSpPr>
          <p:cNvPr id="9" name="TextBox 8">
            <a:extLst>
              <a:ext uri="{FF2B5EF4-FFF2-40B4-BE49-F238E27FC236}">
                <a16:creationId xmlns:a16="http://schemas.microsoft.com/office/drawing/2014/main" id="{278930D4-B134-BAA5-EB04-38AD54A206F5}"/>
              </a:ext>
            </a:extLst>
          </p:cNvPr>
          <p:cNvSpPr txBox="1"/>
          <p:nvPr/>
        </p:nvSpPr>
        <p:spPr>
          <a:xfrm>
            <a:off x="8077200" y="3742177"/>
            <a:ext cx="351952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PFS, OS, D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not reached--</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985555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8B0A9-E3E5-0AC2-66A9-E323EDE08F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2C0291-4867-FB24-A675-F51B6E6A41D7}"/>
              </a:ext>
            </a:extLst>
          </p:cNvPr>
          <p:cNvSpPr>
            <a:spLocks noGrp="1"/>
          </p:cNvSpPr>
          <p:nvPr>
            <p:ph type="title"/>
          </p:nvPr>
        </p:nvSpPr>
        <p:spPr>
          <a:xfrm>
            <a:off x="1066800" y="492004"/>
            <a:ext cx="9829800"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IV vs SQ Amivantamab</a:t>
            </a:r>
            <a:br>
              <a:rPr lang="en-US" dirty="0"/>
            </a:br>
            <a:r>
              <a:rPr lang="en-US" dirty="0"/>
              <a:t>(PALOMA-3) </a:t>
            </a:r>
          </a:p>
        </p:txBody>
      </p:sp>
      <p:sp>
        <p:nvSpPr>
          <p:cNvPr id="4" name="TextBox 3">
            <a:extLst>
              <a:ext uri="{FF2B5EF4-FFF2-40B4-BE49-F238E27FC236}">
                <a16:creationId xmlns:a16="http://schemas.microsoft.com/office/drawing/2014/main" id="{E94F890C-F998-A274-786F-50F59D9FF77D}"/>
              </a:ext>
            </a:extLst>
          </p:cNvPr>
          <p:cNvSpPr txBox="1"/>
          <p:nvPr/>
        </p:nvSpPr>
        <p:spPr>
          <a:xfrm>
            <a:off x="9003792" y="6248400"/>
            <a:ext cx="3200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Leighl et al ASCO 2024</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36E39FC9-7006-CC0D-9484-E913315CA56B}"/>
              </a:ext>
            </a:extLst>
          </p:cNvPr>
          <p:cNvSpPr txBox="1"/>
          <p:nvPr/>
        </p:nvSpPr>
        <p:spPr>
          <a:xfrm>
            <a:off x="8029970" y="2590800"/>
            <a:ext cx="3991054"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ORR: 30% vs 3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PFS: 6.1m vs 4.3 </a:t>
            </a:r>
            <a:r>
              <a:rPr kumimoji="0" lang="en-US" sz="2400" b="0" i="0" u="none" strike="noStrike" kern="1200" cap="none" spc="0" normalizeH="0" baseline="0" noProof="0" dirty="0" err="1">
                <a:ln>
                  <a:noFill/>
                </a:ln>
                <a:solidFill>
                  <a:prstClr val="black"/>
                </a:solidFill>
                <a:effectLst/>
                <a:uLnTx/>
                <a:uFillTx/>
                <a:latin typeface="Arial" panose="020B0604020202020204"/>
                <a:ea typeface="+mn-ea"/>
                <a:cs typeface="+mn-cs"/>
              </a:rPr>
              <a:t>mo</a:t>
            </a: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OS: NR (HR 0.62, p=0.02)</a:t>
            </a:r>
          </a:p>
        </p:txBody>
      </p:sp>
      <p:pic>
        <p:nvPicPr>
          <p:cNvPr id="13" name="Picture 12">
            <a:extLst>
              <a:ext uri="{FF2B5EF4-FFF2-40B4-BE49-F238E27FC236}">
                <a16:creationId xmlns:a16="http://schemas.microsoft.com/office/drawing/2014/main" id="{61E394D9-0713-CCD1-15CA-B29B72FDD5C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70976" y="1831412"/>
            <a:ext cx="7693797" cy="4188388"/>
          </a:xfrm>
          <a:prstGeom prst="rect">
            <a:avLst/>
          </a:prstGeom>
        </p:spPr>
      </p:pic>
    </p:spTree>
    <p:extLst>
      <p:ext uri="{BB962C8B-B14F-4D97-AF65-F5344CB8AC3E}">
        <p14:creationId xmlns:p14="http://schemas.microsoft.com/office/powerpoint/2010/main" val="30141459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F27AE-9066-4A71-1A69-EF8B561BE099}"/>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315E582A-D2C7-988D-8DED-3347227CC09B}"/>
              </a:ext>
            </a:extLst>
          </p:cNvPr>
          <p:cNvSpPr txBox="1"/>
          <p:nvPr/>
        </p:nvSpPr>
        <p:spPr>
          <a:xfrm>
            <a:off x="9228251" y="6401070"/>
            <a:ext cx="257860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Leighl et al ASCO 2024</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681332E2-0A86-C135-FDE8-3C7D0A13FDD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219200" y="1119926"/>
            <a:ext cx="4419600" cy="2756693"/>
          </a:xfrm>
          <a:prstGeom prst="rect">
            <a:avLst/>
          </a:prstGeom>
        </p:spPr>
      </p:pic>
      <p:pic>
        <p:nvPicPr>
          <p:cNvPr id="7" name="Picture 6">
            <a:extLst>
              <a:ext uri="{FF2B5EF4-FFF2-40B4-BE49-F238E27FC236}">
                <a16:creationId xmlns:a16="http://schemas.microsoft.com/office/drawing/2014/main" id="{EACD6E5F-0E95-13D3-10F7-D141CE272BC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108192" y="1221266"/>
            <a:ext cx="4939200" cy="2755980"/>
          </a:xfrm>
          <a:prstGeom prst="rect">
            <a:avLst/>
          </a:prstGeom>
        </p:spPr>
      </p:pic>
      <p:sp>
        <p:nvSpPr>
          <p:cNvPr id="9" name="TextBox 8">
            <a:extLst>
              <a:ext uri="{FF2B5EF4-FFF2-40B4-BE49-F238E27FC236}">
                <a16:creationId xmlns:a16="http://schemas.microsoft.com/office/drawing/2014/main" id="{385791F4-DF56-DFB9-D894-83E096C907B2}"/>
              </a:ext>
            </a:extLst>
          </p:cNvPr>
          <p:cNvSpPr txBox="1"/>
          <p:nvPr/>
        </p:nvSpPr>
        <p:spPr>
          <a:xfrm>
            <a:off x="2286000" y="3868983"/>
            <a:ext cx="37338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Administration-related reactions</a:t>
            </a:r>
          </a:p>
        </p:txBody>
      </p:sp>
      <p:sp>
        <p:nvSpPr>
          <p:cNvPr id="10" name="TextBox 9">
            <a:extLst>
              <a:ext uri="{FF2B5EF4-FFF2-40B4-BE49-F238E27FC236}">
                <a16:creationId xmlns:a16="http://schemas.microsoft.com/office/drawing/2014/main" id="{70B816AB-A77A-D351-977E-0FA5BD85B8E0}"/>
              </a:ext>
            </a:extLst>
          </p:cNvPr>
          <p:cNvSpPr txBox="1"/>
          <p:nvPr/>
        </p:nvSpPr>
        <p:spPr>
          <a:xfrm>
            <a:off x="8241792" y="3994348"/>
            <a:ext cx="1524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VTE rates</a:t>
            </a:r>
          </a:p>
        </p:txBody>
      </p:sp>
      <p:sp>
        <p:nvSpPr>
          <p:cNvPr id="12" name="TextBox 11">
            <a:extLst>
              <a:ext uri="{FF2B5EF4-FFF2-40B4-BE49-F238E27FC236}">
                <a16:creationId xmlns:a16="http://schemas.microsoft.com/office/drawing/2014/main" id="{E4B88ADF-29E1-73B9-B7DC-0CC135120F61}"/>
              </a:ext>
            </a:extLst>
          </p:cNvPr>
          <p:cNvSpPr txBox="1"/>
          <p:nvPr/>
        </p:nvSpPr>
        <p:spPr>
          <a:xfrm>
            <a:off x="4305300" y="6387702"/>
            <a:ext cx="3581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EGFR and MET side effects</a:t>
            </a:r>
          </a:p>
        </p:txBody>
      </p:sp>
      <p:pic>
        <p:nvPicPr>
          <p:cNvPr id="15" name="Picture 14">
            <a:extLst>
              <a:ext uri="{FF2B5EF4-FFF2-40B4-BE49-F238E27FC236}">
                <a16:creationId xmlns:a16="http://schemas.microsoft.com/office/drawing/2014/main" id="{A8CB56A6-3021-E387-6F92-22AE262C33F8}"/>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Layer>
                </a14:imgProps>
              </a:ext>
            </a:extLst>
          </a:blip>
          <a:stretch>
            <a:fillRect/>
          </a:stretch>
        </p:blipFill>
        <p:spPr>
          <a:xfrm>
            <a:off x="1638300" y="4464018"/>
            <a:ext cx="8001000" cy="1859692"/>
          </a:xfrm>
          <a:prstGeom prst="rect">
            <a:avLst/>
          </a:prstGeom>
        </p:spPr>
      </p:pic>
      <p:sp>
        <p:nvSpPr>
          <p:cNvPr id="8" name="Title 1">
            <a:extLst>
              <a:ext uri="{FF2B5EF4-FFF2-40B4-BE49-F238E27FC236}">
                <a16:creationId xmlns:a16="http://schemas.microsoft.com/office/drawing/2014/main" id="{2E92ABF0-137B-3655-3DC7-409F85AB7320}"/>
              </a:ext>
            </a:extLst>
          </p:cNvPr>
          <p:cNvSpPr>
            <a:spLocks noGrp="1"/>
          </p:cNvSpPr>
          <p:nvPr>
            <p:ph type="title"/>
          </p:nvPr>
        </p:nvSpPr>
        <p:spPr>
          <a:xfrm>
            <a:off x="847830" y="18239"/>
            <a:ext cx="10972800" cy="1143000"/>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IV vs SQ Amivantamab</a:t>
            </a:r>
            <a:br>
              <a:rPr lang="en-US" dirty="0"/>
            </a:br>
            <a:r>
              <a:rPr lang="en-US" dirty="0"/>
              <a:t>(PALOMA-3) </a:t>
            </a:r>
          </a:p>
        </p:txBody>
      </p:sp>
    </p:spTree>
    <p:extLst>
      <p:ext uri="{BB962C8B-B14F-4D97-AF65-F5344CB8AC3E}">
        <p14:creationId xmlns:p14="http://schemas.microsoft.com/office/powerpoint/2010/main" val="17802384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26F8F-3C2D-5D4D-27B2-E7030AD6E1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89CC91E-7DF3-9A48-8214-EF3635A02178}"/>
              </a:ext>
            </a:extLst>
          </p:cNvPr>
          <p:cNvSpPr>
            <a:spLocks noGrp="1"/>
          </p:cNvSpPr>
          <p:nvPr>
            <p:ph type="title"/>
          </p:nvPr>
        </p:nvSpPr>
        <p:spPr>
          <a:xfrm>
            <a:off x="103466" y="353360"/>
            <a:ext cx="12088534"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Continuation osimertinib with chemotherapy after 1L TKI</a:t>
            </a:r>
          </a:p>
        </p:txBody>
      </p:sp>
      <p:sp>
        <p:nvSpPr>
          <p:cNvPr id="4" name="TextBox 3">
            <a:extLst>
              <a:ext uri="{FF2B5EF4-FFF2-40B4-BE49-F238E27FC236}">
                <a16:creationId xmlns:a16="http://schemas.microsoft.com/office/drawing/2014/main" id="{5DF32499-65AD-7360-2410-EE569E3E434C}"/>
              </a:ext>
            </a:extLst>
          </p:cNvPr>
          <p:cNvSpPr txBox="1"/>
          <p:nvPr/>
        </p:nvSpPr>
        <p:spPr>
          <a:xfrm>
            <a:off x="8610600" y="6308727"/>
            <a:ext cx="37338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eled N,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SMO Ope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2025</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68181F34-F35B-BFB1-A503-9BCA963C79B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09600" y="2286000"/>
            <a:ext cx="10882231" cy="2748345"/>
          </a:xfrm>
          <a:prstGeom prst="rect">
            <a:avLst/>
          </a:prstGeom>
        </p:spPr>
      </p:pic>
      <p:sp>
        <p:nvSpPr>
          <p:cNvPr id="5" name="TextBox 4">
            <a:extLst>
              <a:ext uri="{FF2B5EF4-FFF2-40B4-BE49-F238E27FC236}">
                <a16:creationId xmlns:a16="http://schemas.microsoft.com/office/drawing/2014/main" id="{4D964067-DDE6-6EAA-ADC5-3AFE13C3841E}"/>
              </a:ext>
            </a:extLst>
          </p:cNvPr>
          <p:cNvSpPr txBox="1"/>
          <p:nvPr/>
        </p:nvSpPr>
        <p:spPr>
          <a:xfrm>
            <a:off x="3098704" y="945403"/>
            <a:ext cx="609805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COMPEL study)</a:t>
            </a:r>
          </a:p>
        </p:txBody>
      </p:sp>
    </p:spTree>
    <p:extLst>
      <p:ext uri="{BB962C8B-B14F-4D97-AF65-F5344CB8AC3E}">
        <p14:creationId xmlns:p14="http://schemas.microsoft.com/office/powerpoint/2010/main" val="38833582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CC67A-8FF6-74C5-ACBE-11C87EB58B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4F1D2C-1CF1-E031-3329-51FEA772CDE4}"/>
              </a:ext>
            </a:extLst>
          </p:cNvPr>
          <p:cNvSpPr>
            <a:spLocks noGrp="1"/>
          </p:cNvSpPr>
          <p:nvPr>
            <p:ph type="title"/>
          </p:nvPr>
        </p:nvSpPr>
        <p:spPr>
          <a:xfrm>
            <a:off x="103466" y="139739"/>
            <a:ext cx="12088534"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Continuation osimertinib with chemotherapy after 1L TKI</a:t>
            </a:r>
          </a:p>
        </p:txBody>
      </p:sp>
      <p:sp>
        <p:nvSpPr>
          <p:cNvPr id="4" name="TextBox 3">
            <a:extLst>
              <a:ext uri="{FF2B5EF4-FFF2-40B4-BE49-F238E27FC236}">
                <a16:creationId xmlns:a16="http://schemas.microsoft.com/office/drawing/2014/main" id="{FAAB3F1C-0421-E08E-E70C-C7B8A4D7F79A}"/>
              </a:ext>
            </a:extLst>
          </p:cNvPr>
          <p:cNvSpPr txBox="1"/>
          <p:nvPr/>
        </p:nvSpPr>
        <p:spPr>
          <a:xfrm>
            <a:off x="8522623" y="6348929"/>
            <a:ext cx="32766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eled N,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SMO Ope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2025</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23A17A42-2633-96FD-C802-9D6E01BB08C0}"/>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103466" y="2262437"/>
            <a:ext cx="5675603" cy="3651183"/>
          </a:xfrm>
          <a:prstGeom prst="rect">
            <a:avLst/>
          </a:prstGeom>
        </p:spPr>
      </p:pic>
      <p:pic>
        <p:nvPicPr>
          <p:cNvPr id="8" name="Picture 7">
            <a:extLst>
              <a:ext uri="{FF2B5EF4-FFF2-40B4-BE49-F238E27FC236}">
                <a16:creationId xmlns:a16="http://schemas.microsoft.com/office/drawing/2014/main" id="{735EB94A-B776-6053-69EB-B15916E27B1F}"/>
              </a:ext>
            </a:extLst>
          </p:cNvPr>
          <p:cNvPicPr>
            <a:picLocks noChangeAspect="1"/>
          </p:cNvPicPr>
          <p:nvPr/>
        </p:nvPicPr>
        <p:blipFill>
          <a:blip r:embed="rId4" cstate="screen">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6095999" y="1994147"/>
            <a:ext cx="5675603" cy="3887685"/>
          </a:xfrm>
          <a:prstGeom prst="rect">
            <a:avLst/>
          </a:prstGeom>
        </p:spPr>
      </p:pic>
      <p:sp>
        <p:nvSpPr>
          <p:cNvPr id="14" name="TextBox 13">
            <a:extLst>
              <a:ext uri="{FF2B5EF4-FFF2-40B4-BE49-F238E27FC236}">
                <a16:creationId xmlns:a16="http://schemas.microsoft.com/office/drawing/2014/main" id="{3D0A5D48-F336-CF6F-C9B5-88D0C542000C}"/>
              </a:ext>
            </a:extLst>
          </p:cNvPr>
          <p:cNvSpPr txBox="1"/>
          <p:nvPr/>
        </p:nvSpPr>
        <p:spPr>
          <a:xfrm>
            <a:off x="2209800" y="1474891"/>
            <a:ext cx="2819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PFS 8.4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mo</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vs 4.4m)</a:t>
            </a:r>
          </a:p>
        </p:txBody>
      </p:sp>
      <p:sp>
        <p:nvSpPr>
          <p:cNvPr id="15" name="TextBox 14">
            <a:extLst>
              <a:ext uri="{FF2B5EF4-FFF2-40B4-BE49-F238E27FC236}">
                <a16:creationId xmlns:a16="http://schemas.microsoft.com/office/drawing/2014/main" id="{A2CB7103-3E9A-76C1-8994-435E39BA5772}"/>
              </a:ext>
            </a:extLst>
          </p:cNvPr>
          <p:cNvSpPr txBox="1"/>
          <p:nvPr/>
        </p:nvSpPr>
        <p:spPr>
          <a:xfrm>
            <a:off x="8034692" y="1474891"/>
            <a:ext cx="247722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OS 15.9m (vs 9.8m)</a:t>
            </a:r>
          </a:p>
        </p:txBody>
      </p:sp>
      <p:sp>
        <p:nvSpPr>
          <p:cNvPr id="16" name="TextBox 15">
            <a:extLst>
              <a:ext uri="{FF2B5EF4-FFF2-40B4-BE49-F238E27FC236}">
                <a16:creationId xmlns:a16="http://schemas.microsoft.com/office/drawing/2014/main" id="{402B5C5A-DEC4-5A46-70BA-65231A7F0390}"/>
              </a:ext>
            </a:extLst>
          </p:cNvPr>
          <p:cNvSpPr txBox="1"/>
          <p:nvPr/>
        </p:nvSpPr>
        <p:spPr>
          <a:xfrm>
            <a:off x="4800600" y="657043"/>
            <a:ext cx="609805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COMPEL study)</a:t>
            </a:r>
          </a:p>
        </p:txBody>
      </p:sp>
    </p:spTree>
    <p:extLst>
      <p:ext uri="{BB962C8B-B14F-4D97-AF65-F5344CB8AC3E}">
        <p14:creationId xmlns:p14="http://schemas.microsoft.com/office/powerpoint/2010/main" val="27765673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D948F-C680-EC21-16D1-D7C921457C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04408F-8761-D01E-A9DD-0420F7D80A67}"/>
              </a:ext>
            </a:extLst>
          </p:cNvPr>
          <p:cNvSpPr>
            <a:spLocks noGrp="1"/>
          </p:cNvSpPr>
          <p:nvPr>
            <p:ph type="title"/>
          </p:nvPr>
        </p:nvSpPr>
        <p:spPr>
          <a:xfrm>
            <a:off x="103466" y="139739"/>
            <a:ext cx="12088534"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EGFR C797S acquired mutations</a:t>
            </a:r>
          </a:p>
        </p:txBody>
      </p:sp>
      <p:sp>
        <p:nvSpPr>
          <p:cNvPr id="4" name="TextBox 3">
            <a:extLst>
              <a:ext uri="{FF2B5EF4-FFF2-40B4-BE49-F238E27FC236}">
                <a16:creationId xmlns:a16="http://schemas.microsoft.com/office/drawing/2014/main" id="{F0E9FF02-B91A-3E5B-C53E-9CFADAE46E02}"/>
              </a:ext>
            </a:extLst>
          </p:cNvPr>
          <p:cNvSpPr txBox="1"/>
          <p:nvPr/>
        </p:nvSpPr>
        <p:spPr>
          <a:xfrm>
            <a:off x="6934200" y="6308727"/>
            <a:ext cx="54102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Elamin et al ASCO 2023; Spira A, AACR 2025 </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itle 3">
            <a:extLst>
              <a:ext uri="{FF2B5EF4-FFF2-40B4-BE49-F238E27FC236}">
                <a16:creationId xmlns:a16="http://schemas.microsoft.com/office/drawing/2014/main" id="{0E74FA55-586E-3F62-2EAD-F1BE91337CFF}"/>
              </a:ext>
            </a:extLst>
          </p:cNvPr>
          <p:cNvSpPr txBox="1">
            <a:spLocks/>
          </p:cNvSpPr>
          <p:nvPr/>
        </p:nvSpPr>
        <p:spPr>
          <a:xfrm>
            <a:off x="414537" y="1173605"/>
            <a:ext cx="3794760" cy="52959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b="0"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LU-945 +/- Osi</a:t>
            </a:r>
          </a:p>
        </p:txBody>
      </p:sp>
      <p:sp>
        <p:nvSpPr>
          <p:cNvPr id="5" name="Title 3">
            <a:extLst>
              <a:ext uri="{FF2B5EF4-FFF2-40B4-BE49-F238E27FC236}">
                <a16:creationId xmlns:a16="http://schemas.microsoft.com/office/drawing/2014/main" id="{AFAFFD60-F7A3-01E7-5EC6-7EECEEB702AF}"/>
              </a:ext>
            </a:extLst>
          </p:cNvPr>
          <p:cNvSpPr txBox="1">
            <a:spLocks/>
          </p:cNvSpPr>
          <p:nvPr/>
        </p:nvSpPr>
        <p:spPr>
          <a:xfrm>
            <a:off x="1038535" y="1942622"/>
            <a:ext cx="2765697" cy="41371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0"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4 PR’s, mostly in E19 del</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Drug no longer being pursued</a:t>
            </a:r>
          </a:p>
        </p:txBody>
      </p:sp>
      <p:grpSp>
        <p:nvGrpSpPr>
          <p:cNvPr id="6" name="Group 5">
            <a:extLst>
              <a:ext uri="{FF2B5EF4-FFF2-40B4-BE49-F238E27FC236}">
                <a16:creationId xmlns:a16="http://schemas.microsoft.com/office/drawing/2014/main" id="{D7BDA6D1-DC23-4D5A-C059-5D747752360C}"/>
              </a:ext>
            </a:extLst>
          </p:cNvPr>
          <p:cNvGrpSpPr/>
          <p:nvPr/>
        </p:nvGrpSpPr>
        <p:grpSpPr>
          <a:xfrm>
            <a:off x="304799" y="2438400"/>
            <a:ext cx="4960213" cy="3048000"/>
            <a:chOff x="304800" y="2438400"/>
            <a:chExt cx="4418126" cy="2714893"/>
          </a:xfrm>
        </p:grpSpPr>
        <p:pic>
          <p:nvPicPr>
            <p:cNvPr id="7" name="Picture 6">
              <a:extLst>
                <a:ext uri="{FF2B5EF4-FFF2-40B4-BE49-F238E27FC236}">
                  <a16:creationId xmlns:a16="http://schemas.microsoft.com/office/drawing/2014/main" id="{67A28E66-77D8-D683-ABBF-80E7DAD7F18B}"/>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tretch>
              <a:fillRect/>
            </a:stretch>
          </p:blipFill>
          <p:spPr>
            <a:xfrm>
              <a:off x="304800" y="2438400"/>
              <a:ext cx="4418126" cy="2607299"/>
            </a:xfrm>
            <a:prstGeom prst="rect">
              <a:avLst/>
            </a:prstGeom>
          </p:spPr>
        </p:pic>
        <p:sp>
          <p:nvSpPr>
            <p:cNvPr id="9" name="Oval 8">
              <a:extLst>
                <a:ext uri="{FF2B5EF4-FFF2-40B4-BE49-F238E27FC236}">
                  <a16:creationId xmlns:a16="http://schemas.microsoft.com/office/drawing/2014/main" id="{E466498E-7730-0AD8-F42C-6516C8373902}"/>
                </a:ext>
              </a:extLst>
            </p:cNvPr>
            <p:cNvSpPr/>
            <p:nvPr/>
          </p:nvSpPr>
          <p:spPr>
            <a:xfrm>
              <a:off x="2915571" y="4623703"/>
              <a:ext cx="1807355" cy="52959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0" name="Title 3">
            <a:extLst>
              <a:ext uri="{FF2B5EF4-FFF2-40B4-BE49-F238E27FC236}">
                <a16:creationId xmlns:a16="http://schemas.microsoft.com/office/drawing/2014/main" id="{687BEFD1-4366-AD6C-5545-ECA34DB02C6C}"/>
              </a:ext>
            </a:extLst>
          </p:cNvPr>
          <p:cNvSpPr txBox="1">
            <a:spLocks/>
          </p:cNvSpPr>
          <p:nvPr/>
        </p:nvSpPr>
        <p:spPr>
          <a:xfrm>
            <a:off x="7331153" y="1081873"/>
            <a:ext cx="3794760" cy="52959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b="0"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H-30643</a:t>
            </a:r>
          </a:p>
        </p:txBody>
      </p:sp>
      <p:pic>
        <p:nvPicPr>
          <p:cNvPr id="11" name="Picture 10">
            <a:extLst>
              <a:ext uri="{FF2B5EF4-FFF2-40B4-BE49-F238E27FC236}">
                <a16:creationId xmlns:a16="http://schemas.microsoft.com/office/drawing/2014/main" id="{45585ED7-305A-E451-9EF8-816AF432D75F}"/>
              </a:ext>
            </a:extLst>
          </p:cNvPr>
          <p:cNvPicPr>
            <a:picLocks noChangeAspect="1"/>
          </p:cNvPicPr>
          <p:nvPr/>
        </p:nvPicPr>
        <p:blipFill>
          <a:blip r:embed="rId4"/>
          <a:stretch>
            <a:fillRect/>
          </a:stretch>
        </p:blipFill>
        <p:spPr>
          <a:xfrm>
            <a:off x="6069376" y="1774992"/>
            <a:ext cx="2541610" cy="2994226"/>
          </a:xfrm>
          <a:prstGeom prst="rect">
            <a:avLst/>
          </a:prstGeom>
        </p:spPr>
      </p:pic>
      <p:pic>
        <p:nvPicPr>
          <p:cNvPr id="12" name="Picture 11">
            <a:extLst>
              <a:ext uri="{FF2B5EF4-FFF2-40B4-BE49-F238E27FC236}">
                <a16:creationId xmlns:a16="http://schemas.microsoft.com/office/drawing/2014/main" id="{97747D96-3793-4235-9EC1-819FF7FDB6D8}"/>
              </a:ext>
            </a:extLst>
          </p:cNvPr>
          <p:cNvPicPr>
            <a:picLocks noChangeAspect="1"/>
          </p:cNvPicPr>
          <p:nvPr/>
        </p:nvPicPr>
        <p:blipFill>
          <a:blip r:embed="rId5"/>
          <a:stretch>
            <a:fillRect/>
          </a:stretch>
        </p:blipFill>
        <p:spPr>
          <a:xfrm>
            <a:off x="8873609" y="1774992"/>
            <a:ext cx="2826613" cy="2927204"/>
          </a:xfrm>
          <a:prstGeom prst="rect">
            <a:avLst/>
          </a:prstGeom>
        </p:spPr>
      </p:pic>
    </p:spTree>
    <p:extLst>
      <p:ext uri="{BB962C8B-B14F-4D97-AF65-F5344CB8AC3E}">
        <p14:creationId xmlns:p14="http://schemas.microsoft.com/office/powerpoint/2010/main" val="20823191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ED449-259A-042C-926A-31436D78A2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9663C2-1A40-DC47-D35F-202A1E017C59}"/>
              </a:ext>
            </a:extLst>
          </p:cNvPr>
          <p:cNvSpPr>
            <a:spLocks noGrp="1"/>
          </p:cNvSpPr>
          <p:nvPr>
            <p:ph type="title"/>
          </p:nvPr>
        </p:nvSpPr>
        <p:spPr>
          <a:xfrm>
            <a:off x="103466" y="139739"/>
            <a:ext cx="12088534" cy="658258"/>
          </a:xfrm>
        </p:spPr>
        <p:txBody>
          <a:bodyPr>
            <a:normAutofit fontScale="90000"/>
          </a:bodyPr>
          <a:lstStyle/>
          <a:p>
            <a:pPr marL="342900" marR="0" lvl="0" indent="-342900" defTabSz="914400" rtl="0" eaLnBrk="1" fontAlgn="auto" latinLnBrk="0" hangingPunct="1">
              <a:lnSpc>
                <a:spcPct val="100000"/>
              </a:lnSpc>
              <a:spcBef>
                <a:spcPts val="0"/>
              </a:spcBef>
              <a:spcAft>
                <a:spcPts val="0"/>
              </a:spcAft>
              <a:tabLst/>
              <a:defRPr/>
            </a:pPr>
            <a:r>
              <a:rPr lang="en-US" dirty="0"/>
              <a:t>Small cell transformation</a:t>
            </a:r>
          </a:p>
        </p:txBody>
      </p:sp>
      <p:sp>
        <p:nvSpPr>
          <p:cNvPr id="3" name="TextBox 2">
            <a:extLst>
              <a:ext uri="{FF2B5EF4-FFF2-40B4-BE49-F238E27FC236}">
                <a16:creationId xmlns:a16="http://schemas.microsoft.com/office/drawing/2014/main" id="{C4D224A5-DEF0-8090-A9A1-5F733F82C523}"/>
              </a:ext>
            </a:extLst>
          </p:cNvPr>
          <p:cNvSpPr txBox="1"/>
          <p:nvPr/>
        </p:nvSpPr>
        <p:spPr>
          <a:xfrm>
            <a:off x="3353512" y="5416003"/>
            <a:ext cx="264355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Parma M, ASCO 2025 poster </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02F0EC5A-93B2-25DC-B90B-DC6F0A789B45}"/>
              </a:ext>
            </a:extLst>
          </p:cNvPr>
          <p:cNvSpPr txBox="1"/>
          <p:nvPr/>
        </p:nvSpPr>
        <p:spPr>
          <a:xfrm>
            <a:off x="1981200" y="776627"/>
            <a:ext cx="9148578"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Carbo/etoposide active, anti PD-(L)1 not so much.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Tarlatamab? </a:t>
            </a:r>
          </a:p>
        </p:txBody>
      </p:sp>
      <p:sp>
        <p:nvSpPr>
          <p:cNvPr id="7" name="TextBox 6">
            <a:extLst>
              <a:ext uri="{FF2B5EF4-FFF2-40B4-BE49-F238E27FC236}">
                <a16:creationId xmlns:a16="http://schemas.microsoft.com/office/drawing/2014/main" id="{F0F414E8-0B7A-4A14-BA88-AB11FBC9F615}"/>
              </a:ext>
            </a:extLst>
          </p:cNvPr>
          <p:cNvSpPr txBox="1"/>
          <p:nvPr/>
        </p:nvSpPr>
        <p:spPr>
          <a:xfrm>
            <a:off x="3353512" y="2703900"/>
            <a:ext cx="3048000"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Of the 3 EGFR transformed cases that had a repeat imaging on treatment, 2 had tumor growth and 1 had a mixed response”. </a:t>
            </a:r>
          </a:p>
        </p:txBody>
      </p:sp>
      <p:sp>
        <p:nvSpPr>
          <p:cNvPr id="9" name="TextBox 8">
            <a:extLst>
              <a:ext uri="{FF2B5EF4-FFF2-40B4-BE49-F238E27FC236}">
                <a16:creationId xmlns:a16="http://schemas.microsoft.com/office/drawing/2014/main" id="{163EAB51-B6B5-D670-2338-56F82B518147}"/>
              </a:ext>
            </a:extLst>
          </p:cNvPr>
          <p:cNvSpPr txBox="1"/>
          <p:nvPr/>
        </p:nvSpPr>
        <p:spPr>
          <a:xfrm>
            <a:off x="482936" y="5425368"/>
            <a:ext cx="223753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Aredo, J JTO CCR 2025</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9F94316B-0376-F5B9-ABA8-96052F0BC23E}"/>
              </a:ext>
            </a:extLst>
          </p:cNvPr>
          <p:cNvSpPr txBox="1"/>
          <p:nvPr/>
        </p:nvSpPr>
        <p:spPr>
          <a:xfrm>
            <a:off x="106220" y="2274838"/>
            <a:ext cx="3048000" cy="230832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DLL3 positive in 11/15</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2 pts treated with DLL3 100%</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1 patient progresse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1 patient responded then progressed, then responded briefly with addition of osimertinib</a:t>
            </a:r>
          </a:p>
        </p:txBody>
      </p:sp>
      <p:sp>
        <p:nvSpPr>
          <p:cNvPr id="11" name="TextBox 10">
            <a:extLst>
              <a:ext uri="{FF2B5EF4-FFF2-40B4-BE49-F238E27FC236}">
                <a16:creationId xmlns:a16="http://schemas.microsoft.com/office/drawing/2014/main" id="{E50A7FA2-CBBF-1BD9-E601-00DD3BF3E657}"/>
              </a:ext>
            </a:extLst>
          </p:cNvPr>
          <p:cNvSpPr txBox="1"/>
          <p:nvPr/>
        </p:nvSpPr>
        <p:spPr>
          <a:xfrm>
            <a:off x="8452338" y="5448403"/>
            <a:ext cx="3206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Cooper A, JCO Precision Oncol 2025 </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2" name="Picture 11">
            <a:extLst>
              <a:ext uri="{FF2B5EF4-FFF2-40B4-BE49-F238E27FC236}">
                <a16:creationId xmlns:a16="http://schemas.microsoft.com/office/drawing/2014/main" id="{BABC2DD9-CDA3-AAEE-FED8-B8CA35E29F26}"/>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tretch>
            <a:fillRect/>
          </a:stretch>
        </p:blipFill>
        <p:spPr>
          <a:xfrm>
            <a:off x="6501222" y="2057400"/>
            <a:ext cx="5528063" cy="3124200"/>
          </a:xfrm>
          <a:prstGeom prst="rect">
            <a:avLst/>
          </a:prstGeom>
        </p:spPr>
      </p:pic>
    </p:spTree>
    <p:extLst>
      <p:ext uri="{BB962C8B-B14F-4D97-AF65-F5344CB8AC3E}">
        <p14:creationId xmlns:p14="http://schemas.microsoft.com/office/powerpoint/2010/main" val="41338267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A5176A-EEE6-656E-179A-FFCC52B0F43B}"/>
            </a:ext>
          </a:extLst>
        </p:cNvPr>
        <p:cNvGrpSpPr/>
        <p:nvPr/>
      </p:nvGrpSpPr>
      <p:grpSpPr>
        <a:xfrm>
          <a:off x="0" y="0"/>
          <a:ext cx="0" cy="0"/>
          <a:chOff x="0" y="0"/>
          <a:chExt cx="0" cy="0"/>
        </a:xfrm>
      </p:grpSpPr>
      <p:sp>
        <p:nvSpPr>
          <p:cNvPr id="15" name="Title 14">
            <a:extLst>
              <a:ext uri="{FF2B5EF4-FFF2-40B4-BE49-F238E27FC236}">
                <a16:creationId xmlns:a16="http://schemas.microsoft.com/office/drawing/2014/main" id="{62D49504-03BA-4036-CC65-8A2D37E76DF8}"/>
              </a:ext>
            </a:extLst>
          </p:cNvPr>
          <p:cNvSpPr>
            <a:spLocks noGrp="1"/>
          </p:cNvSpPr>
          <p:nvPr>
            <p:ph type="title"/>
          </p:nvPr>
        </p:nvSpPr>
        <p:spPr/>
        <p:txBody>
          <a:bodyPr/>
          <a:lstStyle/>
          <a:p>
            <a:r>
              <a:rPr lang="en-US" dirty="0"/>
              <a:t>Complex resistance may emerge</a:t>
            </a:r>
          </a:p>
        </p:txBody>
      </p:sp>
      <p:pic>
        <p:nvPicPr>
          <p:cNvPr id="2" name="Picture 1">
            <a:extLst>
              <a:ext uri="{FF2B5EF4-FFF2-40B4-BE49-F238E27FC236}">
                <a16:creationId xmlns:a16="http://schemas.microsoft.com/office/drawing/2014/main" id="{D915BE78-DEA1-AF8B-6D91-6F71CE65280B}"/>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rcRect/>
          <a:stretch>
            <a:fillRect/>
          </a:stretch>
        </p:blipFill>
        <p:spPr>
          <a:xfrm>
            <a:off x="751861" y="1632729"/>
            <a:ext cx="10737699" cy="2904102"/>
          </a:xfrm>
          <a:prstGeom prst="rect">
            <a:avLst/>
          </a:prstGeom>
        </p:spPr>
      </p:pic>
      <p:pic>
        <p:nvPicPr>
          <p:cNvPr id="3" name="Picture 2">
            <a:extLst>
              <a:ext uri="{FF2B5EF4-FFF2-40B4-BE49-F238E27FC236}">
                <a16:creationId xmlns:a16="http://schemas.microsoft.com/office/drawing/2014/main" id="{FFDD253B-0E4C-1CAD-D075-E5CC2A52265A}"/>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5208956" y="5718301"/>
            <a:ext cx="5520353" cy="595500"/>
          </a:xfrm>
          <a:prstGeom prst="rect">
            <a:avLst/>
          </a:prstGeom>
        </p:spPr>
      </p:pic>
      <p:pic>
        <p:nvPicPr>
          <p:cNvPr id="4" name="Picture 3">
            <a:extLst>
              <a:ext uri="{FF2B5EF4-FFF2-40B4-BE49-F238E27FC236}">
                <a16:creationId xmlns:a16="http://schemas.microsoft.com/office/drawing/2014/main" id="{7357AEA1-613A-087C-8CF6-7E9A1E50B0C5}"/>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Layer>
                </a14:imgProps>
              </a:ext>
            </a:extLst>
          </a:blip>
          <a:stretch>
            <a:fillRect/>
          </a:stretch>
        </p:blipFill>
        <p:spPr>
          <a:xfrm>
            <a:off x="556780" y="4817485"/>
            <a:ext cx="4390358" cy="1625309"/>
          </a:xfrm>
          <a:prstGeom prst="rect">
            <a:avLst/>
          </a:prstGeom>
        </p:spPr>
      </p:pic>
      <p:pic>
        <p:nvPicPr>
          <p:cNvPr id="5" name="Picture 4">
            <a:extLst>
              <a:ext uri="{FF2B5EF4-FFF2-40B4-BE49-F238E27FC236}">
                <a16:creationId xmlns:a16="http://schemas.microsoft.com/office/drawing/2014/main" id="{19DE617E-DDCF-2B41-7E47-28E6B83300B5}"/>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5208956" y="5225271"/>
            <a:ext cx="5145214" cy="590186"/>
          </a:xfrm>
          <a:prstGeom prst="rect">
            <a:avLst/>
          </a:prstGeom>
        </p:spPr>
      </p:pic>
      <p:pic>
        <p:nvPicPr>
          <p:cNvPr id="6" name="Picture 5">
            <a:extLst>
              <a:ext uri="{FF2B5EF4-FFF2-40B4-BE49-F238E27FC236}">
                <a16:creationId xmlns:a16="http://schemas.microsoft.com/office/drawing/2014/main" id="{AB57FEA4-F4A6-9ECF-658A-D921E52F65A8}"/>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50000"/>
                    </a14:imgEffect>
                  </a14:imgLayer>
                </a14:imgProps>
              </a:ext>
            </a:extLst>
          </a:blip>
          <a:stretch>
            <a:fillRect/>
          </a:stretch>
        </p:blipFill>
        <p:spPr>
          <a:xfrm>
            <a:off x="5208956" y="4629771"/>
            <a:ext cx="5165966" cy="595500"/>
          </a:xfrm>
          <a:prstGeom prst="rect">
            <a:avLst/>
          </a:prstGeom>
        </p:spPr>
      </p:pic>
    </p:spTree>
    <p:extLst>
      <p:ext uri="{BB962C8B-B14F-4D97-AF65-F5344CB8AC3E}">
        <p14:creationId xmlns:p14="http://schemas.microsoft.com/office/powerpoint/2010/main" val="33775088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FE1681-BCCF-DCBA-DFBE-641D991EE6BF}"/>
            </a:ext>
          </a:extLst>
        </p:cNvPr>
        <p:cNvGrpSpPr/>
        <p:nvPr/>
      </p:nvGrpSpPr>
      <p:grpSpPr>
        <a:xfrm>
          <a:off x="0" y="0"/>
          <a:ext cx="0" cy="0"/>
          <a:chOff x="0" y="0"/>
          <a:chExt cx="0" cy="0"/>
        </a:xfrm>
      </p:grpSpPr>
      <p:sp>
        <p:nvSpPr>
          <p:cNvPr id="15" name="Title 14">
            <a:extLst>
              <a:ext uri="{FF2B5EF4-FFF2-40B4-BE49-F238E27FC236}">
                <a16:creationId xmlns:a16="http://schemas.microsoft.com/office/drawing/2014/main" id="{F86BB41F-64E7-D14B-3C60-6F7630175362}"/>
              </a:ext>
            </a:extLst>
          </p:cNvPr>
          <p:cNvSpPr>
            <a:spLocks noGrp="1"/>
          </p:cNvSpPr>
          <p:nvPr>
            <p:ph type="title"/>
          </p:nvPr>
        </p:nvSpPr>
        <p:spPr>
          <a:xfrm>
            <a:off x="381000" y="152400"/>
            <a:ext cx="11640038" cy="1143000"/>
          </a:xfrm>
        </p:spPr>
        <p:txBody>
          <a:bodyPr>
            <a:normAutofit fontScale="90000"/>
          </a:bodyPr>
          <a:lstStyle/>
          <a:p>
            <a:r>
              <a:rPr lang="en-US" dirty="0"/>
              <a:t>Other noteworthy strategies for EGFR refractory NSCLC</a:t>
            </a:r>
          </a:p>
        </p:txBody>
      </p:sp>
      <p:sp>
        <p:nvSpPr>
          <p:cNvPr id="16" name="Subtitle 4">
            <a:extLst>
              <a:ext uri="{FF2B5EF4-FFF2-40B4-BE49-F238E27FC236}">
                <a16:creationId xmlns:a16="http://schemas.microsoft.com/office/drawing/2014/main" id="{D50080C3-9933-6880-A740-437545D8C6A9}"/>
              </a:ext>
            </a:extLst>
          </p:cNvPr>
          <p:cNvSpPr txBox="1">
            <a:spLocks/>
          </p:cNvSpPr>
          <p:nvPr/>
        </p:nvSpPr>
        <p:spPr>
          <a:xfrm>
            <a:off x="685800" y="1295400"/>
            <a:ext cx="10744200" cy="2547937"/>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mn-cs"/>
              </a:rPr>
              <a:t>TROP2 ADC</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mn-cs"/>
              </a:rPr>
              <a:t>PD-(L)1/VEGF bispecific antibodies</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Subsequent lines of chemo (</a:t>
            </a:r>
            <a:r>
              <a:rPr kumimoji="0" lang="en-US" sz="2400" b="0" i="0" u="none" strike="noStrike" kern="1200" cap="none" spc="0" normalizeH="0" baseline="0" noProof="0" dirty="0" err="1">
                <a:ln>
                  <a:noFill/>
                </a:ln>
                <a:solidFill>
                  <a:prstClr val="black"/>
                </a:solidFill>
                <a:effectLst/>
                <a:uLnTx/>
                <a:uFillTx/>
                <a:latin typeface="Arial" panose="020B0604020202020204"/>
                <a:ea typeface="+mn-ea"/>
                <a:cs typeface="+mn-cs"/>
              </a:rPr>
              <a:t>ie</a:t>
            </a: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 docetaxel +/- ramucirumab) </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BRAF/KRAS/ALK </a:t>
            </a:r>
            <a:r>
              <a:rPr kumimoji="0" lang="en-US" sz="2400" b="0" i="0" u="none" strike="noStrike" kern="1200" cap="none" spc="0" normalizeH="0" baseline="0" noProof="0" dirty="0" err="1">
                <a:ln>
                  <a:noFill/>
                </a:ln>
                <a:solidFill>
                  <a:prstClr val="black"/>
                </a:solidFill>
                <a:effectLst/>
                <a:uLnTx/>
                <a:uFillTx/>
                <a:latin typeface="Arial" panose="020B0604020202020204"/>
                <a:ea typeface="+mn-ea"/>
                <a:cs typeface="+mn-cs"/>
              </a:rPr>
              <a:t>etc</a:t>
            </a: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 KI/TKI combos - I haven’t had much success</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ERBB2/HER2 IHC 3+: trastuzumab deruxtecan - pan-tumor approved</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mn-cs"/>
              </a:rPr>
              <a:t>HER3 ADC</a:t>
            </a: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      (patritumab deruxtecan withdrawn)</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mn-cs"/>
              </a:rPr>
              <a:t>EGFR ADC</a:t>
            </a: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 </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mn-cs"/>
              </a:rPr>
              <a:t>MET ADC</a:t>
            </a: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 </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400" b="1" i="0" u="none" strike="noStrike" kern="1200" cap="none" spc="0" normalizeH="0" baseline="0" noProof="0" dirty="0" err="1">
                <a:ln>
                  <a:noFill/>
                </a:ln>
                <a:solidFill>
                  <a:prstClr val="black"/>
                </a:solidFill>
                <a:effectLst/>
                <a:uLnTx/>
                <a:uFillTx/>
                <a:latin typeface="Arial" panose="020B0604020202020204"/>
                <a:ea typeface="+mn-ea"/>
                <a:cs typeface="+mn-cs"/>
              </a:rPr>
              <a:t>Bispecifics</a:t>
            </a: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mn-cs"/>
              </a:rPr>
              <a:t> (+/- ADC), </a:t>
            </a:r>
            <a:r>
              <a:rPr kumimoji="0" lang="en-US" sz="2400" b="0" i="0" u="none" strike="noStrike" kern="1200" cap="none" spc="0" normalizeH="0" baseline="0" noProof="0" dirty="0" err="1">
                <a:ln>
                  <a:noFill/>
                </a:ln>
                <a:solidFill>
                  <a:prstClr val="black"/>
                </a:solidFill>
                <a:effectLst/>
                <a:uLnTx/>
                <a:uFillTx/>
                <a:latin typeface="Arial" panose="020B0604020202020204"/>
                <a:ea typeface="+mn-ea"/>
                <a:cs typeface="+mn-cs"/>
              </a:rPr>
              <a:t>trispecifics</a:t>
            </a: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 novel immunotherapy targets?</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Molecular glues/degraders? Vaccines? Cell therapy?</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1" u="none" strike="noStrike" kern="1200" cap="none" spc="0" normalizeH="0" baseline="0" noProof="0" dirty="0">
                <a:ln>
                  <a:noFill/>
                </a:ln>
                <a:solidFill>
                  <a:prstClr val="black"/>
                </a:solidFill>
                <a:effectLst/>
                <a:uLnTx/>
                <a:uFillTx/>
                <a:latin typeface="Arial" panose="020B0604020202020204"/>
                <a:ea typeface="+mn-ea"/>
                <a:cs typeface="+mn-cs"/>
              </a:rPr>
              <a:t>EGFR TKI and/or Amivantamab with any of these strategies? </a:t>
            </a:r>
          </a:p>
        </p:txBody>
      </p:sp>
    </p:spTree>
    <p:extLst>
      <p:ext uri="{BB962C8B-B14F-4D97-AF65-F5344CB8AC3E}">
        <p14:creationId xmlns:p14="http://schemas.microsoft.com/office/powerpoint/2010/main" val="40735576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Sands — Disclosures</a:t>
            </a:r>
            <a:br>
              <a:rPr lang="en-US" sz="3200" dirty="0">
                <a:solidFill>
                  <a:srgbClr val="0432FF"/>
                </a:solidFill>
              </a:rPr>
            </a:br>
            <a:r>
              <a:rPr lang="en-US" sz="3200" dirty="0">
                <a:solidFill>
                  <a:srgbClr val="0432FF"/>
                </a:solidFill>
              </a:rPr>
              <a:t>Moderator</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744082505"/>
              </p:ext>
            </p:extLst>
          </p:nvPr>
        </p:nvGraphicFramePr>
        <p:xfrm>
          <a:off x="1379475" y="2060848"/>
          <a:ext cx="9433048" cy="2079290"/>
        </p:xfrm>
        <a:graphic>
          <a:graphicData uri="http://schemas.openxmlformats.org/drawingml/2006/table">
            <a:tbl>
              <a:tblPr firstRow="1" bandRow="1">
                <a:tableStyleId>{F2DE63D5-997A-4646-A377-4702673A728D}</a:tableStyleId>
              </a:tblPr>
              <a:tblGrid>
                <a:gridCol w="2484277">
                  <a:extLst>
                    <a:ext uri="{9D8B030D-6E8A-4147-A177-3AD203B41FA5}">
                      <a16:colId xmlns:a16="http://schemas.microsoft.com/office/drawing/2014/main" val="20000"/>
                    </a:ext>
                  </a:extLst>
                </a:gridCol>
                <a:gridCol w="6948771">
                  <a:extLst>
                    <a:ext uri="{9D8B030D-6E8A-4147-A177-3AD203B41FA5}">
                      <a16:colId xmlns:a16="http://schemas.microsoft.com/office/drawing/2014/main" val="20001"/>
                    </a:ext>
                  </a:extLst>
                </a:gridCol>
              </a:tblGrid>
              <a:tr h="1440160">
                <a:tc>
                  <a:txBody>
                    <a:bodyPr/>
                    <a:lstStyle/>
                    <a:p>
                      <a:r>
                        <a:rPr lang="en-US" sz="17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bbVie Inc, Amgen Inc, AstraZeneca Pharmaceuticals LP, Catalyst Pharmaceuticals Inc, Daiichi Sankyo Inc, Fosun Pharma, Genentech, a member of the Roche Group, Gilead Sciences Inc, GSK, Lilly, Merck, Novartis, Pfizer Inc, PharmaMar, 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39130">
                <a:tc>
                  <a:txBody>
                    <a:bodyPr/>
                    <a:lstStyle/>
                    <a:p>
                      <a:r>
                        <a:rPr lang="en-US" sz="17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mgen Inc,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4722650"/>
                  </a:ext>
                </a:extLst>
              </a:tr>
            </a:tbl>
          </a:graphicData>
        </a:graphic>
      </p:graphicFrame>
    </p:spTree>
    <p:custDataLst>
      <p:tags r:id="rId1"/>
    </p:custDataLst>
    <p:extLst>
      <p:ext uri="{BB962C8B-B14F-4D97-AF65-F5344CB8AC3E}">
        <p14:creationId xmlns:p14="http://schemas.microsoft.com/office/powerpoint/2010/main" val="24995342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8552A-5195-DE65-4906-CA226F8AD8A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7CF4CD3-8FEF-CC89-32A8-D49AB079574D}"/>
              </a:ext>
            </a:extLst>
          </p:cNvPr>
          <p:cNvSpPr>
            <a:spLocks noGrp="1"/>
          </p:cNvSpPr>
          <p:nvPr>
            <p:ph type="title"/>
          </p:nvPr>
        </p:nvSpPr>
        <p:spPr/>
        <p:txBody>
          <a:bodyPr/>
          <a:lstStyle/>
          <a:p>
            <a:r>
              <a:rPr lang="en-US" dirty="0"/>
              <a:t>Conclusions</a:t>
            </a:r>
          </a:p>
        </p:txBody>
      </p:sp>
      <p:sp>
        <p:nvSpPr>
          <p:cNvPr id="8" name="Subtitle 4">
            <a:extLst>
              <a:ext uri="{FF2B5EF4-FFF2-40B4-BE49-F238E27FC236}">
                <a16:creationId xmlns:a16="http://schemas.microsoft.com/office/drawing/2014/main" id="{825D019E-5B92-B982-3280-C68FC4887A79}"/>
              </a:ext>
            </a:extLst>
          </p:cNvPr>
          <p:cNvSpPr txBox="1">
            <a:spLocks/>
          </p:cNvSpPr>
          <p:nvPr/>
        </p:nvSpPr>
        <p:spPr>
          <a:xfrm>
            <a:off x="1114425" y="1417638"/>
            <a:ext cx="9963150" cy="2547937"/>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Acquired resistant EGFR mutant lung cancer is a complex, heterogeneous disease</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EGFR TKI, chemotherapy, and amivantamab are important initial tools in therapy</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Repeat biopsy may identify specific subsequent targets</a:t>
            </a:r>
          </a:p>
          <a:p>
            <a:pPr marL="342900" marR="0" lvl="0" indent="-342900" algn="l" defTabSz="914400" rtl="0" eaLnBrk="1" fontAlgn="auto" latinLnBrk="0" hangingPunct="1">
              <a:lnSpc>
                <a:spcPct val="100000"/>
              </a:lnSpc>
              <a:spcBef>
                <a:spcPct val="20000"/>
              </a:spcBef>
              <a:spcAft>
                <a:spcPts val="0"/>
              </a:spcAft>
              <a:buClrTx/>
              <a:buSzTx/>
              <a:buFontTx/>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Tx/>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Many current options, and many more in the future! </a:t>
            </a:r>
          </a:p>
        </p:txBody>
      </p:sp>
    </p:spTree>
    <p:extLst>
      <p:ext uri="{BB962C8B-B14F-4D97-AF65-F5344CB8AC3E}">
        <p14:creationId xmlns:p14="http://schemas.microsoft.com/office/powerpoint/2010/main" val="25127206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CB40EB-5D49-047B-6838-FE252A9A280B}"/>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7148D2B6-B35D-C83B-BAC2-F627BBBB3AD7}"/>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Priya Rudolph, MD, PhD</a:t>
            </a:r>
          </a:p>
        </p:txBody>
      </p:sp>
      <p:sp>
        <p:nvSpPr>
          <p:cNvPr id="6" name="Rectangle 5">
            <a:extLst>
              <a:ext uri="{FF2B5EF4-FFF2-40B4-BE49-F238E27FC236}">
                <a16:creationId xmlns:a16="http://schemas.microsoft.com/office/drawing/2014/main" id="{EB22C2F6-B44E-D105-2D78-D6184EC1EA50}"/>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0E597040-0F28-A433-5E47-D52148ACE466}"/>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9" name="Title 1">
            <a:extLst>
              <a:ext uri="{FF2B5EF4-FFF2-40B4-BE49-F238E27FC236}">
                <a16:creationId xmlns:a16="http://schemas.microsoft.com/office/drawing/2014/main" id="{701DB04F-6A9F-C298-7794-9165A956F971}"/>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00315A75-A30B-C652-AC52-FBE39CA09FEC}"/>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pic>
        <p:nvPicPr>
          <p:cNvPr id="12" name="Picture 11" descr="A person wearing a headset&#10;&#10;AI-generated content may be incorrect.">
            <a:extLst>
              <a:ext uri="{FF2B5EF4-FFF2-40B4-BE49-F238E27FC236}">
                <a16:creationId xmlns:a16="http://schemas.microsoft.com/office/drawing/2014/main" id="{7BFAE160-F887-BA38-BA3F-5D6DC9057D0D}"/>
              </a:ext>
            </a:extLst>
          </p:cNvPr>
          <p:cNvPicPr>
            <a:picLocks/>
          </p:cNvPicPr>
          <p:nvPr/>
        </p:nvPicPr>
        <p:blipFill>
          <a:blip r:embed="rId3"/>
          <a:srcRect l="25971" t="-318" r="17648" b="318"/>
          <a:stretch>
            <a:fillRect/>
          </a:stretch>
        </p:blipFill>
        <p:spPr>
          <a:xfrm>
            <a:off x="2275639" y="2570970"/>
            <a:ext cx="2651760"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929875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6" y="1370013"/>
            <a:ext cx="10820678" cy="4799013"/>
          </a:xfrm>
        </p:spPr>
        <p:txBody>
          <a:bodyPr/>
          <a:lstStyle/>
          <a:p>
            <a:pPr marL="98425" indent="0">
              <a:lnSpc>
                <a:spcPct val="100000"/>
              </a:lnSpc>
              <a:buNone/>
            </a:pPr>
            <a:r>
              <a:rPr lang="en-US" sz="2600" dirty="0"/>
              <a:t>How often do you monitor brain MRI for patients with EGFR-mutated NSCLC and brain metastases? How do you approach CNS imaging for patients without a history of brain metastases? </a:t>
            </a:r>
          </a:p>
          <a:p>
            <a:pPr marL="98425" indent="0">
              <a:lnSpc>
                <a:spcPct val="100000"/>
              </a:lnSpc>
              <a:buNone/>
            </a:pPr>
            <a:r>
              <a:rPr lang="en-US" sz="2600" dirty="0"/>
              <a:t>Given the intracranial efficacy documented with osimertinib with and without chemotherapy and </a:t>
            </a:r>
            <a:r>
              <a:rPr lang="en-US" sz="2600" dirty="0" err="1"/>
              <a:t>amivantamab</a:t>
            </a:r>
            <a:r>
              <a:rPr lang="en-US" sz="2600" dirty="0"/>
              <a:t>/</a:t>
            </a:r>
            <a:r>
              <a:rPr lang="en-US" sz="2600" dirty="0" err="1"/>
              <a:t>lazertinib</a:t>
            </a:r>
            <a:r>
              <a:rPr lang="en-US" sz="2600" dirty="0"/>
              <a:t>, do you generally start your patients with EGFR-mutated NSCLC and brain metastases on systemic therapy and hold off on local interventions such as stereotactic body radiation therapy (SBRT)/resection and whole-brain radiation therapy? When do you still incorporate local therapy into initial management? </a:t>
            </a:r>
          </a:p>
          <a:p>
            <a:pPr marL="98425" indent="0">
              <a:lnSpc>
                <a:spcPct val="100000"/>
              </a:lnSpc>
              <a:buNone/>
            </a:pPr>
            <a:r>
              <a:rPr lang="en-US" sz="2600" dirty="0"/>
              <a:t>For patients with an oligometastatic CNS lesion, how do you choose between SBRT and resection?</a:t>
            </a:r>
          </a:p>
        </p:txBody>
      </p:sp>
    </p:spTree>
    <p:extLst>
      <p:ext uri="{BB962C8B-B14F-4D97-AF65-F5344CB8AC3E}">
        <p14:creationId xmlns:p14="http://schemas.microsoft.com/office/powerpoint/2010/main" val="2489051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D7D71-411F-FA4D-5444-C519F8C715F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D2AF907-B13B-8FF0-00F8-CE1007179EE9}"/>
              </a:ext>
            </a:extLst>
          </p:cNvPr>
          <p:cNvSpPr/>
          <p:nvPr/>
        </p:nvSpPr>
        <p:spPr bwMode="auto">
          <a:xfrm>
            <a:off x="740128" y="3035325"/>
            <a:ext cx="10900488" cy="96973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370E5ED5-D07A-964E-824B-2EEDF3A64F99}"/>
              </a:ext>
            </a:extLst>
          </p:cNvPr>
          <p:cNvSpPr>
            <a:spLocks noGrp="1"/>
          </p:cNvSpPr>
          <p:nvPr>
            <p:ph type="title"/>
          </p:nvPr>
        </p:nvSpPr>
        <p:spPr>
          <a:xfrm>
            <a:off x="912286" y="227013"/>
            <a:ext cx="10358967" cy="969739"/>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3FC6D435-3D0D-8ED8-EC86-734E7D69CD14}"/>
              </a:ext>
            </a:extLst>
          </p:cNvPr>
          <p:cNvSpPr>
            <a:spLocks noGrp="1"/>
          </p:cNvSpPr>
          <p:nvPr>
            <p:ph idx="1"/>
          </p:nvPr>
        </p:nvSpPr>
        <p:spPr>
          <a:xfrm>
            <a:off x="767408" y="1196752"/>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Evolving First-Line Treatment for Metastatic EGFR-Mutated </a:t>
            </a:r>
            <a:br>
              <a:rPr lang="en-US" sz="2500" dirty="0">
                <a:solidFill>
                  <a:schemeClr val="tx1"/>
                </a:solidFill>
              </a:rPr>
            </a:br>
            <a:r>
              <a:rPr lang="en-US" sz="2500" dirty="0">
                <a:solidFill>
                  <a:schemeClr val="tx1"/>
                </a:solidFill>
              </a:rPr>
              <a:t>Non-Small Cell Lung Cancer (NSCLC) — Prof Passaro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EGFR-Targeted Therapeutic Strategies for Relapsed EGFR-Mutant NSCLC — Dr Neal</a:t>
            </a:r>
          </a:p>
          <a:p>
            <a:pPr marL="98425" indent="0">
              <a:lnSpc>
                <a:spcPct val="100000"/>
              </a:lnSpc>
              <a:spcBef>
                <a:spcPts val="1600"/>
              </a:spcBef>
              <a:spcAft>
                <a:spcPts val="0"/>
              </a:spcAft>
              <a:buNone/>
            </a:pPr>
            <a:r>
              <a:rPr lang="en-US" sz="2500" dirty="0">
                <a:solidFill>
                  <a:schemeClr val="bg1"/>
                </a:solidFill>
              </a:rPr>
              <a:t>Module 3: Utility of TROP2-Targeted Antibody-Drug Conjugates in the Management of EGFR-Mutant NSCLC — Dr Sands</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Emerging Role of Bispecific Antibody-Based Approaches for </a:t>
            </a:r>
            <a:br>
              <a:rPr lang="en-US" sz="2500" dirty="0">
                <a:solidFill>
                  <a:schemeClr val="tx1"/>
                </a:solidFill>
              </a:rPr>
            </a:br>
            <a:r>
              <a:rPr lang="en-US" sz="2500" dirty="0">
                <a:solidFill>
                  <a:schemeClr val="tx1"/>
                </a:solidFill>
              </a:rPr>
              <a:t>EGFR-Mutated NSCLC — Dr Goldman</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Tolerability Considerations with the Use of Available and Emerging Therapies for EGFR-Mutated NSCLC — Dr Goldberg</a:t>
            </a:r>
          </a:p>
        </p:txBody>
      </p:sp>
    </p:spTree>
    <p:extLst>
      <p:ext uri="{BB962C8B-B14F-4D97-AF65-F5344CB8AC3E}">
        <p14:creationId xmlns:p14="http://schemas.microsoft.com/office/powerpoint/2010/main" val="3579082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7AEDD-5764-4596-B1FC-DC2EF2B2ABAF}"/>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297BD86B-E6BC-44E9-A0D3-4EB063CB9FCC}"/>
              </a:ext>
            </a:extLst>
          </p:cNvPr>
          <p:cNvSpPr>
            <a:spLocks noGrp="1"/>
          </p:cNvSpPr>
          <p:nvPr>
            <p:ph type="subTitle" idx="1"/>
          </p:nvPr>
        </p:nvSpPr>
        <p:spPr/>
        <p:txBody>
          <a:bodyPr/>
          <a:lstStyle/>
          <a:p>
            <a:endParaRPr lang="en-US" dirty="0"/>
          </a:p>
        </p:txBody>
      </p:sp>
      <p:pic>
        <p:nvPicPr>
          <p:cNvPr id="4" name="Picture 3">
            <a:extLst>
              <a:ext uri="{FF2B5EF4-FFF2-40B4-BE49-F238E27FC236}">
                <a16:creationId xmlns:a16="http://schemas.microsoft.com/office/drawing/2014/main" id="{94E354F1-A4BD-4CC2-BAC5-64C5012F4D3F}"/>
              </a:ext>
            </a:extLst>
          </p:cNvPr>
          <p:cNvPicPr>
            <a:picLocks noChangeAspect="1"/>
          </p:cNvPicPr>
          <p:nvPr/>
        </p:nvPicPr>
        <p:blipFill>
          <a:blip r:embed="rId2"/>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DFAC2117-3081-4B74-B0F4-186C4E804008}"/>
              </a:ext>
            </a:extLst>
          </p:cNvPr>
          <p:cNvSpPr txBox="1"/>
          <p:nvPr/>
        </p:nvSpPr>
        <p:spPr>
          <a:xfrm>
            <a:off x="3452180" y="4257535"/>
            <a:ext cx="8774545" cy="23698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panose="020F0502020204030204"/>
                <a:ea typeface="+mn-ea"/>
                <a:cs typeface="+mn-cs"/>
              </a:rPr>
              <a:t>Utility of TROP2-Targeted </a:t>
            </a:r>
            <a:br>
              <a:rPr kumimoji="0" lang="en-US" sz="40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4000" b="1" i="0" u="none" strike="noStrike" kern="1200" cap="none" spc="0" normalizeH="0" baseline="0" noProof="0" dirty="0">
                <a:ln>
                  <a:noFill/>
                </a:ln>
                <a:solidFill>
                  <a:prstClr val="black"/>
                </a:solidFill>
                <a:effectLst/>
                <a:uLnTx/>
                <a:uFillTx/>
                <a:latin typeface="Calibri" panose="020F0502020204030204"/>
                <a:ea typeface="+mn-ea"/>
                <a:cs typeface="+mn-cs"/>
              </a:rPr>
              <a:t>Antibody-Drug Conjugates in the Management of EGFR-Mutant NSCL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Jacob Sands, MD</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83442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7"/>
          <p:cNvSpPr txBox="1">
            <a:spLocks/>
          </p:cNvSpPr>
          <p:nvPr/>
        </p:nvSpPr>
        <p:spPr>
          <a:xfrm>
            <a:off x="0" y="331791"/>
            <a:ext cx="12192000" cy="1081087"/>
          </a:xfrm>
          <a:prstGeom prst="rect">
            <a:avLst/>
          </a:prstGeom>
        </p:spPr>
        <p:txBody>
          <a:bodyPr/>
          <a:lstStyle>
            <a:lvl1pPr algn="ctr" rtl="0" eaLnBrk="1" fontAlgn="base" hangingPunct="1">
              <a:spcBef>
                <a:spcPct val="0"/>
              </a:spcBef>
              <a:spcAft>
                <a:spcPct val="0"/>
              </a:spcAft>
              <a:defRPr sz="4267" b="1" i="0">
                <a:solidFill>
                  <a:srgbClr val="14467E"/>
                </a:solidFill>
                <a:latin typeface="+mn-lt"/>
                <a:ea typeface="+mj-ea"/>
                <a:cs typeface="+mj-cs"/>
              </a:defRPr>
            </a:lvl1pPr>
            <a:lvl2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5pPr>
            <a:lvl6pPr marL="609570"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6pPr>
            <a:lvl7pPr marL="1219140"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7pPr>
            <a:lvl8pPr marL="1828709"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8pPr>
            <a:lvl9pPr marL="2438278"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4267" b="1" i="0" u="none" strike="noStrike" kern="0" cap="none" spc="0" normalizeH="0" baseline="0" noProof="0" dirty="0" err="1">
                <a:ln>
                  <a:noFill/>
                </a:ln>
                <a:solidFill>
                  <a:prstClr val="black"/>
                </a:solidFill>
                <a:effectLst/>
                <a:uLnTx/>
                <a:uFillTx/>
                <a:latin typeface="Calibri Light" panose="020F0302020204030204" pitchFamily="34" charset="0"/>
                <a:ea typeface="ＭＳ Ｐゴシック"/>
                <a:cs typeface="Calibri Light" panose="020F0302020204030204" pitchFamily="34" charset="0"/>
              </a:rPr>
              <a:t>Datopotamab</a:t>
            </a:r>
            <a:r>
              <a:rPr kumimoji="0" lang="en-US" sz="4267" b="1" i="0" u="none" strike="noStrike" kern="0" cap="none" spc="0" normalizeH="0" baseline="0" noProof="0" dirty="0">
                <a:ln>
                  <a:noFill/>
                </a:ln>
                <a:solidFill>
                  <a:prstClr val="black"/>
                </a:solidFill>
                <a:effectLst/>
                <a:uLnTx/>
                <a:uFillTx/>
                <a:latin typeface="Calibri Light" panose="020F0302020204030204" pitchFamily="34" charset="0"/>
                <a:ea typeface="ＭＳ Ｐゴシック"/>
                <a:cs typeface="Calibri Light" panose="020F0302020204030204" pitchFamily="34" charset="0"/>
              </a:rPr>
              <a:t> </a:t>
            </a:r>
            <a:r>
              <a:rPr kumimoji="0" lang="en-US" sz="4267" b="1" i="0" u="none" strike="noStrike" kern="0" cap="none" spc="0" normalizeH="0" baseline="0" noProof="0" dirty="0" err="1">
                <a:ln>
                  <a:noFill/>
                </a:ln>
                <a:solidFill>
                  <a:prstClr val="black"/>
                </a:solidFill>
                <a:effectLst/>
                <a:uLnTx/>
                <a:uFillTx/>
                <a:latin typeface="Calibri Light" panose="020F0302020204030204" pitchFamily="34" charset="0"/>
                <a:ea typeface="ＭＳ Ｐゴシック"/>
                <a:cs typeface="Calibri Light" panose="020F0302020204030204" pitchFamily="34" charset="0"/>
              </a:rPr>
              <a:t>Deruxtecan</a:t>
            </a:r>
            <a:r>
              <a:rPr kumimoji="0" lang="en-US" sz="4267" b="1" i="0" u="none" strike="noStrike" kern="0" cap="none" spc="0" normalizeH="0" baseline="0" noProof="0" dirty="0">
                <a:ln>
                  <a:noFill/>
                </a:ln>
                <a:solidFill>
                  <a:prstClr val="black"/>
                </a:solidFill>
                <a:effectLst/>
                <a:uLnTx/>
                <a:uFillTx/>
                <a:latin typeface="Calibri Light" panose="020F0302020204030204" pitchFamily="34" charset="0"/>
                <a:ea typeface="ＭＳ Ｐゴシック"/>
                <a:cs typeface="Calibri Light" panose="020F0302020204030204" pitchFamily="34" charset="0"/>
              </a:rPr>
              <a:t> </a:t>
            </a:r>
            <a:endParaRPr kumimoji="0" lang="en-US" sz="2800" b="1" i="0" u="none" strike="noStrike" kern="0" cap="none" spc="0" normalizeH="0" baseline="0" noProof="0" dirty="0">
              <a:ln>
                <a:noFill/>
              </a:ln>
              <a:solidFill>
                <a:prstClr val="black"/>
              </a:solidFill>
              <a:effectLst/>
              <a:uLnTx/>
              <a:uFillTx/>
              <a:latin typeface="Calibri Light" panose="020F0302020204030204" pitchFamily="34" charset="0"/>
              <a:ea typeface="ＭＳ Ｐゴシック"/>
              <a:cs typeface="Calibri Light" panose="020F0302020204030204" pitchFamily="34" charset="0"/>
            </a:endParaRPr>
          </a:p>
        </p:txBody>
      </p:sp>
      <p:sp>
        <p:nvSpPr>
          <p:cNvPr id="5" name="Footer Placeholder 5">
            <a:extLst>
              <a:ext uri="{FF2B5EF4-FFF2-40B4-BE49-F238E27FC236}">
                <a16:creationId xmlns:a16="http://schemas.microsoft.com/office/drawing/2014/main" id="{BF5CF552-3122-4FCB-A663-1D185F7EF3E9}"/>
              </a:ext>
            </a:extLst>
          </p:cNvPr>
          <p:cNvSpPr txBox="1">
            <a:spLocks/>
          </p:cNvSpPr>
          <p:nvPr/>
        </p:nvSpPr>
        <p:spPr>
          <a:xfrm>
            <a:off x="3705946" y="6343557"/>
            <a:ext cx="5276349" cy="40481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Lisberg et al. ASCO 2020; Spira et al. WCLC 2020</a:t>
            </a:r>
          </a:p>
        </p:txBody>
      </p:sp>
      <p:pic>
        <p:nvPicPr>
          <p:cNvPr id="6" name="Picture 5">
            <a:extLst>
              <a:ext uri="{FF2B5EF4-FFF2-40B4-BE49-F238E27FC236}">
                <a16:creationId xmlns:a16="http://schemas.microsoft.com/office/drawing/2014/main" id="{75325D54-4709-433D-8C6F-2672CCE585D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20663" y="2093868"/>
            <a:ext cx="6970566" cy="3355019"/>
          </a:xfrm>
          <a:prstGeom prst="rect">
            <a:avLst/>
          </a:prstGeom>
          <a:ln w="28575">
            <a:solidFill>
              <a:schemeClr val="accent2"/>
            </a:solidFill>
          </a:ln>
        </p:spPr>
      </p:pic>
      <p:pic>
        <p:nvPicPr>
          <p:cNvPr id="2" name="Picture 1">
            <a:extLst>
              <a:ext uri="{FF2B5EF4-FFF2-40B4-BE49-F238E27FC236}">
                <a16:creationId xmlns:a16="http://schemas.microsoft.com/office/drawing/2014/main" id="{AA736DE2-5308-7A21-236F-D6915FD47523}"/>
              </a:ext>
            </a:extLst>
          </p:cNvPr>
          <p:cNvPicPr>
            <a:picLocks noChangeAspect="1"/>
          </p:cNvPicPr>
          <p:nvPr/>
        </p:nvPicPr>
        <p:blipFill>
          <a:blip r:embed="rId4"/>
          <a:stretch>
            <a:fillRect/>
          </a:stretch>
        </p:blipFill>
        <p:spPr>
          <a:xfrm>
            <a:off x="0" y="-16164"/>
            <a:ext cx="12192000" cy="317985"/>
          </a:xfrm>
          <a:prstGeom prst="rect">
            <a:avLst/>
          </a:prstGeom>
        </p:spPr>
      </p:pic>
      <p:pic>
        <p:nvPicPr>
          <p:cNvPr id="9" name="Picture 8">
            <a:extLst>
              <a:ext uri="{FF2B5EF4-FFF2-40B4-BE49-F238E27FC236}">
                <a16:creationId xmlns:a16="http://schemas.microsoft.com/office/drawing/2014/main" id="{CED70A7A-8D1B-0A86-1A0B-173F5CC37451}"/>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7582942" y="1581442"/>
            <a:ext cx="4188959" cy="4485937"/>
          </a:xfrm>
          <a:prstGeom prst="rect">
            <a:avLst/>
          </a:prstGeom>
        </p:spPr>
      </p:pic>
    </p:spTree>
    <p:extLst>
      <p:ext uri="{BB962C8B-B14F-4D97-AF65-F5344CB8AC3E}">
        <p14:creationId xmlns:p14="http://schemas.microsoft.com/office/powerpoint/2010/main" val="17024451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4E690-EDB5-F209-FEB7-8D8BD3336ADB}"/>
              </a:ext>
            </a:extLst>
          </p:cNvPr>
          <p:cNvSpPr>
            <a:spLocks noGrp="1"/>
          </p:cNvSpPr>
          <p:nvPr>
            <p:ph type="title"/>
          </p:nvPr>
        </p:nvSpPr>
        <p:spPr/>
        <p:txBody>
          <a:bodyPr/>
          <a:lstStyle/>
          <a:p>
            <a:r>
              <a:rPr lang="en-US" dirty="0" err="1"/>
              <a:t>Datopotamab</a:t>
            </a:r>
            <a:r>
              <a:rPr lang="en-US" dirty="0"/>
              <a:t> </a:t>
            </a:r>
            <a:r>
              <a:rPr lang="en-US" dirty="0" err="1"/>
              <a:t>deruxtecan</a:t>
            </a:r>
            <a:r>
              <a:rPr lang="en-US" dirty="0"/>
              <a:t> (Dato-</a:t>
            </a:r>
            <a:r>
              <a:rPr lang="en-US" dirty="0" err="1"/>
              <a:t>DXd</a:t>
            </a:r>
            <a:r>
              <a:rPr lang="en-US" dirty="0"/>
              <a:t>)</a:t>
            </a:r>
          </a:p>
        </p:txBody>
      </p:sp>
      <p:sp>
        <p:nvSpPr>
          <p:cNvPr id="3" name="Content Placeholder 2">
            <a:extLst>
              <a:ext uri="{FF2B5EF4-FFF2-40B4-BE49-F238E27FC236}">
                <a16:creationId xmlns:a16="http://schemas.microsoft.com/office/drawing/2014/main" id="{1A55B5EE-A8BA-C6A3-7254-C3F0F519BD58}"/>
              </a:ext>
            </a:extLst>
          </p:cNvPr>
          <p:cNvSpPr>
            <a:spLocks noGrp="1"/>
          </p:cNvSpPr>
          <p:nvPr>
            <p:ph idx="1"/>
          </p:nvPr>
        </p:nvSpPr>
        <p:spPr>
          <a:xfrm>
            <a:off x="838199" y="1419225"/>
            <a:ext cx="10515600" cy="4351338"/>
          </a:xfrm>
        </p:spPr>
        <p:txBody>
          <a:bodyPr/>
          <a:lstStyle/>
          <a:p>
            <a:r>
              <a:rPr lang="en-US" dirty="0"/>
              <a:t>TROPION Lung-01 and TROPION Lung-05 Combined Cohort</a:t>
            </a:r>
          </a:p>
        </p:txBody>
      </p:sp>
      <p:sp>
        <p:nvSpPr>
          <p:cNvPr id="6" name="TextBox 5">
            <a:extLst>
              <a:ext uri="{FF2B5EF4-FFF2-40B4-BE49-F238E27FC236}">
                <a16:creationId xmlns:a16="http://schemas.microsoft.com/office/drawing/2014/main" id="{1DA186E8-ABA2-9213-89E0-BB23920D2A27}"/>
              </a:ext>
            </a:extLst>
          </p:cNvPr>
          <p:cNvSpPr txBox="1"/>
          <p:nvPr/>
        </p:nvSpPr>
        <p:spPr>
          <a:xfrm>
            <a:off x="2895599" y="6429306"/>
            <a:ext cx="64008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hn et al. ESMO Asia 2024; Ahn et al. J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horac</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Oncol 2025</a:t>
            </a:r>
          </a:p>
        </p:txBody>
      </p:sp>
      <p:pic>
        <p:nvPicPr>
          <p:cNvPr id="8" name="Picture 7">
            <a:extLst>
              <a:ext uri="{FF2B5EF4-FFF2-40B4-BE49-F238E27FC236}">
                <a16:creationId xmlns:a16="http://schemas.microsoft.com/office/drawing/2014/main" id="{A335C9ED-9024-2A4C-D581-76C0C5F226BE}"/>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360218" y="2048869"/>
            <a:ext cx="11286835" cy="4153065"/>
          </a:xfrm>
          <a:prstGeom prst="rect">
            <a:avLst/>
          </a:prstGeom>
        </p:spPr>
      </p:pic>
      <p:pic>
        <p:nvPicPr>
          <p:cNvPr id="4" name="Picture 3">
            <a:extLst>
              <a:ext uri="{FF2B5EF4-FFF2-40B4-BE49-F238E27FC236}">
                <a16:creationId xmlns:a16="http://schemas.microsoft.com/office/drawing/2014/main" id="{61A04676-6A0E-340A-F300-F2D47E74C571}"/>
              </a:ext>
            </a:extLst>
          </p:cNvPr>
          <p:cNvPicPr>
            <a:picLocks noChangeAspect="1"/>
          </p:cNvPicPr>
          <p:nvPr/>
        </p:nvPicPr>
        <p:blipFill>
          <a:blip r:embed="rId4"/>
          <a:stretch>
            <a:fillRect/>
          </a:stretch>
        </p:blipFill>
        <p:spPr>
          <a:xfrm>
            <a:off x="220663" y="6363204"/>
            <a:ext cx="1474788" cy="397890"/>
          </a:xfrm>
          <a:prstGeom prst="rect">
            <a:avLst/>
          </a:prstGeom>
        </p:spPr>
      </p:pic>
      <p:pic>
        <p:nvPicPr>
          <p:cNvPr id="5" name="Picture 4">
            <a:extLst>
              <a:ext uri="{FF2B5EF4-FFF2-40B4-BE49-F238E27FC236}">
                <a16:creationId xmlns:a16="http://schemas.microsoft.com/office/drawing/2014/main" id="{B1F0C82D-A9E7-1E65-2072-53034CFE4EA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48066" y="6429306"/>
            <a:ext cx="1617582" cy="368564"/>
          </a:xfrm>
          <a:prstGeom prst="rect">
            <a:avLst/>
          </a:prstGeom>
        </p:spPr>
      </p:pic>
      <p:pic>
        <p:nvPicPr>
          <p:cNvPr id="7" name="Picture 6">
            <a:extLst>
              <a:ext uri="{FF2B5EF4-FFF2-40B4-BE49-F238E27FC236}">
                <a16:creationId xmlns:a16="http://schemas.microsoft.com/office/drawing/2014/main" id="{0F5BFC3C-5ABC-FBD8-1E20-D8256AB3A0C6}"/>
              </a:ext>
            </a:extLst>
          </p:cNvPr>
          <p:cNvPicPr>
            <a:picLocks noChangeAspect="1"/>
          </p:cNvPicPr>
          <p:nvPr/>
        </p:nvPicPr>
        <p:blipFill>
          <a:blip r:embed="rId6"/>
          <a:stretch>
            <a:fillRect/>
          </a:stretch>
        </p:blipFill>
        <p:spPr>
          <a:xfrm>
            <a:off x="0" y="-16164"/>
            <a:ext cx="12192000" cy="317985"/>
          </a:xfrm>
          <a:prstGeom prst="rect">
            <a:avLst/>
          </a:prstGeom>
        </p:spPr>
      </p:pic>
    </p:spTree>
    <p:extLst>
      <p:ext uri="{BB962C8B-B14F-4D97-AF65-F5344CB8AC3E}">
        <p14:creationId xmlns:p14="http://schemas.microsoft.com/office/powerpoint/2010/main" val="17782905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4E690-EDB5-F209-FEB7-8D8BD3336ADB}"/>
              </a:ext>
            </a:extLst>
          </p:cNvPr>
          <p:cNvSpPr>
            <a:spLocks noGrp="1"/>
          </p:cNvSpPr>
          <p:nvPr>
            <p:ph type="title"/>
          </p:nvPr>
        </p:nvSpPr>
        <p:spPr>
          <a:xfrm>
            <a:off x="838200" y="365126"/>
            <a:ext cx="10515600" cy="722312"/>
          </a:xfrm>
        </p:spPr>
        <p:txBody>
          <a:bodyPr/>
          <a:lstStyle/>
          <a:p>
            <a:r>
              <a:rPr lang="en-US" dirty="0" err="1"/>
              <a:t>Datopotamab</a:t>
            </a:r>
            <a:r>
              <a:rPr lang="en-US" dirty="0"/>
              <a:t> </a:t>
            </a:r>
            <a:r>
              <a:rPr lang="en-US" dirty="0" err="1"/>
              <a:t>deruxtecan</a:t>
            </a:r>
            <a:r>
              <a:rPr lang="en-US" dirty="0"/>
              <a:t> (Dato-</a:t>
            </a:r>
            <a:r>
              <a:rPr lang="en-US" dirty="0" err="1"/>
              <a:t>DXd</a:t>
            </a:r>
            <a:r>
              <a:rPr lang="en-US" dirty="0"/>
              <a:t>)</a:t>
            </a:r>
          </a:p>
        </p:txBody>
      </p:sp>
      <p:sp>
        <p:nvSpPr>
          <p:cNvPr id="3" name="Content Placeholder 2">
            <a:extLst>
              <a:ext uri="{FF2B5EF4-FFF2-40B4-BE49-F238E27FC236}">
                <a16:creationId xmlns:a16="http://schemas.microsoft.com/office/drawing/2014/main" id="{1A55B5EE-A8BA-C6A3-7254-C3F0F519BD58}"/>
              </a:ext>
            </a:extLst>
          </p:cNvPr>
          <p:cNvSpPr>
            <a:spLocks noGrp="1"/>
          </p:cNvSpPr>
          <p:nvPr>
            <p:ph idx="1"/>
          </p:nvPr>
        </p:nvSpPr>
        <p:spPr>
          <a:xfrm>
            <a:off x="838200" y="1171575"/>
            <a:ext cx="10515600" cy="4351338"/>
          </a:xfrm>
        </p:spPr>
        <p:txBody>
          <a:bodyPr/>
          <a:lstStyle/>
          <a:p>
            <a:r>
              <a:rPr lang="en-US" dirty="0"/>
              <a:t>TROPION Lung-01 and TROPION Lung-05 Combined Cohort</a:t>
            </a:r>
          </a:p>
        </p:txBody>
      </p:sp>
      <p:pic>
        <p:nvPicPr>
          <p:cNvPr id="5" name="Picture 4">
            <a:extLst>
              <a:ext uri="{FF2B5EF4-FFF2-40B4-BE49-F238E27FC236}">
                <a16:creationId xmlns:a16="http://schemas.microsoft.com/office/drawing/2014/main" id="{FC49C2AA-A62B-BB2A-3AEF-B772DA129A2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552059" y="1619250"/>
            <a:ext cx="5962754" cy="4664075"/>
          </a:xfrm>
          <a:prstGeom prst="rect">
            <a:avLst/>
          </a:prstGeom>
          <a:ln>
            <a:solidFill>
              <a:schemeClr val="tx1"/>
            </a:solidFill>
          </a:ln>
        </p:spPr>
      </p:pic>
      <p:pic>
        <p:nvPicPr>
          <p:cNvPr id="9" name="Picture 8">
            <a:extLst>
              <a:ext uri="{FF2B5EF4-FFF2-40B4-BE49-F238E27FC236}">
                <a16:creationId xmlns:a16="http://schemas.microsoft.com/office/drawing/2014/main" id="{5F00D977-7BA1-F0D2-3113-030068584F1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095650" y="1667437"/>
            <a:ext cx="4544291" cy="4351338"/>
          </a:xfrm>
          <a:prstGeom prst="rect">
            <a:avLst/>
          </a:prstGeom>
          <a:ln>
            <a:solidFill>
              <a:schemeClr val="tx1"/>
            </a:solidFill>
          </a:ln>
        </p:spPr>
      </p:pic>
      <p:pic>
        <p:nvPicPr>
          <p:cNvPr id="4" name="Picture 3">
            <a:extLst>
              <a:ext uri="{FF2B5EF4-FFF2-40B4-BE49-F238E27FC236}">
                <a16:creationId xmlns:a16="http://schemas.microsoft.com/office/drawing/2014/main" id="{C88AC782-4CA6-EEB6-BB07-D8364602C1DB}"/>
              </a:ext>
            </a:extLst>
          </p:cNvPr>
          <p:cNvPicPr>
            <a:picLocks noChangeAspect="1"/>
          </p:cNvPicPr>
          <p:nvPr/>
        </p:nvPicPr>
        <p:blipFill>
          <a:blip r:embed="rId6"/>
          <a:stretch>
            <a:fillRect/>
          </a:stretch>
        </p:blipFill>
        <p:spPr>
          <a:xfrm>
            <a:off x="220663" y="6363204"/>
            <a:ext cx="1474788" cy="397890"/>
          </a:xfrm>
          <a:prstGeom prst="rect">
            <a:avLst/>
          </a:prstGeom>
        </p:spPr>
      </p:pic>
      <p:pic>
        <p:nvPicPr>
          <p:cNvPr id="7" name="Picture 6">
            <a:extLst>
              <a:ext uri="{FF2B5EF4-FFF2-40B4-BE49-F238E27FC236}">
                <a16:creationId xmlns:a16="http://schemas.microsoft.com/office/drawing/2014/main" id="{ED85E9BA-5A8C-AACF-473C-136D94A51F1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48066" y="6429306"/>
            <a:ext cx="1617582" cy="368564"/>
          </a:xfrm>
          <a:prstGeom prst="rect">
            <a:avLst/>
          </a:prstGeom>
        </p:spPr>
      </p:pic>
      <p:pic>
        <p:nvPicPr>
          <p:cNvPr id="8" name="Picture 7">
            <a:extLst>
              <a:ext uri="{FF2B5EF4-FFF2-40B4-BE49-F238E27FC236}">
                <a16:creationId xmlns:a16="http://schemas.microsoft.com/office/drawing/2014/main" id="{F8D7E8DA-AA30-23B0-6C87-697D8347651A}"/>
              </a:ext>
            </a:extLst>
          </p:cNvPr>
          <p:cNvPicPr>
            <a:picLocks noChangeAspect="1"/>
          </p:cNvPicPr>
          <p:nvPr/>
        </p:nvPicPr>
        <p:blipFill>
          <a:blip r:embed="rId8"/>
          <a:stretch>
            <a:fillRect/>
          </a:stretch>
        </p:blipFill>
        <p:spPr>
          <a:xfrm>
            <a:off x="0" y="-16164"/>
            <a:ext cx="12192000" cy="317985"/>
          </a:xfrm>
          <a:prstGeom prst="rect">
            <a:avLst/>
          </a:prstGeom>
        </p:spPr>
      </p:pic>
      <p:sp>
        <p:nvSpPr>
          <p:cNvPr id="10" name="TextBox 9">
            <a:extLst>
              <a:ext uri="{FF2B5EF4-FFF2-40B4-BE49-F238E27FC236}">
                <a16:creationId xmlns:a16="http://schemas.microsoft.com/office/drawing/2014/main" id="{49C99144-696E-BBC8-4305-0593CF5D77C7}"/>
              </a:ext>
            </a:extLst>
          </p:cNvPr>
          <p:cNvSpPr txBox="1"/>
          <p:nvPr/>
        </p:nvSpPr>
        <p:spPr>
          <a:xfrm>
            <a:off x="2895599" y="6429306"/>
            <a:ext cx="64008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hn et al. ESMO Asia 2024; Ahn et al. J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horac</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Oncol 2025</a:t>
            </a:r>
          </a:p>
        </p:txBody>
      </p:sp>
    </p:spTree>
    <p:extLst>
      <p:ext uri="{BB962C8B-B14F-4D97-AF65-F5344CB8AC3E}">
        <p14:creationId xmlns:p14="http://schemas.microsoft.com/office/powerpoint/2010/main" val="6115446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4E690-EDB5-F209-FEB7-8D8BD3336ADB}"/>
              </a:ext>
            </a:extLst>
          </p:cNvPr>
          <p:cNvSpPr>
            <a:spLocks noGrp="1"/>
          </p:cNvSpPr>
          <p:nvPr>
            <p:ph type="title"/>
          </p:nvPr>
        </p:nvSpPr>
        <p:spPr>
          <a:xfrm>
            <a:off x="838200" y="198438"/>
            <a:ext cx="10515600" cy="787400"/>
          </a:xfrm>
        </p:spPr>
        <p:txBody>
          <a:bodyPr/>
          <a:lstStyle/>
          <a:p>
            <a:r>
              <a:rPr lang="en-US" dirty="0" err="1"/>
              <a:t>Datopotamab</a:t>
            </a:r>
            <a:r>
              <a:rPr lang="en-US" dirty="0"/>
              <a:t> </a:t>
            </a:r>
            <a:r>
              <a:rPr lang="en-US" dirty="0" err="1"/>
              <a:t>deruxtecan</a:t>
            </a:r>
            <a:r>
              <a:rPr lang="en-US" dirty="0"/>
              <a:t> (Dato-</a:t>
            </a:r>
            <a:r>
              <a:rPr lang="en-US" dirty="0" err="1"/>
              <a:t>DXd</a:t>
            </a:r>
            <a:r>
              <a:rPr lang="en-US" dirty="0"/>
              <a:t>)</a:t>
            </a:r>
          </a:p>
        </p:txBody>
      </p:sp>
      <p:sp>
        <p:nvSpPr>
          <p:cNvPr id="3" name="Content Placeholder 2">
            <a:extLst>
              <a:ext uri="{FF2B5EF4-FFF2-40B4-BE49-F238E27FC236}">
                <a16:creationId xmlns:a16="http://schemas.microsoft.com/office/drawing/2014/main" id="{1A55B5EE-A8BA-C6A3-7254-C3F0F519BD58}"/>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60095DE2-5D64-E3F6-6D8B-537E772C3DD5}"/>
              </a:ext>
            </a:extLst>
          </p:cNvPr>
          <p:cNvPicPr>
            <a:picLocks noChangeAspect="1"/>
          </p:cNvPicPr>
          <p:nvPr/>
        </p:nvPicPr>
        <p:blipFill>
          <a:blip r:embed="rId2"/>
          <a:stretch>
            <a:fillRect/>
          </a:stretch>
        </p:blipFill>
        <p:spPr>
          <a:xfrm>
            <a:off x="6972300" y="933451"/>
            <a:ext cx="5124450" cy="5726111"/>
          </a:xfrm>
          <a:prstGeom prst="rect">
            <a:avLst/>
          </a:prstGeom>
          <a:ln>
            <a:solidFill>
              <a:schemeClr val="tx1"/>
            </a:solidFill>
          </a:ln>
        </p:spPr>
      </p:pic>
      <p:graphicFrame>
        <p:nvGraphicFramePr>
          <p:cNvPr id="6" name="Table 5">
            <a:extLst>
              <a:ext uri="{FF2B5EF4-FFF2-40B4-BE49-F238E27FC236}">
                <a16:creationId xmlns:a16="http://schemas.microsoft.com/office/drawing/2014/main" id="{B9FDE232-D0AA-122B-2EE3-CBD2DDCD86C8}"/>
              </a:ext>
            </a:extLst>
          </p:cNvPr>
          <p:cNvGraphicFramePr>
            <a:graphicFrameLocks noGrp="1"/>
          </p:cNvGraphicFramePr>
          <p:nvPr/>
        </p:nvGraphicFramePr>
        <p:xfrm>
          <a:off x="486001" y="1247762"/>
          <a:ext cx="6117999" cy="4845634"/>
        </p:xfrm>
        <a:graphic>
          <a:graphicData uri="http://schemas.openxmlformats.org/drawingml/2006/table">
            <a:tbl>
              <a:tblPr firstRow="1" bandRow="1">
                <a:tableStyleId>{5C22544A-7EE6-4342-B048-85BDC9FD1C3A}</a:tableStyleId>
              </a:tblPr>
              <a:tblGrid>
                <a:gridCol w="2580965">
                  <a:extLst>
                    <a:ext uri="{9D8B030D-6E8A-4147-A177-3AD203B41FA5}">
                      <a16:colId xmlns:a16="http://schemas.microsoft.com/office/drawing/2014/main" val="3053392735"/>
                    </a:ext>
                  </a:extLst>
                </a:gridCol>
                <a:gridCol w="1768517">
                  <a:extLst>
                    <a:ext uri="{9D8B030D-6E8A-4147-A177-3AD203B41FA5}">
                      <a16:colId xmlns:a16="http://schemas.microsoft.com/office/drawing/2014/main" val="3389505952"/>
                    </a:ext>
                  </a:extLst>
                </a:gridCol>
                <a:gridCol w="1768517">
                  <a:extLst>
                    <a:ext uri="{9D8B030D-6E8A-4147-A177-3AD203B41FA5}">
                      <a16:colId xmlns:a16="http://schemas.microsoft.com/office/drawing/2014/main" val="763701854"/>
                    </a:ext>
                  </a:extLst>
                </a:gridCol>
              </a:tblGrid>
              <a:tr h="616128">
                <a:tc>
                  <a:txBody>
                    <a:bodyPr/>
                    <a:lstStyle/>
                    <a:p>
                      <a:r>
                        <a:rPr lang="en-NZ" sz="1600" b="1" u="none" strike="noStrike" cap="none">
                          <a:solidFill>
                            <a:schemeClr val="lt1"/>
                          </a:solidFill>
                          <a:latin typeface="Arial Narrow" panose="020B0606020202030204" pitchFamily="34" charset="0"/>
                          <a:sym typeface="Arial"/>
                        </a:rPr>
                        <a:t>Response</a:t>
                      </a:r>
                      <a:endParaRPr lang="en-NZ" sz="1600" b="1" i="0" u="none" strike="sngStrike" cap="none">
                        <a:solidFill>
                          <a:srgbClr val="FF0000"/>
                        </a:solidFill>
                        <a:latin typeface="Arial Narrow" panose="020B0606020202030204" pitchFamily="34" charset="0"/>
                        <a:ea typeface="+mn-ea"/>
                        <a:cs typeface="+mn-cs"/>
                        <a:sym typeface="Arial"/>
                      </a:endParaRPr>
                    </a:p>
                  </a:txBody>
                  <a:tcPr anchor="ctr">
                    <a:solidFill>
                      <a:srgbClr val="009C95"/>
                    </a:solidFill>
                  </a:tcPr>
                </a:tc>
                <a:tc>
                  <a:txBody>
                    <a:bodyPr/>
                    <a:lstStyle/>
                    <a:p>
                      <a:pPr algn="ctr"/>
                      <a:r>
                        <a:rPr lang="en-NZ" sz="1600" i="1">
                          <a:solidFill>
                            <a:schemeClr val="bg1"/>
                          </a:solidFill>
                          <a:latin typeface="Arial Narrow" panose="020B0606020202030204" pitchFamily="34" charset="0"/>
                        </a:rPr>
                        <a:t>EGFR</a:t>
                      </a:r>
                      <a:r>
                        <a:rPr lang="en-NZ" sz="1600">
                          <a:solidFill>
                            <a:schemeClr val="bg1"/>
                          </a:solidFill>
                          <a:latin typeface="Arial Narrow" panose="020B0606020202030204" pitchFamily="34" charset="0"/>
                        </a:rPr>
                        <a:t>m Pool </a:t>
                      </a:r>
                      <a:br>
                        <a:rPr lang="en-NZ" sz="1600">
                          <a:solidFill>
                            <a:schemeClr val="bg1"/>
                          </a:solidFill>
                          <a:latin typeface="Arial Narrow" panose="020B0606020202030204" pitchFamily="34" charset="0"/>
                        </a:rPr>
                      </a:br>
                      <a:r>
                        <a:rPr lang="en-NZ" sz="1600">
                          <a:solidFill>
                            <a:schemeClr val="bg1"/>
                          </a:solidFill>
                          <a:latin typeface="Arial Narrow" panose="020B0606020202030204" pitchFamily="34" charset="0"/>
                        </a:rPr>
                        <a:t>(N=117) </a:t>
                      </a:r>
                    </a:p>
                  </a:txBody>
                  <a:tcPr marL="45720" marR="45720" anchor="ctr">
                    <a:solidFill>
                      <a:srgbClr val="009C95"/>
                    </a:solidFill>
                  </a:tcPr>
                </a:tc>
                <a:tc>
                  <a:txBody>
                    <a:bodyPr/>
                    <a:lstStyle/>
                    <a:p>
                      <a:pPr algn="ctr"/>
                      <a:r>
                        <a:rPr lang="en-NZ" sz="1600" i="0">
                          <a:solidFill>
                            <a:schemeClr val="bg1"/>
                          </a:solidFill>
                          <a:latin typeface="Arial Narrow" panose="020B0606020202030204" pitchFamily="34" charset="0"/>
                        </a:rPr>
                        <a:t>Prior Osimertinib</a:t>
                      </a:r>
                      <a:br>
                        <a:rPr lang="en-NZ" sz="1600">
                          <a:solidFill>
                            <a:schemeClr val="bg1"/>
                          </a:solidFill>
                          <a:latin typeface="Arial Narrow" panose="020B0606020202030204" pitchFamily="34" charset="0"/>
                        </a:rPr>
                      </a:br>
                      <a:r>
                        <a:rPr lang="en-NZ" sz="1600">
                          <a:solidFill>
                            <a:schemeClr val="bg1"/>
                          </a:solidFill>
                          <a:latin typeface="Arial Narrow" panose="020B0606020202030204" pitchFamily="34" charset="0"/>
                        </a:rPr>
                        <a:t>(N=96) </a:t>
                      </a:r>
                    </a:p>
                  </a:txBody>
                  <a:tcPr marL="45720" marR="45720" anchor="ctr">
                    <a:solidFill>
                      <a:srgbClr val="009C95"/>
                    </a:solidFill>
                  </a:tcPr>
                </a:tc>
                <a:extLst>
                  <a:ext uri="{0D108BD9-81ED-4DB2-BD59-A6C34878D82A}">
                    <a16:rowId xmlns:a16="http://schemas.microsoft.com/office/drawing/2014/main" val="1978031953"/>
                  </a:ext>
                </a:extLst>
              </a:tr>
              <a:tr h="575053">
                <a:tc>
                  <a:txBody>
                    <a:bodyPr/>
                    <a:lstStyle/>
                    <a:p>
                      <a:r>
                        <a:rPr lang="en-US" sz="1600" b="1" dirty="0">
                          <a:solidFill>
                            <a:schemeClr val="tx1"/>
                          </a:solidFill>
                          <a:effectLst/>
                          <a:latin typeface="Arial Narrow" panose="020B0606020202030204" pitchFamily="34" charset="0"/>
                        </a:rPr>
                        <a:t>Confirmed </a:t>
                      </a:r>
                      <a:r>
                        <a:rPr lang="en-US" sz="1600" b="1" dirty="0">
                          <a:effectLst/>
                          <a:latin typeface="Arial Narrow" panose="020B0606020202030204" pitchFamily="34" charset="0"/>
                        </a:rPr>
                        <a:t>ORR,</a:t>
                      </a:r>
                      <a:r>
                        <a:rPr lang="en-US" sz="1600" b="0" baseline="30000" dirty="0">
                          <a:effectLst/>
                          <a:latin typeface="Arial Narrow" panose="020B0606020202030204" pitchFamily="34" charset="0"/>
                        </a:rPr>
                        <a:t>a</a:t>
                      </a:r>
                      <a:r>
                        <a:rPr lang="en-US" sz="1600" b="1" dirty="0">
                          <a:effectLst/>
                          <a:latin typeface="Arial Narrow" panose="020B0606020202030204" pitchFamily="34" charset="0"/>
                        </a:rPr>
                        <a:t> </a:t>
                      </a:r>
                      <a:r>
                        <a:rPr lang="en-US" sz="1600" b="0" dirty="0">
                          <a:solidFill>
                            <a:srgbClr val="000000"/>
                          </a:solidFill>
                          <a:latin typeface="Arial Narrow" panose="020B0606020202030204" pitchFamily="34" charset="0"/>
                        </a:rPr>
                        <a:t>n (%) </a:t>
                      </a:r>
                      <a:br>
                        <a:rPr lang="en-US" sz="1600" b="0" dirty="0">
                          <a:solidFill>
                            <a:srgbClr val="000000"/>
                          </a:solidFill>
                          <a:latin typeface="Arial Narrow" panose="020B0606020202030204" pitchFamily="34" charset="0"/>
                        </a:rPr>
                      </a:br>
                      <a:r>
                        <a:rPr lang="en-US" sz="1600" b="0" baseline="0" dirty="0">
                          <a:solidFill>
                            <a:srgbClr val="000000"/>
                          </a:solidFill>
                          <a:latin typeface="Arial Narrow" panose="020B0606020202030204" pitchFamily="34" charset="0"/>
                        </a:rPr>
                        <a:t>[95% CI]</a:t>
                      </a:r>
                      <a:endParaRPr lang="en-US" sz="1600" b="1" i="0" dirty="0">
                        <a:effectLst/>
                        <a:latin typeface="Arial Narrow" panose="020B0606020202030204" pitchFamily="34" charset="0"/>
                      </a:endParaRPr>
                    </a:p>
                  </a:txBody>
                  <a:tcPr marR="0" marT="27432" marB="36576" anchor="ctr"/>
                </a:tc>
                <a:tc>
                  <a:txBody>
                    <a:bodyPr/>
                    <a:lstStyle/>
                    <a:p>
                      <a:pPr algn="ctr" rtl="0" fontAlgn="base"/>
                      <a:r>
                        <a:rPr lang="en-US" sz="1600" b="0">
                          <a:effectLst/>
                          <a:latin typeface="Arial Narrow" panose="020B0606020202030204" pitchFamily="34" charset="0"/>
                        </a:rPr>
                        <a:t>50 (</a:t>
                      </a:r>
                      <a:r>
                        <a:rPr lang="en-US" sz="1600" b="1">
                          <a:effectLst/>
                          <a:latin typeface="Arial Narrow" panose="020B0606020202030204" pitchFamily="34" charset="0"/>
                        </a:rPr>
                        <a:t>42.7</a:t>
                      </a:r>
                      <a:r>
                        <a:rPr lang="en-US" sz="1600" b="0">
                          <a:effectLst/>
                          <a:latin typeface="Arial Narrow" panose="020B0606020202030204" pitchFamily="34" charset="0"/>
                        </a:rPr>
                        <a:t>)</a:t>
                      </a:r>
                      <a:r>
                        <a:rPr lang="en-US" sz="1600" b="0">
                          <a:solidFill>
                            <a:srgbClr val="000000"/>
                          </a:solidFill>
                          <a:effectLst/>
                          <a:latin typeface="Arial Narrow" panose="020B0606020202030204" pitchFamily="34" charset="0"/>
                        </a:rPr>
                        <a:t> </a:t>
                      </a:r>
                      <a:br>
                        <a:rPr lang="en-US" sz="1600" b="0">
                          <a:solidFill>
                            <a:srgbClr val="000000"/>
                          </a:solidFill>
                          <a:effectLst/>
                          <a:latin typeface="Arial Narrow" panose="020B0606020202030204" pitchFamily="34" charset="0"/>
                        </a:rPr>
                      </a:br>
                      <a:r>
                        <a:rPr lang="en-US" sz="1600" b="0">
                          <a:solidFill>
                            <a:srgbClr val="000000"/>
                          </a:solidFill>
                          <a:effectLst/>
                          <a:latin typeface="Arial Narrow" panose="020B0606020202030204" pitchFamily="34" charset="0"/>
                        </a:rPr>
                        <a:t>[</a:t>
                      </a:r>
                      <a:r>
                        <a:rPr lang="en-US" sz="1600" b="0">
                          <a:effectLst/>
                          <a:latin typeface="Arial Narrow" panose="020B0606020202030204" pitchFamily="34" charset="0"/>
                        </a:rPr>
                        <a:t>33.6</a:t>
                      </a:r>
                      <a:r>
                        <a:rPr lang="en-US" sz="1600" b="0">
                          <a:effectLst/>
                          <a:latin typeface="Arial" panose="020B0604020202020204" pitchFamily="34" charset="0"/>
                          <a:cs typeface="Arial" panose="020B0604020202020204" pitchFamily="34" charset="0"/>
                        </a:rPr>
                        <a:t>–</a:t>
                      </a:r>
                      <a:r>
                        <a:rPr lang="en-US" sz="1600" b="0">
                          <a:effectLst/>
                          <a:latin typeface="Arial Narrow" panose="020B0606020202030204" pitchFamily="34" charset="0"/>
                        </a:rPr>
                        <a:t>52.2] </a:t>
                      </a:r>
                      <a:endParaRPr lang="en-US" sz="1600" b="0" i="0">
                        <a:effectLst/>
                        <a:latin typeface="Arial Narrow" panose="020B0606020202030204" pitchFamily="34" charset="0"/>
                      </a:endParaRPr>
                    </a:p>
                  </a:txBody>
                  <a:tcPr marT="27432" marB="36576" anchor="ctr"/>
                </a:tc>
                <a:tc>
                  <a:txBody>
                    <a:bodyPr/>
                    <a:lstStyle/>
                    <a:p>
                      <a:pPr algn="ctr" rtl="0" fontAlgn="base"/>
                      <a:r>
                        <a:rPr lang="en-US" sz="1600" b="0">
                          <a:effectLst/>
                          <a:latin typeface="Arial Narrow" panose="020B0606020202030204" pitchFamily="34" charset="0"/>
                        </a:rPr>
                        <a:t>43 (</a:t>
                      </a:r>
                      <a:r>
                        <a:rPr lang="en-US" sz="1600" b="1">
                          <a:effectLst/>
                          <a:latin typeface="Arial Narrow" panose="020B0606020202030204" pitchFamily="34" charset="0"/>
                        </a:rPr>
                        <a:t>44.8</a:t>
                      </a:r>
                      <a:r>
                        <a:rPr lang="en-US" sz="1600" b="0">
                          <a:effectLst/>
                          <a:latin typeface="Arial Narrow" panose="020B0606020202030204" pitchFamily="34" charset="0"/>
                        </a:rPr>
                        <a:t>) </a:t>
                      </a:r>
                      <a:br>
                        <a:rPr lang="en-US" sz="1600" b="0">
                          <a:effectLst/>
                          <a:latin typeface="Arial Narrow" panose="020B0606020202030204" pitchFamily="34" charset="0"/>
                        </a:rPr>
                      </a:br>
                      <a:r>
                        <a:rPr lang="en-US" sz="1600" b="0">
                          <a:effectLst/>
                          <a:latin typeface="Arial Narrow" panose="020B0606020202030204" pitchFamily="34" charset="0"/>
                        </a:rPr>
                        <a:t>[34.6</a:t>
                      </a:r>
                      <a:r>
                        <a:rPr lang="en-US" sz="1600" b="0">
                          <a:effectLst/>
                          <a:latin typeface="Arial" panose="020B0604020202020204" pitchFamily="34" charset="0"/>
                          <a:cs typeface="Arial" panose="020B0604020202020204" pitchFamily="34" charset="0"/>
                        </a:rPr>
                        <a:t>–</a:t>
                      </a:r>
                      <a:r>
                        <a:rPr lang="en-US" sz="1600" b="0">
                          <a:effectLst/>
                          <a:latin typeface="Arial Narrow" panose="020B0606020202030204" pitchFamily="34" charset="0"/>
                        </a:rPr>
                        <a:t>55.3]</a:t>
                      </a:r>
                      <a:endParaRPr lang="en-US" sz="1600" b="0" i="0">
                        <a:effectLst/>
                        <a:latin typeface="Arial Narrow" panose="020B0606020202030204" pitchFamily="34" charset="0"/>
                      </a:endParaRPr>
                    </a:p>
                  </a:txBody>
                  <a:tcPr marT="27432" marB="36576" anchor="ctr"/>
                </a:tc>
                <a:extLst>
                  <a:ext uri="{0D108BD9-81ED-4DB2-BD59-A6C34878D82A}">
                    <a16:rowId xmlns:a16="http://schemas.microsoft.com/office/drawing/2014/main" val="1034863209"/>
                  </a:ext>
                </a:extLst>
              </a:tr>
              <a:tr h="1773080">
                <a:tc>
                  <a:txBody>
                    <a:bodyPr/>
                    <a:lstStyle/>
                    <a:p>
                      <a:pPr marL="0" indent="0" algn="l" rtl="0" fontAlgn="base"/>
                      <a:r>
                        <a:rPr lang="en-US" sz="1600" b="1" dirty="0">
                          <a:effectLst/>
                          <a:latin typeface="Arial Narrow" panose="020B0606020202030204" pitchFamily="34" charset="0"/>
                        </a:rPr>
                        <a:t>BOR, </a:t>
                      </a:r>
                      <a:r>
                        <a:rPr lang="en-US" sz="1600" b="0" dirty="0">
                          <a:solidFill>
                            <a:srgbClr val="000000"/>
                          </a:solidFill>
                          <a:latin typeface="Arial Narrow" panose="020B0606020202030204" pitchFamily="34" charset="0"/>
                        </a:rPr>
                        <a:t>n (%)</a:t>
                      </a:r>
                    </a:p>
                    <a:p>
                      <a:pPr marL="0" indent="0" algn="l" rtl="0" fontAlgn="base"/>
                      <a:r>
                        <a:rPr lang="en-US" sz="1600" b="0" dirty="0">
                          <a:solidFill>
                            <a:srgbClr val="000000"/>
                          </a:solidFill>
                          <a:latin typeface="Arial Narrow" panose="020B0606020202030204" pitchFamily="34" charset="0"/>
                        </a:rPr>
                        <a:t>   CR</a:t>
                      </a:r>
                    </a:p>
                    <a:p>
                      <a:pPr marL="0" indent="0" algn="l" rtl="0" fontAlgn="base"/>
                      <a:r>
                        <a:rPr lang="en-US" sz="1600" b="0" dirty="0">
                          <a:solidFill>
                            <a:srgbClr val="000000"/>
                          </a:solidFill>
                          <a:latin typeface="Arial Narrow" panose="020B0606020202030204" pitchFamily="34" charset="0"/>
                        </a:rPr>
                        <a:t>   PR</a:t>
                      </a:r>
                    </a:p>
                    <a:p>
                      <a:pPr marL="0" indent="0" algn="l" rtl="0" fontAlgn="base"/>
                      <a:r>
                        <a:rPr lang="en-US" sz="1600" b="0" dirty="0">
                          <a:solidFill>
                            <a:srgbClr val="000000"/>
                          </a:solidFill>
                          <a:latin typeface="Arial Narrow" panose="020B0606020202030204" pitchFamily="34" charset="0"/>
                        </a:rPr>
                        <a:t>   SD</a:t>
                      </a:r>
                    </a:p>
                    <a:p>
                      <a:pPr marL="0" marR="0" indent="0" algn="l" rtl="0" fontAlgn="base">
                        <a:lnSpc>
                          <a:spcPct val="100000"/>
                        </a:lnSpc>
                        <a:spcBef>
                          <a:spcPts val="0"/>
                        </a:spcBef>
                        <a:spcAft>
                          <a:spcPts val="0"/>
                        </a:spcAft>
                        <a:buClr>
                          <a:srgbClr val="000000"/>
                        </a:buClr>
                        <a:buFont typeface="Arial"/>
                      </a:pPr>
                      <a:r>
                        <a:rPr lang="en-NZ" sz="1600" b="0" u="none" strike="noStrike" cap="none" dirty="0">
                          <a:solidFill>
                            <a:srgbClr val="000000"/>
                          </a:solidFill>
                          <a:latin typeface="Arial Narrow" panose="020B0606020202030204" pitchFamily="34" charset="0"/>
                          <a:sym typeface="Arial"/>
                        </a:rPr>
                        <a:t>   Non-CR/Non-PD</a:t>
                      </a:r>
                      <a:br>
                        <a:rPr lang="en-NZ" sz="1600" b="0" u="none" strike="noStrike" cap="none" dirty="0">
                          <a:solidFill>
                            <a:srgbClr val="000000"/>
                          </a:solidFill>
                          <a:latin typeface="Arial Narrow" panose="020B0606020202030204" pitchFamily="34" charset="0"/>
                          <a:sym typeface="Arial"/>
                        </a:rPr>
                      </a:br>
                      <a:r>
                        <a:rPr lang="en-NZ" sz="1600" b="0" u="none" strike="noStrike" cap="none" dirty="0">
                          <a:solidFill>
                            <a:srgbClr val="000000"/>
                          </a:solidFill>
                          <a:latin typeface="Arial Narrow" panose="020B0606020202030204" pitchFamily="34" charset="0"/>
                          <a:sym typeface="Arial"/>
                        </a:rPr>
                        <a:t>   PD</a:t>
                      </a:r>
                      <a:endParaRPr lang="en-US" sz="1600" b="0" u="none" strike="noStrike" cap="none" dirty="0">
                        <a:solidFill>
                          <a:srgbClr val="000000"/>
                        </a:solidFill>
                        <a:latin typeface="Arial Narrow" panose="020B0606020202030204" pitchFamily="34" charset="0"/>
                        <a:sym typeface="Arial"/>
                      </a:endParaRPr>
                    </a:p>
                    <a:p>
                      <a:pPr marL="0" marR="0" indent="0" algn="l" rtl="0" fontAlgn="base">
                        <a:lnSpc>
                          <a:spcPct val="100000"/>
                        </a:lnSpc>
                        <a:spcBef>
                          <a:spcPts val="0"/>
                        </a:spcBef>
                        <a:spcAft>
                          <a:spcPts val="0"/>
                        </a:spcAft>
                        <a:buClr>
                          <a:srgbClr val="000000"/>
                        </a:buClr>
                        <a:buFont typeface="Arial"/>
                      </a:pPr>
                      <a:r>
                        <a:rPr lang="en-US" sz="1600" b="0" u="none" strike="noStrike" cap="none" dirty="0">
                          <a:solidFill>
                            <a:srgbClr val="000000"/>
                          </a:solidFill>
                          <a:latin typeface="Arial Narrow" panose="020B0606020202030204" pitchFamily="34" charset="0"/>
                          <a:sym typeface="Arial"/>
                        </a:rPr>
                        <a:t>   NE</a:t>
                      </a:r>
                      <a:endParaRPr lang="en-NZ" sz="1600" b="0" i="0" u="none" strike="noStrike" cap="none" dirty="0">
                        <a:solidFill>
                          <a:srgbClr val="000000"/>
                        </a:solidFill>
                        <a:latin typeface="Arial Narrow" panose="020B0606020202030204" pitchFamily="34" charset="0"/>
                        <a:ea typeface="+mn-ea"/>
                        <a:cs typeface="+mn-cs"/>
                        <a:sym typeface="Arial"/>
                      </a:endParaRPr>
                    </a:p>
                  </a:txBody>
                  <a:tcPr marR="0" marT="27432" marB="36576" anchor="b"/>
                </a:tc>
                <a:tc>
                  <a:txBody>
                    <a:bodyPr/>
                    <a:lstStyle/>
                    <a:p>
                      <a:pPr marR="0" algn="ctr" rtl="0" fontAlgn="base">
                        <a:lnSpc>
                          <a:spcPct val="100000"/>
                        </a:lnSpc>
                        <a:spcBef>
                          <a:spcPts val="0"/>
                        </a:spcBef>
                        <a:spcAft>
                          <a:spcPts val="0"/>
                        </a:spcAft>
                        <a:buClr>
                          <a:srgbClr val="000000"/>
                        </a:buClr>
                        <a:buFont typeface="Arial"/>
                      </a:pPr>
                      <a:endParaRPr lang="en-NZ" sz="1600" b="0" i="0" u="none" strike="noStrike" cap="none">
                        <a:solidFill>
                          <a:schemeClr val="dk1"/>
                        </a:solidFill>
                        <a:effectLst/>
                        <a:latin typeface="Arial Narrow" panose="020B0606020202030204" pitchFamily="34" charset="0"/>
                        <a:ea typeface="+mn-ea"/>
                        <a:cs typeface="+mn-cs"/>
                        <a:sym typeface="Arial"/>
                      </a:endParaRPr>
                    </a:p>
                    <a:p>
                      <a:pPr marR="0" algn="ctr" rtl="0" fontAlgn="base">
                        <a:lnSpc>
                          <a:spcPct val="100000"/>
                        </a:lnSpc>
                        <a:spcBef>
                          <a:spcPts val="0"/>
                        </a:spcBef>
                        <a:spcAft>
                          <a:spcPts val="0"/>
                        </a:spcAft>
                        <a:buClr>
                          <a:srgbClr val="000000"/>
                        </a:buClr>
                        <a:buFont typeface="Arial"/>
                      </a:pPr>
                      <a:r>
                        <a:rPr lang="en-NZ" sz="1600" b="0" i="0" u="none" strike="noStrike" cap="none">
                          <a:solidFill>
                            <a:schemeClr val="dk1"/>
                          </a:solidFill>
                          <a:effectLst/>
                          <a:latin typeface="Arial Narrow" panose="020B0606020202030204" pitchFamily="34" charset="0"/>
                          <a:ea typeface="+mn-ea"/>
                          <a:cs typeface="+mn-cs"/>
                          <a:sym typeface="Arial"/>
                        </a:rPr>
                        <a:t>5 (</a:t>
                      </a:r>
                      <a:r>
                        <a:rPr lang="en-NZ" sz="1600" b="1" i="0" u="none" strike="noStrike" cap="none">
                          <a:solidFill>
                            <a:schemeClr val="dk1"/>
                          </a:solidFill>
                          <a:effectLst/>
                          <a:latin typeface="Arial Narrow" panose="020B0606020202030204" pitchFamily="34" charset="0"/>
                          <a:ea typeface="+mn-ea"/>
                          <a:cs typeface="+mn-cs"/>
                          <a:sym typeface="Arial"/>
                        </a:rPr>
                        <a:t>4.3</a:t>
                      </a:r>
                      <a:r>
                        <a:rPr lang="en-NZ" sz="1600" b="0" i="0" u="none" strike="noStrike" cap="none">
                          <a:solidFill>
                            <a:schemeClr val="dk1"/>
                          </a:solidFill>
                          <a:effectLst/>
                          <a:latin typeface="Arial Narrow" panose="020B0606020202030204" pitchFamily="34" charset="0"/>
                          <a:ea typeface="+mn-ea"/>
                          <a:cs typeface="+mn-cs"/>
                          <a:sym typeface="Arial"/>
                        </a:rPr>
                        <a:t>)</a:t>
                      </a:r>
                    </a:p>
                    <a:p>
                      <a:pPr marR="0" algn="ctr" rtl="0" fontAlgn="base">
                        <a:lnSpc>
                          <a:spcPct val="100000"/>
                        </a:lnSpc>
                        <a:spcBef>
                          <a:spcPts val="0"/>
                        </a:spcBef>
                        <a:spcAft>
                          <a:spcPts val="0"/>
                        </a:spcAft>
                        <a:buClr>
                          <a:srgbClr val="000000"/>
                        </a:buClr>
                        <a:buFont typeface="Arial"/>
                      </a:pPr>
                      <a:r>
                        <a:rPr lang="en-NZ" sz="1600" b="0" i="0" u="none" strike="noStrike" cap="none">
                          <a:solidFill>
                            <a:schemeClr val="dk1"/>
                          </a:solidFill>
                          <a:effectLst/>
                          <a:latin typeface="Arial Narrow" panose="020B0606020202030204" pitchFamily="34" charset="0"/>
                          <a:ea typeface="+mn-ea"/>
                          <a:cs typeface="+mn-cs"/>
                          <a:sym typeface="Arial"/>
                        </a:rPr>
                        <a:t>45 (</a:t>
                      </a:r>
                      <a:r>
                        <a:rPr lang="en-NZ" sz="1600" b="1" i="0" u="none" strike="noStrike" cap="none">
                          <a:solidFill>
                            <a:schemeClr val="dk1"/>
                          </a:solidFill>
                          <a:effectLst/>
                          <a:latin typeface="Arial Narrow" panose="020B0606020202030204" pitchFamily="34" charset="0"/>
                          <a:ea typeface="+mn-ea"/>
                          <a:cs typeface="+mn-cs"/>
                          <a:sym typeface="Arial"/>
                        </a:rPr>
                        <a:t>38.5</a:t>
                      </a:r>
                      <a:r>
                        <a:rPr lang="en-NZ" sz="1600" b="0" i="0" u="none" strike="noStrike" cap="none">
                          <a:solidFill>
                            <a:schemeClr val="dk1"/>
                          </a:solidFill>
                          <a:effectLst/>
                          <a:latin typeface="Arial Narrow" panose="020B0606020202030204" pitchFamily="34" charset="0"/>
                          <a:ea typeface="+mn-ea"/>
                          <a:cs typeface="+mn-cs"/>
                          <a:sym typeface="Arial"/>
                        </a:rPr>
                        <a:t>)</a:t>
                      </a:r>
                    </a:p>
                    <a:p>
                      <a:pPr marR="0" algn="ctr" rtl="0" fontAlgn="base">
                        <a:lnSpc>
                          <a:spcPct val="100000"/>
                        </a:lnSpc>
                        <a:spcBef>
                          <a:spcPts val="0"/>
                        </a:spcBef>
                        <a:spcAft>
                          <a:spcPts val="0"/>
                        </a:spcAft>
                        <a:buClr>
                          <a:srgbClr val="000000"/>
                        </a:buClr>
                        <a:buFont typeface="Arial"/>
                      </a:pPr>
                      <a:r>
                        <a:rPr lang="en-NZ" sz="1600" b="0" i="0" u="none" strike="noStrike" cap="none">
                          <a:solidFill>
                            <a:schemeClr val="dk1"/>
                          </a:solidFill>
                          <a:effectLst/>
                          <a:latin typeface="Arial Narrow" panose="020B0606020202030204" pitchFamily="34" charset="0"/>
                          <a:ea typeface="+mn-ea"/>
                          <a:cs typeface="+mn-cs"/>
                          <a:sym typeface="Arial"/>
                        </a:rPr>
                        <a:t>48 (41.0)</a:t>
                      </a:r>
                    </a:p>
                    <a:p>
                      <a:pPr marR="0" algn="ctr" rtl="0" fontAlgn="base">
                        <a:lnSpc>
                          <a:spcPct val="100000"/>
                        </a:lnSpc>
                        <a:spcBef>
                          <a:spcPts val="0"/>
                        </a:spcBef>
                        <a:spcAft>
                          <a:spcPts val="0"/>
                        </a:spcAft>
                        <a:buClr>
                          <a:srgbClr val="000000"/>
                        </a:buClr>
                        <a:buFont typeface="Arial"/>
                      </a:pPr>
                      <a:r>
                        <a:rPr lang="en-NZ" sz="1600" b="0" i="0" u="none" strike="noStrike" cap="none">
                          <a:solidFill>
                            <a:schemeClr val="dk1"/>
                          </a:solidFill>
                          <a:effectLst/>
                          <a:latin typeface="Arial Narrow" panose="020B0606020202030204" pitchFamily="34" charset="0"/>
                          <a:ea typeface="+mn-ea"/>
                          <a:cs typeface="+mn-cs"/>
                          <a:sym typeface="Arial"/>
                        </a:rPr>
                        <a:t>3 (2.6)</a:t>
                      </a:r>
                    </a:p>
                    <a:p>
                      <a:pPr marR="0" algn="ctr" rtl="0" fontAlgn="base">
                        <a:lnSpc>
                          <a:spcPct val="100000"/>
                        </a:lnSpc>
                        <a:spcBef>
                          <a:spcPts val="0"/>
                        </a:spcBef>
                        <a:spcAft>
                          <a:spcPts val="0"/>
                        </a:spcAft>
                        <a:buClr>
                          <a:srgbClr val="000000"/>
                        </a:buClr>
                        <a:buFont typeface="Arial"/>
                      </a:pPr>
                      <a:r>
                        <a:rPr lang="en-NZ" sz="1600" b="0" i="0" u="none" strike="noStrike" cap="none">
                          <a:solidFill>
                            <a:schemeClr val="dk1"/>
                          </a:solidFill>
                          <a:effectLst/>
                          <a:latin typeface="Arial Narrow" panose="020B0606020202030204" pitchFamily="34" charset="0"/>
                          <a:ea typeface="+mn-ea"/>
                          <a:cs typeface="+mn-cs"/>
                          <a:sym typeface="Arial"/>
                        </a:rPr>
                        <a:t>12 (10.3)</a:t>
                      </a:r>
                    </a:p>
                    <a:p>
                      <a:pPr marR="0" algn="ctr" rtl="0" fontAlgn="base">
                        <a:lnSpc>
                          <a:spcPct val="100000"/>
                        </a:lnSpc>
                        <a:spcBef>
                          <a:spcPts val="0"/>
                        </a:spcBef>
                        <a:spcAft>
                          <a:spcPts val="0"/>
                        </a:spcAft>
                        <a:buClr>
                          <a:srgbClr val="000000"/>
                        </a:buClr>
                        <a:buFont typeface="Arial"/>
                      </a:pPr>
                      <a:r>
                        <a:rPr lang="en-NZ" sz="1600" b="0" i="0" u="none" strike="noStrike" cap="none">
                          <a:solidFill>
                            <a:schemeClr val="dk1"/>
                          </a:solidFill>
                          <a:effectLst/>
                          <a:latin typeface="Arial Narrow" panose="020B0606020202030204" pitchFamily="34" charset="0"/>
                          <a:ea typeface="+mn-ea"/>
                          <a:cs typeface="+mn-cs"/>
                          <a:sym typeface="Arial"/>
                        </a:rPr>
                        <a:t>4 (3.4)</a:t>
                      </a:r>
                      <a:endParaRPr lang="en-US" sz="1600" b="0" i="0" u="none" strike="noStrike" cap="none">
                        <a:solidFill>
                          <a:schemeClr val="dk1"/>
                        </a:solidFill>
                        <a:effectLst/>
                        <a:latin typeface="Arial Narrow" panose="020B0606020202030204" pitchFamily="34" charset="0"/>
                        <a:ea typeface="+mn-ea"/>
                        <a:cs typeface="+mn-cs"/>
                        <a:sym typeface="Arial"/>
                      </a:endParaRPr>
                    </a:p>
                  </a:txBody>
                  <a:tcPr marT="27432" marB="36576" anchor="b"/>
                </a:tc>
                <a:tc>
                  <a:txBody>
                    <a:bodyPr/>
                    <a:lstStyle/>
                    <a:p>
                      <a:pPr marR="0" algn="ctr" rtl="0" fontAlgn="base">
                        <a:lnSpc>
                          <a:spcPct val="100000"/>
                        </a:lnSpc>
                        <a:spcBef>
                          <a:spcPts val="0"/>
                        </a:spcBef>
                        <a:spcAft>
                          <a:spcPts val="0"/>
                        </a:spcAft>
                        <a:buClr>
                          <a:srgbClr val="000000"/>
                        </a:buClr>
                        <a:buFont typeface="Arial"/>
                      </a:pPr>
                      <a:endParaRPr lang="en-NZ" sz="1600" b="0" i="0" u="none" strike="noStrike" cap="none">
                        <a:solidFill>
                          <a:schemeClr val="dk1"/>
                        </a:solidFill>
                        <a:effectLst/>
                        <a:latin typeface="Arial Narrow" panose="020B0606020202030204" pitchFamily="34" charset="0"/>
                        <a:ea typeface="+mn-ea"/>
                        <a:cs typeface="+mn-cs"/>
                        <a:sym typeface="Arial"/>
                      </a:endParaRPr>
                    </a:p>
                    <a:p>
                      <a:pPr algn="ctr" rtl="0" fontAlgn="base"/>
                      <a:r>
                        <a:rPr lang="en-NZ" sz="1600" b="0" i="0" u="none" strike="noStrike" cap="none">
                          <a:solidFill>
                            <a:schemeClr val="dk1"/>
                          </a:solidFill>
                          <a:effectLst/>
                          <a:latin typeface="Arial Narrow" panose="020B0606020202030204" pitchFamily="34" charset="0"/>
                          <a:ea typeface="+mn-ea"/>
                          <a:cs typeface="+mn-cs"/>
                          <a:sym typeface="Arial"/>
                        </a:rPr>
                        <a:t>4 (</a:t>
                      </a:r>
                      <a:r>
                        <a:rPr lang="en-NZ" sz="1600" b="1" i="0" u="none" strike="noStrike" cap="none">
                          <a:solidFill>
                            <a:schemeClr val="dk1"/>
                          </a:solidFill>
                          <a:effectLst/>
                          <a:latin typeface="Arial Narrow" panose="020B0606020202030204" pitchFamily="34" charset="0"/>
                          <a:ea typeface="+mn-ea"/>
                          <a:cs typeface="+mn-cs"/>
                          <a:sym typeface="Arial"/>
                        </a:rPr>
                        <a:t>4.2</a:t>
                      </a:r>
                      <a:r>
                        <a:rPr lang="en-NZ" sz="1600" b="0" i="0" u="none" strike="noStrike" cap="none">
                          <a:solidFill>
                            <a:schemeClr val="dk1"/>
                          </a:solidFill>
                          <a:effectLst/>
                          <a:latin typeface="Arial Narrow" panose="020B0606020202030204" pitchFamily="34" charset="0"/>
                          <a:ea typeface="+mn-ea"/>
                          <a:cs typeface="+mn-cs"/>
                          <a:sym typeface="Arial"/>
                        </a:rPr>
                        <a:t>)</a:t>
                      </a:r>
                    </a:p>
                    <a:p>
                      <a:pPr algn="ctr" rtl="0" fontAlgn="base"/>
                      <a:r>
                        <a:rPr lang="en-NZ" sz="1600" b="0" i="0" u="none" strike="noStrike" cap="none">
                          <a:solidFill>
                            <a:schemeClr val="dk1"/>
                          </a:solidFill>
                          <a:effectLst/>
                          <a:latin typeface="Arial Narrow" panose="020B0606020202030204" pitchFamily="34" charset="0"/>
                          <a:ea typeface="+mn-ea"/>
                          <a:cs typeface="+mn-cs"/>
                          <a:sym typeface="Arial"/>
                        </a:rPr>
                        <a:t>39 (</a:t>
                      </a:r>
                      <a:r>
                        <a:rPr lang="en-NZ" sz="1600" b="1" i="0" u="none" strike="noStrike" cap="none">
                          <a:solidFill>
                            <a:schemeClr val="dk1"/>
                          </a:solidFill>
                          <a:effectLst/>
                          <a:latin typeface="Arial Narrow" panose="020B0606020202030204" pitchFamily="34" charset="0"/>
                          <a:ea typeface="+mn-ea"/>
                          <a:cs typeface="+mn-cs"/>
                          <a:sym typeface="Arial"/>
                        </a:rPr>
                        <a:t>40.6</a:t>
                      </a:r>
                      <a:r>
                        <a:rPr lang="en-NZ" sz="1600" b="0" i="0" u="none" strike="noStrike" cap="none">
                          <a:solidFill>
                            <a:schemeClr val="dk1"/>
                          </a:solidFill>
                          <a:effectLst/>
                          <a:latin typeface="Arial Narrow" panose="020B0606020202030204" pitchFamily="34" charset="0"/>
                          <a:ea typeface="+mn-ea"/>
                          <a:cs typeface="+mn-cs"/>
                          <a:sym typeface="Arial"/>
                        </a:rPr>
                        <a:t>)</a:t>
                      </a:r>
                    </a:p>
                    <a:p>
                      <a:pPr algn="ctr" rtl="0" fontAlgn="base"/>
                      <a:r>
                        <a:rPr lang="en-NZ" sz="1600" b="0" i="0" u="none" strike="noStrike" cap="none">
                          <a:solidFill>
                            <a:schemeClr val="dk1"/>
                          </a:solidFill>
                          <a:effectLst/>
                          <a:latin typeface="Arial Narrow" panose="020B0606020202030204" pitchFamily="34" charset="0"/>
                          <a:ea typeface="+mn-ea"/>
                          <a:cs typeface="+mn-cs"/>
                          <a:sym typeface="Arial"/>
                        </a:rPr>
                        <a:t>37 (38.5)</a:t>
                      </a:r>
                    </a:p>
                    <a:p>
                      <a:pPr algn="ctr" rtl="0" fontAlgn="base"/>
                      <a:r>
                        <a:rPr lang="en-NZ" sz="1600" b="0" i="0" u="none" strike="noStrike" cap="none">
                          <a:solidFill>
                            <a:schemeClr val="dk1"/>
                          </a:solidFill>
                          <a:effectLst/>
                          <a:latin typeface="Arial Narrow" panose="020B0606020202030204" pitchFamily="34" charset="0"/>
                          <a:ea typeface="+mn-ea"/>
                          <a:cs typeface="+mn-cs"/>
                          <a:sym typeface="Arial"/>
                        </a:rPr>
                        <a:t>2 (2.1)</a:t>
                      </a:r>
                    </a:p>
                    <a:p>
                      <a:pPr algn="ctr" rtl="0" fontAlgn="base"/>
                      <a:r>
                        <a:rPr lang="en-NZ" sz="1600" b="0" i="0" u="none" strike="noStrike" cap="none">
                          <a:solidFill>
                            <a:schemeClr val="dk1"/>
                          </a:solidFill>
                          <a:effectLst/>
                          <a:latin typeface="Arial Narrow" panose="020B0606020202030204" pitchFamily="34" charset="0"/>
                          <a:ea typeface="+mn-ea"/>
                          <a:cs typeface="+mn-cs"/>
                          <a:sym typeface="Arial"/>
                        </a:rPr>
                        <a:t>10 (10.4)</a:t>
                      </a:r>
                    </a:p>
                    <a:p>
                      <a:pPr algn="ctr" rtl="0" fontAlgn="base"/>
                      <a:r>
                        <a:rPr lang="en-NZ" sz="1600" b="0" i="0" u="none" strike="noStrike" cap="none">
                          <a:solidFill>
                            <a:schemeClr val="dk1"/>
                          </a:solidFill>
                          <a:effectLst/>
                          <a:latin typeface="Arial Narrow" panose="020B0606020202030204" pitchFamily="34" charset="0"/>
                          <a:ea typeface="+mn-ea"/>
                          <a:cs typeface="+mn-cs"/>
                          <a:sym typeface="Arial"/>
                        </a:rPr>
                        <a:t>4 (4.2)</a:t>
                      </a:r>
                      <a:endParaRPr lang="en-US" sz="1600" b="0" i="0" u="none" strike="noStrike" cap="none">
                        <a:solidFill>
                          <a:schemeClr val="dk1"/>
                        </a:solidFill>
                        <a:effectLst/>
                        <a:latin typeface="Arial Narrow" panose="020B0606020202030204" pitchFamily="34" charset="0"/>
                        <a:ea typeface="+mn-ea"/>
                        <a:cs typeface="+mn-cs"/>
                        <a:sym typeface="Arial"/>
                      </a:endParaRPr>
                    </a:p>
                  </a:txBody>
                  <a:tcPr marT="27432" marB="36576" anchor="b"/>
                </a:tc>
                <a:extLst>
                  <a:ext uri="{0D108BD9-81ED-4DB2-BD59-A6C34878D82A}">
                    <a16:rowId xmlns:a16="http://schemas.microsoft.com/office/drawing/2014/main" val="1979776375"/>
                  </a:ext>
                </a:extLst>
              </a:tr>
              <a:tr h="446580">
                <a:tc>
                  <a:txBody>
                    <a:bodyPr/>
                    <a:lstStyle/>
                    <a:p>
                      <a:pPr algn="l" rtl="0" fontAlgn="base"/>
                      <a:r>
                        <a:rPr lang="en-US" sz="1600" b="1">
                          <a:effectLst/>
                          <a:latin typeface="Arial Narrow" panose="020B0606020202030204" pitchFamily="34" charset="0"/>
                        </a:rPr>
                        <a:t>Median DOR, </a:t>
                      </a:r>
                      <a:r>
                        <a:rPr lang="en-US" sz="1600" b="0">
                          <a:effectLst/>
                          <a:latin typeface="Arial Narrow" panose="020B0606020202030204" pitchFamily="34" charset="0"/>
                        </a:rPr>
                        <a:t>months (95% CI) </a:t>
                      </a:r>
                      <a:endParaRPr lang="en-US" sz="1600" b="0" i="0">
                        <a:effectLst/>
                        <a:latin typeface="Arial Narrow" panose="020B0606020202030204" pitchFamily="34" charset="0"/>
                      </a:endParaRPr>
                    </a:p>
                  </a:txBody>
                  <a:tcPr marR="0" marT="27432" marB="36576" anchor="ctr"/>
                </a:tc>
                <a:tc>
                  <a:txBody>
                    <a:bodyPr/>
                    <a:lstStyle/>
                    <a:p>
                      <a:pPr algn="ctr" rtl="0" fontAlgn="base"/>
                      <a:r>
                        <a:rPr lang="en-US" sz="1600" b="1">
                          <a:effectLst/>
                          <a:latin typeface="Arial Narrow" panose="020B0606020202030204" pitchFamily="34" charset="0"/>
                        </a:rPr>
                        <a:t>7.0</a:t>
                      </a:r>
                      <a:r>
                        <a:rPr lang="en-US" sz="1600" b="0">
                          <a:effectLst/>
                          <a:latin typeface="Arial Narrow" panose="020B0606020202030204" pitchFamily="34" charset="0"/>
                        </a:rPr>
                        <a:t> (4.2</a:t>
                      </a:r>
                      <a:r>
                        <a:rPr lang="en-US" sz="1600" b="0">
                          <a:effectLst/>
                          <a:latin typeface="Arial" panose="020B0604020202020204" pitchFamily="34" charset="0"/>
                          <a:cs typeface="Arial" panose="020B0604020202020204" pitchFamily="34" charset="0"/>
                        </a:rPr>
                        <a:t>–</a:t>
                      </a:r>
                      <a:r>
                        <a:rPr lang="en-US" sz="1600" b="0">
                          <a:effectLst/>
                          <a:latin typeface="Arial Narrow" panose="020B0606020202030204" pitchFamily="34" charset="0"/>
                        </a:rPr>
                        <a:t>9.8) </a:t>
                      </a:r>
                      <a:endParaRPr lang="en-US" sz="1600" b="0" i="0">
                        <a:effectLst/>
                        <a:latin typeface="Arial Narrow" panose="020B0606020202030204" pitchFamily="34" charset="0"/>
                      </a:endParaRPr>
                    </a:p>
                  </a:txBody>
                  <a:tcPr marT="27432" marB="36576" anchor="ctr"/>
                </a:tc>
                <a:tc>
                  <a:txBody>
                    <a:bodyPr/>
                    <a:lstStyle/>
                    <a:p>
                      <a:pPr algn="ctr" rtl="0" fontAlgn="base"/>
                      <a:r>
                        <a:rPr lang="en-US" sz="1600" b="1">
                          <a:effectLst/>
                          <a:latin typeface="Arial Narrow" panose="020B0606020202030204" pitchFamily="34" charset="0"/>
                        </a:rPr>
                        <a:t>6.9 </a:t>
                      </a:r>
                      <a:r>
                        <a:rPr lang="en-US" sz="1600" b="0">
                          <a:effectLst/>
                          <a:latin typeface="Arial Narrow" panose="020B0606020202030204" pitchFamily="34" charset="0"/>
                        </a:rPr>
                        <a:t>(4.2</a:t>
                      </a:r>
                      <a:r>
                        <a:rPr lang="en-US" sz="1600" b="0">
                          <a:effectLst/>
                          <a:latin typeface="Arial" panose="020B0604020202020204" pitchFamily="34" charset="0"/>
                          <a:cs typeface="Arial" panose="020B0604020202020204" pitchFamily="34" charset="0"/>
                        </a:rPr>
                        <a:t>–</a:t>
                      </a:r>
                      <a:r>
                        <a:rPr lang="en-US" sz="1600" b="0">
                          <a:effectLst/>
                          <a:latin typeface="Arial Narrow" panose="020B0606020202030204" pitchFamily="34" charset="0"/>
                        </a:rPr>
                        <a:t>9.8) </a:t>
                      </a:r>
                      <a:endParaRPr lang="en-US" sz="1600" b="0" i="0">
                        <a:effectLst/>
                        <a:latin typeface="Arial Narrow" panose="020B0606020202030204" pitchFamily="34" charset="0"/>
                      </a:endParaRPr>
                    </a:p>
                  </a:txBody>
                  <a:tcPr marT="27432" marB="36576" anchor="ctr"/>
                </a:tc>
                <a:extLst>
                  <a:ext uri="{0D108BD9-81ED-4DB2-BD59-A6C34878D82A}">
                    <a16:rowId xmlns:a16="http://schemas.microsoft.com/office/drawing/2014/main" val="3000635443"/>
                  </a:ext>
                </a:extLst>
              </a:tr>
              <a:tr h="575053">
                <a:tc>
                  <a:txBody>
                    <a:bodyPr/>
                    <a:lstStyle/>
                    <a:p>
                      <a:pPr algn="l" rtl="0" fontAlgn="base"/>
                      <a:r>
                        <a:rPr lang="en-US" sz="1600" b="1" dirty="0">
                          <a:effectLst/>
                          <a:latin typeface="Arial Narrow" panose="020B0606020202030204" pitchFamily="34" charset="0"/>
                        </a:rPr>
                        <a:t>DCR,</a:t>
                      </a:r>
                      <a:r>
                        <a:rPr lang="en-US" sz="1600" b="0" baseline="30000" dirty="0">
                          <a:effectLst/>
                          <a:latin typeface="Arial Narrow" panose="020B0606020202030204" pitchFamily="34" charset="0"/>
                        </a:rPr>
                        <a:t>b</a:t>
                      </a:r>
                      <a:r>
                        <a:rPr lang="en-US" sz="1600" b="1" dirty="0">
                          <a:effectLst/>
                          <a:latin typeface="Arial Narrow" panose="020B0606020202030204" pitchFamily="34" charset="0"/>
                        </a:rPr>
                        <a:t> </a:t>
                      </a:r>
                      <a:r>
                        <a:rPr lang="en-US" sz="1600" b="0" dirty="0">
                          <a:solidFill>
                            <a:srgbClr val="000000"/>
                          </a:solidFill>
                          <a:latin typeface="Arial Narrow" panose="020B0606020202030204" pitchFamily="34" charset="0"/>
                        </a:rPr>
                        <a:t>n (%) </a:t>
                      </a:r>
                      <a:br>
                        <a:rPr lang="en-US" sz="1600" b="0" dirty="0">
                          <a:solidFill>
                            <a:srgbClr val="000000"/>
                          </a:solidFill>
                          <a:latin typeface="Arial Narrow" panose="020B0606020202030204" pitchFamily="34" charset="0"/>
                        </a:rPr>
                      </a:br>
                      <a:r>
                        <a:rPr lang="en-US" sz="1600" b="0" baseline="0" dirty="0">
                          <a:solidFill>
                            <a:srgbClr val="000000"/>
                          </a:solidFill>
                          <a:latin typeface="Arial Narrow" panose="020B0606020202030204" pitchFamily="34" charset="0"/>
                        </a:rPr>
                        <a:t>[95% CI]</a:t>
                      </a:r>
                      <a:endParaRPr lang="en-US" sz="1600" b="1" i="0" dirty="0">
                        <a:effectLst/>
                        <a:latin typeface="Arial Narrow" panose="020B0606020202030204" pitchFamily="34" charset="0"/>
                      </a:endParaRPr>
                    </a:p>
                  </a:txBody>
                  <a:tcPr marR="0" marT="27432" marB="36576" anchor="ctr"/>
                </a:tc>
                <a:tc>
                  <a:txBody>
                    <a:bodyPr/>
                    <a:lstStyle/>
                    <a:p>
                      <a:pPr algn="ctr" rtl="0" fontAlgn="base"/>
                      <a:r>
                        <a:rPr lang="en-US" sz="1600" b="0" dirty="0">
                          <a:effectLst/>
                          <a:latin typeface="Arial Narrow" panose="020B0606020202030204" pitchFamily="34" charset="0"/>
                        </a:rPr>
                        <a:t>101 (</a:t>
                      </a:r>
                      <a:r>
                        <a:rPr lang="en-US" sz="1600" b="1" dirty="0">
                          <a:effectLst/>
                          <a:latin typeface="Arial Narrow" panose="020B0606020202030204" pitchFamily="34" charset="0"/>
                        </a:rPr>
                        <a:t>86.3</a:t>
                      </a:r>
                      <a:r>
                        <a:rPr lang="en-US" sz="1600" b="0" dirty="0">
                          <a:effectLst/>
                          <a:latin typeface="Arial Narrow" panose="020B0606020202030204" pitchFamily="34" charset="0"/>
                        </a:rPr>
                        <a:t>) </a:t>
                      </a:r>
                      <a:br>
                        <a:rPr lang="en-US" sz="1600" b="0" dirty="0">
                          <a:effectLst/>
                          <a:latin typeface="Arial Narrow" panose="020B0606020202030204" pitchFamily="34" charset="0"/>
                        </a:rPr>
                      </a:br>
                      <a:r>
                        <a:rPr lang="en-US" sz="1600" b="0" dirty="0">
                          <a:effectLst/>
                          <a:latin typeface="Arial Narrow" panose="020B0606020202030204" pitchFamily="34" charset="0"/>
                        </a:rPr>
                        <a:t>[78.7</a:t>
                      </a:r>
                      <a:r>
                        <a:rPr lang="en-US" sz="1600" b="0" dirty="0">
                          <a:effectLst/>
                          <a:latin typeface="Arial" panose="020B0604020202020204" pitchFamily="34" charset="0"/>
                          <a:cs typeface="Arial" panose="020B0604020202020204" pitchFamily="34" charset="0"/>
                        </a:rPr>
                        <a:t>–</a:t>
                      </a:r>
                      <a:r>
                        <a:rPr lang="en-US" sz="1600" b="0" dirty="0">
                          <a:effectLst/>
                          <a:latin typeface="Arial Narrow" panose="020B0606020202030204" pitchFamily="34" charset="0"/>
                        </a:rPr>
                        <a:t>92.0]</a:t>
                      </a:r>
                      <a:endParaRPr lang="en-US" sz="1600" b="0" i="0" dirty="0">
                        <a:effectLst/>
                        <a:latin typeface="Arial Narrow" panose="020B0606020202030204" pitchFamily="34" charset="0"/>
                      </a:endParaRPr>
                    </a:p>
                  </a:txBody>
                  <a:tcPr marT="27432" marB="36576" anchor="ctr"/>
                </a:tc>
                <a:tc>
                  <a:txBody>
                    <a:bodyPr/>
                    <a:lstStyle/>
                    <a:p>
                      <a:pPr algn="ctr" rtl="0" fontAlgn="base"/>
                      <a:r>
                        <a:rPr lang="en-US" sz="1600" b="0">
                          <a:effectLst/>
                          <a:latin typeface="Arial Narrow" panose="020B0606020202030204" pitchFamily="34" charset="0"/>
                        </a:rPr>
                        <a:t>82 (</a:t>
                      </a:r>
                      <a:r>
                        <a:rPr lang="en-US" sz="1600" b="1">
                          <a:effectLst/>
                          <a:latin typeface="Arial Narrow" panose="020B0606020202030204" pitchFamily="34" charset="0"/>
                        </a:rPr>
                        <a:t>85.4</a:t>
                      </a:r>
                      <a:r>
                        <a:rPr lang="en-US" sz="1600" b="0">
                          <a:effectLst/>
                          <a:latin typeface="Arial Narrow" panose="020B0606020202030204" pitchFamily="34" charset="0"/>
                        </a:rPr>
                        <a:t>) </a:t>
                      </a:r>
                      <a:br>
                        <a:rPr lang="en-US" sz="1600" b="0">
                          <a:effectLst/>
                          <a:latin typeface="Arial Narrow" panose="020B0606020202030204" pitchFamily="34" charset="0"/>
                        </a:rPr>
                      </a:br>
                      <a:r>
                        <a:rPr lang="en-US" sz="1600" b="0">
                          <a:effectLst/>
                          <a:latin typeface="Arial Narrow" panose="020B0606020202030204" pitchFamily="34" charset="0"/>
                        </a:rPr>
                        <a:t>[76.7</a:t>
                      </a:r>
                      <a:r>
                        <a:rPr lang="en-US" sz="1600" b="0">
                          <a:effectLst/>
                          <a:latin typeface="Arial" panose="020B0604020202020204" pitchFamily="34" charset="0"/>
                          <a:cs typeface="Arial" panose="020B0604020202020204" pitchFamily="34" charset="0"/>
                        </a:rPr>
                        <a:t>–</a:t>
                      </a:r>
                      <a:r>
                        <a:rPr lang="en-US" sz="1600" b="0">
                          <a:effectLst/>
                          <a:latin typeface="Arial Narrow" panose="020B0606020202030204" pitchFamily="34" charset="0"/>
                        </a:rPr>
                        <a:t>91.8]</a:t>
                      </a:r>
                      <a:endParaRPr lang="en-US" sz="1600" b="0" i="0">
                        <a:effectLst/>
                        <a:latin typeface="Arial Narrow" panose="020B0606020202030204" pitchFamily="34" charset="0"/>
                      </a:endParaRPr>
                    </a:p>
                  </a:txBody>
                  <a:tcPr marT="27432" marB="36576" anchor="ctr"/>
                </a:tc>
                <a:extLst>
                  <a:ext uri="{0D108BD9-81ED-4DB2-BD59-A6C34878D82A}">
                    <a16:rowId xmlns:a16="http://schemas.microsoft.com/office/drawing/2014/main" val="3737690913"/>
                  </a:ext>
                </a:extLst>
              </a:tr>
              <a:tr h="429870">
                <a:tc>
                  <a:txBody>
                    <a:bodyPr/>
                    <a:lstStyle/>
                    <a:p>
                      <a:pPr algn="l" rtl="0" fontAlgn="base"/>
                      <a:r>
                        <a:rPr lang="en-US" sz="1600" b="1" i="0">
                          <a:effectLst/>
                          <a:latin typeface="Arial Narrow" panose="020B0606020202030204" pitchFamily="34" charset="0"/>
                        </a:rPr>
                        <a:t>Median PFS</a:t>
                      </a:r>
                      <a:r>
                        <a:rPr lang="en-US" sz="1600" b="1">
                          <a:effectLst/>
                          <a:latin typeface="Arial Narrow" panose="020B0606020202030204" pitchFamily="34" charset="0"/>
                        </a:rPr>
                        <a:t>, </a:t>
                      </a:r>
                      <a:r>
                        <a:rPr lang="en-US" sz="1600" b="0">
                          <a:effectLst/>
                          <a:latin typeface="Arial Narrow" panose="020B0606020202030204" pitchFamily="34" charset="0"/>
                        </a:rPr>
                        <a:t>months (95% CI) </a:t>
                      </a:r>
                      <a:endParaRPr lang="en-US" sz="1600" b="1" i="0">
                        <a:effectLst/>
                        <a:latin typeface="Arial Narrow" panose="020B0606020202030204" pitchFamily="34" charset="0"/>
                      </a:endParaRPr>
                    </a:p>
                  </a:txBody>
                  <a:tcPr marR="0" marT="27432" marB="36576" anchor="ctr"/>
                </a:tc>
                <a:tc>
                  <a:txBody>
                    <a:bodyPr/>
                    <a:lstStyle/>
                    <a:p>
                      <a:pPr marL="0" marR="0" lvl="0" indent="0" algn="ctr" defTabSz="914400" rtl="0" eaLnBrk="1" fontAlgn="base" latinLnBrk="0" hangingPunct="1">
                        <a:lnSpc>
                          <a:spcPct val="100000"/>
                        </a:lnSpc>
                        <a:spcBef>
                          <a:spcPts val="0"/>
                        </a:spcBef>
                        <a:spcAft>
                          <a:spcPts val="0"/>
                        </a:spcAft>
                        <a:buClr>
                          <a:srgbClr val="000000"/>
                        </a:buClr>
                        <a:buSzTx/>
                        <a:buFont typeface="Arial"/>
                        <a:buNone/>
                        <a:tabLst/>
                        <a:defRPr/>
                      </a:pPr>
                      <a:r>
                        <a:rPr lang="en-US" sz="1600" b="1">
                          <a:effectLst/>
                          <a:latin typeface="Arial Narrow" panose="020B0606020202030204" pitchFamily="34" charset="0"/>
                        </a:rPr>
                        <a:t>5.8</a:t>
                      </a:r>
                      <a:r>
                        <a:rPr lang="en-US" sz="1600" b="0">
                          <a:effectLst/>
                          <a:latin typeface="Arial Narrow" panose="020B0606020202030204" pitchFamily="34" charset="0"/>
                        </a:rPr>
                        <a:t> (5.4</a:t>
                      </a:r>
                      <a:r>
                        <a:rPr lang="en-US" sz="1600" b="0">
                          <a:effectLst/>
                          <a:latin typeface="Arial" panose="020B0604020202020204" pitchFamily="34" charset="0"/>
                          <a:cs typeface="Arial" panose="020B0604020202020204" pitchFamily="34" charset="0"/>
                        </a:rPr>
                        <a:t>–</a:t>
                      </a:r>
                      <a:r>
                        <a:rPr lang="en-US" sz="1600" b="0">
                          <a:effectLst/>
                          <a:latin typeface="Arial Narrow" panose="020B0606020202030204" pitchFamily="34" charset="0"/>
                        </a:rPr>
                        <a:t>8.2) </a:t>
                      </a:r>
                      <a:endParaRPr lang="en-US" sz="1600" b="0" i="0">
                        <a:effectLst/>
                        <a:latin typeface="Arial Narrow" panose="020B0606020202030204" pitchFamily="34" charset="0"/>
                      </a:endParaRPr>
                    </a:p>
                  </a:txBody>
                  <a:tcPr marT="27432" marB="36576" anchor="ctr"/>
                </a:tc>
                <a:tc>
                  <a:txBody>
                    <a:bodyPr/>
                    <a:lstStyle/>
                    <a:p>
                      <a:pPr marL="0" marR="0" lvl="0" indent="0" algn="ctr" defTabSz="914400" rtl="0" eaLnBrk="1" fontAlgn="base" latinLnBrk="0" hangingPunct="1">
                        <a:lnSpc>
                          <a:spcPct val="100000"/>
                        </a:lnSpc>
                        <a:spcBef>
                          <a:spcPts val="0"/>
                        </a:spcBef>
                        <a:spcAft>
                          <a:spcPts val="0"/>
                        </a:spcAft>
                        <a:buClr>
                          <a:srgbClr val="000000"/>
                        </a:buClr>
                        <a:buSzTx/>
                        <a:buFont typeface="Arial"/>
                        <a:buNone/>
                        <a:tabLst/>
                        <a:defRPr/>
                      </a:pPr>
                      <a:r>
                        <a:rPr lang="en-US" sz="1600" b="1">
                          <a:solidFill>
                            <a:schemeClr val="tx1"/>
                          </a:solidFill>
                          <a:effectLst/>
                          <a:latin typeface="Arial Narrow" panose="020B0606020202030204" pitchFamily="34" charset="0"/>
                        </a:rPr>
                        <a:t>5.7</a:t>
                      </a:r>
                      <a:r>
                        <a:rPr lang="en-US" sz="1600" b="0">
                          <a:solidFill>
                            <a:schemeClr val="tx1"/>
                          </a:solidFill>
                          <a:effectLst/>
                          <a:latin typeface="Arial Narrow" panose="020B0606020202030204" pitchFamily="34" charset="0"/>
                        </a:rPr>
                        <a:t> (5.4</a:t>
                      </a:r>
                      <a:r>
                        <a:rPr lang="en-US" sz="1600" b="0">
                          <a:effectLst/>
                          <a:latin typeface="Arial" panose="020B0604020202020204" pitchFamily="34" charset="0"/>
                          <a:cs typeface="Arial" panose="020B0604020202020204" pitchFamily="34" charset="0"/>
                        </a:rPr>
                        <a:t>–</a:t>
                      </a:r>
                      <a:r>
                        <a:rPr lang="en-US" sz="1600" b="0">
                          <a:solidFill>
                            <a:schemeClr val="tx1"/>
                          </a:solidFill>
                          <a:effectLst/>
                          <a:latin typeface="Arial Narrow" panose="020B0606020202030204" pitchFamily="34" charset="0"/>
                        </a:rPr>
                        <a:t>7.9) </a:t>
                      </a:r>
                      <a:endParaRPr lang="en-US" sz="1600" b="0" i="0">
                        <a:solidFill>
                          <a:schemeClr val="tx1"/>
                        </a:solidFill>
                        <a:effectLst/>
                        <a:latin typeface="Arial Narrow" panose="020B0606020202030204" pitchFamily="34" charset="0"/>
                      </a:endParaRPr>
                    </a:p>
                  </a:txBody>
                  <a:tcPr marT="27432" marB="36576" anchor="ctr"/>
                </a:tc>
                <a:extLst>
                  <a:ext uri="{0D108BD9-81ED-4DB2-BD59-A6C34878D82A}">
                    <a16:rowId xmlns:a16="http://schemas.microsoft.com/office/drawing/2014/main" val="4269153342"/>
                  </a:ext>
                </a:extLst>
              </a:tr>
              <a:tr h="429870">
                <a:tc>
                  <a:txBody>
                    <a:bodyPr/>
                    <a:lstStyle/>
                    <a:p>
                      <a:pPr algn="l" rtl="0" fontAlgn="base"/>
                      <a:r>
                        <a:rPr lang="en-US" sz="1600" b="1" i="0">
                          <a:effectLst/>
                          <a:latin typeface="Arial Narrow" panose="020B0606020202030204" pitchFamily="34" charset="0"/>
                        </a:rPr>
                        <a:t>Median OS</a:t>
                      </a:r>
                      <a:r>
                        <a:rPr lang="en-US" sz="1600" b="1">
                          <a:effectLst/>
                          <a:latin typeface="Arial Narrow" panose="020B0606020202030204" pitchFamily="34" charset="0"/>
                        </a:rPr>
                        <a:t>, </a:t>
                      </a:r>
                      <a:r>
                        <a:rPr lang="en-US" sz="1600" b="0">
                          <a:effectLst/>
                          <a:latin typeface="Arial Narrow" panose="020B0606020202030204" pitchFamily="34" charset="0"/>
                        </a:rPr>
                        <a:t>months (95% CI) </a:t>
                      </a:r>
                      <a:endParaRPr lang="en-US" sz="1600" b="1" i="0">
                        <a:effectLst/>
                        <a:latin typeface="Arial Narrow" panose="020B0606020202030204" pitchFamily="34" charset="0"/>
                      </a:endParaRPr>
                    </a:p>
                  </a:txBody>
                  <a:tcPr marR="0" marT="27432" marB="36576" anchor="ctr"/>
                </a:tc>
                <a:tc>
                  <a:txBody>
                    <a:bodyPr/>
                    <a:lstStyle/>
                    <a:p>
                      <a:pPr marL="0" marR="0" lvl="0" indent="0" algn="ctr" defTabSz="914400" rtl="0" eaLnBrk="1" fontAlgn="base" latinLnBrk="0" hangingPunct="1">
                        <a:lnSpc>
                          <a:spcPct val="100000"/>
                        </a:lnSpc>
                        <a:spcBef>
                          <a:spcPts val="0"/>
                        </a:spcBef>
                        <a:spcAft>
                          <a:spcPts val="0"/>
                        </a:spcAft>
                        <a:buClr>
                          <a:srgbClr val="000000"/>
                        </a:buClr>
                        <a:buSzTx/>
                        <a:buFont typeface="Arial"/>
                        <a:buNone/>
                        <a:tabLst/>
                        <a:defRPr/>
                      </a:pPr>
                      <a:r>
                        <a:rPr lang="en-US" sz="1600" b="1">
                          <a:effectLst/>
                          <a:latin typeface="Arial Narrow" panose="020B0606020202030204" pitchFamily="34" charset="0"/>
                        </a:rPr>
                        <a:t>15.6 </a:t>
                      </a:r>
                      <a:r>
                        <a:rPr lang="en-US" sz="1600" b="0">
                          <a:effectLst/>
                          <a:latin typeface="Arial Narrow" panose="020B0606020202030204" pitchFamily="34" charset="0"/>
                        </a:rPr>
                        <a:t>(13.1</a:t>
                      </a:r>
                      <a:r>
                        <a:rPr lang="en-US" sz="1600" b="0">
                          <a:effectLst/>
                          <a:latin typeface="Arial" panose="020B0604020202020204" pitchFamily="34" charset="0"/>
                          <a:cs typeface="Arial" panose="020B0604020202020204" pitchFamily="34" charset="0"/>
                        </a:rPr>
                        <a:t>–</a:t>
                      </a:r>
                      <a:r>
                        <a:rPr lang="en-US" sz="1600" b="0">
                          <a:effectLst/>
                          <a:latin typeface="Arial Narrow" panose="020B0606020202030204" pitchFamily="34" charset="0"/>
                        </a:rPr>
                        <a:t>19.0) </a:t>
                      </a:r>
                      <a:endParaRPr lang="en-US" sz="1600" b="0" i="0">
                        <a:effectLst/>
                        <a:latin typeface="Arial Narrow" panose="020B0606020202030204" pitchFamily="34" charset="0"/>
                      </a:endParaRPr>
                    </a:p>
                  </a:txBody>
                  <a:tcPr marT="27432" marB="36576" anchor="ctr"/>
                </a:tc>
                <a:tc>
                  <a:txBody>
                    <a:bodyPr/>
                    <a:lstStyle/>
                    <a:p>
                      <a:pPr marL="0" marR="0" lvl="0" indent="0" algn="ctr" defTabSz="914400" rtl="0" eaLnBrk="1" fontAlgn="base" latinLnBrk="0" hangingPunct="1">
                        <a:lnSpc>
                          <a:spcPct val="100000"/>
                        </a:lnSpc>
                        <a:spcBef>
                          <a:spcPts val="0"/>
                        </a:spcBef>
                        <a:spcAft>
                          <a:spcPts val="0"/>
                        </a:spcAft>
                        <a:buClr>
                          <a:srgbClr val="000000"/>
                        </a:buClr>
                        <a:buSzTx/>
                        <a:buFont typeface="Arial"/>
                        <a:buNone/>
                        <a:tabLst/>
                        <a:defRPr/>
                      </a:pPr>
                      <a:r>
                        <a:rPr lang="en-US" sz="1600" b="1" dirty="0">
                          <a:solidFill>
                            <a:schemeClr val="tx1"/>
                          </a:solidFill>
                          <a:effectLst/>
                          <a:latin typeface="Arial Narrow" panose="020B0606020202030204" pitchFamily="34" charset="0"/>
                        </a:rPr>
                        <a:t>14.7 </a:t>
                      </a:r>
                      <a:r>
                        <a:rPr lang="en-US" sz="1600" b="0" dirty="0">
                          <a:solidFill>
                            <a:schemeClr val="tx1"/>
                          </a:solidFill>
                          <a:effectLst/>
                          <a:latin typeface="Arial Narrow" panose="020B0606020202030204" pitchFamily="34" charset="0"/>
                        </a:rPr>
                        <a:t>(13.0</a:t>
                      </a:r>
                      <a:r>
                        <a:rPr lang="en-US" sz="1600" b="0" dirty="0">
                          <a:effectLst/>
                          <a:latin typeface="Arial" panose="020B0604020202020204" pitchFamily="34" charset="0"/>
                          <a:cs typeface="Arial" panose="020B0604020202020204" pitchFamily="34" charset="0"/>
                        </a:rPr>
                        <a:t>–</a:t>
                      </a:r>
                      <a:r>
                        <a:rPr lang="en-US" sz="1600" b="0" dirty="0">
                          <a:solidFill>
                            <a:schemeClr val="tx1"/>
                          </a:solidFill>
                          <a:effectLst/>
                          <a:latin typeface="Arial Narrow" panose="020B0606020202030204" pitchFamily="34" charset="0"/>
                        </a:rPr>
                        <a:t>18.3)</a:t>
                      </a:r>
                      <a:endParaRPr lang="en-US" sz="1600" b="0" i="0" dirty="0">
                        <a:solidFill>
                          <a:schemeClr val="tx1"/>
                        </a:solidFill>
                        <a:effectLst/>
                        <a:latin typeface="Arial Narrow" panose="020B0606020202030204" pitchFamily="34" charset="0"/>
                      </a:endParaRPr>
                    </a:p>
                  </a:txBody>
                  <a:tcPr marT="27432" marB="36576" anchor="ctr"/>
                </a:tc>
                <a:extLst>
                  <a:ext uri="{0D108BD9-81ED-4DB2-BD59-A6C34878D82A}">
                    <a16:rowId xmlns:a16="http://schemas.microsoft.com/office/drawing/2014/main" val="586561460"/>
                  </a:ext>
                </a:extLst>
              </a:tr>
            </a:tbl>
          </a:graphicData>
        </a:graphic>
      </p:graphicFrame>
      <p:pic>
        <p:nvPicPr>
          <p:cNvPr id="4" name="Picture 3">
            <a:extLst>
              <a:ext uri="{FF2B5EF4-FFF2-40B4-BE49-F238E27FC236}">
                <a16:creationId xmlns:a16="http://schemas.microsoft.com/office/drawing/2014/main" id="{AD7C3E82-8563-4E46-320E-9E401948EE67}"/>
              </a:ext>
            </a:extLst>
          </p:cNvPr>
          <p:cNvPicPr>
            <a:picLocks noChangeAspect="1"/>
          </p:cNvPicPr>
          <p:nvPr/>
        </p:nvPicPr>
        <p:blipFill>
          <a:blip r:embed="rId3"/>
          <a:stretch>
            <a:fillRect/>
          </a:stretch>
        </p:blipFill>
        <p:spPr>
          <a:xfrm>
            <a:off x="220663" y="6363204"/>
            <a:ext cx="1474788" cy="397890"/>
          </a:xfrm>
          <a:prstGeom prst="rect">
            <a:avLst/>
          </a:prstGeom>
        </p:spPr>
      </p:pic>
      <p:pic>
        <p:nvPicPr>
          <p:cNvPr id="8" name="Picture 7">
            <a:extLst>
              <a:ext uri="{FF2B5EF4-FFF2-40B4-BE49-F238E27FC236}">
                <a16:creationId xmlns:a16="http://schemas.microsoft.com/office/drawing/2014/main" id="{24544F11-7436-3F73-BAD8-06A7D1EE855C}"/>
              </a:ext>
            </a:extLst>
          </p:cNvPr>
          <p:cNvPicPr>
            <a:picLocks noChangeAspect="1"/>
          </p:cNvPicPr>
          <p:nvPr/>
        </p:nvPicPr>
        <p:blipFill>
          <a:blip r:embed="rId4"/>
          <a:stretch>
            <a:fillRect/>
          </a:stretch>
        </p:blipFill>
        <p:spPr>
          <a:xfrm>
            <a:off x="0" y="-16164"/>
            <a:ext cx="12192000" cy="317985"/>
          </a:xfrm>
          <a:prstGeom prst="rect">
            <a:avLst/>
          </a:prstGeom>
        </p:spPr>
      </p:pic>
      <p:sp>
        <p:nvSpPr>
          <p:cNvPr id="9" name="TextBox 8">
            <a:extLst>
              <a:ext uri="{FF2B5EF4-FFF2-40B4-BE49-F238E27FC236}">
                <a16:creationId xmlns:a16="http://schemas.microsoft.com/office/drawing/2014/main" id="{018DD786-DD3C-DE07-35DA-9C43F8450E84}"/>
              </a:ext>
            </a:extLst>
          </p:cNvPr>
          <p:cNvSpPr txBox="1"/>
          <p:nvPr/>
        </p:nvSpPr>
        <p:spPr>
          <a:xfrm>
            <a:off x="1701912" y="6238983"/>
            <a:ext cx="368617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hn et al. ESMO Asia 2024; Ahn et al. J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horac</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Oncol 2025</a:t>
            </a:r>
          </a:p>
        </p:txBody>
      </p:sp>
    </p:spTree>
    <p:extLst>
      <p:ext uri="{BB962C8B-B14F-4D97-AF65-F5344CB8AC3E}">
        <p14:creationId xmlns:p14="http://schemas.microsoft.com/office/powerpoint/2010/main" val="20191457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4E690-EDB5-F209-FEB7-8D8BD3336ADB}"/>
              </a:ext>
            </a:extLst>
          </p:cNvPr>
          <p:cNvSpPr>
            <a:spLocks noGrp="1"/>
          </p:cNvSpPr>
          <p:nvPr>
            <p:ph type="title"/>
          </p:nvPr>
        </p:nvSpPr>
        <p:spPr>
          <a:xfrm>
            <a:off x="749091" y="246512"/>
            <a:ext cx="10515600" cy="780184"/>
          </a:xfrm>
        </p:spPr>
        <p:txBody>
          <a:bodyPr/>
          <a:lstStyle/>
          <a:p>
            <a:r>
              <a:rPr lang="en-US" dirty="0" err="1"/>
              <a:t>Datopotamab</a:t>
            </a:r>
            <a:r>
              <a:rPr lang="en-US" dirty="0"/>
              <a:t> </a:t>
            </a:r>
            <a:r>
              <a:rPr lang="en-US" dirty="0" err="1"/>
              <a:t>deruxtecan</a:t>
            </a:r>
            <a:r>
              <a:rPr lang="en-US" dirty="0"/>
              <a:t> (Dato-</a:t>
            </a:r>
            <a:r>
              <a:rPr lang="en-US" dirty="0" err="1"/>
              <a:t>DXd</a:t>
            </a:r>
            <a:r>
              <a:rPr lang="en-US" dirty="0"/>
              <a:t>)</a:t>
            </a:r>
          </a:p>
        </p:txBody>
      </p:sp>
      <p:pic>
        <p:nvPicPr>
          <p:cNvPr id="8" name="Picture 7">
            <a:extLst>
              <a:ext uri="{FF2B5EF4-FFF2-40B4-BE49-F238E27FC236}">
                <a16:creationId xmlns:a16="http://schemas.microsoft.com/office/drawing/2014/main" id="{DF7CA466-6446-F2E2-847F-B7EF6E18A75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006891" y="1737474"/>
            <a:ext cx="5932839" cy="3383051"/>
          </a:xfrm>
          <a:prstGeom prst="rect">
            <a:avLst/>
          </a:prstGeom>
          <a:ln>
            <a:solidFill>
              <a:schemeClr val="tx1"/>
            </a:solidFill>
          </a:ln>
        </p:spPr>
      </p:pic>
      <p:pic>
        <p:nvPicPr>
          <p:cNvPr id="10" name="Picture 9">
            <a:extLst>
              <a:ext uri="{FF2B5EF4-FFF2-40B4-BE49-F238E27FC236}">
                <a16:creationId xmlns:a16="http://schemas.microsoft.com/office/drawing/2014/main" id="{3A42BC4C-13DD-3913-67F5-71CD329A6EA3}"/>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92364" y="1003046"/>
            <a:ext cx="5827982" cy="5273964"/>
          </a:xfrm>
          <a:prstGeom prst="rect">
            <a:avLst/>
          </a:prstGeom>
          <a:ln>
            <a:solidFill>
              <a:schemeClr val="tx1"/>
            </a:solidFill>
          </a:ln>
        </p:spPr>
      </p:pic>
      <p:sp>
        <p:nvSpPr>
          <p:cNvPr id="12" name="TextBox 11">
            <a:extLst>
              <a:ext uri="{FF2B5EF4-FFF2-40B4-BE49-F238E27FC236}">
                <a16:creationId xmlns:a16="http://schemas.microsoft.com/office/drawing/2014/main" id="{74FE59C6-65B1-F770-056F-3F2A9B0F3314}"/>
              </a:ext>
            </a:extLst>
          </p:cNvPr>
          <p:cNvSpPr txBox="1"/>
          <p:nvPr/>
        </p:nvSpPr>
        <p:spPr>
          <a:xfrm>
            <a:off x="2071834" y="6391762"/>
            <a:ext cx="40241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30000" noProof="0" dirty="0" err="1">
                <a:ln>
                  <a:noFill/>
                </a:ln>
                <a:solidFill>
                  <a:prstClr val="black"/>
                </a:solidFill>
                <a:effectLst/>
                <a:uLnTx/>
                <a:uFillTx/>
                <a:latin typeface="Arial Narrow" panose="020B0606020202030204" pitchFamily="34" charset="0"/>
                <a:ea typeface="+mn-ea"/>
                <a:cs typeface="Arial" panose="020B0604020202020204" pitchFamily="34" charset="0"/>
              </a:rPr>
              <a:t>b</a:t>
            </a:r>
            <a:r>
              <a:rPr kumimoji="0" lang="en-US" sz="1800" b="0"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Arial" panose="020B0604020202020204" pitchFamily="34" charset="0"/>
              </a:rPr>
              <a:t>No</a:t>
            </a:r>
            <a:r>
              <a:rPr kumimoji="0" lang="en-US"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grade 4 or 5 events occurred</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086AE875-C9FA-26FA-9577-834CA77C975B}"/>
              </a:ext>
            </a:extLst>
          </p:cNvPr>
          <p:cNvPicPr>
            <a:picLocks noChangeAspect="1"/>
          </p:cNvPicPr>
          <p:nvPr/>
        </p:nvPicPr>
        <p:blipFill>
          <a:blip r:embed="rId6"/>
          <a:stretch>
            <a:fillRect/>
          </a:stretch>
        </p:blipFill>
        <p:spPr>
          <a:xfrm>
            <a:off x="220663" y="6363204"/>
            <a:ext cx="1474788" cy="397890"/>
          </a:xfrm>
          <a:prstGeom prst="rect">
            <a:avLst/>
          </a:prstGeom>
        </p:spPr>
      </p:pic>
      <p:pic>
        <p:nvPicPr>
          <p:cNvPr id="5" name="Picture 4">
            <a:extLst>
              <a:ext uri="{FF2B5EF4-FFF2-40B4-BE49-F238E27FC236}">
                <a16:creationId xmlns:a16="http://schemas.microsoft.com/office/drawing/2014/main" id="{071B1219-7CAE-D93D-AA6F-2E76BBA11DB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48066" y="6429306"/>
            <a:ext cx="1617582" cy="368564"/>
          </a:xfrm>
          <a:prstGeom prst="rect">
            <a:avLst/>
          </a:prstGeom>
        </p:spPr>
      </p:pic>
      <p:pic>
        <p:nvPicPr>
          <p:cNvPr id="6" name="Picture 5">
            <a:extLst>
              <a:ext uri="{FF2B5EF4-FFF2-40B4-BE49-F238E27FC236}">
                <a16:creationId xmlns:a16="http://schemas.microsoft.com/office/drawing/2014/main" id="{A04EE0B8-E7AA-6D32-324D-136CDEA5FEC4}"/>
              </a:ext>
            </a:extLst>
          </p:cNvPr>
          <p:cNvPicPr>
            <a:picLocks noChangeAspect="1"/>
          </p:cNvPicPr>
          <p:nvPr/>
        </p:nvPicPr>
        <p:blipFill>
          <a:blip r:embed="rId8"/>
          <a:stretch>
            <a:fillRect/>
          </a:stretch>
        </p:blipFill>
        <p:spPr>
          <a:xfrm>
            <a:off x="0" y="-16164"/>
            <a:ext cx="12192000" cy="317985"/>
          </a:xfrm>
          <a:prstGeom prst="rect">
            <a:avLst/>
          </a:prstGeom>
        </p:spPr>
      </p:pic>
      <p:sp>
        <p:nvSpPr>
          <p:cNvPr id="3" name="TextBox 2">
            <a:extLst>
              <a:ext uri="{FF2B5EF4-FFF2-40B4-BE49-F238E27FC236}">
                <a16:creationId xmlns:a16="http://schemas.microsoft.com/office/drawing/2014/main" id="{9530EF82-43F6-8FD9-A59C-95E1F620D7DC}"/>
              </a:ext>
            </a:extLst>
          </p:cNvPr>
          <p:cNvSpPr txBox="1"/>
          <p:nvPr/>
        </p:nvSpPr>
        <p:spPr>
          <a:xfrm>
            <a:off x="8908004" y="5774932"/>
            <a:ext cx="3057644"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hn et al. ESMO Asia 2024; Ahn et al. J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horac</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Oncol 2025</a:t>
            </a:r>
          </a:p>
        </p:txBody>
      </p:sp>
    </p:spTree>
    <p:extLst>
      <p:ext uri="{BB962C8B-B14F-4D97-AF65-F5344CB8AC3E}">
        <p14:creationId xmlns:p14="http://schemas.microsoft.com/office/powerpoint/2010/main" val="34280599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Research To Practice President Neil Love, MD —Disclosures</a:t>
            </a:r>
          </a:p>
        </p:txBody>
      </p:sp>
      <p:sp>
        <p:nvSpPr>
          <p:cNvPr id="6" name="Content Placeholder 2">
            <a:extLst>
              <a:ext uri="{FF2B5EF4-FFF2-40B4-BE49-F238E27FC236}">
                <a16:creationId xmlns:a16="http://schemas.microsoft.com/office/drawing/2014/main" id="{CDE0B523-DC14-3BCC-7832-17E26722FB0E}"/>
              </a:ext>
            </a:extLst>
          </p:cNvPr>
          <p:cNvSpPr>
            <a:spLocks noGrp="1"/>
          </p:cNvSpPr>
          <p:nvPr>
            <p:ph idx="1"/>
          </p:nvPr>
        </p:nvSpPr>
        <p:spPr>
          <a:xfrm>
            <a:off x="563255" y="1124744"/>
            <a:ext cx="11005353" cy="4799013"/>
          </a:xfrm>
        </p:spPr>
        <p:txBody>
          <a:bodyPr/>
          <a:lstStyle/>
          <a:p>
            <a:pPr marL="98425" indent="0">
              <a:lnSpc>
                <a:spcPct val="100000"/>
              </a:lnSpc>
              <a:buNone/>
            </a:pPr>
            <a:r>
              <a:rPr lang="en-US" sz="1850" dirty="0"/>
              <a:t>Dr Love </a:t>
            </a:r>
            <a:r>
              <a:rPr lang="en-US" sz="1850" b="0" dirty="0"/>
              <a:t>is president and CEO of Research To Practice. Research To Practice receives funds in the form of educational grants to develop CME activities from the following companies: Aadi Bioscience, AbbVie Inc, ADC Therapeutics, </a:t>
            </a:r>
            <a:r>
              <a:rPr lang="en-US" sz="1850" b="0" dirty="0" err="1"/>
              <a:t>Agendia</a:t>
            </a:r>
            <a:r>
              <a:rPr lang="en-US" sz="1850" b="0" dirty="0"/>
              <a:t> Inc, Alexion Pharmaceuticals, Amgen Inc, Array BioPharma Inc, a subsidiary of Pfizer Inc, </a:t>
            </a:r>
            <a:r>
              <a:rPr lang="en-US" sz="1850" b="0" dirty="0" err="1"/>
              <a:t>Arvinas</a:t>
            </a:r>
            <a:r>
              <a:rPr lang="en-US" sz="1850" b="0" dirty="0"/>
              <a:t>, Astellas, AstraZeneca Pharmaceuticals LP, Aveo Pharmaceuticals, Bayer HealthCare Pharmaceuticals, </a:t>
            </a:r>
            <a:r>
              <a:rPr lang="en-US" sz="1850" b="0" dirty="0" err="1"/>
              <a:t>BeOne</a:t>
            </a:r>
            <a:r>
              <a:rPr lang="en-US" sz="1850" b="0" dirty="0"/>
              <a:t>, Biotheranostics Inc, A Hologic Company, Black Diamond Therapeutics Inc, Blueprint Medicines, Boehringer Ingelheim Pharmaceuticals Inc, Bristol Myers Squibb, </a:t>
            </a:r>
            <a:r>
              <a:rPr lang="en-US" sz="1850" b="0" dirty="0" err="1"/>
              <a:t>Celcuity</a:t>
            </a:r>
            <a:r>
              <a:rPr lang="en-US" sz="1850" b="0" dirty="0"/>
              <a:t>, Clovis Oncology, </a:t>
            </a:r>
            <a:r>
              <a:rPr lang="en-US" sz="1850" b="0" dirty="0" err="1"/>
              <a:t>Coherus</a:t>
            </a:r>
            <a:r>
              <a:rPr lang="en-US" sz="1850" b="0" dirty="0"/>
              <a:t> </a:t>
            </a:r>
            <a:r>
              <a:rPr lang="en-US" sz="1850" b="0" dirty="0" err="1"/>
              <a:t>BioSciences</a:t>
            </a:r>
            <a:r>
              <a:rPr lang="en-US" sz="1850" b="0" dirty="0"/>
              <a:t>, </a:t>
            </a:r>
            <a:r>
              <a:rPr lang="en-US" sz="1850" b="0" dirty="0" err="1"/>
              <a:t>Corcept</a:t>
            </a:r>
            <a:r>
              <a:rPr lang="en-US" sz="1850" b="0" dirty="0"/>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t>Helsinn</a:t>
            </a:r>
            <a:r>
              <a:rPr lang="en-US" sz="1850" b="0" dirty="0"/>
              <a:t> Therapeutics (US) Inc, </a:t>
            </a:r>
            <a:r>
              <a:rPr lang="en-US" sz="1850" b="0" dirty="0" err="1"/>
              <a:t>ImmunoGen</a:t>
            </a:r>
            <a:r>
              <a:rPr lang="en-US" sz="1850" b="0" dirty="0"/>
              <a:t> Inc, Incyte Corporation, Ipsen Biopharmaceuticals Inc, Jazz Pharmaceuticals Inc, Johnson &amp; Johnson, </a:t>
            </a:r>
            <a:r>
              <a:rPr lang="en-US" sz="1850" b="0" dirty="0" err="1"/>
              <a:t>Karyopharm</a:t>
            </a:r>
            <a:r>
              <a:rPr lang="en-US" sz="1850" b="0" dirty="0"/>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t>Novocure</a:t>
            </a:r>
            <a:r>
              <a:rPr lang="en-US" sz="1850" b="0" dirty="0"/>
              <a:t> Inc, </a:t>
            </a:r>
            <a:r>
              <a:rPr lang="en-US" sz="1850" b="0" dirty="0" err="1"/>
              <a:t>Nuvalent</a:t>
            </a:r>
            <a:r>
              <a:rPr lang="en-US" sz="1850" b="0" dirty="0"/>
              <a:t>, Nuvation Bio Inc, Pfizer Inc, Pharmacyclics LLC, an AbbVie Company, Puma Biotechnology Inc, Regeneron Pharmaceuticals Inc, Revolution Medicines Inc, Rigel Pharmaceuticals Inc, R-Pharm US, Sanofi, </a:t>
            </a:r>
            <a:r>
              <a:rPr lang="en-US" sz="1850" b="0" dirty="0" err="1"/>
              <a:t>Seagen</a:t>
            </a:r>
            <a:r>
              <a:rPr lang="en-US" sz="1850" b="0" dirty="0"/>
              <a:t> Inc, Servier Pharmaceuticals LLC, </a:t>
            </a:r>
            <a:r>
              <a:rPr lang="en-US" sz="1850" b="0" dirty="0" err="1"/>
              <a:t>SpringWorks</a:t>
            </a:r>
            <a:r>
              <a:rPr lang="en-US" sz="1850" b="0" dirty="0"/>
              <a:t> Therapeutics Inc, </a:t>
            </a:r>
            <a:r>
              <a:rPr lang="en-US" sz="1850" b="0" dirty="0" err="1"/>
              <a:t>Stemline</a:t>
            </a:r>
            <a:r>
              <a:rPr lang="en-US" sz="1850" b="0" dirty="0"/>
              <a:t> Therapeutics Inc, Sumitomo Pharma America, Summit Therapeutics, </a:t>
            </a:r>
            <a:r>
              <a:rPr lang="en-US" sz="1850" b="0" dirty="0" err="1"/>
              <a:t>Syndax</a:t>
            </a:r>
            <a:r>
              <a:rPr lang="en-US" sz="1850" b="0" dirty="0"/>
              <a:t> Pharmaceuticals, Taiho Oncology Inc, Takeda Pharmaceuticals USA Inc, </a:t>
            </a:r>
            <a:r>
              <a:rPr lang="en-US" sz="1850" b="0" dirty="0" err="1"/>
              <a:t>TerSera</a:t>
            </a:r>
            <a:r>
              <a:rPr lang="en-US" sz="1850" b="0" dirty="0"/>
              <a:t> Therapeutics LLC, and </a:t>
            </a:r>
            <a:r>
              <a:rPr lang="en-US" sz="1850" b="0" dirty="0" err="1"/>
              <a:t>Tesaro</a:t>
            </a:r>
            <a:r>
              <a:rPr lang="en-US" sz="1850" b="0" dirty="0"/>
              <a:t>, A GSK Company.</a:t>
            </a:r>
            <a:endParaRPr lang="en-US" sz="1850" b="0" dirty="0">
              <a:solidFill>
                <a:schemeClr val="tx1"/>
              </a:solidFill>
            </a:endParaRPr>
          </a:p>
        </p:txBody>
      </p:sp>
    </p:spTree>
    <p:extLst>
      <p:ext uri="{BB962C8B-B14F-4D97-AF65-F5344CB8AC3E}">
        <p14:creationId xmlns:p14="http://schemas.microsoft.com/office/powerpoint/2010/main" val="8913026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A8E39-F9B9-692A-B361-58AC4E45D9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009FBD-E0AB-1BE5-2C1C-55562592A7F6}"/>
              </a:ext>
            </a:extLst>
          </p:cNvPr>
          <p:cNvSpPr>
            <a:spLocks noGrp="1"/>
          </p:cNvSpPr>
          <p:nvPr>
            <p:ph type="title"/>
          </p:nvPr>
        </p:nvSpPr>
        <p:spPr>
          <a:xfrm>
            <a:off x="838199" y="326243"/>
            <a:ext cx="10515600" cy="780184"/>
          </a:xfrm>
        </p:spPr>
        <p:txBody>
          <a:bodyPr/>
          <a:lstStyle/>
          <a:p>
            <a:r>
              <a:rPr lang="en-US" dirty="0" err="1"/>
              <a:t>Datopotamab</a:t>
            </a:r>
            <a:r>
              <a:rPr lang="en-US" dirty="0"/>
              <a:t> </a:t>
            </a:r>
            <a:r>
              <a:rPr lang="en-US" dirty="0" err="1"/>
              <a:t>deruxtecan</a:t>
            </a:r>
            <a:r>
              <a:rPr lang="en-US" dirty="0"/>
              <a:t> (Dato-</a:t>
            </a:r>
            <a:r>
              <a:rPr lang="en-US" dirty="0" err="1"/>
              <a:t>DXd</a:t>
            </a:r>
            <a:r>
              <a:rPr lang="en-US" dirty="0"/>
              <a:t>)</a:t>
            </a:r>
          </a:p>
        </p:txBody>
      </p:sp>
      <p:pic>
        <p:nvPicPr>
          <p:cNvPr id="4" name="Picture 3">
            <a:extLst>
              <a:ext uri="{FF2B5EF4-FFF2-40B4-BE49-F238E27FC236}">
                <a16:creationId xmlns:a16="http://schemas.microsoft.com/office/drawing/2014/main" id="{70283599-9214-0D37-951A-4B520D95E4E5}"/>
              </a:ext>
            </a:extLst>
          </p:cNvPr>
          <p:cNvPicPr>
            <a:picLocks noChangeAspect="1"/>
          </p:cNvPicPr>
          <p:nvPr/>
        </p:nvPicPr>
        <p:blipFill>
          <a:blip r:embed="rId2"/>
          <a:stretch>
            <a:fillRect/>
          </a:stretch>
        </p:blipFill>
        <p:spPr>
          <a:xfrm>
            <a:off x="220663" y="6363204"/>
            <a:ext cx="1474788" cy="397890"/>
          </a:xfrm>
          <a:prstGeom prst="rect">
            <a:avLst/>
          </a:prstGeom>
        </p:spPr>
      </p:pic>
      <p:pic>
        <p:nvPicPr>
          <p:cNvPr id="5" name="Picture 4">
            <a:extLst>
              <a:ext uri="{FF2B5EF4-FFF2-40B4-BE49-F238E27FC236}">
                <a16:creationId xmlns:a16="http://schemas.microsoft.com/office/drawing/2014/main" id="{C7EB6976-8217-DB3D-94D9-39E5300F582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48066" y="6429306"/>
            <a:ext cx="1617582" cy="368564"/>
          </a:xfrm>
          <a:prstGeom prst="rect">
            <a:avLst/>
          </a:prstGeom>
        </p:spPr>
      </p:pic>
      <p:pic>
        <p:nvPicPr>
          <p:cNvPr id="7" name="Picture 6">
            <a:extLst>
              <a:ext uri="{FF2B5EF4-FFF2-40B4-BE49-F238E27FC236}">
                <a16:creationId xmlns:a16="http://schemas.microsoft.com/office/drawing/2014/main" id="{F2B553C6-AD86-2496-94C0-3C647907104B}"/>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431882" y="1235577"/>
            <a:ext cx="5505731" cy="4830500"/>
          </a:xfrm>
          <a:prstGeom prst="rect">
            <a:avLst/>
          </a:prstGeom>
          <a:ln>
            <a:solidFill>
              <a:schemeClr val="tx1"/>
            </a:solidFill>
          </a:ln>
        </p:spPr>
      </p:pic>
      <p:pic>
        <p:nvPicPr>
          <p:cNvPr id="14" name="Picture 13">
            <a:extLst>
              <a:ext uri="{FF2B5EF4-FFF2-40B4-BE49-F238E27FC236}">
                <a16:creationId xmlns:a16="http://schemas.microsoft.com/office/drawing/2014/main" id="{EAE8FCF9-8792-346E-90DA-939769F73564}"/>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6604495" y="1591573"/>
            <a:ext cx="5505730" cy="4008704"/>
          </a:xfrm>
          <a:prstGeom prst="rect">
            <a:avLst/>
          </a:prstGeom>
          <a:ln>
            <a:noFill/>
          </a:ln>
        </p:spPr>
      </p:pic>
      <p:pic>
        <p:nvPicPr>
          <p:cNvPr id="15" name="Picture 14">
            <a:extLst>
              <a:ext uri="{FF2B5EF4-FFF2-40B4-BE49-F238E27FC236}">
                <a16:creationId xmlns:a16="http://schemas.microsoft.com/office/drawing/2014/main" id="{97C3B3CF-3451-AF61-BA1C-EE037161FACE}"/>
              </a:ext>
            </a:extLst>
          </p:cNvPr>
          <p:cNvPicPr>
            <a:picLocks noChangeAspect="1"/>
          </p:cNvPicPr>
          <p:nvPr/>
        </p:nvPicPr>
        <p:blipFill>
          <a:blip r:embed="rId8"/>
          <a:stretch>
            <a:fillRect/>
          </a:stretch>
        </p:blipFill>
        <p:spPr>
          <a:xfrm>
            <a:off x="0" y="-16164"/>
            <a:ext cx="12192000" cy="317985"/>
          </a:xfrm>
          <a:prstGeom prst="rect">
            <a:avLst/>
          </a:prstGeom>
        </p:spPr>
      </p:pic>
      <p:sp>
        <p:nvSpPr>
          <p:cNvPr id="3" name="TextBox 2">
            <a:extLst>
              <a:ext uri="{FF2B5EF4-FFF2-40B4-BE49-F238E27FC236}">
                <a16:creationId xmlns:a16="http://schemas.microsoft.com/office/drawing/2014/main" id="{71815F31-535A-D89B-4DBB-6E09C6ED867B}"/>
              </a:ext>
            </a:extLst>
          </p:cNvPr>
          <p:cNvSpPr txBox="1"/>
          <p:nvPr/>
        </p:nvSpPr>
        <p:spPr>
          <a:xfrm>
            <a:off x="2895599" y="6429306"/>
            <a:ext cx="64008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hn et al. ESMO Asia 2024; Ahn et al. J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horac</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Oncol 2025</a:t>
            </a:r>
          </a:p>
        </p:txBody>
      </p:sp>
    </p:spTree>
    <p:extLst>
      <p:ext uri="{BB962C8B-B14F-4D97-AF65-F5344CB8AC3E}">
        <p14:creationId xmlns:p14="http://schemas.microsoft.com/office/powerpoint/2010/main" val="22956664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FEF3A9-9F1D-15DD-213A-85980B144DE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FE7DDD8-3DD6-8A96-0857-4A32CF6337E1}"/>
              </a:ext>
            </a:extLst>
          </p:cNvPr>
          <p:cNvSpPr>
            <a:spLocks noGrp="1"/>
          </p:cNvSpPr>
          <p:nvPr>
            <p:ph type="title"/>
          </p:nvPr>
        </p:nvSpPr>
        <p:spPr>
          <a:xfrm>
            <a:off x="220482" y="364700"/>
            <a:ext cx="11794040" cy="1208079"/>
          </a:xfrm>
        </p:spPr>
        <p:txBody>
          <a:bodyPr anchor="ctr">
            <a:normAutofit/>
          </a:bodyPr>
          <a:lstStyle/>
          <a:p>
            <a:r>
              <a:rPr lang="en-US" sz="4000" b="1" dirty="0"/>
              <a:t>Intracranial efficacy Dato-</a:t>
            </a:r>
            <a:r>
              <a:rPr lang="en-US" sz="4000" b="1" dirty="0" err="1"/>
              <a:t>DXd</a:t>
            </a:r>
            <a:r>
              <a:rPr lang="en-US" sz="4000" b="1" dirty="0"/>
              <a:t> from TROPION-Lung01</a:t>
            </a:r>
          </a:p>
        </p:txBody>
      </p:sp>
      <p:pic>
        <p:nvPicPr>
          <p:cNvPr id="2" name="Picture 1">
            <a:extLst>
              <a:ext uri="{FF2B5EF4-FFF2-40B4-BE49-F238E27FC236}">
                <a16:creationId xmlns:a16="http://schemas.microsoft.com/office/drawing/2014/main" id="{E5304388-19A7-AA75-4E27-A2CFA24973FA}"/>
              </a:ext>
            </a:extLst>
          </p:cNvPr>
          <p:cNvPicPr>
            <a:picLocks noChangeAspect="1"/>
          </p:cNvPicPr>
          <p:nvPr/>
        </p:nvPicPr>
        <p:blipFill>
          <a:blip r:embed="rId2"/>
          <a:stretch>
            <a:fillRect/>
          </a:stretch>
        </p:blipFill>
        <p:spPr>
          <a:xfrm>
            <a:off x="0" y="-16164"/>
            <a:ext cx="12192000" cy="317985"/>
          </a:xfrm>
          <a:prstGeom prst="rect">
            <a:avLst/>
          </a:prstGeom>
        </p:spPr>
      </p:pic>
      <p:sp>
        <p:nvSpPr>
          <p:cNvPr id="3" name="TextBox 2">
            <a:extLst>
              <a:ext uri="{FF2B5EF4-FFF2-40B4-BE49-F238E27FC236}">
                <a16:creationId xmlns:a16="http://schemas.microsoft.com/office/drawing/2014/main" id="{BA39B1B6-337E-F83C-D191-79B65F2CE8E2}"/>
              </a:ext>
            </a:extLst>
          </p:cNvPr>
          <p:cNvSpPr txBox="1"/>
          <p:nvPr/>
        </p:nvSpPr>
        <p:spPr>
          <a:xfrm>
            <a:off x="4568644" y="6429306"/>
            <a:ext cx="34956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panose="020F0502020204030204"/>
                <a:ea typeface="Arial"/>
                <a:cs typeface="Arial"/>
                <a:sym typeface="Arial"/>
              </a:rPr>
              <a:t>Pons-Tostivint et al. WCLC 2025</a:t>
            </a:r>
          </a:p>
        </p:txBody>
      </p:sp>
      <p:pic>
        <p:nvPicPr>
          <p:cNvPr id="10" name="Picture 9">
            <a:extLst>
              <a:ext uri="{FF2B5EF4-FFF2-40B4-BE49-F238E27FC236}">
                <a16:creationId xmlns:a16="http://schemas.microsoft.com/office/drawing/2014/main" id="{B8B40988-3B39-BC56-FC82-E0C4BA6247B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163858" y="1403660"/>
            <a:ext cx="9864283" cy="4840238"/>
          </a:xfrm>
          <a:prstGeom prst="rect">
            <a:avLst/>
          </a:prstGeom>
          <a:ln>
            <a:solidFill>
              <a:schemeClr val="tx1"/>
            </a:solidFill>
          </a:ln>
        </p:spPr>
      </p:pic>
    </p:spTree>
    <p:extLst>
      <p:ext uri="{BB962C8B-B14F-4D97-AF65-F5344CB8AC3E}">
        <p14:creationId xmlns:p14="http://schemas.microsoft.com/office/powerpoint/2010/main" val="6601877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8DB4E4-DCB3-5875-9001-58BDCB2CF1D6}"/>
            </a:ext>
          </a:extLst>
        </p:cNvPr>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14C76EDB-0210-338C-F8BA-8F725C6579C9}"/>
              </a:ext>
            </a:extLst>
          </p:cNvPr>
          <p:cNvPicPr>
            <a:picLocks noGrp="1" noChangeAspect="1"/>
          </p:cNvPicPr>
          <p:nvPr>
            <p:ph sz="half"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758787" y="584525"/>
            <a:ext cx="10674425" cy="5688949"/>
          </a:xfrm>
          <a:ln>
            <a:solidFill>
              <a:schemeClr val="tx1"/>
            </a:solidFill>
          </a:ln>
        </p:spPr>
      </p:pic>
      <p:pic>
        <p:nvPicPr>
          <p:cNvPr id="2" name="Picture 1">
            <a:extLst>
              <a:ext uri="{FF2B5EF4-FFF2-40B4-BE49-F238E27FC236}">
                <a16:creationId xmlns:a16="http://schemas.microsoft.com/office/drawing/2014/main" id="{A1F97783-C066-DA7D-43EE-1B85E31556B1}"/>
              </a:ext>
            </a:extLst>
          </p:cNvPr>
          <p:cNvPicPr>
            <a:picLocks noChangeAspect="1"/>
          </p:cNvPicPr>
          <p:nvPr/>
        </p:nvPicPr>
        <p:blipFill>
          <a:blip r:embed="rId4"/>
          <a:stretch>
            <a:fillRect/>
          </a:stretch>
        </p:blipFill>
        <p:spPr>
          <a:xfrm>
            <a:off x="0" y="-16164"/>
            <a:ext cx="12192000" cy="317985"/>
          </a:xfrm>
          <a:prstGeom prst="rect">
            <a:avLst/>
          </a:prstGeom>
        </p:spPr>
      </p:pic>
      <p:sp>
        <p:nvSpPr>
          <p:cNvPr id="3" name="TextBox 2">
            <a:extLst>
              <a:ext uri="{FF2B5EF4-FFF2-40B4-BE49-F238E27FC236}">
                <a16:creationId xmlns:a16="http://schemas.microsoft.com/office/drawing/2014/main" id="{4483D01B-E4F9-0646-57D0-8A322EA0AD64}"/>
              </a:ext>
            </a:extLst>
          </p:cNvPr>
          <p:cNvSpPr txBox="1"/>
          <p:nvPr/>
        </p:nvSpPr>
        <p:spPr>
          <a:xfrm>
            <a:off x="4568644" y="6429306"/>
            <a:ext cx="34956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panose="020F0502020204030204"/>
                <a:ea typeface="Arial"/>
                <a:cs typeface="Arial"/>
                <a:sym typeface="Arial"/>
              </a:rPr>
              <a:t>Pons-Tostivint et al. WCLC 2025</a:t>
            </a:r>
          </a:p>
        </p:txBody>
      </p:sp>
    </p:spTree>
    <p:extLst>
      <p:ext uri="{BB962C8B-B14F-4D97-AF65-F5344CB8AC3E}">
        <p14:creationId xmlns:p14="http://schemas.microsoft.com/office/powerpoint/2010/main" val="18761093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3B930-DEE8-1582-F059-5C9724475A27}"/>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A674680B-D16C-3654-42B7-1538FBCCF3D3}"/>
              </a:ext>
            </a:extLst>
          </p:cNvPr>
          <p:cNvPicPr>
            <a:picLocks noChangeAspect="1"/>
          </p:cNvPicPr>
          <p:nvPr/>
        </p:nvPicPr>
        <p:blipFill>
          <a:blip r:embed="rId2"/>
          <a:stretch>
            <a:fillRect/>
          </a:stretch>
        </p:blipFill>
        <p:spPr>
          <a:xfrm>
            <a:off x="0" y="-16164"/>
            <a:ext cx="12192000" cy="317985"/>
          </a:xfrm>
          <a:prstGeom prst="rect">
            <a:avLst/>
          </a:prstGeom>
        </p:spPr>
      </p:pic>
      <p:sp>
        <p:nvSpPr>
          <p:cNvPr id="3" name="TextBox 2">
            <a:extLst>
              <a:ext uri="{FF2B5EF4-FFF2-40B4-BE49-F238E27FC236}">
                <a16:creationId xmlns:a16="http://schemas.microsoft.com/office/drawing/2014/main" id="{B795186C-1197-1D84-7A32-62A6F8D66788}"/>
              </a:ext>
            </a:extLst>
          </p:cNvPr>
          <p:cNvSpPr txBox="1"/>
          <p:nvPr/>
        </p:nvSpPr>
        <p:spPr>
          <a:xfrm>
            <a:off x="4568644" y="6429306"/>
            <a:ext cx="34956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panose="020F0502020204030204"/>
                <a:ea typeface="Arial"/>
                <a:cs typeface="Arial"/>
                <a:sym typeface="Arial"/>
              </a:rPr>
              <a:t>Pons-Tostivint et al. WCLC 2025</a:t>
            </a:r>
          </a:p>
        </p:txBody>
      </p:sp>
      <p:pic>
        <p:nvPicPr>
          <p:cNvPr id="9" name="Picture 8">
            <a:extLst>
              <a:ext uri="{FF2B5EF4-FFF2-40B4-BE49-F238E27FC236}">
                <a16:creationId xmlns:a16="http://schemas.microsoft.com/office/drawing/2014/main" id="{DE1A4080-3421-BF5C-334D-F912C74D629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11180" y="796899"/>
            <a:ext cx="11569639" cy="5528498"/>
          </a:xfrm>
          <a:prstGeom prst="rect">
            <a:avLst/>
          </a:prstGeom>
          <a:ln>
            <a:solidFill>
              <a:schemeClr val="tx1"/>
            </a:solidFill>
          </a:ln>
        </p:spPr>
      </p:pic>
    </p:spTree>
    <p:extLst>
      <p:ext uri="{BB962C8B-B14F-4D97-AF65-F5344CB8AC3E}">
        <p14:creationId xmlns:p14="http://schemas.microsoft.com/office/powerpoint/2010/main" val="6789031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546495-F2CC-6F54-E161-4F530904DC1B}"/>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C785C206-ED5B-08DD-36A8-83E307F7CF5F}"/>
              </a:ext>
            </a:extLst>
          </p:cNvPr>
          <p:cNvPicPr>
            <a:picLocks noChangeAspect="1"/>
          </p:cNvPicPr>
          <p:nvPr/>
        </p:nvPicPr>
        <p:blipFill>
          <a:blip r:embed="rId2"/>
          <a:stretch>
            <a:fillRect/>
          </a:stretch>
        </p:blipFill>
        <p:spPr>
          <a:xfrm>
            <a:off x="0" y="-16164"/>
            <a:ext cx="12192000" cy="317985"/>
          </a:xfrm>
          <a:prstGeom prst="rect">
            <a:avLst/>
          </a:prstGeom>
        </p:spPr>
      </p:pic>
      <p:sp>
        <p:nvSpPr>
          <p:cNvPr id="3" name="TextBox 2">
            <a:extLst>
              <a:ext uri="{FF2B5EF4-FFF2-40B4-BE49-F238E27FC236}">
                <a16:creationId xmlns:a16="http://schemas.microsoft.com/office/drawing/2014/main" id="{44AD1DAC-F716-9AF9-2F9E-35865E53CBEF}"/>
              </a:ext>
            </a:extLst>
          </p:cNvPr>
          <p:cNvSpPr txBox="1"/>
          <p:nvPr/>
        </p:nvSpPr>
        <p:spPr>
          <a:xfrm>
            <a:off x="4568644" y="6429306"/>
            <a:ext cx="34956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panose="020F0502020204030204"/>
                <a:ea typeface="Arial"/>
                <a:cs typeface="Arial"/>
                <a:sym typeface="Arial"/>
              </a:rPr>
              <a:t>Pons-Tostivint et al. WCLC 2025</a:t>
            </a:r>
          </a:p>
        </p:txBody>
      </p:sp>
      <p:pic>
        <p:nvPicPr>
          <p:cNvPr id="9" name="Picture 8">
            <a:extLst>
              <a:ext uri="{FF2B5EF4-FFF2-40B4-BE49-F238E27FC236}">
                <a16:creationId xmlns:a16="http://schemas.microsoft.com/office/drawing/2014/main" id="{74DD705D-CE30-742E-5D18-2BD11CEDB01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26878" y="623543"/>
            <a:ext cx="10938243" cy="5610914"/>
          </a:xfrm>
          <a:prstGeom prst="rect">
            <a:avLst/>
          </a:prstGeom>
        </p:spPr>
      </p:pic>
    </p:spTree>
    <p:extLst>
      <p:ext uri="{BB962C8B-B14F-4D97-AF65-F5344CB8AC3E}">
        <p14:creationId xmlns:p14="http://schemas.microsoft.com/office/powerpoint/2010/main" val="4535976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F1DD5-97AA-5372-F90B-D5492FF43E2F}"/>
              </a:ext>
            </a:extLst>
          </p:cNvPr>
          <p:cNvSpPr>
            <a:spLocks noGrp="1"/>
          </p:cNvSpPr>
          <p:nvPr>
            <p:ph type="title"/>
          </p:nvPr>
        </p:nvSpPr>
        <p:spPr>
          <a:xfrm>
            <a:off x="838200" y="260952"/>
            <a:ext cx="10515600" cy="1325563"/>
          </a:xfrm>
        </p:spPr>
        <p:txBody>
          <a:bodyPr>
            <a:normAutofit fontScale="90000"/>
          </a:bodyPr>
          <a:lstStyle/>
          <a:p>
            <a:r>
              <a:rPr lang="en-US" b="1" dirty="0"/>
              <a:t>Dato-</a:t>
            </a:r>
            <a:r>
              <a:rPr lang="en-US" b="1" dirty="0" err="1"/>
              <a:t>DXd</a:t>
            </a:r>
            <a:r>
              <a:rPr lang="en-US" b="1" dirty="0"/>
              <a:t> is granted accelerated approval by the FDA in EGFR-mutated NSCLC</a:t>
            </a:r>
            <a:br>
              <a:rPr lang="en-US" dirty="0"/>
            </a:br>
            <a:r>
              <a:rPr lang="en-US" sz="3600" b="1" dirty="0"/>
              <a:t>Press Release: June 23, 2025</a:t>
            </a:r>
          </a:p>
        </p:txBody>
      </p:sp>
      <p:sp>
        <p:nvSpPr>
          <p:cNvPr id="3" name="Content Placeholder 2">
            <a:extLst>
              <a:ext uri="{FF2B5EF4-FFF2-40B4-BE49-F238E27FC236}">
                <a16:creationId xmlns:a16="http://schemas.microsoft.com/office/drawing/2014/main" id="{F272979C-1740-4A6F-62D0-A7301957107D}"/>
              </a:ext>
            </a:extLst>
          </p:cNvPr>
          <p:cNvSpPr>
            <a:spLocks noGrp="1"/>
          </p:cNvSpPr>
          <p:nvPr>
            <p:ph idx="1"/>
          </p:nvPr>
        </p:nvSpPr>
        <p:spPr>
          <a:xfrm>
            <a:off x="838200" y="1812201"/>
            <a:ext cx="10515600" cy="4351338"/>
          </a:xfrm>
        </p:spPr>
        <p:txBody>
          <a:bodyPr>
            <a:noAutofit/>
          </a:bodyPr>
          <a:lstStyle/>
          <a:p>
            <a:pPr marL="0" indent="0">
              <a:lnSpc>
                <a:spcPct val="100000"/>
              </a:lnSpc>
              <a:buNone/>
            </a:pPr>
            <a:r>
              <a:rPr lang="en-US" sz="2000" dirty="0"/>
              <a:t>“On June 23, 2025, the Food and Drug Administration granted accelerated approval to </a:t>
            </a:r>
            <a:r>
              <a:rPr lang="en-US" sz="2000" dirty="0" err="1"/>
              <a:t>datopotamab</a:t>
            </a:r>
            <a:r>
              <a:rPr lang="en-US" sz="2000" dirty="0"/>
              <a:t> </a:t>
            </a:r>
            <a:r>
              <a:rPr lang="en-US" sz="2000" dirty="0" err="1"/>
              <a:t>deruxtecan-dlnk</a:t>
            </a:r>
            <a:r>
              <a:rPr lang="en-US" sz="2000" dirty="0"/>
              <a:t> for adults with locally advanced or metastatic epidermal growth factor receptor (EGFR)-mutated non-small cell lung cancer (NSCLC) who have received prior EGFR-directed therapy and platinum-based chemotherapy.</a:t>
            </a:r>
          </a:p>
          <a:p>
            <a:pPr marL="0" indent="0">
              <a:lnSpc>
                <a:spcPct val="100000"/>
              </a:lnSpc>
              <a:buNone/>
            </a:pPr>
            <a:r>
              <a:rPr lang="en-US" sz="2000" dirty="0"/>
              <a:t>Efficacy was evaluated in a pooled subgroup of 114 patients with locally advanced or metastatic EGFR-mutated NSCLC who had received prior treatment with an EGFR-directed therapy and platinum-based chemotherapy and received </a:t>
            </a:r>
            <a:r>
              <a:rPr lang="en-US" sz="2000" dirty="0" err="1"/>
              <a:t>datopotamab</a:t>
            </a:r>
            <a:r>
              <a:rPr lang="en-US" sz="2000" dirty="0"/>
              <a:t> </a:t>
            </a:r>
            <a:r>
              <a:rPr lang="en-US" sz="2000" dirty="0" err="1"/>
              <a:t>deruxtecan-dlnk</a:t>
            </a:r>
            <a:r>
              <a:rPr lang="en-US" sz="2000" dirty="0"/>
              <a:t> at the recommended dose across two clinical trials: TROPION-Lung05 and TROPION-Lung01. TROPION-Lung05 (NCT04484142) was a multicenter, single-arm trial, while TROPION-Lung01 (NCT04656652) was a multicenter, open-label, randomized controlled trial.</a:t>
            </a:r>
          </a:p>
          <a:p>
            <a:pPr marL="0" indent="0">
              <a:lnSpc>
                <a:spcPct val="100000"/>
              </a:lnSpc>
              <a:buNone/>
            </a:pPr>
            <a:r>
              <a:rPr lang="en-US" sz="2000" dirty="0"/>
              <a:t>The major efficacy outcome measures were confirmed overall response rate (ORR) and duration of response (DOR) determined by blinded independent central review per RECIST v1.1. ORR was 45% (95% CI: 35, 54) and median DOR was 6.5 months (95% CI: 4.2, 8.4).</a:t>
            </a:r>
          </a:p>
        </p:txBody>
      </p:sp>
      <p:sp>
        <p:nvSpPr>
          <p:cNvPr id="5" name="TextBox 4">
            <a:extLst>
              <a:ext uri="{FF2B5EF4-FFF2-40B4-BE49-F238E27FC236}">
                <a16:creationId xmlns:a16="http://schemas.microsoft.com/office/drawing/2014/main" id="{DC2AEAD4-DC50-8CD9-B419-88334529E09E}"/>
              </a:ext>
            </a:extLst>
          </p:cNvPr>
          <p:cNvSpPr txBox="1"/>
          <p:nvPr/>
        </p:nvSpPr>
        <p:spPr>
          <a:xfrm>
            <a:off x="123464" y="6294269"/>
            <a:ext cx="1194507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ttps://www.fda.gov/drugs/resources-information-approved-drugs/fda-grants-accelerated-approval-datopotamab-deruxtecan-dlnk-egfr-mutated-non-small-cell-lung-cancer</a:t>
            </a:r>
          </a:p>
        </p:txBody>
      </p:sp>
    </p:spTree>
    <p:extLst>
      <p:ext uri="{BB962C8B-B14F-4D97-AF65-F5344CB8AC3E}">
        <p14:creationId xmlns:p14="http://schemas.microsoft.com/office/powerpoint/2010/main" val="35941594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EC2D7-2122-8253-9CF9-4CCBCCF058D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91B7E60-F428-AA85-72EE-5379696DF3B7}"/>
              </a:ext>
            </a:extLst>
          </p:cNvPr>
          <p:cNvPicPr>
            <a:picLocks noChangeAspect="1"/>
          </p:cNvPicPr>
          <p:nvPr/>
        </p:nvPicPr>
        <p:blipFill>
          <a:blip r:embed="rId2"/>
          <a:stretch>
            <a:fillRect/>
          </a:stretch>
        </p:blipFill>
        <p:spPr>
          <a:xfrm>
            <a:off x="0" y="-16164"/>
            <a:ext cx="12192000" cy="317985"/>
          </a:xfrm>
          <a:prstGeom prst="rect">
            <a:avLst/>
          </a:prstGeom>
        </p:spPr>
      </p:pic>
      <p:sp>
        <p:nvSpPr>
          <p:cNvPr id="3" name="TextBox 2">
            <a:extLst>
              <a:ext uri="{FF2B5EF4-FFF2-40B4-BE49-F238E27FC236}">
                <a16:creationId xmlns:a16="http://schemas.microsoft.com/office/drawing/2014/main" id="{6CE0BD72-BC10-4D38-CC9A-90E9E941A092}"/>
              </a:ext>
            </a:extLst>
          </p:cNvPr>
          <p:cNvSpPr txBox="1"/>
          <p:nvPr/>
        </p:nvSpPr>
        <p:spPr>
          <a:xfrm>
            <a:off x="4568644" y="6429306"/>
            <a:ext cx="34956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panose="020F0502020204030204"/>
                <a:ea typeface="Arial"/>
                <a:cs typeface="Arial"/>
                <a:sym typeface="Arial"/>
              </a:rPr>
              <a:t>Lu et al. ASCO 2025</a:t>
            </a:r>
          </a:p>
        </p:txBody>
      </p:sp>
      <p:pic>
        <p:nvPicPr>
          <p:cNvPr id="5" name="Image 0" descr="preencoded.png">
            <a:extLst>
              <a:ext uri="{FF2B5EF4-FFF2-40B4-BE49-F238E27FC236}">
                <a16:creationId xmlns:a16="http://schemas.microsoft.com/office/drawing/2014/main" id="{25CE6F69-8C93-7389-878C-3CD0C4FFB3B4}"/>
              </a:ext>
            </a:extLst>
          </p:cNvPr>
          <p:cNvPicPr>
            <a:picLocks noChangeAspect="1"/>
          </p:cNvPicPr>
          <p:nvPr/>
        </p:nvPicPr>
        <p:blipFill>
          <a:blip r:embed="rId3"/>
          <a:srcRect l="51936" t="17857" r="2688" b="69301"/>
          <a:stretch>
            <a:fillRect/>
          </a:stretch>
        </p:blipFill>
        <p:spPr>
          <a:xfrm>
            <a:off x="840965" y="1710813"/>
            <a:ext cx="10298983" cy="4257368"/>
          </a:xfrm>
          <a:prstGeom prst="rect">
            <a:avLst/>
          </a:prstGeom>
        </p:spPr>
      </p:pic>
      <p:sp>
        <p:nvSpPr>
          <p:cNvPr id="6" name="Title 1">
            <a:extLst>
              <a:ext uri="{FF2B5EF4-FFF2-40B4-BE49-F238E27FC236}">
                <a16:creationId xmlns:a16="http://schemas.microsoft.com/office/drawing/2014/main" id="{E0AC0D2C-3B8A-A6B5-763B-BB91AF1FF5E7}"/>
              </a:ext>
            </a:extLst>
          </p:cNvPr>
          <p:cNvSpPr>
            <a:spLocks noGrp="1"/>
          </p:cNvSpPr>
          <p:nvPr>
            <p:ph type="title"/>
          </p:nvPr>
        </p:nvSpPr>
        <p:spPr>
          <a:xfrm>
            <a:off x="523721" y="624439"/>
            <a:ext cx="11144558" cy="898843"/>
          </a:xfrm>
        </p:spPr>
        <p:txBody>
          <a:bodyPr>
            <a:noAutofit/>
          </a:bodyPr>
          <a:lstStyle/>
          <a:p>
            <a:r>
              <a:rPr lang="en-US" sz="2800" dirty="0"/>
              <a:t>TROPION-Lung14: A Phase 3 study of osimertinib ± Dato-</a:t>
            </a:r>
            <a:r>
              <a:rPr lang="en-US" sz="2800" dirty="0" err="1"/>
              <a:t>DXd</a:t>
            </a:r>
            <a:r>
              <a:rPr lang="en-US" sz="2800" dirty="0"/>
              <a:t> as 1L therapy</a:t>
            </a:r>
          </a:p>
        </p:txBody>
      </p:sp>
    </p:spTree>
    <p:extLst>
      <p:ext uri="{BB962C8B-B14F-4D97-AF65-F5344CB8AC3E}">
        <p14:creationId xmlns:p14="http://schemas.microsoft.com/office/powerpoint/2010/main" val="39865007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2E4DE7-8169-C0E9-FE8B-CF08245D4B92}"/>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DF2D8EDA-E2AE-184F-B838-A2EF0E2F3710}"/>
              </a:ext>
            </a:extLst>
          </p:cNvPr>
          <p:cNvPicPr>
            <a:picLocks noChangeAspect="1"/>
          </p:cNvPicPr>
          <p:nvPr/>
        </p:nvPicPr>
        <p:blipFill>
          <a:blip r:embed="rId2"/>
          <a:stretch>
            <a:fillRect/>
          </a:stretch>
        </p:blipFill>
        <p:spPr>
          <a:xfrm>
            <a:off x="0" y="-16164"/>
            <a:ext cx="12192000" cy="317985"/>
          </a:xfrm>
          <a:prstGeom prst="rect">
            <a:avLst/>
          </a:prstGeom>
        </p:spPr>
      </p:pic>
      <p:sp>
        <p:nvSpPr>
          <p:cNvPr id="3" name="TextBox 2">
            <a:extLst>
              <a:ext uri="{FF2B5EF4-FFF2-40B4-BE49-F238E27FC236}">
                <a16:creationId xmlns:a16="http://schemas.microsoft.com/office/drawing/2014/main" id="{059B9A6D-C83D-E9A5-C1C9-A85C268C9644}"/>
              </a:ext>
            </a:extLst>
          </p:cNvPr>
          <p:cNvSpPr txBox="1"/>
          <p:nvPr/>
        </p:nvSpPr>
        <p:spPr>
          <a:xfrm>
            <a:off x="2953754" y="6380145"/>
            <a:ext cx="628449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panose="020F0502020204030204"/>
                <a:ea typeface="Arial"/>
                <a:cs typeface="Arial"/>
                <a:sym typeface="Arial"/>
              </a:rPr>
              <a:t>Tan DS et al. </a:t>
            </a:r>
            <a:r>
              <a:rPr kumimoji="0" lang="da-DK" sz="1800" b="0" i="0" u="none" strike="noStrike" kern="1200" cap="none" spc="0" normalizeH="0" baseline="0" noProof="0" dirty="0" err="1">
                <a:ln>
                  <a:noFill/>
                </a:ln>
                <a:solidFill>
                  <a:prstClr val="black"/>
                </a:solidFill>
                <a:effectLst/>
                <a:uLnTx/>
                <a:uFillTx/>
                <a:latin typeface="Calibri" panose="020F0502020204030204"/>
                <a:ea typeface="Arial"/>
                <a:cs typeface="Arial"/>
                <a:sym typeface="Arial"/>
              </a:rPr>
              <a:t>Ther</a:t>
            </a:r>
            <a:r>
              <a:rPr kumimoji="0" lang="da-DK" sz="1800" b="0" i="0" u="none" strike="noStrike" kern="1200" cap="none" spc="0" normalizeH="0" baseline="0" noProof="0" dirty="0">
                <a:ln>
                  <a:noFill/>
                </a:ln>
                <a:solidFill>
                  <a:prstClr val="black"/>
                </a:solidFill>
                <a:effectLst/>
                <a:uLnTx/>
                <a:uFillTx/>
                <a:latin typeface="Calibri" panose="020F0502020204030204"/>
                <a:ea typeface="Arial"/>
                <a:cs typeface="Arial"/>
                <a:sym typeface="Arial"/>
              </a:rPr>
              <a:t> </a:t>
            </a:r>
            <a:r>
              <a:rPr kumimoji="0" lang="da-DK" sz="1800" b="0" i="0" u="none" strike="noStrike" kern="1200" cap="none" spc="0" normalizeH="0" baseline="0" noProof="0" dirty="0" err="1">
                <a:ln>
                  <a:noFill/>
                </a:ln>
                <a:solidFill>
                  <a:prstClr val="black"/>
                </a:solidFill>
                <a:effectLst/>
                <a:uLnTx/>
                <a:uFillTx/>
                <a:latin typeface="Calibri" panose="020F0502020204030204"/>
                <a:ea typeface="Arial"/>
                <a:cs typeface="Arial"/>
                <a:sym typeface="Arial"/>
              </a:rPr>
              <a:t>Adv</a:t>
            </a:r>
            <a:r>
              <a:rPr kumimoji="0" lang="da-DK" sz="1800" b="0" i="0" u="none" strike="noStrike" kern="1200" cap="none" spc="0" normalizeH="0" baseline="0" noProof="0" dirty="0">
                <a:ln>
                  <a:noFill/>
                </a:ln>
                <a:solidFill>
                  <a:prstClr val="black"/>
                </a:solidFill>
                <a:effectLst/>
                <a:uLnTx/>
                <a:uFillTx/>
                <a:latin typeface="Calibri" panose="020F0502020204030204"/>
                <a:ea typeface="Arial"/>
                <a:cs typeface="Arial"/>
                <a:sym typeface="Arial"/>
              </a:rPr>
              <a:t> Med </a:t>
            </a:r>
            <a:r>
              <a:rPr kumimoji="0" lang="da-DK" sz="1800" b="0" i="0" u="none" strike="noStrike" kern="1200" cap="none" spc="0" normalizeH="0" baseline="0" noProof="0" dirty="0" err="1">
                <a:ln>
                  <a:noFill/>
                </a:ln>
                <a:solidFill>
                  <a:prstClr val="black"/>
                </a:solidFill>
                <a:effectLst/>
                <a:uLnTx/>
                <a:uFillTx/>
                <a:latin typeface="Calibri" panose="020F0502020204030204"/>
                <a:ea typeface="Arial"/>
                <a:cs typeface="Arial"/>
                <a:sym typeface="Arial"/>
              </a:rPr>
              <a:t>Oncol</a:t>
            </a:r>
            <a:r>
              <a:rPr kumimoji="0" lang="da-DK" sz="1800" b="0" i="0" u="none" strike="noStrike" kern="1200" cap="none" spc="0" normalizeH="0" baseline="0" noProof="0" dirty="0">
                <a:ln>
                  <a:noFill/>
                </a:ln>
                <a:solidFill>
                  <a:prstClr val="black"/>
                </a:solidFill>
                <a:effectLst/>
                <a:uLnTx/>
                <a:uFillTx/>
                <a:latin typeface="Calibri" panose="020F0502020204030204"/>
                <a:ea typeface="Arial"/>
                <a:cs typeface="Arial"/>
                <a:sym typeface="Arial"/>
              </a:rPr>
              <a:t>. 2025;17:17588359251385410.</a:t>
            </a:r>
          </a:p>
        </p:txBody>
      </p:sp>
      <p:sp>
        <p:nvSpPr>
          <p:cNvPr id="6" name="Title 1">
            <a:extLst>
              <a:ext uri="{FF2B5EF4-FFF2-40B4-BE49-F238E27FC236}">
                <a16:creationId xmlns:a16="http://schemas.microsoft.com/office/drawing/2014/main" id="{5744CB38-AD9B-EA4B-1A26-C4BD5CCF44C7}"/>
              </a:ext>
            </a:extLst>
          </p:cNvPr>
          <p:cNvSpPr>
            <a:spLocks noGrp="1"/>
          </p:cNvSpPr>
          <p:nvPr>
            <p:ph type="title"/>
          </p:nvPr>
        </p:nvSpPr>
        <p:spPr>
          <a:xfrm>
            <a:off x="523721" y="624439"/>
            <a:ext cx="11144558" cy="898843"/>
          </a:xfrm>
        </p:spPr>
        <p:txBody>
          <a:bodyPr>
            <a:noAutofit/>
          </a:bodyPr>
          <a:lstStyle/>
          <a:p>
            <a:r>
              <a:rPr lang="en-US" sz="2800" dirty="0"/>
              <a:t>TROPION-Lung15: A Phase 3 study of Dato-</a:t>
            </a:r>
            <a:r>
              <a:rPr lang="en-US" sz="2800" dirty="0" err="1"/>
              <a:t>DXd</a:t>
            </a:r>
            <a:r>
              <a:rPr lang="en-US" sz="2800" dirty="0"/>
              <a:t> ± osimertinib in EGFRm NSCLC that has progressed on prior osimertinib</a:t>
            </a:r>
          </a:p>
        </p:txBody>
      </p:sp>
      <p:pic>
        <p:nvPicPr>
          <p:cNvPr id="4" name="Picture 3">
            <a:extLst>
              <a:ext uri="{FF2B5EF4-FFF2-40B4-BE49-F238E27FC236}">
                <a16:creationId xmlns:a16="http://schemas.microsoft.com/office/drawing/2014/main" id="{C70B3C00-43B3-0953-9D9F-04422B84BB6A}"/>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1345955" y="2005179"/>
            <a:ext cx="9500087" cy="3598100"/>
          </a:xfrm>
          <a:prstGeom prst="rect">
            <a:avLst/>
          </a:prstGeom>
        </p:spPr>
      </p:pic>
    </p:spTree>
    <p:extLst>
      <p:ext uri="{BB962C8B-B14F-4D97-AF65-F5344CB8AC3E}">
        <p14:creationId xmlns:p14="http://schemas.microsoft.com/office/powerpoint/2010/main" val="10707746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4E690-EDB5-F209-FEB7-8D8BD3336ADB}"/>
              </a:ext>
            </a:extLst>
          </p:cNvPr>
          <p:cNvSpPr>
            <a:spLocks noGrp="1"/>
          </p:cNvSpPr>
          <p:nvPr>
            <p:ph type="title"/>
          </p:nvPr>
        </p:nvSpPr>
        <p:spPr>
          <a:xfrm>
            <a:off x="838200" y="42633"/>
            <a:ext cx="10515600" cy="1083337"/>
          </a:xfrm>
        </p:spPr>
        <p:txBody>
          <a:bodyPr>
            <a:normAutofit/>
          </a:bodyPr>
          <a:lstStyle/>
          <a:p>
            <a:r>
              <a:rPr lang="en-US" sz="4000" dirty="0"/>
              <a:t>Sacituzumab </a:t>
            </a:r>
            <a:r>
              <a:rPr lang="en-US" sz="4000" dirty="0" err="1"/>
              <a:t>tirumotecan</a:t>
            </a:r>
            <a:r>
              <a:rPr lang="en-US" sz="4000" dirty="0"/>
              <a:t> (Sac-TMT)</a:t>
            </a:r>
          </a:p>
        </p:txBody>
      </p:sp>
      <p:pic>
        <p:nvPicPr>
          <p:cNvPr id="11" name="Picture 10">
            <a:extLst>
              <a:ext uri="{FF2B5EF4-FFF2-40B4-BE49-F238E27FC236}">
                <a16:creationId xmlns:a16="http://schemas.microsoft.com/office/drawing/2014/main" id="{2EA33FE3-292D-31D2-21C7-276C9EFFED2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92982" y="866362"/>
            <a:ext cx="8510419" cy="2902074"/>
          </a:xfrm>
          <a:prstGeom prst="rect">
            <a:avLst/>
          </a:prstGeom>
          <a:ln>
            <a:solidFill>
              <a:schemeClr val="tx1"/>
            </a:solidFill>
          </a:ln>
        </p:spPr>
      </p:pic>
      <p:sp>
        <p:nvSpPr>
          <p:cNvPr id="14" name="Rectangle 13">
            <a:extLst>
              <a:ext uri="{FF2B5EF4-FFF2-40B4-BE49-F238E27FC236}">
                <a16:creationId xmlns:a16="http://schemas.microsoft.com/office/drawing/2014/main" id="{1E6E1E36-8D48-7EDC-9377-5D8CFF82858D}"/>
              </a:ext>
            </a:extLst>
          </p:cNvPr>
          <p:cNvSpPr/>
          <p:nvPr/>
        </p:nvSpPr>
        <p:spPr>
          <a:xfrm>
            <a:off x="1154545" y="1016000"/>
            <a:ext cx="1717964" cy="2032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0791E517-56AF-2552-6800-A6BB736A6307}"/>
              </a:ext>
            </a:extLst>
          </p:cNvPr>
          <p:cNvSpPr/>
          <p:nvPr/>
        </p:nvSpPr>
        <p:spPr>
          <a:xfrm>
            <a:off x="3994727" y="3786907"/>
            <a:ext cx="1436255" cy="21243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EEDB46C3-39DC-1CFF-6ED2-80307D3F4A92}"/>
              </a:ext>
            </a:extLst>
          </p:cNvPr>
          <p:cNvSpPr txBox="1"/>
          <p:nvPr/>
        </p:nvSpPr>
        <p:spPr>
          <a:xfrm>
            <a:off x="4241074" y="6497595"/>
            <a:ext cx="34671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Zhao et al. Nature Medicine 2025</a:t>
            </a:r>
          </a:p>
        </p:txBody>
      </p:sp>
      <p:pic>
        <p:nvPicPr>
          <p:cNvPr id="13" name="Picture 12">
            <a:extLst>
              <a:ext uri="{FF2B5EF4-FFF2-40B4-BE49-F238E27FC236}">
                <a16:creationId xmlns:a16="http://schemas.microsoft.com/office/drawing/2014/main" id="{67BD22FC-01A3-C339-9F1B-4562FC20A51F}"/>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3770811" y="3657511"/>
            <a:ext cx="8268932" cy="2812931"/>
          </a:xfrm>
          <a:prstGeom prst="rect">
            <a:avLst/>
          </a:prstGeom>
          <a:ln>
            <a:solidFill>
              <a:schemeClr val="tx1"/>
            </a:solidFill>
          </a:ln>
        </p:spPr>
      </p:pic>
      <p:pic>
        <p:nvPicPr>
          <p:cNvPr id="6" name="Picture 5">
            <a:extLst>
              <a:ext uri="{FF2B5EF4-FFF2-40B4-BE49-F238E27FC236}">
                <a16:creationId xmlns:a16="http://schemas.microsoft.com/office/drawing/2014/main" id="{628A2383-7DC9-C7D4-0DBB-C41A0CF11FB8}"/>
              </a:ext>
            </a:extLst>
          </p:cNvPr>
          <p:cNvPicPr>
            <a:picLocks noChangeAspect="1"/>
          </p:cNvPicPr>
          <p:nvPr/>
        </p:nvPicPr>
        <p:blipFill>
          <a:blip r:embed="rId6"/>
          <a:stretch>
            <a:fillRect/>
          </a:stretch>
        </p:blipFill>
        <p:spPr>
          <a:xfrm>
            <a:off x="0" y="-16164"/>
            <a:ext cx="12192000" cy="317985"/>
          </a:xfrm>
          <a:prstGeom prst="rect">
            <a:avLst/>
          </a:prstGeom>
        </p:spPr>
      </p:pic>
    </p:spTree>
    <p:extLst>
      <p:ext uri="{BB962C8B-B14F-4D97-AF65-F5344CB8AC3E}">
        <p14:creationId xmlns:p14="http://schemas.microsoft.com/office/powerpoint/2010/main" val="17868141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087FA-EED1-2154-9746-B141F4B933F1}"/>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8F0D1A2C-1B65-3B91-1D36-564F067F2EA3}"/>
              </a:ext>
            </a:extLst>
          </p:cNvPr>
          <p:cNvPicPr>
            <a:picLocks noChangeAspect="1"/>
          </p:cNvPicPr>
          <p:nvPr/>
        </p:nvPicPr>
        <p:blipFill>
          <a:blip r:embed="rId2"/>
          <a:stretch>
            <a:fillRect/>
          </a:stretch>
        </p:blipFill>
        <p:spPr>
          <a:xfrm>
            <a:off x="0" y="-16164"/>
            <a:ext cx="12192000" cy="317985"/>
          </a:xfrm>
          <a:prstGeom prst="rect">
            <a:avLst/>
          </a:prstGeom>
        </p:spPr>
      </p:pic>
      <p:pic>
        <p:nvPicPr>
          <p:cNvPr id="4" name="Picture 3">
            <a:extLst>
              <a:ext uri="{FF2B5EF4-FFF2-40B4-BE49-F238E27FC236}">
                <a16:creationId xmlns:a16="http://schemas.microsoft.com/office/drawing/2014/main" id="{BBF550E0-347B-F53F-3B79-972E74F99D28}"/>
              </a:ext>
            </a:extLst>
          </p:cNvPr>
          <p:cNvPicPr>
            <a:picLocks noChangeAspect="1"/>
          </p:cNvPicPr>
          <p:nvPr/>
        </p:nvPicPr>
        <p:blipFill>
          <a:blip r:embed="rId3"/>
          <a:stretch>
            <a:fillRect/>
          </a:stretch>
        </p:blipFill>
        <p:spPr>
          <a:xfrm>
            <a:off x="220663" y="6363204"/>
            <a:ext cx="1474788" cy="397890"/>
          </a:xfrm>
          <a:prstGeom prst="rect">
            <a:avLst/>
          </a:prstGeom>
        </p:spPr>
      </p:pic>
      <p:pic>
        <p:nvPicPr>
          <p:cNvPr id="7" name="Picture 6">
            <a:extLst>
              <a:ext uri="{FF2B5EF4-FFF2-40B4-BE49-F238E27FC236}">
                <a16:creationId xmlns:a16="http://schemas.microsoft.com/office/drawing/2014/main" id="{870CAFE9-02E4-515B-68C2-A8034C6576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48066" y="6429306"/>
            <a:ext cx="1617582" cy="368564"/>
          </a:xfrm>
          <a:prstGeom prst="rect">
            <a:avLst/>
          </a:prstGeom>
        </p:spPr>
      </p:pic>
      <p:pic>
        <p:nvPicPr>
          <p:cNvPr id="6" name="Picture 5">
            <a:extLst>
              <a:ext uri="{FF2B5EF4-FFF2-40B4-BE49-F238E27FC236}">
                <a16:creationId xmlns:a16="http://schemas.microsoft.com/office/drawing/2014/main" id="{E188B8A8-4A81-3E9D-D090-5FDD7011B662}"/>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1279730" y="1229879"/>
            <a:ext cx="9632540" cy="3981450"/>
          </a:xfrm>
          <a:prstGeom prst="rect">
            <a:avLst/>
          </a:prstGeom>
          <a:ln>
            <a:solidFill>
              <a:schemeClr val="tx1"/>
            </a:solidFill>
          </a:ln>
        </p:spPr>
      </p:pic>
    </p:spTree>
    <p:extLst>
      <p:ext uri="{BB962C8B-B14F-4D97-AF65-F5344CB8AC3E}">
        <p14:creationId xmlns:p14="http://schemas.microsoft.com/office/powerpoint/2010/main" val="4354760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796889" cy="1501346"/>
          </a:xfrm>
        </p:spPr>
        <p:txBody>
          <a:bodyPr/>
          <a:lstStyle/>
          <a:p>
            <a:pPr marL="98425" indent="0">
              <a:buNone/>
            </a:pPr>
            <a:r>
              <a:rPr lang="en-US" sz="2500" b="0" dirty="0"/>
              <a:t>This activity is supported by educational grants from AstraZeneca Pharmaceuticals LP, Daiichi Sankyo Inc, and Johnson &amp; Johnson.</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E57F2-3D08-53F5-B66C-6EF4566A78F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79C7432-90AC-1424-9EF5-106971725430}"/>
              </a:ext>
            </a:extLst>
          </p:cNvPr>
          <p:cNvSpPr>
            <a:spLocks noGrp="1"/>
          </p:cNvSpPr>
          <p:nvPr>
            <p:ph type="title"/>
          </p:nvPr>
        </p:nvSpPr>
        <p:spPr>
          <a:xfrm>
            <a:off x="220482" y="184230"/>
            <a:ext cx="12192000" cy="1208079"/>
          </a:xfrm>
        </p:spPr>
        <p:txBody>
          <a:bodyPr anchor="ctr"/>
          <a:lstStyle/>
          <a:p>
            <a:r>
              <a:rPr lang="en-US" b="1" dirty="0"/>
              <a:t>Sac-TMT vs Chemo Baseline Characteristics</a:t>
            </a:r>
          </a:p>
        </p:txBody>
      </p:sp>
      <p:pic>
        <p:nvPicPr>
          <p:cNvPr id="2" name="Picture 1">
            <a:extLst>
              <a:ext uri="{FF2B5EF4-FFF2-40B4-BE49-F238E27FC236}">
                <a16:creationId xmlns:a16="http://schemas.microsoft.com/office/drawing/2014/main" id="{8169429E-AC37-52E9-5802-DC5E2D7935C2}"/>
              </a:ext>
            </a:extLst>
          </p:cNvPr>
          <p:cNvPicPr>
            <a:picLocks noChangeAspect="1"/>
          </p:cNvPicPr>
          <p:nvPr/>
        </p:nvPicPr>
        <p:blipFill>
          <a:blip r:embed="rId2"/>
          <a:stretch>
            <a:fillRect/>
          </a:stretch>
        </p:blipFill>
        <p:spPr>
          <a:xfrm>
            <a:off x="0" y="-16164"/>
            <a:ext cx="12192000" cy="317985"/>
          </a:xfrm>
          <a:prstGeom prst="rect">
            <a:avLst/>
          </a:prstGeom>
        </p:spPr>
      </p:pic>
      <p:pic>
        <p:nvPicPr>
          <p:cNvPr id="4" name="Picture 3">
            <a:extLst>
              <a:ext uri="{FF2B5EF4-FFF2-40B4-BE49-F238E27FC236}">
                <a16:creationId xmlns:a16="http://schemas.microsoft.com/office/drawing/2014/main" id="{148508EB-A5F5-5A2B-6D17-C621F4DF2D75}"/>
              </a:ext>
            </a:extLst>
          </p:cNvPr>
          <p:cNvPicPr>
            <a:picLocks noChangeAspect="1"/>
          </p:cNvPicPr>
          <p:nvPr/>
        </p:nvPicPr>
        <p:blipFill>
          <a:blip r:embed="rId3"/>
          <a:stretch>
            <a:fillRect/>
          </a:stretch>
        </p:blipFill>
        <p:spPr>
          <a:xfrm>
            <a:off x="220663" y="6363204"/>
            <a:ext cx="1474788" cy="397890"/>
          </a:xfrm>
          <a:prstGeom prst="rect">
            <a:avLst/>
          </a:prstGeom>
        </p:spPr>
      </p:pic>
      <p:pic>
        <p:nvPicPr>
          <p:cNvPr id="7" name="Picture 6">
            <a:extLst>
              <a:ext uri="{FF2B5EF4-FFF2-40B4-BE49-F238E27FC236}">
                <a16:creationId xmlns:a16="http://schemas.microsoft.com/office/drawing/2014/main" id="{BE619886-F3CF-131E-91D5-6881422DC2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48066" y="6429306"/>
            <a:ext cx="1617582" cy="368564"/>
          </a:xfrm>
          <a:prstGeom prst="rect">
            <a:avLst/>
          </a:prstGeom>
        </p:spPr>
      </p:pic>
      <p:pic>
        <p:nvPicPr>
          <p:cNvPr id="11" name="Picture 10">
            <a:extLst>
              <a:ext uri="{FF2B5EF4-FFF2-40B4-BE49-F238E27FC236}">
                <a16:creationId xmlns:a16="http://schemas.microsoft.com/office/drawing/2014/main" id="{33C54759-4EB8-5813-3713-1CB860DDBFFA}"/>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1695451" y="1031691"/>
            <a:ext cx="7350578" cy="2776412"/>
          </a:xfrm>
          <a:prstGeom prst="rect">
            <a:avLst/>
          </a:prstGeom>
        </p:spPr>
      </p:pic>
      <p:pic>
        <p:nvPicPr>
          <p:cNvPr id="6" name="Picture 5">
            <a:extLst>
              <a:ext uri="{FF2B5EF4-FFF2-40B4-BE49-F238E27FC236}">
                <a16:creationId xmlns:a16="http://schemas.microsoft.com/office/drawing/2014/main" id="{CE4E8ADF-E379-911B-C120-8536149CA4AC}"/>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1730826" y="3801115"/>
            <a:ext cx="7350578" cy="2745783"/>
          </a:xfrm>
          <a:prstGeom prst="rect">
            <a:avLst/>
          </a:prstGeom>
        </p:spPr>
      </p:pic>
      <p:sp>
        <p:nvSpPr>
          <p:cNvPr id="8" name="Rectangle 7">
            <a:extLst>
              <a:ext uri="{FF2B5EF4-FFF2-40B4-BE49-F238E27FC236}">
                <a16:creationId xmlns:a16="http://schemas.microsoft.com/office/drawing/2014/main" id="{2B60D122-216B-2F42-0F77-F31B8CE42260}"/>
              </a:ext>
            </a:extLst>
          </p:cNvPr>
          <p:cNvSpPr/>
          <p:nvPr/>
        </p:nvSpPr>
        <p:spPr>
          <a:xfrm>
            <a:off x="1850065" y="5656804"/>
            <a:ext cx="6804837" cy="76554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637EAE4D-C079-B067-A59C-73B35A97BCAB}"/>
              </a:ext>
            </a:extLst>
          </p:cNvPr>
          <p:cNvSpPr/>
          <p:nvPr/>
        </p:nvSpPr>
        <p:spPr>
          <a:xfrm>
            <a:off x="1850064" y="4713572"/>
            <a:ext cx="2250881" cy="25061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24D646A6-6275-FC03-0FE0-57F62060039A}"/>
              </a:ext>
            </a:extLst>
          </p:cNvPr>
          <p:cNvSpPr txBox="1"/>
          <p:nvPr/>
        </p:nvSpPr>
        <p:spPr>
          <a:xfrm>
            <a:off x="9116779" y="5850714"/>
            <a:ext cx="23139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ang et al. NEJM 2026</a:t>
            </a:r>
          </a:p>
        </p:txBody>
      </p:sp>
    </p:spTree>
    <p:extLst>
      <p:ext uri="{BB962C8B-B14F-4D97-AF65-F5344CB8AC3E}">
        <p14:creationId xmlns:p14="http://schemas.microsoft.com/office/powerpoint/2010/main" val="31387659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881B6-BF0F-2A69-1652-8B34F4E035F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43D9C7C-B2CC-5046-2589-2B8D9D81A0C5}"/>
              </a:ext>
            </a:extLst>
          </p:cNvPr>
          <p:cNvPicPr>
            <a:picLocks noChangeAspect="1"/>
          </p:cNvPicPr>
          <p:nvPr/>
        </p:nvPicPr>
        <p:blipFill>
          <a:blip r:embed="rId2"/>
          <a:stretch>
            <a:fillRect/>
          </a:stretch>
        </p:blipFill>
        <p:spPr>
          <a:xfrm>
            <a:off x="0" y="-16164"/>
            <a:ext cx="12192000" cy="317985"/>
          </a:xfrm>
          <a:prstGeom prst="rect">
            <a:avLst/>
          </a:prstGeom>
        </p:spPr>
      </p:pic>
      <p:pic>
        <p:nvPicPr>
          <p:cNvPr id="4" name="Picture 3">
            <a:extLst>
              <a:ext uri="{FF2B5EF4-FFF2-40B4-BE49-F238E27FC236}">
                <a16:creationId xmlns:a16="http://schemas.microsoft.com/office/drawing/2014/main" id="{156A183B-514C-C74F-3B40-856E6D0BE5D4}"/>
              </a:ext>
            </a:extLst>
          </p:cNvPr>
          <p:cNvPicPr>
            <a:picLocks noChangeAspect="1"/>
          </p:cNvPicPr>
          <p:nvPr/>
        </p:nvPicPr>
        <p:blipFill>
          <a:blip r:embed="rId3"/>
          <a:stretch>
            <a:fillRect/>
          </a:stretch>
        </p:blipFill>
        <p:spPr>
          <a:xfrm>
            <a:off x="220663" y="6363204"/>
            <a:ext cx="1474788" cy="397890"/>
          </a:xfrm>
          <a:prstGeom prst="rect">
            <a:avLst/>
          </a:prstGeom>
        </p:spPr>
      </p:pic>
      <p:pic>
        <p:nvPicPr>
          <p:cNvPr id="7" name="Picture 6">
            <a:extLst>
              <a:ext uri="{FF2B5EF4-FFF2-40B4-BE49-F238E27FC236}">
                <a16:creationId xmlns:a16="http://schemas.microsoft.com/office/drawing/2014/main" id="{CCD31BAD-9A74-FFE9-4DB6-74F1408B846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48066" y="6429306"/>
            <a:ext cx="1617582" cy="368564"/>
          </a:xfrm>
          <a:prstGeom prst="rect">
            <a:avLst/>
          </a:prstGeom>
        </p:spPr>
      </p:pic>
      <p:pic>
        <p:nvPicPr>
          <p:cNvPr id="6" name="Picture 5">
            <a:extLst>
              <a:ext uri="{FF2B5EF4-FFF2-40B4-BE49-F238E27FC236}">
                <a16:creationId xmlns:a16="http://schemas.microsoft.com/office/drawing/2014/main" id="{BAB6E693-D058-F6FA-FAE2-57E6A3B5D3FC}"/>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381929" y="968739"/>
            <a:ext cx="11583719" cy="4677713"/>
          </a:xfrm>
          <a:prstGeom prst="rect">
            <a:avLst/>
          </a:prstGeom>
          <a:ln>
            <a:solidFill>
              <a:schemeClr val="tx1"/>
            </a:solidFill>
          </a:ln>
        </p:spPr>
      </p:pic>
      <p:sp>
        <p:nvSpPr>
          <p:cNvPr id="8" name="TextBox 7">
            <a:extLst>
              <a:ext uri="{FF2B5EF4-FFF2-40B4-BE49-F238E27FC236}">
                <a16:creationId xmlns:a16="http://schemas.microsoft.com/office/drawing/2014/main" id="{EFF2EC86-C751-2FA4-EF10-932B6B8E9E33}"/>
              </a:ext>
            </a:extLst>
          </p:cNvPr>
          <p:cNvSpPr txBox="1"/>
          <p:nvPr/>
        </p:nvSpPr>
        <p:spPr>
          <a:xfrm>
            <a:off x="5019675" y="6381750"/>
            <a:ext cx="4572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ang et al. NEJM 2026</a:t>
            </a:r>
          </a:p>
        </p:txBody>
      </p:sp>
      <p:sp>
        <p:nvSpPr>
          <p:cNvPr id="3" name="TextBox 2">
            <a:extLst>
              <a:ext uri="{FF2B5EF4-FFF2-40B4-BE49-F238E27FC236}">
                <a16:creationId xmlns:a16="http://schemas.microsoft.com/office/drawing/2014/main" id="{6CBE573E-F5FD-3AAD-0359-906991144A8E}"/>
              </a:ext>
            </a:extLst>
          </p:cNvPr>
          <p:cNvSpPr txBox="1"/>
          <p:nvPr/>
        </p:nvSpPr>
        <p:spPr>
          <a:xfrm>
            <a:off x="9116779" y="5850714"/>
            <a:ext cx="23139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ang et al. NEJM 2026</a:t>
            </a:r>
          </a:p>
        </p:txBody>
      </p:sp>
    </p:spTree>
    <p:extLst>
      <p:ext uri="{BB962C8B-B14F-4D97-AF65-F5344CB8AC3E}">
        <p14:creationId xmlns:p14="http://schemas.microsoft.com/office/powerpoint/2010/main" val="30781254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23670-59AD-FEA7-A118-6B87FEAE5B2F}"/>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9166D07E-02E5-2885-12FA-16DAA16A9B4F}"/>
              </a:ext>
            </a:extLst>
          </p:cNvPr>
          <p:cNvPicPr>
            <a:picLocks noChangeAspect="1"/>
          </p:cNvPicPr>
          <p:nvPr/>
        </p:nvPicPr>
        <p:blipFill>
          <a:blip r:embed="rId2"/>
          <a:stretch>
            <a:fillRect/>
          </a:stretch>
        </p:blipFill>
        <p:spPr>
          <a:xfrm>
            <a:off x="0" y="-16164"/>
            <a:ext cx="12192000" cy="317985"/>
          </a:xfrm>
          <a:prstGeom prst="rect">
            <a:avLst/>
          </a:prstGeom>
        </p:spPr>
      </p:pic>
      <p:pic>
        <p:nvPicPr>
          <p:cNvPr id="4" name="Picture 3">
            <a:extLst>
              <a:ext uri="{FF2B5EF4-FFF2-40B4-BE49-F238E27FC236}">
                <a16:creationId xmlns:a16="http://schemas.microsoft.com/office/drawing/2014/main" id="{70AA8186-C240-6B51-CEF4-38E34421B41C}"/>
              </a:ext>
            </a:extLst>
          </p:cNvPr>
          <p:cNvPicPr>
            <a:picLocks noChangeAspect="1"/>
          </p:cNvPicPr>
          <p:nvPr/>
        </p:nvPicPr>
        <p:blipFill>
          <a:blip r:embed="rId3"/>
          <a:stretch>
            <a:fillRect/>
          </a:stretch>
        </p:blipFill>
        <p:spPr>
          <a:xfrm>
            <a:off x="220663" y="6363204"/>
            <a:ext cx="1474788" cy="397890"/>
          </a:xfrm>
          <a:prstGeom prst="rect">
            <a:avLst/>
          </a:prstGeom>
        </p:spPr>
      </p:pic>
      <p:pic>
        <p:nvPicPr>
          <p:cNvPr id="7" name="Picture 6">
            <a:extLst>
              <a:ext uri="{FF2B5EF4-FFF2-40B4-BE49-F238E27FC236}">
                <a16:creationId xmlns:a16="http://schemas.microsoft.com/office/drawing/2014/main" id="{406AA4A3-4E86-4EE2-8AF1-5E78B5B1E92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48066" y="6429306"/>
            <a:ext cx="1617582" cy="368564"/>
          </a:xfrm>
          <a:prstGeom prst="rect">
            <a:avLst/>
          </a:prstGeom>
        </p:spPr>
      </p:pic>
      <p:pic>
        <p:nvPicPr>
          <p:cNvPr id="6" name="Picture 5">
            <a:extLst>
              <a:ext uri="{FF2B5EF4-FFF2-40B4-BE49-F238E27FC236}">
                <a16:creationId xmlns:a16="http://schemas.microsoft.com/office/drawing/2014/main" id="{C13A38D9-48A0-D4A9-A964-5C5A4987E2DD}"/>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595710" y="1045609"/>
            <a:ext cx="11225656" cy="4544700"/>
          </a:xfrm>
          <a:prstGeom prst="rect">
            <a:avLst/>
          </a:prstGeom>
          <a:ln>
            <a:solidFill>
              <a:schemeClr val="tx1"/>
            </a:solidFill>
          </a:ln>
        </p:spPr>
      </p:pic>
      <p:sp>
        <p:nvSpPr>
          <p:cNvPr id="3" name="TextBox 2">
            <a:extLst>
              <a:ext uri="{FF2B5EF4-FFF2-40B4-BE49-F238E27FC236}">
                <a16:creationId xmlns:a16="http://schemas.microsoft.com/office/drawing/2014/main" id="{044B4805-77D6-6DC0-5DB5-0C08654F2998}"/>
              </a:ext>
            </a:extLst>
          </p:cNvPr>
          <p:cNvSpPr txBox="1"/>
          <p:nvPr/>
        </p:nvSpPr>
        <p:spPr>
          <a:xfrm>
            <a:off x="9116779" y="5850714"/>
            <a:ext cx="23139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ang et al. NEJM 2026</a:t>
            </a:r>
          </a:p>
        </p:txBody>
      </p:sp>
    </p:spTree>
    <p:extLst>
      <p:ext uri="{BB962C8B-B14F-4D97-AF65-F5344CB8AC3E}">
        <p14:creationId xmlns:p14="http://schemas.microsoft.com/office/powerpoint/2010/main" val="39515357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91917-5802-959E-0755-3A20DD913E45}"/>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5FC6853A-DE8C-3356-D1C1-4ACD1EDDEDA9}"/>
              </a:ext>
            </a:extLst>
          </p:cNvPr>
          <p:cNvPicPr>
            <a:picLocks noChangeAspect="1"/>
          </p:cNvPicPr>
          <p:nvPr/>
        </p:nvPicPr>
        <p:blipFill>
          <a:blip r:embed="rId2"/>
          <a:stretch>
            <a:fillRect/>
          </a:stretch>
        </p:blipFill>
        <p:spPr>
          <a:xfrm>
            <a:off x="0" y="-16164"/>
            <a:ext cx="12192000" cy="317985"/>
          </a:xfrm>
          <a:prstGeom prst="rect">
            <a:avLst/>
          </a:prstGeom>
        </p:spPr>
      </p:pic>
      <p:pic>
        <p:nvPicPr>
          <p:cNvPr id="4" name="Picture 3">
            <a:extLst>
              <a:ext uri="{FF2B5EF4-FFF2-40B4-BE49-F238E27FC236}">
                <a16:creationId xmlns:a16="http://schemas.microsoft.com/office/drawing/2014/main" id="{6DBF88E0-37CB-7F6E-0825-D5A7913C9919}"/>
              </a:ext>
            </a:extLst>
          </p:cNvPr>
          <p:cNvPicPr>
            <a:picLocks noChangeAspect="1"/>
          </p:cNvPicPr>
          <p:nvPr/>
        </p:nvPicPr>
        <p:blipFill>
          <a:blip r:embed="rId3"/>
          <a:stretch>
            <a:fillRect/>
          </a:stretch>
        </p:blipFill>
        <p:spPr>
          <a:xfrm>
            <a:off x="220663" y="6363204"/>
            <a:ext cx="1474788" cy="397890"/>
          </a:xfrm>
          <a:prstGeom prst="rect">
            <a:avLst/>
          </a:prstGeom>
        </p:spPr>
      </p:pic>
      <p:pic>
        <p:nvPicPr>
          <p:cNvPr id="7" name="Picture 6">
            <a:extLst>
              <a:ext uri="{FF2B5EF4-FFF2-40B4-BE49-F238E27FC236}">
                <a16:creationId xmlns:a16="http://schemas.microsoft.com/office/drawing/2014/main" id="{A6428A14-AE85-9D9A-9CE2-68BEAE5553E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48066" y="6429306"/>
            <a:ext cx="1617582" cy="368564"/>
          </a:xfrm>
          <a:prstGeom prst="rect">
            <a:avLst/>
          </a:prstGeom>
        </p:spPr>
      </p:pic>
      <p:pic>
        <p:nvPicPr>
          <p:cNvPr id="6" name="Picture 5">
            <a:extLst>
              <a:ext uri="{FF2B5EF4-FFF2-40B4-BE49-F238E27FC236}">
                <a16:creationId xmlns:a16="http://schemas.microsoft.com/office/drawing/2014/main" id="{1114659A-84CB-AB14-A10C-34826CD49FBE}"/>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1774847" y="363131"/>
            <a:ext cx="8616858" cy="3059453"/>
          </a:xfrm>
          <a:prstGeom prst="rect">
            <a:avLst/>
          </a:prstGeom>
        </p:spPr>
      </p:pic>
      <p:pic>
        <p:nvPicPr>
          <p:cNvPr id="9" name="Picture 8">
            <a:extLst>
              <a:ext uri="{FF2B5EF4-FFF2-40B4-BE49-F238E27FC236}">
                <a16:creationId xmlns:a16="http://schemas.microsoft.com/office/drawing/2014/main" id="{F24160B4-9FFA-C8BE-883C-D83021A52624}"/>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1774846" y="3465776"/>
            <a:ext cx="8616858" cy="3295317"/>
          </a:xfrm>
          <a:prstGeom prst="rect">
            <a:avLst/>
          </a:prstGeom>
        </p:spPr>
      </p:pic>
      <p:sp>
        <p:nvSpPr>
          <p:cNvPr id="10" name="Rectangle 9">
            <a:extLst>
              <a:ext uri="{FF2B5EF4-FFF2-40B4-BE49-F238E27FC236}">
                <a16:creationId xmlns:a16="http://schemas.microsoft.com/office/drawing/2014/main" id="{AB2DDF3B-56C8-433D-56EB-98D502F63889}"/>
              </a:ext>
            </a:extLst>
          </p:cNvPr>
          <p:cNvSpPr/>
          <p:nvPr/>
        </p:nvSpPr>
        <p:spPr>
          <a:xfrm>
            <a:off x="2059709" y="2142836"/>
            <a:ext cx="8174182" cy="50800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63B74422-824A-2255-148A-CF642C4BC4B5}"/>
              </a:ext>
            </a:extLst>
          </p:cNvPr>
          <p:cNvSpPr/>
          <p:nvPr/>
        </p:nvSpPr>
        <p:spPr>
          <a:xfrm>
            <a:off x="1879600" y="4442233"/>
            <a:ext cx="8174182" cy="20365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D0AB253-018A-22DB-39E1-CB99069CFF65}"/>
              </a:ext>
            </a:extLst>
          </p:cNvPr>
          <p:cNvSpPr/>
          <p:nvPr/>
        </p:nvSpPr>
        <p:spPr>
          <a:xfrm>
            <a:off x="1879600" y="4932866"/>
            <a:ext cx="8174182" cy="20365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0A910318-6BF8-6AD8-18F2-F6F5034AD137}"/>
              </a:ext>
            </a:extLst>
          </p:cNvPr>
          <p:cNvSpPr txBox="1"/>
          <p:nvPr/>
        </p:nvSpPr>
        <p:spPr>
          <a:xfrm>
            <a:off x="10417154" y="5853712"/>
            <a:ext cx="195062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ang et al. NEJM 2026</a:t>
            </a:r>
          </a:p>
        </p:txBody>
      </p:sp>
    </p:spTree>
    <p:extLst>
      <p:ext uri="{BB962C8B-B14F-4D97-AF65-F5344CB8AC3E}">
        <p14:creationId xmlns:p14="http://schemas.microsoft.com/office/powerpoint/2010/main" val="14597540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6A1455-56E7-FC3B-17FB-1635B9F3354F}"/>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318D01B8-5E57-21E7-3913-38D5B050DAB5}"/>
              </a:ext>
            </a:extLst>
          </p:cNvPr>
          <p:cNvPicPr>
            <a:picLocks noChangeAspect="1"/>
          </p:cNvPicPr>
          <p:nvPr/>
        </p:nvPicPr>
        <p:blipFill>
          <a:blip r:embed="rId2"/>
          <a:stretch>
            <a:fillRect/>
          </a:stretch>
        </p:blipFill>
        <p:spPr>
          <a:xfrm>
            <a:off x="0" y="-16164"/>
            <a:ext cx="12192000" cy="317985"/>
          </a:xfrm>
          <a:prstGeom prst="rect">
            <a:avLst/>
          </a:prstGeom>
        </p:spPr>
      </p:pic>
      <p:pic>
        <p:nvPicPr>
          <p:cNvPr id="4" name="Picture 3">
            <a:extLst>
              <a:ext uri="{FF2B5EF4-FFF2-40B4-BE49-F238E27FC236}">
                <a16:creationId xmlns:a16="http://schemas.microsoft.com/office/drawing/2014/main" id="{DE20AC35-3398-1288-AFB3-2BDDCFB1AE82}"/>
              </a:ext>
            </a:extLst>
          </p:cNvPr>
          <p:cNvPicPr>
            <a:picLocks noChangeAspect="1"/>
          </p:cNvPicPr>
          <p:nvPr/>
        </p:nvPicPr>
        <p:blipFill>
          <a:blip r:embed="rId3"/>
          <a:stretch>
            <a:fillRect/>
          </a:stretch>
        </p:blipFill>
        <p:spPr>
          <a:xfrm>
            <a:off x="220663" y="6363204"/>
            <a:ext cx="1474788" cy="397890"/>
          </a:xfrm>
          <a:prstGeom prst="rect">
            <a:avLst/>
          </a:prstGeom>
        </p:spPr>
      </p:pic>
      <p:pic>
        <p:nvPicPr>
          <p:cNvPr id="7" name="Picture 6">
            <a:extLst>
              <a:ext uri="{FF2B5EF4-FFF2-40B4-BE49-F238E27FC236}">
                <a16:creationId xmlns:a16="http://schemas.microsoft.com/office/drawing/2014/main" id="{3B66AC6E-C0EB-3FC6-FFDC-9FF2E64B1E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48066" y="6429306"/>
            <a:ext cx="1617582" cy="368564"/>
          </a:xfrm>
          <a:prstGeom prst="rect">
            <a:avLst/>
          </a:prstGeom>
        </p:spPr>
      </p:pic>
      <p:pic>
        <p:nvPicPr>
          <p:cNvPr id="6" name="Picture 5">
            <a:extLst>
              <a:ext uri="{FF2B5EF4-FFF2-40B4-BE49-F238E27FC236}">
                <a16:creationId xmlns:a16="http://schemas.microsoft.com/office/drawing/2014/main" id="{FA210727-3323-F774-292A-934F965F0440}"/>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1774847" y="363131"/>
            <a:ext cx="8616858" cy="3059453"/>
          </a:xfrm>
          <a:prstGeom prst="rect">
            <a:avLst/>
          </a:prstGeom>
        </p:spPr>
      </p:pic>
      <p:pic>
        <p:nvPicPr>
          <p:cNvPr id="9" name="Picture 8">
            <a:extLst>
              <a:ext uri="{FF2B5EF4-FFF2-40B4-BE49-F238E27FC236}">
                <a16:creationId xmlns:a16="http://schemas.microsoft.com/office/drawing/2014/main" id="{5702F707-D0EF-4D33-A836-F71B063935A3}"/>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1774846" y="3465776"/>
            <a:ext cx="8616858" cy="3295317"/>
          </a:xfrm>
          <a:prstGeom prst="rect">
            <a:avLst/>
          </a:prstGeom>
        </p:spPr>
      </p:pic>
      <p:sp>
        <p:nvSpPr>
          <p:cNvPr id="3" name="TextBox 2">
            <a:extLst>
              <a:ext uri="{FF2B5EF4-FFF2-40B4-BE49-F238E27FC236}">
                <a16:creationId xmlns:a16="http://schemas.microsoft.com/office/drawing/2014/main" id="{4A705F9A-28A9-089D-E9A1-688FEBEB642E}"/>
              </a:ext>
            </a:extLst>
          </p:cNvPr>
          <p:cNvSpPr txBox="1"/>
          <p:nvPr/>
        </p:nvSpPr>
        <p:spPr>
          <a:xfrm>
            <a:off x="3011055" y="3160728"/>
            <a:ext cx="5745018" cy="1200329"/>
          </a:xfrm>
          <a:prstGeom prst="rect">
            <a:avLst/>
          </a:prstGeom>
          <a:solidFill>
            <a:schemeClr val="bg1"/>
          </a:solidFill>
          <a:ln w="3810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Ocular surface events in 9.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No ILD or pneumonitis</a:t>
            </a:r>
          </a:p>
        </p:txBody>
      </p:sp>
      <p:sp>
        <p:nvSpPr>
          <p:cNvPr id="8" name="Rectangle 7">
            <a:extLst>
              <a:ext uri="{FF2B5EF4-FFF2-40B4-BE49-F238E27FC236}">
                <a16:creationId xmlns:a16="http://schemas.microsoft.com/office/drawing/2014/main" id="{C6DBF32D-B04C-E292-F25E-065F44D68D5E}"/>
              </a:ext>
            </a:extLst>
          </p:cNvPr>
          <p:cNvSpPr/>
          <p:nvPr/>
        </p:nvSpPr>
        <p:spPr>
          <a:xfrm>
            <a:off x="1879600" y="4932866"/>
            <a:ext cx="8174182" cy="20365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E4F757F3-1954-0911-DC0A-A44309231790}"/>
              </a:ext>
            </a:extLst>
          </p:cNvPr>
          <p:cNvSpPr txBox="1"/>
          <p:nvPr/>
        </p:nvSpPr>
        <p:spPr>
          <a:xfrm>
            <a:off x="10417154" y="5853712"/>
            <a:ext cx="195062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ang et al. NEJM 2026</a:t>
            </a:r>
          </a:p>
        </p:txBody>
      </p:sp>
    </p:spTree>
    <p:extLst>
      <p:ext uri="{BB962C8B-B14F-4D97-AF65-F5344CB8AC3E}">
        <p14:creationId xmlns:p14="http://schemas.microsoft.com/office/powerpoint/2010/main" val="10546043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A6BCA-7369-DCF6-39C3-CDEDD139716F}"/>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2E84BB08-5A98-1EB7-42BD-07C7584B8BD5}"/>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0" name="Title 1">
            <a:extLst>
              <a:ext uri="{FF2B5EF4-FFF2-40B4-BE49-F238E27FC236}">
                <a16:creationId xmlns:a16="http://schemas.microsoft.com/office/drawing/2014/main" id="{665AA92D-D588-8FF5-0F66-416B4F9B262A}"/>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14" name="Title 1">
            <a:extLst>
              <a:ext uri="{FF2B5EF4-FFF2-40B4-BE49-F238E27FC236}">
                <a16:creationId xmlns:a16="http://schemas.microsoft.com/office/drawing/2014/main" id="{CE4061E4-4070-C5AE-544A-9570B30A8C7C}"/>
              </a:ext>
            </a:extLst>
          </p:cNvPr>
          <p:cNvSpPr txBox="1">
            <a:spLocks/>
          </p:cNvSpPr>
          <p:nvPr/>
        </p:nvSpPr>
        <p:spPr bwMode="auto">
          <a:xfrm>
            <a:off x="8196549" y="5222732"/>
            <a:ext cx="399545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5" name="Picture 14" descr="A person in a white shirt&#10;&#10;AI-generated content may be incorrect.">
            <a:extLst>
              <a:ext uri="{FF2B5EF4-FFF2-40B4-BE49-F238E27FC236}">
                <a16:creationId xmlns:a16="http://schemas.microsoft.com/office/drawing/2014/main" id="{00ECD7B1-E69D-7667-B5CE-44DA937629C1}"/>
              </a:ext>
            </a:extLst>
          </p:cNvPr>
          <p:cNvPicPr>
            <a:picLocks noChangeAspect="1"/>
          </p:cNvPicPr>
          <p:nvPr/>
        </p:nvPicPr>
        <p:blipFill>
          <a:blip r:embed="rId2"/>
          <a:srcRect l="22367" r="19429" b="17523"/>
          <a:stretch>
            <a:fillRect/>
          </a:stretch>
        </p:blipFill>
        <p:spPr>
          <a:xfrm>
            <a:off x="8787739" y="2570971"/>
            <a:ext cx="2651760" cy="2651760"/>
          </a:xfrm>
          <a:prstGeom prst="ellipse">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AF3710C9-98A1-687C-D7FA-0A2412B1C9CA}"/>
              </a:ext>
            </a:extLst>
          </p:cNvPr>
          <p:cNvSpPr txBox="1">
            <a:spLocks/>
          </p:cNvSpPr>
          <p:nvPr/>
        </p:nvSpPr>
        <p:spPr bwMode="auto">
          <a:xfrm>
            <a:off x="3529412" y="5222733"/>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usmitha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Apuri</a:t>
            </a: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 MD</a:t>
            </a:r>
          </a:p>
        </p:txBody>
      </p:sp>
      <p:pic>
        <p:nvPicPr>
          <p:cNvPr id="13" name="Picture 12" descr="A person wearing a white coat and headphones&#10;&#10;AI-generated content may be incorrect.">
            <a:extLst>
              <a:ext uri="{FF2B5EF4-FFF2-40B4-BE49-F238E27FC236}">
                <a16:creationId xmlns:a16="http://schemas.microsoft.com/office/drawing/2014/main" id="{F1EFED59-10F8-9617-CD6B-0CFE09B797D2}"/>
              </a:ext>
            </a:extLst>
          </p:cNvPr>
          <p:cNvPicPr>
            <a:picLocks/>
          </p:cNvPicPr>
          <p:nvPr/>
        </p:nvPicPr>
        <p:blipFill>
          <a:blip r:embed="rId3"/>
          <a:srcRect l="25088" t="-318" r="20483" b="318"/>
          <a:stretch>
            <a:fillRect/>
          </a:stretch>
        </p:blipFill>
        <p:spPr>
          <a:xfrm>
            <a:off x="4892477" y="2570971"/>
            <a:ext cx="2651760" cy="2651760"/>
          </a:xfrm>
          <a:prstGeom prst="ellipse">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13F0FBC9-1CA0-5089-6A96-5420EC9E4F3A}"/>
              </a:ext>
            </a:extLst>
          </p:cNvPr>
          <p:cNvSpPr txBox="1">
            <a:spLocks/>
          </p:cNvSpPr>
          <p:nvPr/>
        </p:nvSpPr>
        <p:spPr bwMode="auto">
          <a:xfrm>
            <a:off x="340824" y="5222732"/>
            <a:ext cx="4038913"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tephen “Fred” Divers, MD  </a:t>
            </a:r>
          </a:p>
        </p:txBody>
      </p:sp>
      <p:pic>
        <p:nvPicPr>
          <p:cNvPr id="4" name="Picture 3" descr="A person wearing headphones and smiling&#10;&#10;AI-generated content may be incorrect.">
            <a:extLst>
              <a:ext uri="{FF2B5EF4-FFF2-40B4-BE49-F238E27FC236}">
                <a16:creationId xmlns:a16="http://schemas.microsoft.com/office/drawing/2014/main" id="{C8879FDF-99E9-AA07-4A38-E1E8CD368869}"/>
              </a:ext>
            </a:extLst>
          </p:cNvPr>
          <p:cNvPicPr>
            <a:picLocks/>
          </p:cNvPicPr>
          <p:nvPr/>
        </p:nvPicPr>
        <p:blipFill>
          <a:blip r:embed="rId4"/>
          <a:srcRect l="22910" r="21569"/>
          <a:stretch>
            <a:fillRect/>
          </a:stretch>
        </p:blipFill>
        <p:spPr>
          <a:xfrm>
            <a:off x="1034401" y="2570971"/>
            <a:ext cx="2651760"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95980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FA4BA-51A6-830C-9B3E-438C6D867D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E8E3E5-8854-CEFF-BC7E-B5FB57861F56}"/>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1BF0E3CF-2178-83A6-C597-883AD8F16769}"/>
              </a:ext>
            </a:extLst>
          </p:cNvPr>
          <p:cNvSpPr>
            <a:spLocks noGrp="1"/>
          </p:cNvSpPr>
          <p:nvPr>
            <p:ph idx="1"/>
          </p:nvPr>
        </p:nvSpPr>
        <p:spPr>
          <a:xfrm>
            <a:off x="912286" y="1416053"/>
            <a:ext cx="10930847" cy="4799013"/>
          </a:xfrm>
        </p:spPr>
        <p:txBody>
          <a:bodyPr/>
          <a:lstStyle/>
          <a:p>
            <a:pPr marL="98425" indent="0">
              <a:lnSpc>
                <a:spcPct val="100000"/>
              </a:lnSpc>
              <a:buNone/>
            </a:pPr>
            <a:r>
              <a:rPr lang="en-US" sz="2400" dirty="0"/>
              <a:t>In the modern era, how do you broadly think through therapeutic sequencing for patients with metastatic EGFR-mutated NSCLC? What do you generally recommend next for patients who experience disease progression on first-line osimertinib monotherapy? What about osimertinib/chemotherapy? What about </a:t>
            </a:r>
            <a:r>
              <a:rPr lang="en-US" sz="2400" dirty="0" err="1"/>
              <a:t>amivantamab</a:t>
            </a:r>
            <a:r>
              <a:rPr lang="en-US" sz="2400" dirty="0"/>
              <a:t>/</a:t>
            </a:r>
            <a:r>
              <a:rPr lang="en-US" sz="2400" dirty="0" err="1"/>
              <a:t>lazertinib</a:t>
            </a:r>
            <a:r>
              <a:rPr lang="en-US" sz="2400" dirty="0"/>
              <a:t>? How does the duration of response to up-front therapy affect your decision-making?</a:t>
            </a:r>
          </a:p>
          <a:p>
            <a:pPr marL="98425" indent="0">
              <a:lnSpc>
                <a:spcPct val="100000"/>
              </a:lnSpc>
              <a:buNone/>
            </a:pPr>
            <a:r>
              <a:rPr lang="en-US" sz="2400" dirty="0"/>
              <a:t>Where in the treatment sequence are you most likely to employ Dato-</a:t>
            </a:r>
            <a:r>
              <a:rPr lang="en-US" sz="2400" dirty="0" err="1"/>
              <a:t>DXd</a:t>
            </a:r>
            <a:r>
              <a:rPr lang="en-US" sz="2400" dirty="0"/>
              <a:t> for patients with EGFR-mutated NSCLC? Are you comfortable using it for patients with uncommon EGFR mutations?</a:t>
            </a:r>
          </a:p>
          <a:p>
            <a:pPr marL="98425" indent="0">
              <a:lnSpc>
                <a:spcPct val="100000"/>
              </a:lnSpc>
              <a:buNone/>
            </a:pPr>
            <a:r>
              <a:rPr lang="en-US" sz="2400" dirty="0"/>
              <a:t>In your experience, how does the global tolerability of Dato-</a:t>
            </a:r>
            <a:r>
              <a:rPr lang="en-US" sz="2400" dirty="0" err="1"/>
              <a:t>DXd</a:t>
            </a:r>
            <a:r>
              <a:rPr lang="en-US" sz="2400" dirty="0"/>
              <a:t> compare to that of traditional chemotherapy? Is it better tolerated or about the same? </a:t>
            </a:r>
          </a:p>
        </p:txBody>
      </p:sp>
    </p:spTree>
    <p:extLst>
      <p:ext uri="{BB962C8B-B14F-4D97-AF65-F5344CB8AC3E}">
        <p14:creationId xmlns:p14="http://schemas.microsoft.com/office/powerpoint/2010/main" val="5530896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A11F0-1738-3602-9B78-1880FF4E40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9B087A-826A-8729-623E-6338FAE34062}"/>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35738BB7-C553-0440-F1BE-86104A620498}"/>
              </a:ext>
            </a:extLst>
          </p:cNvPr>
          <p:cNvSpPr>
            <a:spLocks noGrp="1"/>
          </p:cNvSpPr>
          <p:nvPr>
            <p:ph idx="1"/>
          </p:nvPr>
        </p:nvSpPr>
        <p:spPr>
          <a:xfrm>
            <a:off x="912286" y="1416053"/>
            <a:ext cx="10930847" cy="4799013"/>
          </a:xfrm>
        </p:spPr>
        <p:txBody>
          <a:bodyPr/>
          <a:lstStyle/>
          <a:p>
            <a:pPr marL="98425" indent="0">
              <a:lnSpc>
                <a:spcPct val="100000"/>
              </a:lnSpc>
              <a:buNone/>
            </a:pPr>
            <a:r>
              <a:rPr lang="en-US" sz="2400" dirty="0"/>
              <a:t>Would you consider starting Dato-</a:t>
            </a:r>
            <a:r>
              <a:rPr lang="en-US" sz="2400" dirty="0" err="1"/>
              <a:t>DXd</a:t>
            </a:r>
            <a:r>
              <a:rPr lang="en-US" sz="2400" dirty="0"/>
              <a:t> at a lower dose for a patient who is particularly concerned about potential side effects? Is this feasible without compromising efficacy? Have you observed durable responses among your patients with EGFR-mutated NSCLC receiving reduced-dose Dato-</a:t>
            </a:r>
            <a:r>
              <a:rPr lang="en-US" sz="2400" dirty="0" err="1"/>
              <a:t>DXd</a:t>
            </a:r>
            <a:r>
              <a:rPr lang="en-US" sz="2400" dirty="0"/>
              <a:t>? </a:t>
            </a:r>
          </a:p>
          <a:p>
            <a:pPr marL="98425" indent="0">
              <a:lnSpc>
                <a:spcPct val="100000"/>
              </a:lnSpc>
              <a:buNone/>
            </a:pPr>
            <a:r>
              <a:rPr lang="en-US" sz="2400" dirty="0"/>
              <a:t>What prophylactic measures do you recommend for your patients who are about to start treatment with Dato-</a:t>
            </a:r>
            <a:r>
              <a:rPr lang="en-US" sz="2400" dirty="0" err="1"/>
              <a:t>DXd</a:t>
            </a:r>
            <a:r>
              <a:rPr lang="en-US" sz="2400" dirty="0"/>
              <a:t> to reduce the risk of side effects?</a:t>
            </a:r>
          </a:p>
        </p:txBody>
      </p:sp>
    </p:spTree>
    <p:extLst>
      <p:ext uri="{BB962C8B-B14F-4D97-AF65-F5344CB8AC3E}">
        <p14:creationId xmlns:p14="http://schemas.microsoft.com/office/powerpoint/2010/main" val="20396506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91919-B9A5-68FF-59AD-A0E642A0038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32FE6E0-798C-8269-C468-6FF32D8575FD}"/>
              </a:ext>
            </a:extLst>
          </p:cNvPr>
          <p:cNvSpPr/>
          <p:nvPr/>
        </p:nvSpPr>
        <p:spPr bwMode="auto">
          <a:xfrm>
            <a:off x="740128" y="4005064"/>
            <a:ext cx="10900488" cy="96973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B51B624-3178-B92B-727A-CDD230E71C3C}"/>
              </a:ext>
            </a:extLst>
          </p:cNvPr>
          <p:cNvSpPr>
            <a:spLocks noGrp="1"/>
          </p:cNvSpPr>
          <p:nvPr>
            <p:ph type="title"/>
          </p:nvPr>
        </p:nvSpPr>
        <p:spPr>
          <a:xfrm>
            <a:off x="912286" y="227013"/>
            <a:ext cx="10358967" cy="969739"/>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EF4AE92E-60D9-F2CC-56E6-B49AD404AF73}"/>
              </a:ext>
            </a:extLst>
          </p:cNvPr>
          <p:cNvSpPr>
            <a:spLocks noGrp="1"/>
          </p:cNvSpPr>
          <p:nvPr>
            <p:ph idx="1"/>
          </p:nvPr>
        </p:nvSpPr>
        <p:spPr>
          <a:xfrm>
            <a:off x="767408" y="1196752"/>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Evolving First-Line Treatment for Metastatic EGFR-Mutated </a:t>
            </a:r>
            <a:br>
              <a:rPr lang="en-US" sz="2500" dirty="0">
                <a:solidFill>
                  <a:schemeClr val="tx1"/>
                </a:solidFill>
              </a:rPr>
            </a:br>
            <a:r>
              <a:rPr lang="en-US" sz="2500" dirty="0">
                <a:solidFill>
                  <a:schemeClr val="tx1"/>
                </a:solidFill>
              </a:rPr>
              <a:t>Non-Small Cell Lung Cancer (NSCLC) — Prof Passaro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EGFR-Targeted Therapeutic Strategies for Relapsed EGFR-Mutant NSCLC — Dr Nea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Utility of TROP2-Targeted Antibody-Drug Conjugates in the Management of EGFR-Mutant NSCLC — Dr Sands</a:t>
            </a:r>
          </a:p>
          <a:p>
            <a:pPr marL="98425" indent="0">
              <a:lnSpc>
                <a:spcPct val="100000"/>
              </a:lnSpc>
              <a:spcBef>
                <a:spcPts val="1600"/>
              </a:spcBef>
              <a:spcAft>
                <a:spcPts val="0"/>
              </a:spcAft>
              <a:buNone/>
            </a:pPr>
            <a:r>
              <a:rPr lang="en-US" sz="2500" dirty="0">
                <a:solidFill>
                  <a:schemeClr val="bg1"/>
                </a:solidFill>
              </a:rPr>
              <a:t>Module 4: Emerging Role of Bispecific Antibody-Based Approaches for </a:t>
            </a:r>
            <a:br>
              <a:rPr lang="en-US" sz="2500" dirty="0">
                <a:solidFill>
                  <a:schemeClr val="bg1"/>
                </a:solidFill>
              </a:rPr>
            </a:br>
            <a:r>
              <a:rPr lang="en-US" sz="2500" dirty="0">
                <a:solidFill>
                  <a:schemeClr val="bg1"/>
                </a:solidFill>
              </a:rPr>
              <a:t>EGFR-Mutated NSCLC — Dr Goldman</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Tolerability Considerations with the Use of Available and Emerging Therapies for EGFR-Mutated NSCLC — Dr Goldberg</a:t>
            </a:r>
          </a:p>
        </p:txBody>
      </p:sp>
    </p:spTree>
    <p:extLst>
      <p:ext uri="{BB962C8B-B14F-4D97-AF65-F5344CB8AC3E}">
        <p14:creationId xmlns:p14="http://schemas.microsoft.com/office/powerpoint/2010/main" val="41872647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B97A07E6-066A-414A-8916-AC2240ADCEE3}"/>
              </a:ext>
            </a:extLst>
          </p:cNvPr>
          <p:cNvSpPr>
            <a:spLocks noGrp="1"/>
          </p:cNvSpPr>
          <p:nvPr>
            <p:ph sz="quarter" idx="23"/>
          </p:nvPr>
        </p:nvSpPr>
        <p:spPr>
          <a:xfrm>
            <a:off x="853437" y="5697884"/>
            <a:ext cx="3625608" cy="371448"/>
          </a:xfrm>
        </p:spPr>
        <p:txBody>
          <a:bodyPr/>
          <a:lstStyle/>
          <a:p>
            <a:r>
              <a:rPr lang="en-US" sz="2667" dirty="0"/>
              <a:t>Jonathan Goldman, MD</a:t>
            </a:r>
          </a:p>
        </p:txBody>
      </p:sp>
      <p:sp>
        <p:nvSpPr>
          <p:cNvPr id="19" name="Content Placeholder 18">
            <a:extLst>
              <a:ext uri="{FF2B5EF4-FFF2-40B4-BE49-F238E27FC236}">
                <a16:creationId xmlns:a16="http://schemas.microsoft.com/office/drawing/2014/main" id="{DC4062D4-5986-9F41-AD24-134D18D87DC8}"/>
              </a:ext>
            </a:extLst>
          </p:cNvPr>
          <p:cNvSpPr>
            <a:spLocks noGrp="1"/>
          </p:cNvSpPr>
          <p:nvPr>
            <p:ph sz="quarter" idx="24"/>
          </p:nvPr>
        </p:nvSpPr>
        <p:spPr>
          <a:xfrm>
            <a:off x="853437" y="6069268"/>
            <a:ext cx="2556918" cy="371448"/>
          </a:xfrm>
        </p:spPr>
        <p:txBody>
          <a:bodyPr/>
          <a:lstStyle/>
          <a:p>
            <a:r>
              <a:rPr lang="en-US" sz="2667" dirty="0"/>
              <a:t>Professor, UCLA</a:t>
            </a:r>
          </a:p>
        </p:txBody>
      </p:sp>
      <p:sp>
        <p:nvSpPr>
          <p:cNvPr id="46" name="Text Placeholder 45">
            <a:extLst>
              <a:ext uri="{FF2B5EF4-FFF2-40B4-BE49-F238E27FC236}">
                <a16:creationId xmlns:a16="http://schemas.microsoft.com/office/drawing/2014/main" id="{298DBC73-D254-7743-90B1-2EFD263248B8}"/>
              </a:ext>
            </a:extLst>
          </p:cNvPr>
          <p:cNvSpPr>
            <a:spLocks noGrp="1"/>
          </p:cNvSpPr>
          <p:nvPr>
            <p:ph type="body" sz="quarter" idx="32"/>
          </p:nvPr>
        </p:nvSpPr>
        <p:spPr>
          <a:xfrm>
            <a:off x="853440" y="2526330"/>
            <a:ext cx="10363200" cy="1470061"/>
          </a:xfrm>
        </p:spPr>
        <p:txBody>
          <a:bodyPr/>
          <a:lstStyle/>
          <a:p>
            <a:r>
              <a:rPr lang="en-US" dirty="0"/>
              <a:t>Immunotherapy &amp; </a:t>
            </a:r>
            <a:r>
              <a:rPr lang="en-US" dirty="0" err="1"/>
              <a:t>Bispecifics</a:t>
            </a:r>
            <a:r>
              <a:rPr lang="en-US" dirty="0"/>
              <a:t> for </a:t>
            </a:r>
          </a:p>
          <a:p>
            <a:r>
              <a:rPr lang="en-US" dirty="0"/>
              <a:t>EGFR-mutated NSCLC</a:t>
            </a:r>
          </a:p>
        </p:txBody>
      </p:sp>
    </p:spTree>
    <p:extLst>
      <p:ext uri="{BB962C8B-B14F-4D97-AF65-F5344CB8AC3E}">
        <p14:creationId xmlns:p14="http://schemas.microsoft.com/office/powerpoint/2010/main" val="560357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1.xml><?xml version="1.0" encoding="utf-8"?>
<p:tagLst xmlns:a="http://schemas.openxmlformats.org/drawingml/2006/main" xmlns:r="http://schemas.openxmlformats.org/officeDocument/2006/relationships" xmlns:p="http://schemas.openxmlformats.org/presentationml/2006/main">
  <p:tag name="AS_UNIQUEID" val="90"/>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1.xml><?xml version="1.0" encoding="utf-8"?>
<a:theme xmlns:a="http://schemas.openxmlformats.org/drawingml/2006/main" name="Photo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C04BE24B-EFF7-F548-A5BC-55EE865B131A}"/>
    </a:ext>
  </a:extLst>
</a:theme>
</file>

<file path=ppt/theme/theme12.xml><?xml version="1.0" encoding="utf-8"?>
<a:theme xmlns:a="http://schemas.openxmlformats.org/drawingml/2006/main" name="1_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3.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Johnson and Johnson: Innovative Medicine">
  <a:themeElements>
    <a:clrScheme name="Johnson and Johnson 1">
      <a:dk1>
        <a:srgbClr val="000000"/>
      </a:dk1>
      <a:lt1>
        <a:srgbClr val="FFFFFF"/>
      </a:lt1>
      <a:dk2>
        <a:srgbClr val="F9F7F6"/>
      </a:dk2>
      <a:lt2>
        <a:srgbClr val="564C47"/>
      </a:lt2>
      <a:accent1>
        <a:srgbClr val="EB1700"/>
      </a:accent1>
      <a:accent2>
        <a:srgbClr val="000000"/>
      </a:accent2>
      <a:accent3>
        <a:srgbClr val="C1BBB3"/>
      </a:accent3>
      <a:accent4>
        <a:srgbClr val="004685"/>
      </a:accent4>
      <a:accent5>
        <a:srgbClr val="69D0FF"/>
      </a:accent5>
      <a:accent6>
        <a:srgbClr val="541980"/>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a:buFont typeface="Arial" panose="020B0604020202020204" pitchFamily="34" charset="0"/>
          <a:buChar char="•"/>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JJ_Innovation_V2_PPT_Template" id="{DEE62F0A-219B-0142-99FD-069D15129A76}" vid="{40995234-CCA7-D941-A1DF-89E6712CB3AB}"/>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presentation-01-dark">
  <a:themeElements>
    <a:clrScheme name="Brand-01-Colors">
      <a:dk1>
        <a:srgbClr val="57585B"/>
      </a:dk1>
      <a:lt1>
        <a:srgbClr val="FFFFFF"/>
      </a:lt1>
      <a:dk2>
        <a:srgbClr val="2774AE"/>
      </a:dk2>
      <a:lt2>
        <a:srgbClr val="FFFFFF"/>
      </a:lt2>
      <a:accent1>
        <a:srgbClr val="2774AE"/>
      </a:accent1>
      <a:accent2>
        <a:srgbClr val="898989"/>
      </a:accent2>
      <a:accent3>
        <a:srgbClr val="DAE6F4"/>
      </a:accent3>
      <a:accent4>
        <a:srgbClr val="8AB8E8"/>
      </a:accent4>
      <a:accent5>
        <a:srgbClr val="FFC72B"/>
      </a:accent5>
      <a:accent6>
        <a:srgbClr val="00375B"/>
      </a:accent6>
      <a:hlink>
        <a:srgbClr val="00375B"/>
      </a:hlink>
      <a:folHlink>
        <a:srgbClr val="5123B0"/>
      </a:folHlink>
    </a:clrScheme>
    <a:fontScheme name="Brand-StratComm">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1DAEC3A6-4E4F-0549-9C7A-CD4BCDA02B71}" vid="{ECA1B53D-748F-A448-962E-6EF0706C861D}"/>
    </a:ext>
  </a:extLst>
</a:theme>
</file>

<file path=ppt/theme/theme17.xml><?xml version="1.0" encoding="utf-8"?>
<a:theme xmlns:a="http://schemas.openxmlformats.org/drawingml/2006/main" name="presentation-02">
  <a:themeElements>
    <a:clrScheme name="brand-presentation2">
      <a:dk1>
        <a:srgbClr val="57585B"/>
      </a:dk1>
      <a:lt1>
        <a:srgbClr val="FFFFFF"/>
      </a:lt1>
      <a:dk2>
        <a:srgbClr val="2774AE"/>
      </a:dk2>
      <a:lt2>
        <a:srgbClr val="FFFFFF"/>
      </a:lt2>
      <a:accent1>
        <a:srgbClr val="2774AE"/>
      </a:accent1>
      <a:accent2>
        <a:srgbClr val="898989"/>
      </a:accent2>
      <a:accent3>
        <a:srgbClr val="DAE6F4"/>
      </a:accent3>
      <a:accent4>
        <a:srgbClr val="8AB8E8"/>
      </a:accent4>
      <a:accent5>
        <a:srgbClr val="FFC72B"/>
      </a:accent5>
      <a:accent6>
        <a:srgbClr val="00375B"/>
      </a:accent6>
      <a:hlink>
        <a:srgbClr val="00375B"/>
      </a:hlink>
      <a:folHlink>
        <a:srgbClr val="5123B0"/>
      </a:folHlink>
    </a:clrScheme>
    <a:fontScheme name="Brand-StratComm">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1DAEC3A6-4E4F-0549-9C7A-CD4BCDA02B71}" vid="{97CA2B89-6648-5643-8039-802698DBA24D}"/>
    </a:ext>
  </a:extLst>
</a:theme>
</file>

<file path=ppt/theme/theme18.xml><?xml version="1.0" encoding="utf-8"?>
<a:theme xmlns:a="http://schemas.openxmlformats.org/drawingml/2006/main" name="Summit Master Template">
  <a:themeElements>
    <a:clrScheme name="Summit Theme">
      <a:dk1>
        <a:srgbClr val="000000"/>
      </a:dk1>
      <a:lt1>
        <a:srgbClr val="FFFFFF"/>
      </a:lt1>
      <a:dk2>
        <a:srgbClr val="BCBEC0"/>
      </a:dk2>
      <a:lt2>
        <a:srgbClr val="F2F2F2"/>
      </a:lt2>
      <a:accent1>
        <a:srgbClr val="054883"/>
      </a:accent1>
      <a:accent2>
        <a:srgbClr val="0070C0"/>
      </a:accent2>
      <a:accent3>
        <a:srgbClr val="6DA943"/>
      </a:accent3>
      <a:accent4>
        <a:srgbClr val="3899D5"/>
      </a:accent4>
      <a:accent5>
        <a:srgbClr val="56187D"/>
      </a:accent5>
      <a:accent6>
        <a:srgbClr val="FCE205"/>
      </a:accent6>
      <a:hlink>
        <a:srgbClr val="0070C0"/>
      </a:hlink>
      <a:folHlink>
        <a:srgbClr val="92D05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2AAFBBE0-42C2-41AD-9930-EEFF85071AF3}" vid="{9BA88F1D-88D2-4B61-8AE8-D1DC2178BAE7}"/>
    </a:ext>
  </a:extLst>
</a:theme>
</file>

<file path=ppt/theme/theme19.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0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6.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8.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3">
    <a:dk1>
      <a:srgbClr val="003479"/>
    </a:dk1>
    <a:lt1>
      <a:srgbClr val="FFFFFF"/>
    </a:lt1>
    <a:dk2>
      <a:srgbClr val="333333"/>
    </a:dk2>
    <a:lt2>
      <a:srgbClr val="00A0DF"/>
    </a:lt2>
    <a:accent1>
      <a:srgbClr val="1C75BC"/>
    </a:accent1>
    <a:accent2>
      <a:srgbClr val="003479"/>
    </a:accent2>
    <a:accent3>
      <a:srgbClr val="00A0DF"/>
    </a:accent3>
    <a:accent4>
      <a:srgbClr val="7E2E79"/>
    </a:accent4>
    <a:accent5>
      <a:srgbClr val="333333"/>
    </a:accent5>
    <a:accent6>
      <a:srgbClr val="888B8D"/>
    </a:accent6>
    <a:hlink>
      <a:srgbClr val="00A0DF"/>
    </a:hlink>
    <a:folHlink>
      <a:srgbClr val="003479"/>
    </a:folHlink>
  </a:clrScheme>
  <a:fontScheme name="Custom 1">
    <a:majorFont>
      <a:latin typeface="Verdana"/>
      <a:ea typeface="ヒラギノ角ゴ ProN W6"/>
      <a:cs typeface="ヒラギノ角ゴ ProN W6"/>
    </a:majorFont>
    <a:minorFont>
      <a:latin typeface="Verdana"/>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WCLC 2024">
    <a:dk1>
      <a:sysClr val="windowText" lastClr="000000"/>
    </a:dk1>
    <a:lt1>
      <a:sysClr val="window" lastClr="FFFFFF"/>
    </a:lt1>
    <a:dk2>
      <a:srgbClr val="44546A"/>
    </a:dk2>
    <a:lt2>
      <a:srgbClr val="E7E6E6"/>
    </a:lt2>
    <a:accent1>
      <a:srgbClr val="0070C0"/>
    </a:accent1>
    <a:accent2>
      <a:srgbClr val="66A45C"/>
    </a:accent2>
    <a:accent3>
      <a:srgbClr val="7F7F7F"/>
    </a:accent3>
    <a:accent4>
      <a:srgbClr val="1FA9E1"/>
    </a:accent4>
    <a:accent5>
      <a:srgbClr val="BFBFBF"/>
    </a:accent5>
    <a:accent6>
      <a:srgbClr val="7E2E7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13">
    <a:dk1>
      <a:srgbClr val="003479"/>
    </a:dk1>
    <a:lt1>
      <a:srgbClr val="FFFFFF"/>
    </a:lt1>
    <a:dk2>
      <a:srgbClr val="333333"/>
    </a:dk2>
    <a:lt2>
      <a:srgbClr val="00A0DF"/>
    </a:lt2>
    <a:accent1>
      <a:srgbClr val="1C75BC"/>
    </a:accent1>
    <a:accent2>
      <a:srgbClr val="003479"/>
    </a:accent2>
    <a:accent3>
      <a:srgbClr val="00A0DF"/>
    </a:accent3>
    <a:accent4>
      <a:srgbClr val="7E2E79"/>
    </a:accent4>
    <a:accent5>
      <a:srgbClr val="333333"/>
    </a:accent5>
    <a:accent6>
      <a:srgbClr val="888B8D"/>
    </a:accent6>
    <a:hlink>
      <a:srgbClr val="00A0DF"/>
    </a:hlink>
    <a:folHlink>
      <a:srgbClr val="003479"/>
    </a:folHlink>
  </a:clrScheme>
  <a:fontScheme name="Custom 1">
    <a:majorFont>
      <a:latin typeface="Verdana"/>
      <a:ea typeface="ヒラギノ角ゴ ProN W6"/>
      <a:cs typeface="ヒラギノ角ゴ ProN W6"/>
    </a:majorFont>
    <a:minorFont>
      <a:latin typeface="Verdana"/>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DS Them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DS Theme">
    <a:majorFont>
      <a:latin typeface="Courier New"/>
      <a:ea typeface=""/>
      <a:cs typeface=""/>
    </a:majorFont>
    <a:minorFont>
      <a:latin typeface="Courier New"/>
      <a:ea typeface=""/>
      <a:cs typeface=""/>
    </a:minorFont>
  </a:fontScheme>
  <a:fmtScheme name="ODS Theme">
    <a:fillStyleLst>
      <a:solidFill>
        <a:schemeClr val="phClr"/>
      </a:solidFill>
      <a:solidFill>
        <a:schemeClr val="phClr"/>
      </a:solidFill>
      <a:solidFill>
        <a:schemeClr val="phClr"/>
      </a:solidFill>
    </a:fillStyleLst>
    <a:lnStyleLst>
      <a:ln w="9525"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Override>
</file>

<file path=ppt/theme/themeOverride6.xml><?xml version="1.0" encoding="utf-8"?>
<a:themeOverride xmlns:a="http://schemas.openxmlformats.org/drawingml/2006/main">
  <a:clrScheme name="ODS Them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DS Theme">
    <a:majorFont>
      <a:latin typeface="Courier New"/>
      <a:ea typeface=""/>
      <a:cs typeface=""/>
    </a:majorFont>
    <a:minorFont>
      <a:latin typeface="Courier New"/>
      <a:ea typeface=""/>
      <a:cs typeface=""/>
    </a:minorFont>
  </a:fontScheme>
  <a:fmtScheme name="ODS Theme">
    <a:fillStyleLst>
      <a:solidFill>
        <a:schemeClr val="phClr"/>
      </a:solidFill>
      <a:solidFill>
        <a:schemeClr val="phClr"/>
      </a:solidFill>
      <a:solidFill>
        <a:schemeClr val="phClr"/>
      </a:solidFill>
    </a:fillStyleLst>
    <a:lnStyleLst>
      <a:ln w="9525"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TemplateConfiguration><![CDATA[{"slideVersion":1,"isValidatorEnabled":false,"isLocked":false,"elementsMetadata":[],"slideId":"861026044834480145","enableDocumentContentUpdater":false,"version":"2.0"}]]></TemplafySlideTemplate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TemplateConfiguration><![CDATA[{"slideVersion":1,"isValidatorEnabled":false,"isLocked":false,"elementsMetadata":[],"slideId":"861026044834480145","enableDocumentContentUpdater":false,"version":"2.0"}]]></TemplafySlideTemplateConfiguration>
</file>

<file path=customXml/item14.xml><?xml version="1.0" encoding="utf-8"?>
<TemplafySlideTemplateConfiguration><![CDATA[{"slideVersion":1,"isValidatorEnabled":false,"isLocked":false,"elementsMetadata":[],"slideId":"861026044834480145","enableDocumentContentUpdater":false,"version":"2.0"}]]></TemplafySlideTemplateConfiguration>
</file>

<file path=customXml/item15.xml><?xml version="1.0" encoding="utf-8"?>
<TemplafySlideTemplateConfiguration><![CDATA[{"slideVersion":1,"isValidatorEnabled":false,"isLocked":false,"elementsMetadata":[],"slideId":"861026044834480145","enableDocumentContentUpdater":false,"version":"2.0"}]]></TemplafySlideTemplateConfiguration>
</file>

<file path=customXml/item16.xml><?xml version="1.0" encoding="utf-8"?>
<TemplafySlideTemplateConfiguration><![CDATA[{"slideVersion":1,"isValidatorEnabled":false,"isLocked":false,"elementsMetadata":[],"slideId":"861026044834480145","enableDocumentContentUpdater":false,"version":"2.0"}]]></TemplafySlideTemplateConfiguration>
</file>

<file path=customXml/item17.xml><?xml version="1.0" encoding="utf-8"?>
<TemplafySlideTemplateConfiguration><![CDATA[{"slideVersion":1,"isValidatorEnabled":false,"isLocked":false,"elementsMetadata":[],"slideId":"861026044834480145","enableDocumentContentUpdater":false,"version":"2.0"}]]></TemplafySlideTemplateConfiguration>
</file>

<file path=customXml/item18.xml><?xml version="1.0" encoding="utf-8"?>
<TemplafySlideTemplateConfiguration><![CDATA[{"slideVersion":1,"isValidatorEnabled":false,"isLocked":false,"elementsMetadata":[],"slideId":"861026044834480131","enableDocumentContentUpdater":false,"version":"2.0"}]]></TemplafySlideTemplateConfiguration>
</file>

<file path=customXml/item19.xml><?xml version="1.0" encoding="utf-8"?>
<TemplafySlideTemplateConfiguration><![CDATA[{"slideVersion":1,"isValidatorEnabled":false,"isLocked":false,"elementsMetadata":[],"slideId":"861026044834480145","enableDocumentContentUpdater":false,"version":"2.0"}]]></TemplafySlideTemplateConfiguration>
</file>

<file path=customXml/item2.xml><?xml version="1.0" encoding="utf-8"?>
<TemplafySlideFormConfiguration><![CDATA[{"formFields":[],"formDataEntries":[]}]]></TemplafySlideFormConfiguration>
</file>

<file path=customXml/item20.xml><?xml version="1.0" encoding="utf-8"?>
<TemplafySlideFormConfiguration><![CDATA[{"formFields":[],"formDataEntries":[]}]]></TemplafySlideFormConfiguration>
</file>

<file path=customXml/item21.xml><?xml version="1.0" encoding="utf-8"?>
<TemplafySlideTemplateConfiguration><![CDATA[{"slideVersion":1,"isValidatorEnabled":false,"isLocked":false,"elementsMetadata":[],"slideId":"861026044834480145","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861026044834480145","enableDocumentContentUpdater":false,"version":"2.0"}]]></TemplafySlideTemplate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861026044834480131","enableDocumentContentUpdater":false,"version":"2.0"}]]></TemplafySlideTemplateConfiguration>
</file>

<file path=customXml/item26.xml><?xml version="1.0" encoding="utf-8"?>
<TemplafySlideFormConfiguration><![CDATA[{"formFields":[],"formDataEntries":[]}]]></TemplafySlideFormConfiguration>
</file>

<file path=customXml/item27.xml><?xml version="1.0" encoding="utf-8"?>
<TemplafySlideTemplateConfiguration><![CDATA[{"slideVersion":1,"isValidatorEnabled":false,"isLocked":false,"elementsMetadata":[],"slideId":"861026044834480145","enableDocumentContentUpdater":false,"version":"2.0"}]]></TemplafySlideTemplateConfiguration>
</file>

<file path=customXml/item28.xml><?xml version="1.0" encoding="utf-8"?>
<TemplafySlideTemplateConfiguration><![CDATA[{"slideVersion":1,"isValidatorEnabled":false,"isLocked":false,"elementsMetadata":[],"slideId":"861026044834480145","enableDocumentContentUpdater":false,"version":"2.0"}]]></TemplafySlideTemplateConfiguration>
</file>

<file path=customXml/item29.xml><?xml version="1.0" encoding="utf-8"?>
<TemplafySlideTemplateConfiguration><![CDATA[{"slideVersion":1,"isValidatorEnabled":false,"isLocked":false,"elementsMetadata":[],"slideId":"861026044834480145","enableDocumentContentUpdater":false,"version":"2.0"}]]></TemplafySlideTemplateConfiguration>
</file>

<file path=customXml/item3.xml><?xml version="1.0" encoding="utf-8"?>
<TemplafySlideTemplateConfiguration><![CDATA[{"slideVersion":1,"isValidatorEnabled":false,"isLocked":false,"elementsMetadata":[],"slideId":"861026044834480131","enableDocumentContentUpdater":false,"version":"2.0"}]]></TemplafySlideTemplateConfiguration>
</file>

<file path=customXml/item30.xml><?xml version="1.0" encoding="utf-8"?>
<TemplafySlideFormConfiguration><![CDATA[{"formFields":[],"formDataEntries":[]}]]></TemplafySlideFormConfiguration>
</file>

<file path=customXml/item31.xml><?xml version="1.0" encoding="utf-8"?>
<TemplafySlideFormConfiguration><![CDATA[{"formFields":[],"formDataEntries":[]}]]></TemplafySlideFormConfiguration>
</file>

<file path=customXml/item32.xml><?xml version="1.0" encoding="utf-8"?>
<TemplafySlideFormConfiguration><![CDATA[{"formFields":[],"formDataEntries":[]}]]></TemplafySlideFormConfiguration>
</file>

<file path=customXml/item33.xml><?xml version="1.0" encoding="utf-8"?>
<TemplafySlideTemplateConfiguration><![CDATA[{"slideVersion":1,"isValidatorEnabled":false,"isLocked":false,"elementsMetadata":[],"slideId":"861026044834480145","enableDocumentContentUpdater":false,"version":"2.0"}]]></TemplafySlideTemplateConfiguration>
</file>

<file path=customXml/item34.xml><?xml version="1.0" encoding="utf-8"?>
<TemplafySlideTemplateConfiguration><![CDATA[{"slideVersion":1,"isValidatorEnabled":false,"isLocked":false,"elementsMetadata":[],"slideId":"861026044834480145","enableDocumentContentUpdater":false,"version":"2.0"}]]></TemplafySlideTemplateConfiguration>
</file>

<file path=customXml/item35.xml><?xml version="1.0" encoding="utf-8"?>
<TemplafySlideFormConfiguration><![CDATA[{"formFields":[],"formDataEntries":[]}]]></TemplafySlideFormConfiguration>
</file>

<file path=customXml/item36.xml><?xml version="1.0" encoding="utf-8"?>
<TemplafySlideFormConfiguration><![CDATA[{"formFields":[],"formDataEntries":[]}]]></TemplafySlideFormConfiguration>
</file>

<file path=customXml/item37.xml><?xml version="1.0" encoding="utf-8"?>
<TemplafySlideFormConfiguration><![CDATA[{"formFields":[],"formDataEntries":[]}]]></TemplafySlideFormConfiguration>
</file>

<file path=customXml/item38.xml><?xml version="1.0" encoding="utf-8"?>
<TemplafySlideTemplateConfiguration><![CDATA[{"slideVersion":1,"isValidatorEnabled":false,"isLocked":false,"elementsMetadata":[],"slideId":"861026044834480145","enableDocumentContentUpdater":false,"version":"2.0"}]]></TemplafySlideTemplateConfiguration>
</file>

<file path=customXml/item39.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40.xml><?xml version="1.0" encoding="utf-8"?>
<TemplafySlideFormConfiguration><![CDATA[{"formFields":[],"formDataEntries":[]}]]></TemplafySlideFormConfiguration>
</file>

<file path=customXml/item41.xml><?xml version="1.0" encoding="utf-8"?>
<TemplafySlideTemplateConfiguration><![CDATA[{"slideVersion":1,"isValidatorEnabled":false,"isLocked":false,"elementsMetadata":[],"slideId":"861026044834480145","enableDocumentContentUpdater":false,"version":"2.0"}]]></TemplafySlideTemplateConfiguration>
</file>

<file path=customXml/item42.xml><?xml version="1.0" encoding="utf-8"?>
<TemplafySlideTemplateConfiguration><![CDATA[{"slideVersion":1,"isValidatorEnabled":false,"isLocked":false,"elementsMetadata":[],"slideId":"861026044834480145","enableDocumentContentUpdater":false,"version":"2.0"}]]></TemplafySlideTemplateConfiguration>
</file>

<file path=customXml/item43.xml><?xml version="1.0" encoding="utf-8"?>
<TemplafySlideFormConfiguration><![CDATA[{"formFields":[],"formDataEntries":[]}]]></TemplafySlideFormConfiguration>
</file>

<file path=customXml/item44.xml><?xml version="1.0" encoding="utf-8"?>
<TemplafySlideTemplateConfiguration><![CDATA[{"slideVersion":1,"isValidatorEnabled":false,"isLocked":false,"elementsMetadata":[],"slideId":"861026044834480145","enableDocumentContentUpdater":false,"version":"2.0"}]]></TemplafySlideTemplateConfiguration>
</file>

<file path=customXml/item45.xml><?xml version="1.0" encoding="utf-8"?>
<TemplafySlideFormConfiguration><![CDATA[{"formFields":[],"formDataEntries":[]}]]></TemplafySlideFormConfiguration>
</file>

<file path=customXml/item46.xml><?xml version="1.0" encoding="utf-8"?>
<TemplafySlideFormConfiguration><![CDATA[{"formFields":[],"formDataEntries":[]}]]></TemplafySlideFormConfiguration>
</file>

<file path=customXml/item47.xml><?xml version="1.0" encoding="utf-8"?>
<TemplafySlideTemplateConfiguration><![CDATA[{"slideVersion":1,"isValidatorEnabled":false,"isLocked":false,"elementsMetadata":[],"slideId":"861026044834480145","enableDocumentContentUpdater":false,"version":"2.0"}]]></TemplafySlideTemplateConfiguration>
</file>

<file path=customXml/item48.xml><?xml version="1.0" encoding="utf-8"?>
<TemplafySlideFormConfiguration><![CDATA[{"formFields":[],"formDataEntries":[]}]]></TemplafySlideFormConfiguration>
</file>

<file path=customXml/item5.xml><?xml version="1.0" encoding="utf-8"?>
<TemplafySlideTemplateConfiguration><![CDATA[{"slideVersion":1,"isValidatorEnabled":false,"isLocked":false,"elementsMetadata":[],"slideId":"861026044834480145","enableDocumentContentUpdater":false,"version":"2.0"}]]></TemplafySlideTemplate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861026044834480145","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D004DB6C-D2CA-7341-810A-39F890619D4F}">
  <ds:schemaRefs/>
</ds:datastoreItem>
</file>

<file path=customXml/itemProps10.xml><?xml version="1.0" encoding="utf-8"?>
<ds:datastoreItem xmlns:ds="http://schemas.openxmlformats.org/officeDocument/2006/customXml" ds:itemID="{0A1B9901-DBC7-400F-AF8B-8F7C9D4ECA35}">
  <ds:schemaRefs/>
</ds:datastoreItem>
</file>

<file path=customXml/itemProps11.xml><?xml version="1.0" encoding="utf-8"?>
<ds:datastoreItem xmlns:ds="http://schemas.openxmlformats.org/officeDocument/2006/customXml" ds:itemID="{C0E532B1-97EE-44D6-A22D-A6C377FE7062}">
  <ds:schemaRefs/>
</ds:datastoreItem>
</file>

<file path=customXml/itemProps12.xml><?xml version="1.0" encoding="utf-8"?>
<ds:datastoreItem xmlns:ds="http://schemas.openxmlformats.org/officeDocument/2006/customXml" ds:itemID="{70B1A138-9901-2A49-AF39-20AAF6274654}">
  <ds:schemaRefs/>
</ds:datastoreItem>
</file>

<file path=customXml/itemProps13.xml><?xml version="1.0" encoding="utf-8"?>
<ds:datastoreItem xmlns:ds="http://schemas.openxmlformats.org/officeDocument/2006/customXml" ds:itemID="{BACC0C63-2015-4E4B-B8F7-4019EF12B8F4}">
  <ds:schemaRefs/>
</ds:datastoreItem>
</file>

<file path=customXml/itemProps14.xml><?xml version="1.0" encoding="utf-8"?>
<ds:datastoreItem xmlns:ds="http://schemas.openxmlformats.org/officeDocument/2006/customXml" ds:itemID="{77EA953E-6E95-1C4C-AABE-C8E10F91BBC3}">
  <ds:schemaRefs/>
</ds:datastoreItem>
</file>

<file path=customXml/itemProps15.xml><?xml version="1.0" encoding="utf-8"?>
<ds:datastoreItem xmlns:ds="http://schemas.openxmlformats.org/officeDocument/2006/customXml" ds:itemID="{424FF6BB-46BD-1449-921F-F727F2FE3034}">
  <ds:schemaRefs/>
</ds:datastoreItem>
</file>

<file path=customXml/itemProps16.xml><?xml version="1.0" encoding="utf-8"?>
<ds:datastoreItem xmlns:ds="http://schemas.openxmlformats.org/officeDocument/2006/customXml" ds:itemID="{353FDB43-B4CA-994C-A834-5E1B7663B0B0}">
  <ds:schemaRefs/>
</ds:datastoreItem>
</file>

<file path=customXml/itemProps17.xml><?xml version="1.0" encoding="utf-8"?>
<ds:datastoreItem xmlns:ds="http://schemas.openxmlformats.org/officeDocument/2006/customXml" ds:itemID="{44D1F2D1-80F3-49A3-9370-F13D5D4FBA05}">
  <ds:schemaRefs/>
</ds:datastoreItem>
</file>

<file path=customXml/itemProps18.xml><?xml version="1.0" encoding="utf-8"?>
<ds:datastoreItem xmlns:ds="http://schemas.openxmlformats.org/officeDocument/2006/customXml" ds:itemID="{0B62F6F5-86F5-4C54-8F11-30A091AE1E7D}">
  <ds:schemaRefs/>
</ds:datastoreItem>
</file>

<file path=customXml/itemProps19.xml><?xml version="1.0" encoding="utf-8"?>
<ds:datastoreItem xmlns:ds="http://schemas.openxmlformats.org/officeDocument/2006/customXml" ds:itemID="{EAAB4981-6F6E-4299-8A4B-9168DADC05C9}">
  <ds:schemaRefs/>
</ds:datastoreItem>
</file>

<file path=customXml/itemProps2.xml><?xml version="1.0" encoding="utf-8"?>
<ds:datastoreItem xmlns:ds="http://schemas.openxmlformats.org/officeDocument/2006/customXml" ds:itemID="{F6590919-D77C-42BE-886C-B3B4AFF04C5A}">
  <ds:schemaRefs/>
</ds:datastoreItem>
</file>

<file path=customXml/itemProps20.xml><?xml version="1.0" encoding="utf-8"?>
<ds:datastoreItem xmlns:ds="http://schemas.openxmlformats.org/officeDocument/2006/customXml" ds:itemID="{51C0BB3F-CB9D-EA4A-BD04-FB854D09060F}">
  <ds:schemaRefs/>
</ds:datastoreItem>
</file>

<file path=customXml/itemProps21.xml><?xml version="1.0" encoding="utf-8"?>
<ds:datastoreItem xmlns:ds="http://schemas.openxmlformats.org/officeDocument/2006/customXml" ds:itemID="{8AB05DC5-A2FB-413B-BF81-4A492435DFF6}">
  <ds:schemaRefs/>
</ds:datastoreItem>
</file>

<file path=customXml/itemProps22.xml><?xml version="1.0" encoding="utf-8"?>
<ds:datastoreItem xmlns:ds="http://schemas.openxmlformats.org/officeDocument/2006/customXml" ds:itemID="{4750859D-9F1E-7846-88C7-EE2BE3381C8E}">
  <ds:schemaRefs/>
</ds:datastoreItem>
</file>

<file path=customXml/itemProps23.xml><?xml version="1.0" encoding="utf-8"?>
<ds:datastoreItem xmlns:ds="http://schemas.openxmlformats.org/officeDocument/2006/customXml" ds:itemID="{17A2F4F6-B3E9-0348-82BC-F4968A20F718}">
  <ds:schemaRefs/>
</ds:datastoreItem>
</file>

<file path=customXml/itemProps24.xml><?xml version="1.0" encoding="utf-8"?>
<ds:datastoreItem xmlns:ds="http://schemas.openxmlformats.org/officeDocument/2006/customXml" ds:itemID="{77B8231C-D0AE-7141-81A0-2F2DD1BE8506}">
  <ds:schemaRefs/>
</ds:datastoreItem>
</file>

<file path=customXml/itemProps25.xml><?xml version="1.0" encoding="utf-8"?>
<ds:datastoreItem xmlns:ds="http://schemas.openxmlformats.org/officeDocument/2006/customXml" ds:itemID="{45F2D5DA-4278-3C42-B86E-A54AA84C5CF5}">
  <ds:schemaRefs/>
</ds:datastoreItem>
</file>

<file path=customXml/itemProps26.xml><?xml version="1.0" encoding="utf-8"?>
<ds:datastoreItem xmlns:ds="http://schemas.openxmlformats.org/officeDocument/2006/customXml" ds:itemID="{478AAE51-A4A8-9C4A-ADDF-22A567E4568E}">
  <ds:schemaRefs/>
</ds:datastoreItem>
</file>

<file path=customXml/itemProps27.xml><?xml version="1.0" encoding="utf-8"?>
<ds:datastoreItem xmlns:ds="http://schemas.openxmlformats.org/officeDocument/2006/customXml" ds:itemID="{03943999-C31A-4969-AA09-605AF997E2D4}">
  <ds:schemaRefs/>
</ds:datastoreItem>
</file>

<file path=customXml/itemProps28.xml><?xml version="1.0" encoding="utf-8"?>
<ds:datastoreItem xmlns:ds="http://schemas.openxmlformats.org/officeDocument/2006/customXml" ds:itemID="{399F6C81-97B2-A54A-ACA6-770F49008620}">
  <ds:schemaRefs/>
</ds:datastoreItem>
</file>

<file path=customXml/itemProps29.xml><?xml version="1.0" encoding="utf-8"?>
<ds:datastoreItem xmlns:ds="http://schemas.openxmlformats.org/officeDocument/2006/customXml" ds:itemID="{BF640F7A-31D0-054F-AAA0-FC93BE1362E8}">
  <ds:schemaRefs/>
</ds:datastoreItem>
</file>

<file path=customXml/itemProps3.xml><?xml version="1.0" encoding="utf-8"?>
<ds:datastoreItem xmlns:ds="http://schemas.openxmlformats.org/officeDocument/2006/customXml" ds:itemID="{C2AF2A88-D063-104D-87C1-8CB0DB1FB91D}">
  <ds:schemaRefs/>
</ds:datastoreItem>
</file>

<file path=customXml/itemProps30.xml><?xml version="1.0" encoding="utf-8"?>
<ds:datastoreItem xmlns:ds="http://schemas.openxmlformats.org/officeDocument/2006/customXml" ds:itemID="{24627B57-84FA-4F42-BA53-7762864E0A4F}">
  <ds:schemaRefs/>
</ds:datastoreItem>
</file>

<file path=customXml/itemProps31.xml><?xml version="1.0" encoding="utf-8"?>
<ds:datastoreItem xmlns:ds="http://schemas.openxmlformats.org/officeDocument/2006/customXml" ds:itemID="{5FEE098F-75A0-A14A-9369-0B72EA5EDEE3}">
  <ds:schemaRefs/>
</ds:datastoreItem>
</file>

<file path=customXml/itemProps32.xml><?xml version="1.0" encoding="utf-8"?>
<ds:datastoreItem xmlns:ds="http://schemas.openxmlformats.org/officeDocument/2006/customXml" ds:itemID="{F3C250B6-9D9F-424E-A428-99556B9A60C8}">
  <ds:schemaRefs/>
</ds:datastoreItem>
</file>

<file path=customXml/itemProps33.xml><?xml version="1.0" encoding="utf-8"?>
<ds:datastoreItem xmlns:ds="http://schemas.openxmlformats.org/officeDocument/2006/customXml" ds:itemID="{CC00BF0B-C77C-134B-BE32-91F36AE609F9}">
  <ds:schemaRefs/>
</ds:datastoreItem>
</file>

<file path=customXml/itemProps34.xml><?xml version="1.0" encoding="utf-8"?>
<ds:datastoreItem xmlns:ds="http://schemas.openxmlformats.org/officeDocument/2006/customXml" ds:itemID="{3BE2E47F-223C-1841-A27C-CD8DD2E48872}">
  <ds:schemaRefs/>
</ds:datastoreItem>
</file>

<file path=customXml/itemProps35.xml><?xml version="1.0" encoding="utf-8"?>
<ds:datastoreItem xmlns:ds="http://schemas.openxmlformats.org/officeDocument/2006/customXml" ds:itemID="{41B1A156-CEB3-FE49-AC31-498ABBC7C1D5}">
  <ds:schemaRefs/>
</ds:datastoreItem>
</file>

<file path=customXml/itemProps36.xml><?xml version="1.0" encoding="utf-8"?>
<ds:datastoreItem xmlns:ds="http://schemas.openxmlformats.org/officeDocument/2006/customXml" ds:itemID="{269D72A9-6768-D94E-8CE8-093D961F31C9}">
  <ds:schemaRefs/>
</ds:datastoreItem>
</file>

<file path=customXml/itemProps37.xml><?xml version="1.0" encoding="utf-8"?>
<ds:datastoreItem xmlns:ds="http://schemas.openxmlformats.org/officeDocument/2006/customXml" ds:itemID="{90BA93D9-89D3-6A46-A91C-AAD391575865}">
  <ds:schemaRefs/>
</ds:datastoreItem>
</file>

<file path=customXml/itemProps38.xml><?xml version="1.0" encoding="utf-8"?>
<ds:datastoreItem xmlns:ds="http://schemas.openxmlformats.org/officeDocument/2006/customXml" ds:itemID="{F0AE8F0D-D1F1-1448-A537-9B082C12756D}">
  <ds:schemaRefs/>
</ds:datastoreItem>
</file>

<file path=customXml/itemProps39.xml><?xml version="1.0" encoding="utf-8"?>
<ds:datastoreItem xmlns:ds="http://schemas.openxmlformats.org/officeDocument/2006/customXml" ds:itemID="{D3A1427A-1820-5A47-94B8-1D65CB519971}">
  <ds:schemaRefs/>
</ds:datastoreItem>
</file>

<file path=customXml/itemProps4.xml><?xml version="1.0" encoding="utf-8"?>
<ds:datastoreItem xmlns:ds="http://schemas.openxmlformats.org/officeDocument/2006/customXml" ds:itemID="{CAF4F425-F83F-4742-9475-682B84859685}">
  <ds:schemaRefs/>
</ds:datastoreItem>
</file>

<file path=customXml/itemProps40.xml><?xml version="1.0" encoding="utf-8"?>
<ds:datastoreItem xmlns:ds="http://schemas.openxmlformats.org/officeDocument/2006/customXml" ds:itemID="{BF4A8EDE-9340-0644-A3CB-2EF166E43D75}">
  <ds:schemaRefs/>
</ds:datastoreItem>
</file>

<file path=customXml/itemProps41.xml><?xml version="1.0" encoding="utf-8"?>
<ds:datastoreItem xmlns:ds="http://schemas.openxmlformats.org/officeDocument/2006/customXml" ds:itemID="{5B70FD89-483C-4E90-9182-617DB2BF9803}">
  <ds:schemaRefs/>
</ds:datastoreItem>
</file>

<file path=customXml/itemProps42.xml><?xml version="1.0" encoding="utf-8"?>
<ds:datastoreItem xmlns:ds="http://schemas.openxmlformats.org/officeDocument/2006/customXml" ds:itemID="{69DD41A1-5C4D-5E44-815A-0E275170300B}">
  <ds:schemaRefs/>
</ds:datastoreItem>
</file>

<file path=customXml/itemProps43.xml><?xml version="1.0" encoding="utf-8"?>
<ds:datastoreItem xmlns:ds="http://schemas.openxmlformats.org/officeDocument/2006/customXml" ds:itemID="{98CF1A37-0881-4BEF-B932-9FFE67EF2321}">
  <ds:schemaRefs/>
</ds:datastoreItem>
</file>

<file path=customXml/itemProps44.xml><?xml version="1.0" encoding="utf-8"?>
<ds:datastoreItem xmlns:ds="http://schemas.openxmlformats.org/officeDocument/2006/customXml" ds:itemID="{2CD4B79E-7FD8-5C41-9CB5-A3CC99E09BD6}">
  <ds:schemaRefs/>
</ds:datastoreItem>
</file>

<file path=customXml/itemProps45.xml><?xml version="1.0" encoding="utf-8"?>
<ds:datastoreItem xmlns:ds="http://schemas.openxmlformats.org/officeDocument/2006/customXml" ds:itemID="{4086026B-D8BC-C04B-BD34-4BE688C7E736}">
  <ds:schemaRefs/>
</ds:datastoreItem>
</file>

<file path=customXml/itemProps46.xml><?xml version="1.0" encoding="utf-8"?>
<ds:datastoreItem xmlns:ds="http://schemas.openxmlformats.org/officeDocument/2006/customXml" ds:itemID="{78C99C86-6993-3349-A50A-B56498BB0D04}">
  <ds:schemaRefs/>
</ds:datastoreItem>
</file>

<file path=customXml/itemProps47.xml><?xml version="1.0" encoding="utf-8"?>
<ds:datastoreItem xmlns:ds="http://schemas.openxmlformats.org/officeDocument/2006/customXml" ds:itemID="{B99D7169-1C77-A340-8B49-47ECBEDA10E5}">
  <ds:schemaRefs/>
</ds:datastoreItem>
</file>

<file path=customXml/itemProps48.xml><?xml version="1.0" encoding="utf-8"?>
<ds:datastoreItem xmlns:ds="http://schemas.openxmlformats.org/officeDocument/2006/customXml" ds:itemID="{7B5AE8EE-72FE-4114-8EDB-67272A8ED33C}">
  <ds:schemaRefs/>
</ds:datastoreItem>
</file>

<file path=customXml/itemProps5.xml><?xml version="1.0" encoding="utf-8"?>
<ds:datastoreItem xmlns:ds="http://schemas.openxmlformats.org/officeDocument/2006/customXml" ds:itemID="{88757649-5ABE-AE4D-A538-493995100D13}">
  <ds:schemaRefs/>
</ds:datastoreItem>
</file>

<file path=customXml/itemProps6.xml><?xml version="1.0" encoding="utf-8"?>
<ds:datastoreItem xmlns:ds="http://schemas.openxmlformats.org/officeDocument/2006/customXml" ds:itemID="{E4CB62F3-32FD-844F-B75C-E54935F4F9DC}">
  <ds:schemaRefs/>
</ds:datastoreItem>
</file>

<file path=customXml/itemProps7.xml><?xml version="1.0" encoding="utf-8"?>
<ds:datastoreItem xmlns:ds="http://schemas.openxmlformats.org/officeDocument/2006/customXml" ds:itemID="{B6821A71-BB34-49F9-9D3C-781E729ED55C}">
  <ds:schemaRefs/>
</ds:datastoreItem>
</file>

<file path=customXml/itemProps8.xml><?xml version="1.0" encoding="utf-8"?>
<ds:datastoreItem xmlns:ds="http://schemas.openxmlformats.org/officeDocument/2006/customXml" ds:itemID="{54CDAC76-8F08-DE41-AD66-23234A9490AA}">
  <ds:schemaRefs/>
</ds:datastoreItem>
</file>

<file path=customXml/itemProps9.xml><?xml version="1.0" encoding="utf-8"?>
<ds:datastoreItem xmlns:ds="http://schemas.openxmlformats.org/officeDocument/2006/customXml" ds:itemID="{B99892F9-6E46-4DF0-84CC-CA21034E9BEE}">
  <ds:schemaRefs/>
</ds:datastoreItem>
</file>

<file path=docProps/app.xml><?xml version="1.0" encoding="utf-8"?>
<Properties xmlns="http://schemas.openxmlformats.org/officeDocument/2006/extended-properties" xmlns:vt="http://schemas.openxmlformats.org/officeDocument/2006/docPropsVTypes">
  <Template/>
  <TotalTime>66097</TotalTime>
  <Words>12776</Words>
  <Application>Microsoft Macintosh PowerPoint</Application>
  <PresentationFormat>Widescreen</PresentationFormat>
  <Paragraphs>2228</Paragraphs>
  <Slides>142</Slides>
  <Notes>39</Notes>
  <HiddenSlides>0</HiddenSlides>
  <MMClips>0</MMClips>
  <ScaleCrop>false</ScaleCrop>
  <HeadingPairs>
    <vt:vector size="6" baseType="variant">
      <vt:variant>
        <vt:lpstr>Fonts Used</vt:lpstr>
      </vt:variant>
      <vt:variant>
        <vt:i4>27</vt:i4>
      </vt:variant>
      <vt:variant>
        <vt:lpstr>Theme</vt:lpstr>
      </vt:variant>
      <vt:variant>
        <vt:i4>23</vt:i4>
      </vt:variant>
      <vt:variant>
        <vt:lpstr>Slide Titles</vt:lpstr>
      </vt:variant>
      <vt:variant>
        <vt:i4>142</vt:i4>
      </vt:variant>
    </vt:vector>
  </HeadingPairs>
  <TitlesOfParts>
    <vt:vector size="192" baseType="lpstr">
      <vt:lpstr>ＭＳ Ｐゴシック</vt:lpstr>
      <vt:lpstr>Aptos</vt:lpstr>
      <vt:lpstr>Arial</vt:lpstr>
      <vt:lpstr>Arial </vt:lpstr>
      <vt:lpstr>Arial Narrow</vt:lpstr>
      <vt:lpstr>Arial Nova</vt:lpstr>
      <vt:lpstr>Avenir Black</vt:lpstr>
      <vt:lpstr>Avenir Book</vt:lpstr>
      <vt:lpstr>Calibri</vt:lpstr>
      <vt:lpstr>Calibri Light</vt:lpstr>
      <vt:lpstr>Helvetica</vt:lpstr>
      <vt:lpstr>Helvetica Regular</vt:lpstr>
      <vt:lpstr>Johnson Display</vt:lpstr>
      <vt:lpstr>Johnson Text</vt:lpstr>
      <vt:lpstr>Johnson Text (Body)</vt:lpstr>
      <vt:lpstr>OpenSans</vt:lpstr>
      <vt:lpstr>Roboto</vt:lpstr>
      <vt:lpstr>Roboto Light</vt:lpstr>
      <vt:lpstr>Roboto Medium</vt:lpstr>
      <vt:lpstr>StarSymbol</vt:lpstr>
      <vt:lpstr>Symbol</vt:lpstr>
      <vt:lpstr>System Font Regular</vt:lpstr>
      <vt:lpstr>Times</vt:lpstr>
      <vt:lpstr>Times New Roman</vt:lpstr>
      <vt:lpstr>Verdana</vt:lpstr>
      <vt:lpstr>Wingdings</vt:lpstr>
      <vt:lpstr>ヒラギノ角ゴ Pro W3</vt:lpstr>
      <vt:lpstr>1_Default Design</vt:lpstr>
      <vt:lpstr>5_Default Design</vt:lpstr>
      <vt:lpstr>7_Default Design</vt:lpstr>
      <vt:lpstr>2016 Clinical Widescreen Template</vt:lpstr>
      <vt:lpstr>AADI-2022</vt:lpstr>
      <vt:lpstr>DUKE OPTION B INSIDE PAGE</vt:lpstr>
      <vt:lpstr>1_AADI-2022</vt:lpstr>
      <vt:lpstr>2_Default Design</vt:lpstr>
      <vt:lpstr>6_Default Design</vt:lpstr>
      <vt:lpstr>Content Slides</vt:lpstr>
      <vt:lpstr>Photos</vt:lpstr>
      <vt:lpstr>1_Content Slides</vt:lpstr>
      <vt:lpstr>3_Default Design</vt:lpstr>
      <vt:lpstr>2_Johnson and Johnson: Innovative Medicine</vt:lpstr>
      <vt:lpstr>1_Office Theme</vt:lpstr>
      <vt:lpstr>presentation-01-dark</vt:lpstr>
      <vt:lpstr>presentation-02</vt:lpstr>
      <vt:lpstr>Summit Master Template</vt:lpstr>
      <vt:lpstr>4_Office Theme</vt:lpstr>
      <vt:lpstr>2_Office Theme</vt:lpstr>
      <vt:lpstr>10_Office Theme</vt:lpstr>
      <vt:lpstr>Default Design</vt:lpstr>
      <vt:lpstr>Office Theme</vt:lpstr>
      <vt:lpstr>Cases from the Community: Investigators Discuss the Optimal Management of EGFR-Mutated Non-Small Cell Lung Cancer</vt:lpstr>
      <vt:lpstr>Faculty</vt:lpstr>
      <vt:lpstr>Dr Goldberg — Disclosures Faculty</vt:lpstr>
      <vt:lpstr>Dr Goldman — Disclosures Faculty</vt:lpstr>
      <vt:lpstr>Dr Neal — Disclosures Faculty</vt:lpstr>
      <vt:lpstr>Prof Passaro — Disclosures Faculty</vt:lpstr>
      <vt:lpstr>Dr Sands — Disclosures Moderator</vt:lpstr>
      <vt:lpstr>Research To Practice President Neil Love, MD —Disclosures</vt:lpstr>
      <vt:lpstr>Commercial Support</vt:lpstr>
      <vt:lpstr>PowerPoint Presentation</vt:lpstr>
      <vt:lpstr>Clinicians in the Meeting Room</vt:lpstr>
      <vt:lpstr>Clinicians Attending via Zoom</vt:lpstr>
      <vt:lpstr>About the Enduring Program</vt:lpstr>
      <vt:lpstr>PowerPoint Presentation</vt:lpstr>
      <vt:lpstr>Cases from the Community: Investigators Discuss the Optimal Management of EGFR-Mutated Non-Small Cell Lung Cancer</vt:lpstr>
      <vt:lpstr>Cases from the Community</vt:lpstr>
      <vt:lpstr>Agenda</vt:lpstr>
      <vt:lpstr>Agenda</vt:lpstr>
      <vt:lpstr>PowerPoint Presentation</vt:lpstr>
      <vt:lpstr>~89–95% of EGFR-mutant NSCLC patients in the real-world  have ≥1 high-risk feature1,2</vt:lpstr>
      <vt:lpstr>Despite advances in EGFR TKI monotherapy, long-term survival  of patients remains poor</vt:lpstr>
      <vt:lpstr>Why the need for upfront combinations?1</vt:lpstr>
      <vt:lpstr>Studies are evaluating EGFR TKIs in various combination  regimens to improve 1L treatment outcomes1</vt:lpstr>
      <vt:lpstr>Osimertinib + ChT: PFS by INV</vt:lpstr>
      <vt:lpstr>Osimertinib + ChT: PFS across subgroups </vt:lpstr>
      <vt:lpstr>Osimertinib + ChT: Final OS1,2</vt:lpstr>
      <vt:lpstr>Osimertinib + ChT: CNS PFS by BICR</vt:lpstr>
      <vt:lpstr>Osimertinib + ChT: Resistance mechanisms (plasma)</vt:lpstr>
      <vt:lpstr>Osimertinib + ChT: Safety profile</vt:lpstr>
      <vt:lpstr>The Role of ChT in the FLAURA2 regimen</vt:lpstr>
      <vt:lpstr>Amivantamab + lazertinib: Disease-modifying, ChT-free, triple MoA1–3</vt:lpstr>
      <vt:lpstr>Amivantamab + lazertinib: PFS by BICR</vt:lpstr>
      <vt:lpstr>Amivantamab + lazertinib: PFS across subgroups1,2</vt:lpstr>
      <vt:lpstr>Amivantamab + lazertinib: Overall survival1,2</vt:lpstr>
      <vt:lpstr>Amivantamab + lazertinib: icPFS by BICR</vt:lpstr>
      <vt:lpstr>Amivantamab + lazertinib: Resistance mechanisms (plasma)</vt:lpstr>
      <vt:lpstr>Amivantamab + lazertinib: Safety profile</vt:lpstr>
      <vt:lpstr>Association of dose interruptions with progression-free survival</vt:lpstr>
      <vt:lpstr>Prophylactic management for MARIPOSA combo</vt:lpstr>
      <vt:lpstr>Osimertinib in atypical EGFR mutations: Phase II UNICORN study</vt:lpstr>
      <vt:lpstr>Osimertinib in atypical EGFR mutations: Phase II UNICORN study</vt:lpstr>
      <vt:lpstr>Amivantamab/lazertinib in atypical EGFR mutations: CHRYSALIS-2 study</vt:lpstr>
      <vt:lpstr>Amivantamab/lazertinib in atypical EGFR mutations: CHRYSALIS-2 study</vt:lpstr>
      <vt:lpstr>Key takeaways</vt:lpstr>
      <vt:lpstr>Cases from the Community</vt:lpstr>
      <vt:lpstr>Discussion Questions</vt:lpstr>
      <vt:lpstr>Cases from the Community</vt:lpstr>
      <vt:lpstr>Discussion Questions</vt:lpstr>
      <vt:lpstr>Agenda</vt:lpstr>
      <vt:lpstr>PowerPoint Presentation</vt:lpstr>
      <vt:lpstr>Agenda</vt:lpstr>
      <vt:lpstr>Acquired resistance after third generation EGFR TKIs</vt:lpstr>
      <vt:lpstr>Amivantamab and chemotherapy after 1L TKI</vt:lpstr>
      <vt:lpstr>Amivantamab and chemotherapy after 1L TKI</vt:lpstr>
      <vt:lpstr>Amivantamab and chemotherapy after 1L TKI</vt:lpstr>
      <vt:lpstr>Amivantamab and chemotherapy after 1L TKI</vt:lpstr>
      <vt:lpstr>Subcutaneous amivantamab with chemotherapy (PALOMA-2)</vt:lpstr>
      <vt:lpstr>Subcutaneous amivantamab with chemotherapy (PALOMA-2)</vt:lpstr>
      <vt:lpstr>Subcutaneous amivantamab with chemotherapy (PALOMA-2)</vt:lpstr>
      <vt:lpstr>1L Q2W SQ Amivantamab (PALOMA-2)</vt:lpstr>
      <vt:lpstr>1L Q4W SQ Amivantamab (PALOMA-2)</vt:lpstr>
      <vt:lpstr>IV vs SQ Amivantamab (PALOMA-3) </vt:lpstr>
      <vt:lpstr>IV vs SQ Amivantamab (PALOMA-3) </vt:lpstr>
      <vt:lpstr>Continuation osimertinib with chemotherapy after 1L TKI</vt:lpstr>
      <vt:lpstr>Continuation osimertinib with chemotherapy after 1L TKI</vt:lpstr>
      <vt:lpstr>EGFR C797S acquired mutations</vt:lpstr>
      <vt:lpstr>Small cell transformation</vt:lpstr>
      <vt:lpstr>Complex resistance may emerge</vt:lpstr>
      <vt:lpstr>Other noteworthy strategies for EGFR refractory NSCLC</vt:lpstr>
      <vt:lpstr>Conclusions</vt:lpstr>
      <vt:lpstr>Cases from the Community</vt:lpstr>
      <vt:lpstr>Discussion Questions</vt:lpstr>
      <vt:lpstr>Agenda</vt:lpstr>
      <vt:lpstr>PowerPoint Presentation</vt:lpstr>
      <vt:lpstr>PowerPoint Presentation</vt:lpstr>
      <vt:lpstr>Datopotamab deruxtecan (Dato-DXd)</vt:lpstr>
      <vt:lpstr>Datopotamab deruxtecan (Dato-DXd)</vt:lpstr>
      <vt:lpstr>Datopotamab deruxtecan (Dato-DXd)</vt:lpstr>
      <vt:lpstr>Datopotamab deruxtecan (Dato-DXd)</vt:lpstr>
      <vt:lpstr>Datopotamab deruxtecan (Dato-DXd)</vt:lpstr>
      <vt:lpstr>Intracranial efficacy Dato-DXd from TROPION-Lung01</vt:lpstr>
      <vt:lpstr>PowerPoint Presentation</vt:lpstr>
      <vt:lpstr>PowerPoint Presentation</vt:lpstr>
      <vt:lpstr>PowerPoint Presentation</vt:lpstr>
      <vt:lpstr>Dato-DXd is granted accelerated approval by the FDA in EGFR-mutated NSCLC Press Release: June 23, 2025</vt:lpstr>
      <vt:lpstr>TROPION-Lung14: A Phase 3 study of osimertinib ± Dato-DXd as 1L therapy</vt:lpstr>
      <vt:lpstr>TROPION-Lung15: A Phase 3 study of Dato-DXd ± osimertinib in EGFRm NSCLC that has progressed on prior osimertinib</vt:lpstr>
      <vt:lpstr>Sacituzumab tirumotecan (Sac-TMT)</vt:lpstr>
      <vt:lpstr>PowerPoint Presentation</vt:lpstr>
      <vt:lpstr>Sac-TMT vs Chemo Baseline Characteristics</vt:lpstr>
      <vt:lpstr>PowerPoint Presentation</vt:lpstr>
      <vt:lpstr>PowerPoint Presentation</vt:lpstr>
      <vt:lpstr>PowerPoint Presentation</vt:lpstr>
      <vt:lpstr>PowerPoint Presentation</vt:lpstr>
      <vt:lpstr>Cases from the Community</vt:lpstr>
      <vt:lpstr>Discussion Questions</vt:lpstr>
      <vt:lpstr>Discussion Questions</vt:lpstr>
      <vt:lpstr>Agenda</vt:lpstr>
      <vt:lpstr>PowerPoint Presentation</vt:lpstr>
      <vt:lpstr>Overview</vt:lpstr>
      <vt:lpstr>First Line PD-1 Checkpoint Inhibition in EGFRm NSCLC</vt:lpstr>
      <vt:lpstr>Poor Immunotherapy Response in EGFRm</vt:lpstr>
      <vt:lpstr>Poor Immunotherapy Response in EGFRm</vt:lpstr>
      <vt:lpstr>Poor Immunotherapy Response in EGFRm</vt:lpstr>
      <vt:lpstr>PowerPoint Presentation</vt:lpstr>
      <vt:lpstr>Combination chemotherapy with VEGFi and IO</vt:lpstr>
      <vt:lpstr>Ivonescimab: A PD-1/VEGF Bispecific Antibody</vt:lpstr>
      <vt:lpstr>Phase 3 Study Design</vt:lpstr>
      <vt:lpstr>Primary Endpoint: PFS by IRRC Statistically significant and clinically meaningful benefit with ivonescimab</vt:lpstr>
      <vt:lpstr>Primary Endpoint: Overall Survival Favorable Trend Observed; NA &amp; EU Follow-up Not Yet Mature</vt:lpstr>
      <vt:lpstr>Overall Survival Subgroup Analysis – Longer Term FU Consistent across pre-defined subgroups</vt:lpstr>
      <vt:lpstr>Treatment-Related Adverse Events (TRAEs) Most common were lab abnormalities, nausea, decreased appetite</vt:lpstr>
      <vt:lpstr>Immune-related and VEGF-related TRAEs Most common irAEs: hypo/hyperthyroidism, transaminase elevation, rash; mostly low grade Most common VEGF-related TRAEs: proteinuria, hypertension, hemorrhage; mostly low grade</vt:lpstr>
      <vt:lpstr>Izalontamab brengitecan (Iza-bren)</vt:lpstr>
      <vt:lpstr>Pooled analysis of Phase I and II trials</vt:lpstr>
      <vt:lpstr>Activity and Tolerability of Iza-bren</vt:lpstr>
      <vt:lpstr>PowerPoint Presentation</vt:lpstr>
      <vt:lpstr>Cases from the Community</vt:lpstr>
      <vt:lpstr>Discussion Questions</vt:lpstr>
      <vt:lpstr>Agenda</vt:lpstr>
      <vt:lpstr>Tolerability considerations with the use of available and emerging therapies for EGFR mutation-positive NSCLC </vt:lpstr>
      <vt:lpstr>Outline</vt:lpstr>
      <vt:lpstr>PowerPoint Presentation</vt:lpstr>
      <vt:lpstr>SKIPPirr: Preventing infusion-related  reactions with intravenous amivantamab</vt:lpstr>
      <vt:lpstr>PowerPoint Presentation</vt:lpstr>
      <vt:lpstr>PowerPoint Presentation</vt:lpstr>
      <vt:lpstr>COPERNICUS Study Design</vt:lpstr>
      <vt:lpstr>COPERNICUS: SC amivantamab plus lazertinib with dermatologic and VTE prophylaxis (Cohort 1)</vt:lpstr>
      <vt:lpstr>COPERNICUS: SC amivantamab plus chemotherapy with dermatologic prophylaxis (Cohort 2)</vt:lpstr>
      <vt:lpstr>Dato-DXd (TROPION-Lung01)</vt:lpstr>
      <vt:lpstr>Dato-DXd in patients with EGFR-mutant NSCLC</vt:lpstr>
      <vt:lpstr>Monitoring for, mitigating, and managing oral mucositis/stomatitis associated with Dato-DXd</vt:lpstr>
      <vt:lpstr>Monitoring for, mitigating, and managing  ILD associated with Dato-DXd</vt:lpstr>
      <vt:lpstr>Ivonescimab for EGFR-mutant lung cancer</vt:lpstr>
      <vt:lpstr>Summary</vt:lpstr>
      <vt:lpstr>Cases from the Community</vt:lpstr>
      <vt:lpstr>Discussion Questions</vt:lpstr>
      <vt:lpstr>Cases from the Community</vt:lpstr>
      <vt:lpstr>Consensus or Controversy? Documenting  and Discussing Investigators’ Approaches  to the Management of Ovarian Cancer</vt:lpstr>
      <vt:lpstr>What Clinicians Want to Know:  Addressing Community Oncologists’ Questions  About the Care of Patients with Prostate Cancer</vt:lpstr>
      <vt:lpstr>Second Opinion: Investigators Provide  Perspectives on the Current and Future  Management of Small Cell Lung Cancer</vt:lpstr>
      <vt:lpstr>Thank you for joining us! Your feedback is very important to us.   Please complete the survey currently up on the iPads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Fernando Rendina</cp:lastModifiedBy>
  <cp:revision>8072</cp:revision>
  <cp:lastPrinted>2020-08-04T16:05:31Z</cp:lastPrinted>
  <dcterms:created xsi:type="dcterms:W3CDTF">2013-03-19T19:50:02Z</dcterms:created>
  <dcterms:modified xsi:type="dcterms:W3CDTF">2026-05-29T20:12:44Z</dcterms:modified>
  <cp:category/>
</cp:coreProperties>
</file>